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theme/theme6.xml" ContentType="application/vnd.openxmlformats-officedocument.theme+xml"/>
  <Override PartName="/ppt/slideLayouts/slideLayout36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theme/theme9.xml" ContentType="application/vnd.openxmlformats-officedocument.theme+xml"/>
  <Override PartName="/ppt/tags/tag3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0.xml" ContentType="application/vnd.openxmlformats-officedocument.theme+xml"/>
  <Override PartName="/ppt/tags/tag4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8" r:id="rId5"/>
    <p:sldMasterId id="2147483684" r:id="rId6"/>
    <p:sldMasterId id="2147483694" r:id="rId7"/>
    <p:sldMasterId id="2147483696" r:id="rId8"/>
    <p:sldMasterId id="2147483698" r:id="rId9"/>
    <p:sldMasterId id="2147483701" r:id="rId10"/>
    <p:sldMasterId id="2147483703" r:id="rId11"/>
    <p:sldMasterId id="2147483705" r:id="rId12"/>
    <p:sldMasterId id="2147483707" r:id="rId13"/>
  </p:sldMasterIdLst>
  <p:notesMasterIdLst>
    <p:notesMasterId r:id="rId45"/>
  </p:notesMasterIdLst>
  <p:handoutMasterIdLst>
    <p:handoutMasterId r:id="rId46"/>
  </p:handoutMasterIdLst>
  <p:sldIdLst>
    <p:sldId id="289" r:id="rId14"/>
    <p:sldId id="257" r:id="rId15"/>
    <p:sldId id="268" r:id="rId16"/>
    <p:sldId id="260" r:id="rId17"/>
    <p:sldId id="269" r:id="rId18"/>
    <p:sldId id="264" r:id="rId19"/>
    <p:sldId id="272" r:id="rId20"/>
    <p:sldId id="273" r:id="rId21"/>
    <p:sldId id="274" r:id="rId22"/>
    <p:sldId id="275" r:id="rId23"/>
    <p:sldId id="276" r:id="rId24"/>
    <p:sldId id="277" r:id="rId25"/>
    <p:sldId id="290" r:id="rId26"/>
    <p:sldId id="278" r:id="rId27"/>
    <p:sldId id="279" r:id="rId28"/>
    <p:sldId id="280" r:id="rId29"/>
    <p:sldId id="281" r:id="rId30"/>
    <p:sldId id="282" r:id="rId31"/>
    <p:sldId id="283" r:id="rId32"/>
    <p:sldId id="284" r:id="rId33"/>
    <p:sldId id="285" r:id="rId34"/>
    <p:sldId id="286" r:id="rId35"/>
    <p:sldId id="287" r:id="rId36"/>
    <p:sldId id="288" r:id="rId37"/>
    <p:sldId id="293" r:id="rId38"/>
    <p:sldId id="294" r:id="rId39"/>
    <p:sldId id="295" r:id="rId40"/>
    <p:sldId id="296" r:id="rId41"/>
    <p:sldId id="297" r:id="rId42"/>
    <p:sldId id="291" r:id="rId43"/>
    <p:sldId id="270" r:id="rId44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659" autoAdjust="0"/>
    <p:restoredTop sz="93979" autoAdjust="0"/>
  </p:normalViewPr>
  <p:slideViewPr>
    <p:cSldViewPr snapToGrid="0">
      <p:cViewPr>
        <p:scale>
          <a:sx n="60" d="100"/>
          <a:sy n="60" d="100"/>
        </p:scale>
        <p:origin x="28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slide" Target="slides/slide26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slide" Target="slides/slide29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41" Type="http://schemas.openxmlformats.org/officeDocument/2006/relationships/slide" Target="slides/slide2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slide" Target="slides/slide27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slide" Target="slides/slide3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slide" Target="slides/slide30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C2F4B7-E44F-4BFA-89B5-9D489740D413}" type="datetimeFigureOut">
              <a:rPr lang="fi-FI" smtClean="0"/>
              <a:t>26.4.2023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5C02CE-3F88-4BB8-ADA4-2923D36115B6}" type="slidenum">
              <a:rPr lang="fi-FI" smtClean="0"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2443409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A4B920-97E3-42E6-84DD-798A973380B2}" type="datetimeFigureOut">
              <a:rPr lang="fi-FI" smtClean="0"/>
              <a:t>26.4.2023</a:t>
            </a:fld>
            <a:endParaRPr lang="fi-FI" dirty="0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 dirty="0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2290BF-EEC3-4D94-B79E-23A6D8D11EB2}" type="slidenum">
              <a:rPr lang="fi-FI" smtClean="0"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5310437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DC99EC-4D81-40AA-A763-092D5C79F09C}" type="slidenum">
              <a:rPr lang="fi-FI" smtClean="0"/>
              <a:t>8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48883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211451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Suhteellisen typpirikas kasvupaikka, Mustikkaturvekangas II, kehittynyt </a:t>
            </a:r>
            <a:r>
              <a:rPr lang="fi-FI" sz="1800" b="0" i="0" u="none" strike="noStrike" baseline="0" dirty="0">
                <a:latin typeface="Times-Roman"/>
              </a:rPr>
              <a:t>herb-rich sedge birch-pine fen 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DC99EC-4D81-40AA-A763-092D5C79F09C}" type="slidenum">
              <a:rPr lang="fi-FI" smtClean="0"/>
              <a:t>10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316402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7DC99EC-4D81-40AA-A763-092D5C79F09C}" type="slidenum">
              <a:rPr lang="fi-FI" smtClean="0"/>
              <a:t>13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70416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CDA21-3817-418E-B9BD-A5154CD872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67808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6CDA21-3817-418E-B9BD-A5154CD872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80159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60000" marR="0" lvl="0" indent="-360000" algn="l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80000"/>
              <a:buFontTx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77"/>
                <a:sym typeface="Lab Grotesque Light"/>
              </a:rPr>
              <a:t>First time international best practices were compiled &amp; published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77"/>
                <a:sym typeface="Lab Grotesque Light"/>
              </a:rPr>
              <a:t> in Finnish</a:t>
            </a:r>
          </a:p>
          <a:p>
            <a:pPr marL="360000" marR="0" lvl="0" indent="-360000" algn="l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80000"/>
              <a:buFontTx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77"/>
                <a:sym typeface="Lab Grotesque Light"/>
              </a:rPr>
              <a:t>First time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77"/>
                <a:sym typeface="Lab Grotesque Light"/>
              </a:rPr>
              <a:t>common term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77"/>
                <a:sym typeface="Lab Grotesque Light"/>
              </a:rPr>
              <a:t> were defined in Finnish for e.g. for the word carbon credit</a:t>
            </a:r>
          </a:p>
          <a:p>
            <a:pPr marL="360000" marR="0" lvl="0" indent="-360000" algn="l" defTabSz="121916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80000"/>
              <a:buFontTx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77"/>
                <a:sym typeface="Lab Grotesque Light"/>
              </a:rPr>
              <a:t>Aids in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77"/>
                <a:sym typeface="Lab Grotesque Light"/>
              </a:rPr>
              <a:t>facilitating dialogue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venir Next LT Pro" panose="020B0504020202020204" pitchFamily="34" charset="77"/>
                <a:sym typeface="Lab Grotesque Light"/>
              </a:rPr>
              <a:t> among market actors, the effects of which are already being seen</a:t>
            </a:r>
          </a:p>
          <a:p>
            <a:endParaRPr lang="fi-FI" dirty="0"/>
          </a:p>
          <a:p>
            <a:r>
              <a:rPr lang="fi-FI" dirty="0"/>
              <a:t>Contents in brief:</a:t>
            </a:r>
          </a:p>
          <a:p>
            <a:pPr marL="342900" marR="0" lvl="0" indent="-342900" defTabSz="1219169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onsolas" panose="020B0609020204030204" pitchFamily="49" charset="0"/>
                <a:sym typeface="Lab Grotesque Regular"/>
              </a:rPr>
              <a:t>Good practices for producing carbon credits</a:t>
            </a:r>
          </a:p>
          <a:p>
            <a:pPr marL="342900" marR="0" lvl="0" indent="-342900" defTabSz="1219169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onsolas" panose="020B0609020204030204" pitchFamily="49" charset="0"/>
                <a:sym typeface="Lab Grotesque Regular"/>
              </a:rPr>
              <a:t>Good practices for using carbon credits &amp; making climate claims</a:t>
            </a:r>
          </a:p>
          <a:p>
            <a:pPr marL="342900" marR="0" lvl="0" indent="-342900" defTabSz="1219169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onsolas" panose="020B0609020204030204" pitchFamily="49" charset="0"/>
                <a:sym typeface="Lab Grotesque Regular"/>
              </a:rPr>
              <a:t>Summary of the good practices for consumers</a:t>
            </a:r>
          </a:p>
          <a:p>
            <a:pPr marL="342900" marR="0" lvl="0" indent="-342900" defTabSz="1219169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onsolas" panose="020B0609020204030204" pitchFamily="49" charset="0"/>
                <a:sym typeface="Lab Grotesque Regular"/>
              </a:rPr>
              <a:t>Background research on climate claims, current legislation and existing guidance</a:t>
            </a:r>
          </a:p>
          <a:p>
            <a:pPr marL="342900" marR="0" lvl="0" indent="-342900" defTabSz="1219169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onsolas" panose="020B0609020204030204" pitchFamily="49" charset="0"/>
                <a:sym typeface="Lab Grotesque Regular"/>
              </a:rPr>
              <a:t>Recommendations for developing and supervising voluntary mitigation action </a:t>
            </a:r>
          </a:p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144A42-BE05-4B3D-AD18-D50FD2A1FDB0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6880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fi-FI" dirty="0"/>
              <a:t>15 international, 8 national guidelines scanned for minimum criteri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fi-FI" dirty="0">
                <a:solidFill>
                  <a:srgbClr val="5D295F">
                    <a:hueOff val="-11643569"/>
                    <a:satOff val="60242"/>
                    <a:lumOff val="73327"/>
                  </a:srgbClr>
                </a:solidFill>
                <a:latin typeface="Avenir Next LT Pro" panose="020B0504020202020204" pitchFamily="34" charset="0"/>
                <a:ea typeface="+mj-ea"/>
                <a:cs typeface="+mj-cs"/>
                <a:sym typeface="Lab Grotesque Medium"/>
              </a:rPr>
              <a:t>Defining 2 categories of claims using carbon credits, </a:t>
            </a:r>
            <a:r>
              <a:rPr kumimoji="0" lang="fi-FI" sz="1000" b="0" i="0" u="none" strike="noStrike" kern="0" cap="none" spc="0" normalizeH="0" baseline="0" noProof="0" dirty="0">
                <a:ln>
                  <a:noFill/>
                </a:ln>
                <a:solidFill>
                  <a:srgbClr val="5D295F">
                    <a:hueOff val="-11643569"/>
                    <a:satOff val="60242"/>
                    <a:lumOff val="73327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  <a:sym typeface="Lab Grotesque Medium"/>
              </a:rPr>
              <a:t>more tightly defining the term ”carbon neutral”</a:t>
            </a:r>
            <a:endParaRPr lang="fi-FI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srgbClr val="5D295F">
                    <a:hueOff val="-11643569"/>
                    <a:satOff val="60242"/>
                    <a:lumOff val="73327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  <a:sym typeface="Lab Grotesque Medium"/>
              </a:rPr>
              <a:t>The term ”compensation” (Finnish term) is not recommended</a:t>
            </a:r>
            <a:r>
              <a:rPr lang="fi-FI" dirty="0">
                <a:solidFill>
                  <a:srgbClr val="5D295F">
                    <a:hueOff val="-11643569"/>
                    <a:satOff val="60242"/>
                    <a:lumOff val="73327"/>
                  </a:srgbClr>
                </a:solidFill>
                <a:latin typeface="Avenir Next LT Pro" panose="020B0504020202020204" pitchFamily="34" charset="0"/>
                <a:ea typeface="+mj-ea"/>
                <a:cs typeface="+mj-cs"/>
                <a:sym typeface="Lab Grotesque Medium"/>
              </a:rPr>
              <a:t> anymor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srgbClr val="18332F"/>
                </a:solidFill>
                <a:effectLst/>
                <a:uLnTx/>
                <a:uFillTx/>
                <a:latin typeface="Avenir Next LT Pro" panose="020B0504020202020204" pitchFamily="34" charset="77"/>
                <a:sym typeface="Lab Grotesque Regular"/>
              </a:rPr>
              <a:t>Guidelines and regulation on the voluntary carbon market are moving fast, and the guidelines must also </a:t>
            </a:r>
            <a:r>
              <a:rPr kumimoji="0" lang="fi-FI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18332F"/>
                </a:solidFill>
                <a:effectLst/>
                <a:uLnTx/>
                <a:uFillTx/>
                <a:latin typeface="Avenir Next LT Pro" panose="020B0504020202020204" pitchFamily="34" charset="77"/>
                <a:sym typeface="Lab Grotesque Regular"/>
              </a:rPr>
              <a:t>evolve</a:t>
            </a: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srgbClr val="18332F"/>
              </a:solidFill>
              <a:effectLst/>
              <a:uLnTx/>
              <a:uFillTx/>
              <a:latin typeface="Avenir Next LT Pro" panose="020B0504020202020204" pitchFamily="34" charset="77"/>
              <a:sym typeface="Lab Grotesque Regular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fi-FI" sz="1200" b="0" i="0" u="none" strike="noStrike" kern="0" cap="none" spc="0" normalizeH="0" baseline="0" noProof="0" dirty="0">
              <a:ln>
                <a:noFill/>
              </a:ln>
              <a:solidFill>
                <a:srgbClr val="5D295F">
                  <a:hueOff val="-11643569"/>
                  <a:satOff val="60242"/>
                  <a:lumOff val="73327"/>
                </a:srgbClr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+mj-cs"/>
              <a:sym typeface="Lab Grotesque Medium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144A42-BE05-4B3D-AD18-D50FD2A1FDB0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92171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732351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0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Prentaation alk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722B05-239D-0643-93B5-2899FBB1B7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01" y="2002632"/>
            <a:ext cx="9347399" cy="2852737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Bef>
                <a:spcPts val="80"/>
              </a:spcBef>
              <a:defRPr sz="6000" spc="-1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858AD-DC95-2F44-89C2-1218375A0C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22302" y="4855369"/>
            <a:ext cx="9347398" cy="2259479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Kuva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1289" y="0"/>
            <a:ext cx="1560711" cy="174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647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ääotsikko V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Group 58"/>
          <p:cNvGrpSpPr/>
          <p:nvPr userDrawn="1"/>
        </p:nvGrpSpPr>
        <p:grpSpPr>
          <a:xfrm>
            <a:off x="2117" y="1"/>
            <a:ext cx="12187768" cy="6858001"/>
            <a:chOff x="1588" y="0"/>
            <a:chExt cx="9140826" cy="5143501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588" y="0"/>
              <a:ext cx="9140825" cy="5143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2" name="Freeform 5"/>
            <p:cNvSpPr>
              <a:spLocks/>
            </p:cNvSpPr>
            <p:nvPr userDrawn="1"/>
          </p:nvSpPr>
          <p:spPr bwMode="auto">
            <a:xfrm>
              <a:off x="6718301" y="3640138"/>
              <a:ext cx="2424113" cy="1503363"/>
            </a:xfrm>
            <a:custGeom>
              <a:avLst/>
              <a:gdLst>
                <a:gd name="T0" fmla="*/ 1527 w 1527"/>
                <a:gd name="T1" fmla="*/ 947 h 947"/>
                <a:gd name="T2" fmla="*/ 1527 w 1527"/>
                <a:gd name="T3" fmla="*/ 491 h 947"/>
                <a:gd name="T4" fmla="*/ 1527 w 1527"/>
                <a:gd name="T5" fmla="*/ 491 h 947"/>
                <a:gd name="T6" fmla="*/ 1291 w 1527"/>
                <a:gd name="T7" fmla="*/ 382 h 947"/>
                <a:gd name="T8" fmla="*/ 1175 w 1527"/>
                <a:gd name="T9" fmla="*/ 327 h 947"/>
                <a:gd name="T10" fmla="*/ 1118 w 1527"/>
                <a:gd name="T11" fmla="*/ 299 h 947"/>
                <a:gd name="T12" fmla="*/ 1060 w 1527"/>
                <a:gd name="T13" fmla="*/ 270 h 947"/>
                <a:gd name="T14" fmla="*/ 1003 w 1527"/>
                <a:gd name="T15" fmla="*/ 241 h 947"/>
                <a:gd name="T16" fmla="*/ 946 w 1527"/>
                <a:gd name="T17" fmla="*/ 210 h 947"/>
                <a:gd name="T18" fmla="*/ 889 w 1527"/>
                <a:gd name="T19" fmla="*/ 179 h 947"/>
                <a:gd name="T20" fmla="*/ 833 w 1527"/>
                <a:gd name="T21" fmla="*/ 146 h 947"/>
                <a:gd name="T22" fmla="*/ 777 w 1527"/>
                <a:gd name="T23" fmla="*/ 111 h 947"/>
                <a:gd name="T24" fmla="*/ 722 w 1527"/>
                <a:gd name="T25" fmla="*/ 76 h 947"/>
                <a:gd name="T26" fmla="*/ 667 w 1527"/>
                <a:gd name="T27" fmla="*/ 39 h 947"/>
                <a:gd name="T28" fmla="*/ 612 w 1527"/>
                <a:gd name="T29" fmla="*/ 0 h 947"/>
                <a:gd name="T30" fmla="*/ 612 w 1527"/>
                <a:gd name="T31" fmla="*/ 0 h 947"/>
                <a:gd name="T32" fmla="*/ 569 w 1527"/>
                <a:gd name="T33" fmla="*/ 70 h 947"/>
                <a:gd name="T34" fmla="*/ 527 w 1527"/>
                <a:gd name="T35" fmla="*/ 137 h 947"/>
                <a:gd name="T36" fmla="*/ 486 w 1527"/>
                <a:gd name="T37" fmla="*/ 202 h 947"/>
                <a:gd name="T38" fmla="*/ 444 w 1527"/>
                <a:gd name="T39" fmla="*/ 265 h 947"/>
                <a:gd name="T40" fmla="*/ 363 w 1527"/>
                <a:gd name="T41" fmla="*/ 386 h 947"/>
                <a:gd name="T42" fmla="*/ 283 w 1527"/>
                <a:gd name="T43" fmla="*/ 502 h 947"/>
                <a:gd name="T44" fmla="*/ 207 w 1527"/>
                <a:gd name="T45" fmla="*/ 614 h 947"/>
                <a:gd name="T46" fmla="*/ 170 w 1527"/>
                <a:gd name="T47" fmla="*/ 669 h 947"/>
                <a:gd name="T48" fmla="*/ 134 w 1527"/>
                <a:gd name="T49" fmla="*/ 724 h 947"/>
                <a:gd name="T50" fmla="*/ 99 w 1527"/>
                <a:gd name="T51" fmla="*/ 779 h 947"/>
                <a:gd name="T52" fmla="*/ 65 w 1527"/>
                <a:gd name="T53" fmla="*/ 835 h 947"/>
                <a:gd name="T54" fmla="*/ 31 w 1527"/>
                <a:gd name="T55" fmla="*/ 890 h 947"/>
                <a:gd name="T56" fmla="*/ 0 w 1527"/>
                <a:gd name="T57" fmla="*/ 947 h 947"/>
                <a:gd name="T58" fmla="*/ 1527 w 1527"/>
                <a:gd name="T59" fmla="*/ 947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27" h="947">
                  <a:moveTo>
                    <a:pt x="1527" y="947"/>
                  </a:moveTo>
                  <a:lnTo>
                    <a:pt x="1527" y="491"/>
                  </a:lnTo>
                  <a:lnTo>
                    <a:pt x="1527" y="491"/>
                  </a:lnTo>
                  <a:lnTo>
                    <a:pt x="1291" y="382"/>
                  </a:lnTo>
                  <a:lnTo>
                    <a:pt x="1175" y="327"/>
                  </a:lnTo>
                  <a:lnTo>
                    <a:pt x="1118" y="299"/>
                  </a:lnTo>
                  <a:lnTo>
                    <a:pt x="1060" y="270"/>
                  </a:lnTo>
                  <a:lnTo>
                    <a:pt x="1003" y="241"/>
                  </a:lnTo>
                  <a:lnTo>
                    <a:pt x="946" y="210"/>
                  </a:lnTo>
                  <a:lnTo>
                    <a:pt x="889" y="179"/>
                  </a:lnTo>
                  <a:lnTo>
                    <a:pt x="833" y="146"/>
                  </a:lnTo>
                  <a:lnTo>
                    <a:pt x="777" y="111"/>
                  </a:lnTo>
                  <a:lnTo>
                    <a:pt x="722" y="76"/>
                  </a:lnTo>
                  <a:lnTo>
                    <a:pt x="667" y="39"/>
                  </a:lnTo>
                  <a:lnTo>
                    <a:pt x="612" y="0"/>
                  </a:lnTo>
                  <a:lnTo>
                    <a:pt x="612" y="0"/>
                  </a:lnTo>
                  <a:lnTo>
                    <a:pt x="569" y="70"/>
                  </a:lnTo>
                  <a:lnTo>
                    <a:pt x="527" y="137"/>
                  </a:lnTo>
                  <a:lnTo>
                    <a:pt x="486" y="202"/>
                  </a:lnTo>
                  <a:lnTo>
                    <a:pt x="444" y="265"/>
                  </a:lnTo>
                  <a:lnTo>
                    <a:pt x="363" y="386"/>
                  </a:lnTo>
                  <a:lnTo>
                    <a:pt x="283" y="502"/>
                  </a:lnTo>
                  <a:lnTo>
                    <a:pt x="207" y="614"/>
                  </a:lnTo>
                  <a:lnTo>
                    <a:pt x="170" y="669"/>
                  </a:lnTo>
                  <a:lnTo>
                    <a:pt x="134" y="724"/>
                  </a:lnTo>
                  <a:lnTo>
                    <a:pt x="99" y="779"/>
                  </a:lnTo>
                  <a:lnTo>
                    <a:pt x="65" y="835"/>
                  </a:lnTo>
                  <a:lnTo>
                    <a:pt x="31" y="890"/>
                  </a:lnTo>
                  <a:lnTo>
                    <a:pt x="0" y="947"/>
                  </a:lnTo>
                  <a:lnTo>
                    <a:pt x="1527" y="947"/>
                  </a:lnTo>
                  <a:close/>
                </a:path>
              </a:pathLst>
            </a:custGeom>
            <a:solidFill>
              <a:srgbClr val="799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1" name="Freeform 6"/>
            <p:cNvSpPr>
              <a:spLocks/>
            </p:cNvSpPr>
            <p:nvPr userDrawn="1"/>
          </p:nvSpPr>
          <p:spPr bwMode="auto">
            <a:xfrm>
              <a:off x="7689851" y="2641600"/>
              <a:ext cx="1452563" cy="1671638"/>
            </a:xfrm>
            <a:custGeom>
              <a:avLst/>
              <a:gdLst>
                <a:gd name="T0" fmla="*/ 915 w 915"/>
                <a:gd name="T1" fmla="*/ 0 h 1053"/>
                <a:gd name="T2" fmla="*/ 915 w 915"/>
                <a:gd name="T3" fmla="*/ 0 h 1053"/>
                <a:gd name="T4" fmla="*/ 854 w 915"/>
                <a:gd name="T5" fmla="*/ 29 h 1053"/>
                <a:gd name="T6" fmla="*/ 795 w 915"/>
                <a:gd name="T7" fmla="*/ 62 h 1053"/>
                <a:gd name="T8" fmla="*/ 735 w 915"/>
                <a:gd name="T9" fmla="*/ 97 h 1053"/>
                <a:gd name="T10" fmla="*/ 675 w 915"/>
                <a:gd name="T11" fmla="*/ 133 h 1053"/>
                <a:gd name="T12" fmla="*/ 617 w 915"/>
                <a:gd name="T13" fmla="*/ 171 h 1053"/>
                <a:gd name="T14" fmla="*/ 558 w 915"/>
                <a:gd name="T15" fmla="*/ 210 h 1053"/>
                <a:gd name="T16" fmla="*/ 500 w 915"/>
                <a:gd name="T17" fmla="*/ 251 h 1053"/>
                <a:gd name="T18" fmla="*/ 443 w 915"/>
                <a:gd name="T19" fmla="*/ 294 h 1053"/>
                <a:gd name="T20" fmla="*/ 329 w 915"/>
                <a:gd name="T21" fmla="*/ 378 h 1053"/>
                <a:gd name="T22" fmla="*/ 218 w 915"/>
                <a:gd name="T23" fmla="*/ 465 h 1053"/>
                <a:gd name="T24" fmla="*/ 108 w 915"/>
                <a:gd name="T25" fmla="*/ 549 h 1053"/>
                <a:gd name="T26" fmla="*/ 52 w 915"/>
                <a:gd name="T27" fmla="*/ 589 h 1053"/>
                <a:gd name="T28" fmla="*/ 0 w 915"/>
                <a:gd name="T29" fmla="*/ 629 h 1053"/>
                <a:gd name="T30" fmla="*/ 0 w 915"/>
                <a:gd name="T31" fmla="*/ 629 h 1053"/>
                <a:gd name="T32" fmla="*/ 0 w 915"/>
                <a:gd name="T33" fmla="*/ 629 h 1053"/>
                <a:gd name="T34" fmla="*/ 52 w 915"/>
                <a:gd name="T35" fmla="*/ 667 h 1053"/>
                <a:gd name="T36" fmla="*/ 106 w 915"/>
                <a:gd name="T37" fmla="*/ 704 h 1053"/>
                <a:gd name="T38" fmla="*/ 160 w 915"/>
                <a:gd name="T39" fmla="*/ 739 h 1053"/>
                <a:gd name="T40" fmla="*/ 215 w 915"/>
                <a:gd name="T41" fmla="*/ 774 h 1053"/>
                <a:gd name="T42" fmla="*/ 272 w 915"/>
                <a:gd name="T43" fmla="*/ 808 h 1053"/>
                <a:gd name="T44" fmla="*/ 328 w 915"/>
                <a:gd name="T45" fmla="*/ 839 h 1053"/>
                <a:gd name="T46" fmla="*/ 384 w 915"/>
                <a:gd name="T47" fmla="*/ 870 h 1053"/>
                <a:gd name="T48" fmla="*/ 442 w 915"/>
                <a:gd name="T49" fmla="*/ 899 h 1053"/>
                <a:gd name="T50" fmla="*/ 500 w 915"/>
                <a:gd name="T51" fmla="*/ 926 h 1053"/>
                <a:gd name="T52" fmla="*/ 558 w 915"/>
                <a:gd name="T53" fmla="*/ 951 h 1053"/>
                <a:gd name="T54" fmla="*/ 617 w 915"/>
                <a:gd name="T55" fmla="*/ 973 h 1053"/>
                <a:gd name="T56" fmla="*/ 675 w 915"/>
                <a:gd name="T57" fmla="*/ 994 h 1053"/>
                <a:gd name="T58" fmla="*/ 735 w 915"/>
                <a:gd name="T59" fmla="*/ 1012 h 1053"/>
                <a:gd name="T60" fmla="*/ 795 w 915"/>
                <a:gd name="T61" fmla="*/ 1028 h 1053"/>
                <a:gd name="T62" fmla="*/ 854 w 915"/>
                <a:gd name="T63" fmla="*/ 1042 h 1053"/>
                <a:gd name="T64" fmla="*/ 885 w 915"/>
                <a:gd name="T65" fmla="*/ 1048 h 1053"/>
                <a:gd name="T66" fmla="*/ 915 w 915"/>
                <a:gd name="T67" fmla="*/ 1053 h 1053"/>
                <a:gd name="T68" fmla="*/ 915 w 915"/>
                <a:gd name="T69" fmla="*/ 0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15" h="1053">
                  <a:moveTo>
                    <a:pt x="915" y="0"/>
                  </a:moveTo>
                  <a:lnTo>
                    <a:pt x="915" y="0"/>
                  </a:lnTo>
                  <a:lnTo>
                    <a:pt x="854" y="29"/>
                  </a:lnTo>
                  <a:lnTo>
                    <a:pt x="795" y="62"/>
                  </a:lnTo>
                  <a:lnTo>
                    <a:pt x="735" y="97"/>
                  </a:lnTo>
                  <a:lnTo>
                    <a:pt x="675" y="133"/>
                  </a:lnTo>
                  <a:lnTo>
                    <a:pt x="617" y="171"/>
                  </a:lnTo>
                  <a:lnTo>
                    <a:pt x="558" y="210"/>
                  </a:lnTo>
                  <a:lnTo>
                    <a:pt x="500" y="251"/>
                  </a:lnTo>
                  <a:lnTo>
                    <a:pt x="443" y="294"/>
                  </a:lnTo>
                  <a:lnTo>
                    <a:pt x="329" y="378"/>
                  </a:lnTo>
                  <a:lnTo>
                    <a:pt x="218" y="465"/>
                  </a:lnTo>
                  <a:lnTo>
                    <a:pt x="108" y="549"/>
                  </a:lnTo>
                  <a:lnTo>
                    <a:pt x="52" y="589"/>
                  </a:lnTo>
                  <a:lnTo>
                    <a:pt x="0" y="629"/>
                  </a:lnTo>
                  <a:lnTo>
                    <a:pt x="0" y="629"/>
                  </a:lnTo>
                  <a:lnTo>
                    <a:pt x="0" y="629"/>
                  </a:lnTo>
                  <a:lnTo>
                    <a:pt x="52" y="667"/>
                  </a:lnTo>
                  <a:lnTo>
                    <a:pt x="106" y="704"/>
                  </a:lnTo>
                  <a:lnTo>
                    <a:pt x="160" y="739"/>
                  </a:lnTo>
                  <a:lnTo>
                    <a:pt x="215" y="774"/>
                  </a:lnTo>
                  <a:lnTo>
                    <a:pt x="272" y="808"/>
                  </a:lnTo>
                  <a:lnTo>
                    <a:pt x="328" y="839"/>
                  </a:lnTo>
                  <a:lnTo>
                    <a:pt x="384" y="870"/>
                  </a:lnTo>
                  <a:lnTo>
                    <a:pt x="442" y="899"/>
                  </a:lnTo>
                  <a:lnTo>
                    <a:pt x="500" y="926"/>
                  </a:lnTo>
                  <a:lnTo>
                    <a:pt x="558" y="951"/>
                  </a:lnTo>
                  <a:lnTo>
                    <a:pt x="617" y="973"/>
                  </a:lnTo>
                  <a:lnTo>
                    <a:pt x="675" y="994"/>
                  </a:lnTo>
                  <a:lnTo>
                    <a:pt x="735" y="1012"/>
                  </a:lnTo>
                  <a:lnTo>
                    <a:pt x="795" y="1028"/>
                  </a:lnTo>
                  <a:lnTo>
                    <a:pt x="854" y="1042"/>
                  </a:lnTo>
                  <a:lnTo>
                    <a:pt x="885" y="1048"/>
                  </a:lnTo>
                  <a:lnTo>
                    <a:pt x="915" y="1053"/>
                  </a:lnTo>
                  <a:lnTo>
                    <a:pt x="915" y="0"/>
                  </a:lnTo>
                  <a:close/>
                </a:path>
              </a:pathLst>
            </a:custGeom>
            <a:solidFill>
              <a:srgbClr val="9BAD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5973763" y="0"/>
              <a:ext cx="2543175" cy="3640138"/>
            </a:xfrm>
            <a:custGeom>
              <a:avLst/>
              <a:gdLst>
                <a:gd name="T0" fmla="*/ 46 w 1602"/>
                <a:gd name="T1" fmla="*/ 0 h 2293"/>
                <a:gd name="T2" fmla="*/ 27 w 1602"/>
                <a:gd name="T3" fmla="*/ 79 h 2293"/>
                <a:gd name="T4" fmla="*/ 12 w 1602"/>
                <a:gd name="T5" fmla="*/ 158 h 2293"/>
                <a:gd name="T6" fmla="*/ 4 w 1602"/>
                <a:gd name="T7" fmla="*/ 236 h 2293"/>
                <a:gd name="T8" fmla="*/ 0 w 1602"/>
                <a:gd name="T9" fmla="*/ 315 h 2293"/>
                <a:gd name="T10" fmla="*/ 1 w 1602"/>
                <a:gd name="T11" fmla="*/ 394 h 2293"/>
                <a:gd name="T12" fmla="*/ 7 w 1602"/>
                <a:gd name="T13" fmla="*/ 473 h 2293"/>
                <a:gd name="T14" fmla="*/ 16 w 1602"/>
                <a:gd name="T15" fmla="*/ 551 h 2293"/>
                <a:gd name="T16" fmla="*/ 27 w 1602"/>
                <a:gd name="T17" fmla="*/ 630 h 2293"/>
                <a:gd name="T18" fmla="*/ 43 w 1602"/>
                <a:gd name="T19" fmla="*/ 708 h 2293"/>
                <a:gd name="T20" fmla="*/ 80 w 1602"/>
                <a:gd name="T21" fmla="*/ 862 h 2293"/>
                <a:gd name="T22" fmla="*/ 124 w 1602"/>
                <a:gd name="T23" fmla="*/ 1014 h 2293"/>
                <a:gd name="T24" fmla="*/ 194 w 1602"/>
                <a:gd name="T25" fmla="*/ 1236 h 2293"/>
                <a:gd name="T26" fmla="*/ 209 w 1602"/>
                <a:gd name="T27" fmla="*/ 1277 h 2293"/>
                <a:gd name="T28" fmla="*/ 242 w 1602"/>
                <a:gd name="T29" fmla="*/ 1358 h 2293"/>
                <a:gd name="T30" fmla="*/ 279 w 1602"/>
                <a:gd name="T31" fmla="*/ 1437 h 2293"/>
                <a:gd name="T32" fmla="*/ 321 w 1602"/>
                <a:gd name="T33" fmla="*/ 1514 h 2293"/>
                <a:gd name="T34" fmla="*/ 369 w 1602"/>
                <a:gd name="T35" fmla="*/ 1590 h 2293"/>
                <a:gd name="T36" fmla="*/ 419 w 1602"/>
                <a:gd name="T37" fmla="*/ 1662 h 2293"/>
                <a:gd name="T38" fmla="*/ 473 w 1602"/>
                <a:gd name="T39" fmla="*/ 1733 h 2293"/>
                <a:gd name="T40" fmla="*/ 531 w 1602"/>
                <a:gd name="T41" fmla="*/ 1801 h 2293"/>
                <a:gd name="T42" fmla="*/ 590 w 1602"/>
                <a:gd name="T43" fmla="*/ 1869 h 2293"/>
                <a:gd name="T44" fmla="*/ 652 w 1602"/>
                <a:gd name="T45" fmla="*/ 1933 h 2293"/>
                <a:gd name="T46" fmla="*/ 749 w 1602"/>
                <a:gd name="T47" fmla="*/ 2025 h 2293"/>
                <a:gd name="T48" fmla="*/ 880 w 1602"/>
                <a:gd name="T49" fmla="*/ 2139 h 2293"/>
                <a:gd name="T50" fmla="*/ 1014 w 1602"/>
                <a:gd name="T51" fmla="*/ 2244 h 2293"/>
                <a:gd name="T52" fmla="*/ 1081 w 1602"/>
                <a:gd name="T53" fmla="*/ 2293 h 2293"/>
                <a:gd name="T54" fmla="*/ 1106 w 1602"/>
                <a:gd name="T55" fmla="*/ 2266 h 2293"/>
                <a:gd name="T56" fmla="*/ 1157 w 1602"/>
                <a:gd name="T57" fmla="*/ 2210 h 2293"/>
                <a:gd name="T58" fmla="*/ 1205 w 1602"/>
                <a:gd name="T59" fmla="*/ 2151 h 2293"/>
                <a:gd name="T60" fmla="*/ 1249 w 1602"/>
                <a:gd name="T61" fmla="*/ 2090 h 2293"/>
                <a:gd name="T62" fmla="*/ 1290 w 1602"/>
                <a:gd name="T63" fmla="*/ 2027 h 2293"/>
                <a:gd name="T64" fmla="*/ 1328 w 1602"/>
                <a:gd name="T65" fmla="*/ 1963 h 2293"/>
                <a:gd name="T66" fmla="*/ 1363 w 1602"/>
                <a:gd name="T67" fmla="*/ 1898 h 2293"/>
                <a:gd name="T68" fmla="*/ 1395 w 1602"/>
                <a:gd name="T69" fmla="*/ 1830 h 2293"/>
                <a:gd name="T70" fmla="*/ 1425 w 1602"/>
                <a:gd name="T71" fmla="*/ 1762 h 2293"/>
                <a:gd name="T72" fmla="*/ 1452 w 1602"/>
                <a:gd name="T73" fmla="*/ 1692 h 2293"/>
                <a:gd name="T74" fmla="*/ 1475 w 1602"/>
                <a:gd name="T75" fmla="*/ 1620 h 2293"/>
                <a:gd name="T76" fmla="*/ 1508 w 1602"/>
                <a:gd name="T77" fmla="*/ 1511 h 2293"/>
                <a:gd name="T78" fmla="*/ 1542 w 1602"/>
                <a:gd name="T79" fmla="*/ 1362 h 2293"/>
                <a:gd name="T80" fmla="*/ 1568 w 1602"/>
                <a:gd name="T81" fmla="*/ 1211 h 2293"/>
                <a:gd name="T82" fmla="*/ 1586 w 1602"/>
                <a:gd name="T83" fmla="*/ 1058 h 2293"/>
                <a:gd name="T84" fmla="*/ 1597 w 1602"/>
                <a:gd name="T85" fmla="*/ 902 h 2293"/>
                <a:gd name="T86" fmla="*/ 1602 w 1602"/>
                <a:gd name="T87" fmla="*/ 747 h 2293"/>
                <a:gd name="T88" fmla="*/ 1601 w 1602"/>
                <a:gd name="T89" fmla="*/ 593 h 2293"/>
                <a:gd name="T90" fmla="*/ 1597 w 1602"/>
                <a:gd name="T91" fmla="*/ 440 h 2293"/>
                <a:gd name="T92" fmla="*/ 1588 w 1602"/>
                <a:gd name="T93" fmla="*/ 290 h 2293"/>
                <a:gd name="T94" fmla="*/ 1577 w 1602"/>
                <a:gd name="T95" fmla="*/ 143 h 2293"/>
                <a:gd name="T96" fmla="*/ 46 w 1602"/>
                <a:gd name="T97" fmla="*/ 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02" h="2293">
                  <a:moveTo>
                    <a:pt x="46" y="0"/>
                  </a:moveTo>
                  <a:lnTo>
                    <a:pt x="46" y="0"/>
                  </a:lnTo>
                  <a:lnTo>
                    <a:pt x="36" y="39"/>
                  </a:lnTo>
                  <a:lnTo>
                    <a:pt x="27" y="79"/>
                  </a:lnTo>
                  <a:lnTo>
                    <a:pt x="19" y="118"/>
                  </a:lnTo>
                  <a:lnTo>
                    <a:pt x="12" y="158"/>
                  </a:lnTo>
                  <a:lnTo>
                    <a:pt x="8" y="197"/>
                  </a:lnTo>
                  <a:lnTo>
                    <a:pt x="4" y="236"/>
                  </a:lnTo>
                  <a:lnTo>
                    <a:pt x="2" y="276"/>
                  </a:lnTo>
                  <a:lnTo>
                    <a:pt x="0" y="315"/>
                  </a:lnTo>
                  <a:lnTo>
                    <a:pt x="0" y="354"/>
                  </a:lnTo>
                  <a:lnTo>
                    <a:pt x="1" y="394"/>
                  </a:lnTo>
                  <a:lnTo>
                    <a:pt x="3" y="433"/>
                  </a:lnTo>
                  <a:lnTo>
                    <a:pt x="7" y="473"/>
                  </a:lnTo>
                  <a:lnTo>
                    <a:pt x="10" y="512"/>
                  </a:lnTo>
                  <a:lnTo>
                    <a:pt x="16" y="551"/>
                  </a:lnTo>
                  <a:lnTo>
                    <a:pt x="21" y="591"/>
                  </a:lnTo>
                  <a:lnTo>
                    <a:pt x="27" y="630"/>
                  </a:lnTo>
                  <a:lnTo>
                    <a:pt x="35" y="668"/>
                  </a:lnTo>
                  <a:lnTo>
                    <a:pt x="43" y="708"/>
                  </a:lnTo>
                  <a:lnTo>
                    <a:pt x="59" y="785"/>
                  </a:lnTo>
                  <a:lnTo>
                    <a:pt x="80" y="862"/>
                  </a:lnTo>
                  <a:lnTo>
                    <a:pt x="101" y="938"/>
                  </a:lnTo>
                  <a:lnTo>
                    <a:pt x="124" y="1014"/>
                  </a:lnTo>
                  <a:lnTo>
                    <a:pt x="147" y="1089"/>
                  </a:lnTo>
                  <a:lnTo>
                    <a:pt x="194" y="1236"/>
                  </a:lnTo>
                  <a:lnTo>
                    <a:pt x="194" y="1236"/>
                  </a:lnTo>
                  <a:lnTo>
                    <a:pt x="209" y="1277"/>
                  </a:lnTo>
                  <a:lnTo>
                    <a:pt x="224" y="1319"/>
                  </a:lnTo>
                  <a:lnTo>
                    <a:pt x="242" y="1358"/>
                  </a:lnTo>
                  <a:lnTo>
                    <a:pt x="260" y="1398"/>
                  </a:lnTo>
                  <a:lnTo>
                    <a:pt x="279" y="1437"/>
                  </a:lnTo>
                  <a:lnTo>
                    <a:pt x="299" y="1476"/>
                  </a:lnTo>
                  <a:lnTo>
                    <a:pt x="321" y="1514"/>
                  </a:lnTo>
                  <a:lnTo>
                    <a:pt x="344" y="1551"/>
                  </a:lnTo>
                  <a:lnTo>
                    <a:pt x="369" y="1590"/>
                  </a:lnTo>
                  <a:lnTo>
                    <a:pt x="393" y="1626"/>
                  </a:lnTo>
                  <a:lnTo>
                    <a:pt x="419" y="1662"/>
                  </a:lnTo>
                  <a:lnTo>
                    <a:pt x="445" y="1698"/>
                  </a:lnTo>
                  <a:lnTo>
                    <a:pt x="473" y="1733"/>
                  </a:lnTo>
                  <a:lnTo>
                    <a:pt x="501" y="1767"/>
                  </a:lnTo>
                  <a:lnTo>
                    <a:pt x="531" y="1801"/>
                  </a:lnTo>
                  <a:lnTo>
                    <a:pt x="560" y="1835"/>
                  </a:lnTo>
                  <a:lnTo>
                    <a:pt x="590" y="1869"/>
                  </a:lnTo>
                  <a:lnTo>
                    <a:pt x="621" y="1900"/>
                  </a:lnTo>
                  <a:lnTo>
                    <a:pt x="652" y="1933"/>
                  </a:lnTo>
                  <a:lnTo>
                    <a:pt x="685" y="1963"/>
                  </a:lnTo>
                  <a:lnTo>
                    <a:pt x="749" y="2025"/>
                  </a:lnTo>
                  <a:lnTo>
                    <a:pt x="814" y="2084"/>
                  </a:lnTo>
                  <a:lnTo>
                    <a:pt x="880" y="2139"/>
                  </a:lnTo>
                  <a:lnTo>
                    <a:pt x="948" y="2193"/>
                  </a:lnTo>
                  <a:lnTo>
                    <a:pt x="1014" y="2244"/>
                  </a:lnTo>
                  <a:lnTo>
                    <a:pt x="1081" y="2293"/>
                  </a:lnTo>
                  <a:lnTo>
                    <a:pt x="1081" y="2293"/>
                  </a:lnTo>
                  <a:lnTo>
                    <a:pt x="1081" y="2293"/>
                  </a:lnTo>
                  <a:lnTo>
                    <a:pt x="1106" y="2266"/>
                  </a:lnTo>
                  <a:lnTo>
                    <a:pt x="1132" y="2238"/>
                  </a:lnTo>
                  <a:lnTo>
                    <a:pt x="1157" y="2210"/>
                  </a:lnTo>
                  <a:lnTo>
                    <a:pt x="1182" y="2180"/>
                  </a:lnTo>
                  <a:lnTo>
                    <a:pt x="1205" y="2151"/>
                  </a:lnTo>
                  <a:lnTo>
                    <a:pt x="1228" y="2121"/>
                  </a:lnTo>
                  <a:lnTo>
                    <a:pt x="1249" y="2090"/>
                  </a:lnTo>
                  <a:lnTo>
                    <a:pt x="1270" y="2059"/>
                  </a:lnTo>
                  <a:lnTo>
                    <a:pt x="1290" y="2027"/>
                  </a:lnTo>
                  <a:lnTo>
                    <a:pt x="1310" y="1996"/>
                  </a:lnTo>
                  <a:lnTo>
                    <a:pt x="1328" y="1963"/>
                  </a:lnTo>
                  <a:lnTo>
                    <a:pt x="1346" y="1931"/>
                  </a:lnTo>
                  <a:lnTo>
                    <a:pt x="1363" y="1898"/>
                  </a:lnTo>
                  <a:lnTo>
                    <a:pt x="1380" y="1864"/>
                  </a:lnTo>
                  <a:lnTo>
                    <a:pt x="1395" y="1830"/>
                  </a:lnTo>
                  <a:lnTo>
                    <a:pt x="1410" y="1797"/>
                  </a:lnTo>
                  <a:lnTo>
                    <a:pt x="1425" y="1762"/>
                  </a:lnTo>
                  <a:lnTo>
                    <a:pt x="1438" y="1727"/>
                  </a:lnTo>
                  <a:lnTo>
                    <a:pt x="1452" y="1692"/>
                  </a:lnTo>
                  <a:lnTo>
                    <a:pt x="1464" y="1656"/>
                  </a:lnTo>
                  <a:lnTo>
                    <a:pt x="1475" y="1620"/>
                  </a:lnTo>
                  <a:lnTo>
                    <a:pt x="1487" y="1584"/>
                  </a:lnTo>
                  <a:lnTo>
                    <a:pt x="1508" y="1511"/>
                  </a:lnTo>
                  <a:lnTo>
                    <a:pt x="1526" y="1438"/>
                  </a:lnTo>
                  <a:lnTo>
                    <a:pt x="1542" y="1362"/>
                  </a:lnTo>
                  <a:lnTo>
                    <a:pt x="1556" y="1287"/>
                  </a:lnTo>
                  <a:lnTo>
                    <a:pt x="1568" y="1211"/>
                  </a:lnTo>
                  <a:lnTo>
                    <a:pt x="1578" y="1134"/>
                  </a:lnTo>
                  <a:lnTo>
                    <a:pt x="1586" y="1058"/>
                  </a:lnTo>
                  <a:lnTo>
                    <a:pt x="1592" y="980"/>
                  </a:lnTo>
                  <a:lnTo>
                    <a:pt x="1597" y="902"/>
                  </a:lnTo>
                  <a:lnTo>
                    <a:pt x="1600" y="825"/>
                  </a:lnTo>
                  <a:lnTo>
                    <a:pt x="1602" y="747"/>
                  </a:lnTo>
                  <a:lnTo>
                    <a:pt x="1602" y="671"/>
                  </a:lnTo>
                  <a:lnTo>
                    <a:pt x="1601" y="593"/>
                  </a:lnTo>
                  <a:lnTo>
                    <a:pt x="1600" y="516"/>
                  </a:lnTo>
                  <a:lnTo>
                    <a:pt x="1597" y="440"/>
                  </a:lnTo>
                  <a:lnTo>
                    <a:pt x="1592" y="365"/>
                  </a:lnTo>
                  <a:lnTo>
                    <a:pt x="1588" y="290"/>
                  </a:lnTo>
                  <a:lnTo>
                    <a:pt x="1582" y="216"/>
                  </a:lnTo>
                  <a:lnTo>
                    <a:pt x="1577" y="143"/>
                  </a:lnTo>
                  <a:lnTo>
                    <a:pt x="1562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799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3" name="Freeform 8"/>
            <p:cNvSpPr>
              <a:spLocks/>
            </p:cNvSpPr>
            <p:nvPr userDrawn="1"/>
          </p:nvSpPr>
          <p:spPr bwMode="auto">
            <a:xfrm>
              <a:off x="1588" y="0"/>
              <a:ext cx="7688263" cy="5143500"/>
            </a:xfrm>
            <a:custGeom>
              <a:avLst/>
              <a:gdLst>
                <a:gd name="T0" fmla="*/ 3295 w 4843"/>
                <a:gd name="T1" fmla="*/ 0 h 3240"/>
                <a:gd name="T2" fmla="*/ 0 w 4843"/>
                <a:gd name="T3" fmla="*/ 0 h 3240"/>
                <a:gd name="T4" fmla="*/ 0 w 4843"/>
                <a:gd name="T5" fmla="*/ 3240 h 3240"/>
                <a:gd name="T6" fmla="*/ 4258 w 4843"/>
                <a:gd name="T7" fmla="*/ 3240 h 3240"/>
                <a:gd name="T8" fmla="*/ 4258 w 4843"/>
                <a:gd name="T9" fmla="*/ 3240 h 3240"/>
                <a:gd name="T10" fmla="*/ 4310 w 4843"/>
                <a:gd name="T11" fmla="*/ 3176 h 3240"/>
                <a:gd name="T12" fmla="*/ 4356 w 4843"/>
                <a:gd name="T13" fmla="*/ 3116 h 3240"/>
                <a:gd name="T14" fmla="*/ 4398 w 4843"/>
                <a:gd name="T15" fmla="*/ 3060 h 3240"/>
                <a:gd name="T16" fmla="*/ 4437 w 4843"/>
                <a:gd name="T17" fmla="*/ 3006 h 3240"/>
                <a:gd name="T18" fmla="*/ 4471 w 4843"/>
                <a:gd name="T19" fmla="*/ 2953 h 3240"/>
                <a:gd name="T20" fmla="*/ 4505 w 4843"/>
                <a:gd name="T21" fmla="*/ 2903 h 3240"/>
                <a:gd name="T22" fmla="*/ 4536 w 4843"/>
                <a:gd name="T23" fmla="*/ 2851 h 3240"/>
                <a:gd name="T24" fmla="*/ 4566 w 4843"/>
                <a:gd name="T25" fmla="*/ 2799 h 3240"/>
                <a:gd name="T26" fmla="*/ 4595 w 4843"/>
                <a:gd name="T27" fmla="*/ 2747 h 3240"/>
                <a:gd name="T28" fmla="*/ 4626 w 4843"/>
                <a:gd name="T29" fmla="*/ 2692 h 3240"/>
                <a:gd name="T30" fmla="*/ 4687 w 4843"/>
                <a:gd name="T31" fmla="*/ 2576 h 3240"/>
                <a:gd name="T32" fmla="*/ 4758 w 4843"/>
                <a:gd name="T33" fmla="*/ 2445 h 3240"/>
                <a:gd name="T34" fmla="*/ 4798 w 4843"/>
                <a:gd name="T35" fmla="*/ 2372 h 3240"/>
                <a:gd name="T36" fmla="*/ 4843 w 4843"/>
                <a:gd name="T37" fmla="*/ 2293 h 3240"/>
                <a:gd name="T38" fmla="*/ 4843 w 4843"/>
                <a:gd name="T39" fmla="*/ 2293 h 3240"/>
                <a:gd name="T40" fmla="*/ 4769 w 4843"/>
                <a:gd name="T41" fmla="*/ 2239 h 3240"/>
                <a:gd name="T42" fmla="*/ 4700 w 4843"/>
                <a:gd name="T43" fmla="*/ 2184 h 3240"/>
                <a:gd name="T44" fmla="*/ 4632 w 4843"/>
                <a:gd name="T45" fmla="*/ 2127 h 3240"/>
                <a:gd name="T46" fmla="*/ 4566 w 4843"/>
                <a:gd name="T47" fmla="*/ 2069 h 3240"/>
                <a:gd name="T48" fmla="*/ 4503 w 4843"/>
                <a:gd name="T49" fmla="*/ 2010 h 3240"/>
                <a:gd name="T50" fmla="*/ 4442 w 4843"/>
                <a:gd name="T51" fmla="*/ 1951 h 3240"/>
                <a:gd name="T52" fmla="*/ 4383 w 4843"/>
                <a:gd name="T53" fmla="*/ 1889 h 3240"/>
                <a:gd name="T54" fmla="*/ 4325 w 4843"/>
                <a:gd name="T55" fmla="*/ 1827 h 3240"/>
                <a:gd name="T56" fmla="*/ 4270 w 4843"/>
                <a:gd name="T57" fmla="*/ 1763 h 3240"/>
                <a:gd name="T58" fmla="*/ 4216 w 4843"/>
                <a:gd name="T59" fmla="*/ 1699 h 3240"/>
                <a:gd name="T60" fmla="*/ 4164 w 4843"/>
                <a:gd name="T61" fmla="*/ 1632 h 3240"/>
                <a:gd name="T62" fmla="*/ 4114 w 4843"/>
                <a:gd name="T63" fmla="*/ 1565 h 3240"/>
                <a:gd name="T64" fmla="*/ 4064 w 4843"/>
                <a:gd name="T65" fmla="*/ 1497 h 3240"/>
                <a:gd name="T66" fmla="*/ 4017 w 4843"/>
                <a:gd name="T67" fmla="*/ 1428 h 3240"/>
                <a:gd name="T68" fmla="*/ 3970 w 4843"/>
                <a:gd name="T69" fmla="*/ 1358 h 3240"/>
                <a:gd name="T70" fmla="*/ 3925 w 4843"/>
                <a:gd name="T71" fmla="*/ 1286 h 3240"/>
                <a:gd name="T72" fmla="*/ 3881 w 4843"/>
                <a:gd name="T73" fmla="*/ 1214 h 3240"/>
                <a:gd name="T74" fmla="*/ 3838 w 4843"/>
                <a:gd name="T75" fmla="*/ 1140 h 3240"/>
                <a:gd name="T76" fmla="*/ 3796 w 4843"/>
                <a:gd name="T77" fmla="*/ 1065 h 3240"/>
                <a:gd name="T78" fmla="*/ 3755 w 4843"/>
                <a:gd name="T79" fmla="*/ 989 h 3240"/>
                <a:gd name="T80" fmla="*/ 3715 w 4843"/>
                <a:gd name="T81" fmla="*/ 912 h 3240"/>
                <a:gd name="T82" fmla="*/ 3674 w 4843"/>
                <a:gd name="T83" fmla="*/ 835 h 3240"/>
                <a:gd name="T84" fmla="*/ 3635 w 4843"/>
                <a:gd name="T85" fmla="*/ 755 h 3240"/>
                <a:gd name="T86" fmla="*/ 3597 w 4843"/>
                <a:gd name="T87" fmla="*/ 675 h 3240"/>
                <a:gd name="T88" fmla="*/ 3558 w 4843"/>
                <a:gd name="T89" fmla="*/ 594 h 3240"/>
                <a:gd name="T90" fmla="*/ 3520 w 4843"/>
                <a:gd name="T91" fmla="*/ 512 h 3240"/>
                <a:gd name="T92" fmla="*/ 3446 w 4843"/>
                <a:gd name="T93" fmla="*/ 345 h 3240"/>
                <a:gd name="T94" fmla="*/ 3370 w 4843"/>
                <a:gd name="T95" fmla="*/ 174 h 3240"/>
                <a:gd name="T96" fmla="*/ 3295 w 4843"/>
                <a:gd name="T97" fmla="*/ 0 h 3240"/>
                <a:gd name="T98" fmla="*/ 3295 w 4843"/>
                <a:gd name="T99" fmla="*/ 0 h 3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843" h="3240">
                  <a:moveTo>
                    <a:pt x="3295" y="0"/>
                  </a:moveTo>
                  <a:lnTo>
                    <a:pt x="0" y="0"/>
                  </a:lnTo>
                  <a:lnTo>
                    <a:pt x="0" y="3240"/>
                  </a:lnTo>
                  <a:lnTo>
                    <a:pt x="4258" y="3240"/>
                  </a:lnTo>
                  <a:lnTo>
                    <a:pt x="4258" y="3240"/>
                  </a:lnTo>
                  <a:lnTo>
                    <a:pt x="4310" y="3176"/>
                  </a:lnTo>
                  <a:lnTo>
                    <a:pt x="4356" y="3116"/>
                  </a:lnTo>
                  <a:lnTo>
                    <a:pt x="4398" y="3060"/>
                  </a:lnTo>
                  <a:lnTo>
                    <a:pt x="4437" y="3006"/>
                  </a:lnTo>
                  <a:lnTo>
                    <a:pt x="4471" y="2953"/>
                  </a:lnTo>
                  <a:lnTo>
                    <a:pt x="4505" y="2903"/>
                  </a:lnTo>
                  <a:lnTo>
                    <a:pt x="4536" y="2851"/>
                  </a:lnTo>
                  <a:lnTo>
                    <a:pt x="4566" y="2799"/>
                  </a:lnTo>
                  <a:lnTo>
                    <a:pt x="4595" y="2747"/>
                  </a:lnTo>
                  <a:lnTo>
                    <a:pt x="4626" y="2692"/>
                  </a:lnTo>
                  <a:lnTo>
                    <a:pt x="4687" y="2576"/>
                  </a:lnTo>
                  <a:lnTo>
                    <a:pt x="4758" y="2445"/>
                  </a:lnTo>
                  <a:lnTo>
                    <a:pt x="4798" y="2372"/>
                  </a:lnTo>
                  <a:lnTo>
                    <a:pt x="4843" y="2293"/>
                  </a:lnTo>
                  <a:lnTo>
                    <a:pt x="4843" y="2293"/>
                  </a:lnTo>
                  <a:lnTo>
                    <a:pt x="4769" y="2239"/>
                  </a:lnTo>
                  <a:lnTo>
                    <a:pt x="4700" y="2184"/>
                  </a:lnTo>
                  <a:lnTo>
                    <a:pt x="4632" y="2127"/>
                  </a:lnTo>
                  <a:lnTo>
                    <a:pt x="4566" y="2069"/>
                  </a:lnTo>
                  <a:lnTo>
                    <a:pt x="4503" y="2010"/>
                  </a:lnTo>
                  <a:lnTo>
                    <a:pt x="4442" y="1951"/>
                  </a:lnTo>
                  <a:lnTo>
                    <a:pt x="4383" y="1889"/>
                  </a:lnTo>
                  <a:lnTo>
                    <a:pt x="4325" y="1827"/>
                  </a:lnTo>
                  <a:lnTo>
                    <a:pt x="4270" y="1763"/>
                  </a:lnTo>
                  <a:lnTo>
                    <a:pt x="4216" y="1699"/>
                  </a:lnTo>
                  <a:lnTo>
                    <a:pt x="4164" y="1632"/>
                  </a:lnTo>
                  <a:lnTo>
                    <a:pt x="4114" y="1565"/>
                  </a:lnTo>
                  <a:lnTo>
                    <a:pt x="4064" y="1497"/>
                  </a:lnTo>
                  <a:lnTo>
                    <a:pt x="4017" y="1428"/>
                  </a:lnTo>
                  <a:lnTo>
                    <a:pt x="3970" y="1358"/>
                  </a:lnTo>
                  <a:lnTo>
                    <a:pt x="3925" y="1286"/>
                  </a:lnTo>
                  <a:lnTo>
                    <a:pt x="3881" y="1214"/>
                  </a:lnTo>
                  <a:lnTo>
                    <a:pt x="3838" y="1140"/>
                  </a:lnTo>
                  <a:lnTo>
                    <a:pt x="3796" y="1065"/>
                  </a:lnTo>
                  <a:lnTo>
                    <a:pt x="3755" y="989"/>
                  </a:lnTo>
                  <a:lnTo>
                    <a:pt x="3715" y="912"/>
                  </a:lnTo>
                  <a:lnTo>
                    <a:pt x="3674" y="835"/>
                  </a:lnTo>
                  <a:lnTo>
                    <a:pt x="3635" y="755"/>
                  </a:lnTo>
                  <a:lnTo>
                    <a:pt x="3597" y="675"/>
                  </a:lnTo>
                  <a:lnTo>
                    <a:pt x="3558" y="594"/>
                  </a:lnTo>
                  <a:lnTo>
                    <a:pt x="3520" y="512"/>
                  </a:lnTo>
                  <a:lnTo>
                    <a:pt x="3446" y="345"/>
                  </a:lnTo>
                  <a:lnTo>
                    <a:pt x="3370" y="174"/>
                  </a:lnTo>
                  <a:lnTo>
                    <a:pt x="3295" y="0"/>
                  </a:lnTo>
                  <a:lnTo>
                    <a:pt x="3295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4" name="Freeform 9"/>
            <p:cNvSpPr>
              <a:spLocks/>
            </p:cNvSpPr>
            <p:nvPr userDrawn="1"/>
          </p:nvSpPr>
          <p:spPr bwMode="auto">
            <a:xfrm>
              <a:off x="7689851" y="0"/>
              <a:ext cx="1452563" cy="3640138"/>
            </a:xfrm>
            <a:custGeom>
              <a:avLst/>
              <a:gdLst>
                <a:gd name="T0" fmla="*/ 915 w 915"/>
                <a:gd name="T1" fmla="*/ 1753 h 2293"/>
                <a:gd name="T2" fmla="*/ 915 w 915"/>
                <a:gd name="T3" fmla="*/ 0 h 2293"/>
                <a:gd name="T4" fmla="*/ 240 w 915"/>
                <a:gd name="T5" fmla="*/ 0 h 2293"/>
                <a:gd name="T6" fmla="*/ 240 w 915"/>
                <a:gd name="T7" fmla="*/ 0 h 2293"/>
                <a:gd name="T8" fmla="*/ 247 w 915"/>
                <a:gd name="T9" fmla="*/ 70 h 2293"/>
                <a:gd name="T10" fmla="*/ 254 w 915"/>
                <a:gd name="T11" fmla="*/ 141 h 2293"/>
                <a:gd name="T12" fmla="*/ 259 w 915"/>
                <a:gd name="T13" fmla="*/ 212 h 2293"/>
                <a:gd name="T14" fmla="*/ 263 w 915"/>
                <a:gd name="T15" fmla="*/ 282 h 2293"/>
                <a:gd name="T16" fmla="*/ 266 w 915"/>
                <a:gd name="T17" fmla="*/ 353 h 2293"/>
                <a:gd name="T18" fmla="*/ 269 w 915"/>
                <a:gd name="T19" fmla="*/ 424 h 2293"/>
                <a:gd name="T20" fmla="*/ 271 w 915"/>
                <a:gd name="T21" fmla="*/ 496 h 2293"/>
                <a:gd name="T22" fmla="*/ 272 w 915"/>
                <a:gd name="T23" fmla="*/ 567 h 2293"/>
                <a:gd name="T24" fmla="*/ 271 w 915"/>
                <a:gd name="T25" fmla="*/ 639 h 2293"/>
                <a:gd name="T26" fmla="*/ 269 w 915"/>
                <a:gd name="T27" fmla="*/ 710 h 2293"/>
                <a:gd name="T28" fmla="*/ 268 w 915"/>
                <a:gd name="T29" fmla="*/ 782 h 2293"/>
                <a:gd name="T30" fmla="*/ 265 w 915"/>
                <a:gd name="T31" fmla="*/ 854 h 2293"/>
                <a:gd name="T32" fmla="*/ 260 w 915"/>
                <a:gd name="T33" fmla="*/ 925 h 2293"/>
                <a:gd name="T34" fmla="*/ 256 w 915"/>
                <a:gd name="T35" fmla="*/ 997 h 2293"/>
                <a:gd name="T36" fmla="*/ 250 w 915"/>
                <a:gd name="T37" fmla="*/ 1069 h 2293"/>
                <a:gd name="T38" fmla="*/ 242 w 915"/>
                <a:gd name="T39" fmla="*/ 1141 h 2293"/>
                <a:gd name="T40" fmla="*/ 235 w 915"/>
                <a:gd name="T41" fmla="*/ 1213 h 2293"/>
                <a:gd name="T42" fmla="*/ 227 w 915"/>
                <a:gd name="T43" fmla="*/ 1285 h 2293"/>
                <a:gd name="T44" fmla="*/ 217 w 915"/>
                <a:gd name="T45" fmla="*/ 1357 h 2293"/>
                <a:gd name="T46" fmla="*/ 205 w 915"/>
                <a:gd name="T47" fmla="*/ 1429 h 2293"/>
                <a:gd name="T48" fmla="*/ 194 w 915"/>
                <a:gd name="T49" fmla="*/ 1502 h 2293"/>
                <a:gd name="T50" fmla="*/ 182 w 915"/>
                <a:gd name="T51" fmla="*/ 1574 h 2293"/>
                <a:gd name="T52" fmla="*/ 167 w 915"/>
                <a:gd name="T53" fmla="*/ 1646 h 2293"/>
                <a:gd name="T54" fmla="*/ 153 w 915"/>
                <a:gd name="T55" fmla="*/ 1718 h 2293"/>
                <a:gd name="T56" fmla="*/ 137 w 915"/>
                <a:gd name="T57" fmla="*/ 1790 h 2293"/>
                <a:gd name="T58" fmla="*/ 121 w 915"/>
                <a:gd name="T59" fmla="*/ 1862 h 2293"/>
                <a:gd name="T60" fmla="*/ 103 w 915"/>
                <a:gd name="T61" fmla="*/ 1934 h 2293"/>
                <a:gd name="T62" fmla="*/ 84 w 915"/>
                <a:gd name="T63" fmla="*/ 2006 h 2293"/>
                <a:gd name="T64" fmla="*/ 65 w 915"/>
                <a:gd name="T65" fmla="*/ 2078 h 2293"/>
                <a:gd name="T66" fmla="*/ 43 w 915"/>
                <a:gd name="T67" fmla="*/ 2150 h 2293"/>
                <a:gd name="T68" fmla="*/ 22 w 915"/>
                <a:gd name="T69" fmla="*/ 2221 h 2293"/>
                <a:gd name="T70" fmla="*/ 0 w 915"/>
                <a:gd name="T71" fmla="*/ 2293 h 2293"/>
                <a:gd name="T72" fmla="*/ 0 w 915"/>
                <a:gd name="T73" fmla="*/ 2293 h 2293"/>
                <a:gd name="T74" fmla="*/ 52 w 915"/>
                <a:gd name="T75" fmla="*/ 2255 h 2293"/>
                <a:gd name="T76" fmla="*/ 108 w 915"/>
                <a:gd name="T77" fmla="*/ 2216 h 2293"/>
                <a:gd name="T78" fmla="*/ 162 w 915"/>
                <a:gd name="T79" fmla="*/ 2179 h 2293"/>
                <a:gd name="T80" fmla="*/ 218 w 915"/>
                <a:gd name="T81" fmla="*/ 2142 h 2293"/>
                <a:gd name="T82" fmla="*/ 273 w 915"/>
                <a:gd name="T83" fmla="*/ 2106 h 2293"/>
                <a:gd name="T84" fmla="*/ 329 w 915"/>
                <a:gd name="T85" fmla="*/ 2071 h 2293"/>
                <a:gd name="T86" fmla="*/ 385 w 915"/>
                <a:gd name="T87" fmla="*/ 2036 h 2293"/>
                <a:gd name="T88" fmla="*/ 443 w 915"/>
                <a:gd name="T89" fmla="*/ 2001 h 2293"/>
                <a:gd name="T90" fmla="*/ 500 w 915"/>
                <a:gd name="T91" fmla="*/ 1969 h 2293"/>
                <a:gd name="T92" fmla="*/ 558 w 915"/>
                <a:gd name="T93" fmla="*/ 1935 h 2293"/>
                <a:gd name="T94" fmla="*/ 617 w 915"/>
                <a:gd name="T95" fmla="*/ 1904 h 2293"/>
                <a:gd name="T96" fmla="*/ 675 w 915"/>
                <a:gd name="T97" fmla="*/ 1872 h 2293"/>
                <a:gd name="T98" fmla="*/ 735 w 915"/>
                <a:gd name="T99" fmla="*/ 1842 h 2293"/>
                <a:gd name="T100" fmla="*/ 795 w 915"/>
                <a:gd name="T101" fmla="*/ 1811 h 2293"/>
                <a:gd name="T102" fmla="*/ 854 w 915"/>
                <a:gd name="T103" fmla="*/ 1782 h 2293"/>
                <a:gd name="T104" fmla="*/ 915 w 915"/>
                <a:gd name="T105" fmla="*/ 1753 h 2293"/>
                <a:gd name="T106" fmla="*/ 915 w 915"/>
                <a:gd name="T107" fmla="*/ 1753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5" h="2293">
                  <a:moveTo>
                    <a:pt x="915" y="1753"/>
                  </a:moveTo>
                  <a:lnTo>
                    <a:pt x="915" y="0"/>
                  </a:lnTo>
                  <a:lnTo>
                    <a:pt x="240" y="0"/>
                  </a:lnTo>
                  <a:lnTo>
                    <a:pt x="240" y="0"/>
                  </a:lnTo>
                  <a:lnTo>
                    <a:pt x="247" y="70"/>
                  </a:lnTo>
                  <a:lnTo>
                    <a:pt x="254" y="141"/>
                  </a:lnTo>
                  <a:lnTo>
                    <a:pt x="259" y="212"/>
                  </a:lnTo>
                  <a:lnTo>
                    <a:pt x="263" y="282"/>
                  </a:lnTo>
                  <a:lnTo>
                    <a:pt x="266" y="353"/>
                  </a:lnTo>
                  <a:lnTo>
                    <a:pt x="269" y="424"/>
                  </a:lnTo>
                  <a:lnTo>
                    <a:pt x="271" y="496"/>
                  </a:lnTo>
                  <a:lnTo>
                    <a:pt x="272" y="567"/>
                  </a:lnTo>
                  <a:lnTo>
                    <a:pt x="271" y="639"/>
                  </a:lnTo>
                  <a:lnTo>
                    <a:pt x="269" y="710"/>
                  </a:lnTo>
                  <a:lnTo>
                    <a:pt x="268" y="782"/>
                  </a:lnTo>
                  <a:lnTo>
                    <a:pt x="265" y="854"/>
                  </a:lnTo>
                  <a:lnTo>
                    <a:pt x="260" y="925"/>
                  </a:lnTo>
                  <a:lnTo>
                    <a:pt x="256" y="997"/>
                  </a:lnTo>
                  <a:lnTo>
                    <a:pt x="250" y="1069"/>
                  </a:lnTo>
                  <a:lnTo>
                    <a:pt x="242" y="1141"/>
                  </a:lnTo>
                  <a:lnTo>
                    <a:pt x="235" y="1213"/>
                  </a:lnTo>
                  <a:lnTo>
                    <a:pt x="227" y="1285"/>
                  </a:lnTo>
                  <a:lnTo>
                    <a:pt x="217" y="1357"/>
                  </a:lnTo>
                  <a:lnTo>
                    <a:pt x="205" y="1429"/>
                  </a:lnTo>
                  <a:lnTo>
                    <a:pt x="194" y="1502"/>
                  </a:lnTo>
                  <a:lnTo>
                    <a:pt x="182" y="1574"/>
                  </a:lnTo>
                  <a:lnTo>
                    <a:pt x="167" y="1646"/>
                  </a:lnTo>
                  <a:lnTo>
                    <a:pt x="153" y="1718"/>
                  </a:lnTo>
                  <a:lnTo>
                    <a:pt x="137" y="1790"/>
                  </a:lnTo>
                  <a:lnTo>
                    <a:pt x="121" y="1862"/>
                  </a:lnTo>
                  <a:lnTo>
                    <a:pt x="103" y="1934"/>
                  </a:lnTo>
                  <a:lnTo>
                    <a:pt x="84" y="2006"/>
                  </a:lnTo>
                  <a:lnTo>
                    <a:pt x="65" y="2078"/>
                  </a:lnTo>
                  <a:lnTo>
                    <a:pt x="43" y="2150"/>
                  </a:lnTo>
                  <a:lnTo>
                    <a:pt x="22" y="2221"/>
                  </a:lnTo>
                  <a:lnTo>
                    <a:pt x="0" y="2293"/>
                  </a:lnTo>
                  <a:lnTo>
                    <a:pt x="0" y="2293"/>
                  </a:lnTo>
                  <a:lnTo>
                    <a:pt x="52" y="2255"/>
                  </a:lnTo>
                  <a:lnTo>
                    <a:pt x="108" y="2216"/>
                  </a:lnTo>
                  <a:lnTo>
                    <a:pt x="162" y="2179"/>
                  </a:lnTo>
                  <a:lnTo>
                    <a:pt x="218" y="2142"/>
                  </a:lnTo>
                  <a:lnTo>
                    <a:pt x="273" y="2106"/>
                  </a:lnTo>
                  <a:lnTo>
                    <a:pt x="329" y="2071"/>
                  </a:lnTo>
                  <a:lnTo>
                    <a:pt x="385" y="2036"/>
                  </a:lnTo>
                  <a:lnTo>
                    <a:pt x="443" y="2001"/>
                  </a:lnTo>
                  <a:lnTo>
                    <a:pt x="500" y="1969"/>
                  </a:lnTo>
                  <a:lnTo>
                    <a:pt x="558" y="1935"/>
                  </a:lnTo>
                  <a:lnTo>
                    <a:pt x="617" y="1904"/>
                  </a:lnTo>
                  <a:lnTo>
                    <a:pt x="675" y="1872"/>
                  </a:lnTo>
                  <a:lnTo>
                    <a:pt x="735" y="1842"/>
                  </a:lnTo>
                  <a:lnTo>
                    <a:pt x="795" y="1811"/>
                  </a:lnTo>
                  <a:lnTo>
                    <a:pt x="854" y="1782"/>
                  </a:lnTo>
                  <a:lnTo>
                    <a:pt x="915" y="1753"/>
                  </a:lnTo>
                  <a:lnTo>
                    <a:pt x="915" y="1753"/>
                  </a:lnTo>
                  <a:close/>
                </a:path>
              </a:pathLst>
            </a:custGeom>
            <a:solidFill>
              <a:srgbClr val="BCC8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7689851" y="3640138"/>
              <a:ext cx="1452563" cy="857250"/>
            </a:xfrm>
            <a:custGeom>
              <a:avLst/>
              <a:gdLst>
                <a:gd name="T0" fmla="*/ 915 w 915"/>
                <a:gd name="T1" fmla="*/ 378 h 540"/>
                <a:gd name="T2" fmla="*/ 915 w 915"/>
                <a:gd name="T3" fmla="*/ 378 h 540"/>
                <a:gd name="T4" fmla="*/ 854 w 915"/>
                <a:gd name="T5" fmla="*/ 368 h 540"/>
                <a:gd name="T6" fmla="*/ 795 w 915"/>
                <a:gd name="T7" fmla="*/ 356 h 540"/>
                <a:gd name="T8" fmla="*/ 735 w 915"/>
                <a:gd name="T9" fmla="*/ 342 h 540"/>
                <a:gd name="T10" fmla="*/ 675 w 915"/>
                <a:gd name="T11" fmla="*/ 327 h 540"/>
                <a:gd name="T12" fmla="*/ 617 w 915"/>
                <a:gd name="T13" fmla="*/ 309 h 540"/>
                <a:gd name="T14" fmla="*/ 558 w 915"/>
                <a:gd name="T15" fmla="*/ 290 h 540"/>
                <a:gd name="T16" fmla="*/ 500 w 915"/>
                <a:gd name="T17" fmla="*/ 270 h 540"/>
                <a:gd name="T18" fmla="*/ 442 w 915"/>
                <a:gd name="T19" fmla="*/ 247 h 540"/>
                <a:gd name="T20" fmla="*/ 384 w 915"/>
                <a:gd name="T21" fmla="*/ 223 h 540"/>
                <a:gd name="T22" fmla="*/ 328 w 915"/>
                <a:gd name="T23" fmla="*/ 196 h 540"/>
                <a:gd name="T24" fmla="*/ 272 w 915"/>
                <a:gd name="T25" fmla="*/ 167 h 540"/>
                <a:gd name="T26" fmla="*/ 215 w 915"/>
                <a:gd name="T27" fmla="*/ 138 h 540"/>
                <a:gd name="T28" fmla="*/ 160 w 915"/>
                <a:gd name="T29" fmla="*/ 107 h 540"/>
                <a:gd name="T30" fmla="*/ 106 w 915"/>
                <a:gd name="T31" fmla="*/ 73 h 540"/>
                <a:gd name="T32" fmla="*/ 52 w 915"/>
                <a:gd name="T33" fmla="*/ 37 h 540"/>
                <a:gd name="T34" fmla="*/ 0 w 915"/>
                <a:gd name="T35" fmla="*/ 0 h 540"/>
                <a:gd name="T36" fmla="*/ 0 w 915"/>
                <a:gd name="T37" fmla="*/ 0 h 540"/>
                <a:gd name="T38" fmla="*/ 55 w 915"/>
                <a:gd name="T39" fmla="*/ 39 h 540"/>
                <a:gd name="T40" fmla="*/ 110 w 915"/>
                <a:gd name="T41" fmla="*/ 79 h 540"/>
                <a:gd name="T42" fmla="*/ 165 w 915"/>
                <a:gd name="T43" fmla="*/ 116 h 540"/>
                <a:gd name="T44" fmla="*/ 221 w 915"/>
                <a:gd name="T45" fmla="*/ 153 h 540"/>
                <a:gd name="T46" fmla="*/ 277 w 915"/>
                <a:gd name="T47" fmla="*/ 190 h 540"/>
                <a:gd name="T48" fmla="*/ 334 w 915"/>
                <a:gd name="T49" fmla="*/ 225 h 540"/>
                <a:gd name="T50" fmla="*/ 391 w 915"/>
                <a:gd name="T51" fmla="*/ 260 h 540"/>
                <a:gd name="T52" fmla="*/ 448 w 915"/>
                <a:gd name="T53" fmla="*/ 295 h 540"/>
                <a:gd name="T54" fmla="*/ 506 w 915"/>
                <a:gd name="T55" fmla="*/ 327 h 540"/>
                <a:gd name="T56" fmla="*/ 563 w 915"/>
                <a:gd name="T57" fmla="*/ 360 h 540"/>
                <a:gd name="T58" fmla="*/ 621 w 915"/>
                <a:gd name="T59" fmla="*/ 392 h 540"/>
                <a:gd name="T60" fmla="*/ 679 w 915"/>
                <a:gd name="T61" fmla="*/ 423 h 540"/>
                <a:gd name="T62" fmla="*/ 737 w 915"/>
                <a:gd name="T63" fmla="*/ 453 h 540"/>
                <a:gd name="T64" fmla="*/ 797 w 915"/>
                <a:gd name="T65" fmla="*/ 482 h 540"/>
                <a:gd name="T66" fmla="*/ 855 w 915"/>
                <a:gd name="T67" fmla="*/ 512 h 540"/>
                <a:gd name="T68" fmla="*/ 915 w 915"/>
                <a:gd name="T69" fmla="*/ 540 h 540"/>
                <a:gd name="T70" fmla="*/ 915 w 915"/>
                <a:gd name="T71" fmla="*/ 378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15" h="540">
                  <a:moveTo>
                    <a:pt x="915" y="378"/>
                  </a:moveTo>
                  <a:lnTo>
                    <a:pt x="915" y="378"/>
                  </a:lnTo>
                  <a:lnTo>
                    <a:pt x="854" y="368"/>
                  </a:lnTo>
                  <a:lnTo>
                    <a:pt x="795" y="356"/>
                  </a:lnTo>
                  <a:lnTo>
                    <a:pt x="735" y="342"/>
                  </a:lnTo>
                  <a:lnTo>
                    <a:pt x="675" y="327"/>
                  </a:lnTo>
                  <a:lnTo>
                    <a:pt x="617" y="309"/>
                  </a:lnTo>
                  <a:lnTo>
                    <a:pt x="558" y="290"/>
                  </a:lnTo>
                  <a:lnTo>
                    <a:pt x="500" y="270"/>
                  </a:lnTo>
                  <a:lnTo>
                    <a:pt x="442" y="247"/>
                  </a:lnTo>
                  <a:lnTo>
                    <a:pt x="384" y="223"/>
                  </a:lnTo>
                  <a:lnTo>
                    <a:pt x="328" y="196"/>
                  </a:lnTo>
                  <a:lnTo>
                    <a:pt x="272" y="167"/>
                  </a:lnTo>
                  <a:lnTo>
                    <a:pt x="215" y="138"/>
                  </a:lnTo>
                  <a:lnTo>
                    <a:pt x="160" y="107"/>
                  </a:lnTo>
                  <a:lnTo>
                    <a:pt x="106" y="73"/>
                  </a:lnTo>
                  <a:lnTo>
                    <a:pt x="52" y="37"/>
                  </a:lnTo>
                  <a:lnTo>
                    <a:pt x="0" y="0"/>
                  </a:lnTo>
                  <a:lnTo>
                    <a:pt x="0" y="0"/>
                  </a:lnTo>
                  <a:lnTo>
                    <a:pt x="55" y="39"/>
                  </a:lnTo>
                  <a:lnTo>
                    <a:pt x="110" y="79"/>
                  </a:lnTo>
                  <a:lnTo>
                    <a:pt x="165" y="116"/>
                  </a:lnTo>
                  <a:lnTo>
                    <a:pt x="221" y="153"/>
                  </a:lnTo>
                  <a:lnTo>
                    <a:pt x="277" y="190"/>
                  </a:lnTo>
                  <a:lnTo>
                    <a:pt x="334" y="225"/>
                  </a:lnTo>
                  <a:lnTo>
                    <a:pt x="391" y="260"/>
                  </a:lnTo>
                  <a:lnTo>
                    <a:pt x="448" y="295"/>
                  </a:lnTo>
                  <a:lnTo>
                    <a:pt x="506" y="327"/>
                  </a:lnTo>
                  <a:lnTo>
                    <a:pt x="563" y="360"/>
                  </a:lnTo>
                  <a:lnTo>
                    <a:pt x="621" y="392"/>
                  </a:lnTo>
                  <a:lnTo>
                    <a:pt x="679" y="423"/>
                  </a:lnTo>
                  <a:lnTo>
                    <a:pt x="737" y="453"/>
                  </a:lnTo>
                  <a:lnTo>
                    <a:pt x="797" y="482"/>
                  </a:lnTo>
                  <a:lnTo>
                    <a:pt x="855" y="512"/>
                  </a:lnTo>
                  <a:lnTo>
                    <a:pt x="915" y="540"/>
                  </a:lnTo>
                  <a:lnTo>
                    <a:pt x="915" y="378"/>
                  </a:lnTo>
                  <a:close/>
                </a:path>
              </a:pathLst>
            </a:custGeom>
            <a:solidFill>
              <a:srgbClr val="587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6" name="Freeform 11"/>
            <p:cNvSpPr>
              <a:spLocks/>
            </p:cNvSpPr>
            <p:nvPr userDrawn="1"/>
          </p:nvSpPr>
          <p:spPr bwMode="auto">
            <a:xfrm>
              <a:off x="4776788" y="0"/>
              <a:ext cx="2913063" cy="3640138"/>
            </a:xfrm>
            <a:custGeom>
              <a:avLst/>
              <a:gdLst>
                <a:gd name="T0" fmla="*/ 1065 w 1835"/>
                <a:gd name="T1" fmla="*/ 1236 h 2293"/>
                <a:gd name="T2" fmla="*/ 1043 w 1835"/>
                <a:gd name="T3" fmla="*/ 1163 h 2293"/>
                <a:gd name="T4" fmla="*/ 1024 w 1835"/>
                <a:gd name="T5" fmla="*/ 1089 h 2293"/>
                <a:gd name="T6" fmla="*/ 1006 w 1835"/>
                <a:gd name="T7" fmla="*/ 1014 h 2293"/>
                <a:gd name="T8" fmla="*/ 992 w 1835"/>
                <a:gd name="T9" fmla="*/ 938 h 2293"/>
                <a:gd name="T10" fmla="*/ 980 w 1835"/>
                <a:gd name="T11" fmla="*/ 862 h 2293"/>
                <a:gd name="T12" fmla="*/ 971 w 1835"/>
                <a:gd name="T13" fmla="*/ 785 h 2293"/>
                <a:gd name="T14" fmla="*/ 965 w 1835"/>
                <a:gd name="T15" fmla="*/ 708 h 2293"/>
                <a:gd name="T16" fmla="*/ 962 w 1835"/>
                <a:gd name="T17" fmla="*/ 630 h 2293"/>
                <a:gd name="T18" fmla="*/ 962 w 1835"/>
                <a:gd name="T19" fmla="*/ 551 h 2293"/>
                <a:gd name="T20" fmla="*/ 964 w 1835"/>
                <a:gd name="T21" fmla="*/ 473 h 2293"/>
                <a:gd name="T22" fmla="*/ 970 w 1835"/>
                <a:gd name="T23" fmla="*/ 394 h 2293"/>
                <a:gd name="T24" fmla="*/ 979 w 1835"/>
                <a:gd name="T25" fmla="*/ 315 h 2293"/>
                <a:gd name="T26" fmla="*/ 991 w 1835"/>
                <a:gd name="T27" fmla="*/ 236 h 2293"/>
                <a:gd name="T28" fmla="*/ 1006 w 1835"/>
                <a:gd name="T29" fmla="*/ 158 h 2293"/>
                <a:gd name="T30" fmla="*/ 1024 w 1835"/>
                <a:gd name="T31" fmla="*/ 79 h 2293"/>
                <a:gd name="T32" fmla="*/ 1044 w 1835"/>
                <a:gd name="T33" fmla="*/ 0 h 2293"/>
                <a:gd name="T34" fmla="*/ 0 w 1835"/>
                <a:gd name="T35" fmla="*/ 0 h 2293"/>
                <a:gd name="T36" fmla="*/ 79 w 1835"/>
                <a:gd name="T37" fmla="*/ 174 h 2293"/>
                <a:gd name="T38" fmla="*/ 162 w 1835"/>
                <a:gd name="T39" fmla="*/ 345 h 2293"/>
                <a:gd name="T40" fmla="*/ 252 w 1835"/>
                <a:gd name="T41" fmla="*/ 512 h 2293"/>
                <a:gd name="T42" fmla="*/ 347 w 1835"/>
                <a:gd name="T43" fmla="*/ 675 h 2293"/>
                <a:gd name="T44" fmla="*/ 446 w 1835"/>
                <a:gd name="T45" fmla="*/ 835 h 2293"/>
                <a:gd name="T46" fmla="*/ 550 w 1835"/>
                <a:gd name="T47" fmla="*/ 989 h 2293"/>
                <a:gd name="T48" fmla="*/ 659 w 1835"/>
                <a:gd name="T49" fmla="*/ 1140 h 2293"/>
                <a:gd name="T50" fmla="*/ 774 w 1835"/>
                <a:gd name="T51" fmla="*/ 1286 h 2293"/>
                <a:gd name="T52" fmla="*/ 892 w 1835"/>
                <a:gd name="T53" fmla="*/ 1428 h 2293"/>
                <a:gd name="T54" fmla="*/ 1015 w 1835"/>
                <a:gd name="T55" fmla="*/ 1565 h 2293"/>
                <a:gd name="T56" fmla="*/ 1142 w 1835"/>
                <a:gd name="T57" fmla="*/ 1699 h 2293"/>
                <a:gd name="T58" fmla="*/ 1272 w 1835"/>
                <a:gd name="T59" fmla="*/ 1827 h 2293"/>
                <a:gd name="T60" fmla="*/ 1407 w 1835"/>
                <a:gd name="T61" fmla="*/ 1951 h 2293"/>
                <a:gd name="T62" fmla="*/ 1546 w 1835"/>
                <a:gd name="T63" fmla="*/ 2069 h 2293"/>
                <a:gd name="T64" fmla="*/ 1688 w 1835"/>
                <a:gd name="T65" fmla="*/ 2184 h 2293"/>
                <a:gd name="T66" fmla="*/ 1835 w 1835"/>
                <a:gd name="T67" fmla="*/ 2293 h 2293"/>
                <a:gd name="T68" fmla="*/ 1802 w 1835"/>
                <a:gd name="T69" fmla="*/ 2269 h 2293"/>
                <a:gd name="T70" fmla="*/ 1738 w 1835"/>
                <a:gd name="T71" fmla="*/ 2219 h 2293"/>
                <a:gd name="T72" fmla="*/ 1676 w 1835"/>
                <a:gd name="T73" fmla="*/ 2167 h 2293"/>
                <a:gd name="T74" fmla="*/ 1616 w 1835"/>
                <a:gd name="T75" fmla="*/ 2112 h 2293"/>
                <a:gd name="T76" fmla="*/ 1558 w 1835"/>
                <a:gd name="T77" fmla="*/ 2054 h 2293"/>
                <a:gd name="T78" fmla="*/ 1503 w 1835"/>
                <a:gd name="T79" fmla="*/ 1995 h 2293"/>
                <a:gd name="T80" fmla="*/ 1449 w 1835"/>
                <a:gd name="T81" fmla="*/ 1933 h 2293"/>
                <a:gd name="T82" fmla="*/ 1397 w 1835"/>
                <a:gd name="T83" fmla="*/ 1869 h 2293"/>
                <a:gd name="T84" fmla="*/ 1349 w 1835"/>
                <a:gd name="T85" fmla="*/ 1801 h 2293"/>
                <a:gd name="T86" fmla="*/ 1302 w 1835"/>
                <a:gd name="T87" fmla="*/ 1733 h 2293"/>
                <a:gd name="T88" fmla="*/ 1258 w 1835"/>
                <a:gd name="T89" fmla="*/ 1662 h 2293"/>
                <a:gd name="T90" fmla="*/ 1217 w 1835"/>
                <a:gd name="T91" fmla="*/ 1590 h 2293"/>
                <a:gd name="T92" fmla="*/ 1178 w 1835"/>
                <a:gd name="T93" fmla="*/ 1514 h 2293"/>
                <a:gd name="T94" fmla="*/ 1143 w 1835"/>
                <a:gd name="T95" fmla="*/ 1437 h 2293"/>
                <a:gd name="T96" fmla="*/ 1109 w 1835"/>
                <a:gd name="T97" fmla="*/ 1358 h 2293"/>
                <a:gd name="T98" fmla="*/ 1080 w 1835"/>
                <a:gd name="T99" fmla="*/ 1277 h 2293"/>
                <a:gd name="T100" fmla="*/ 1065 w 1835"/>
                <a:gd name="T101" fmla="*/ 1236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35" h="2293">
                  <a:moveTo>
                    <a:pt x="1065" y="1236"/>
                  </a:moveTo>
                  <a:lnTo>
                    <a:pt x="1065" y="1236"/>
                  </a:lnTo>
                  <a:lnTo>
                    <a:pt x="1054" y="1199"/>
                  </a:lnTo>
                  <a:lnTo>
                    <a:pt x="1043" y="1163"/>
                  </a:lnTo>
                  <a:lnTo>
                    <a:pt x="1033" y="1126"/>
                  </a:lnTo>
                  <a:lnTo>
                    <a:pt x="1024" y="1089"/>
                  </a:lnTo>
                  <a:lnTo>
                    <a:pt x="1015" y="1051"/>
                  </a:lnTo>
                  <a:lnTo>
                    <a:pt x="1006" y="1014"/>
                  </a:lnTo>
                  <a:lnTo>
                    <a:pt x="999" y="975"/>
                  </a:lnTo>
                  <a:lnTo>
                    <a:pt x="992" y="938"/>
                  </a:lnTo>
                  <a:lnTo>
                    <a:pt x="985" y="900"/>
                  </a:lnTo>
                  <a:lnTo>
                    <a:pt x="980" y="862"/>
                  </a:lnTo>
                  <a:lnTo>
                    <a:pt x="975" y="824"/>
                  </a:lnTo>
                  <a:lnTo>
                    <a:pt x="971" y="785"/>
                  </a:lnTo>
                  <a:lnTo>
                    <a:pt x="967" y="746"/>
                  </a:lnTo>
                  <a:lnTo>
                    <a:pt x="965" y="708"/>
                  </a:lnTo>
                  <a:lnTo>
                    <a:pt x="963" y="668"/>
                  </a:lnTo>
                  <a:lnTo>
                    <a:pt x="962" y="630"/>
                  </a:lnTo>
                  <a:lnTo>
                    <a:pt x="962" y="591"/>
                  </a:lnTo>
                  <a:lnTo>
                    <a:pt x="962" y="551"/>
                  </a:lnTo>
                  <a:lnTo>
                    <a:pt x="963" y="512"/>
                  </a:lnTo>
                  <a:lnTo>
                    <a:pt x="964" y="473"/>
                  </a:lnTo>
                  <a:lnTo>
                    <a:pt x="967" y="433"/>
                  </a:lnTo>
                  <a:lnTo>
                    <a:pt x="970" y="394"/>
                  </a:lnTo>
                  <a:lnTo>
                    <a:pt x="974" y="354"/>
                  </a:lnTo>
                  <a:lnTo>
                    <a:pt x="979" y="315"/>
                  </a:lnTo>
                  <a:lnTo>
                    <a:pt x="984" y="276"/>
                  </a:lnTo>
                  <a:lnTo>
                    <a:pt x="991" y="236"/>
                  </a:lnTo>
                  <a:lnTo>
                    <a:pt x="998" y="197"/>
                  </a:lnTo>
                  <a:lnTo>
                    <a:pt x="1006" y="158"/>
                  </a:lnTo>
                  <a:lnTo>
                    <a:pt x="1014" y="118"/>
                  </a:lnTo>
                  <a:lnTo>
                    <a:pt x="1024" y="79"/>
                  </a:lnTo>
                  <a:lnTo>
                    <a:pt x="1034" y="39"/>
                  </a:lnTo>
                  <a:lnTo>
                    <a:pt x="104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9" y="88"/>
                  </a:lnTo>
                  <a:lnTo>
                    <a:pt x="79" y="174"/>
                  </a:lnTo>
                  <a:lnTo>
                    <a:pt x="121" y="260"/>
                  </a:lnTo>
                  <a:lnTo>
                    <a:pt x="162" y="345"/>
                  </a:lnTo>
                  <a:lnTo>
                    <a:pt x="207" y="430"/>
                  </a:lnTo>
                  <a:lnTo>
                    <a:pt x="252" y="512"/>
                  </a:lnTo>
                  <a:lnTo>
                    <a:pt x="298" y="594"/>
                  </a:lnTo>
                  <a:lnTo>
                    <a:pt x="347" y="675"/>
                  </a:lnTo>
                  <a:lnTo>
                    <a:pt x="396" y="755"/>
                  </a:lnTo>
                  <a:lnTo>
                    <a:pt x="446" y="835"/>
                  </a:lnTo>
                  <a:lnTo>
                    <a:pt x="497" y="912"/>
                  </a:lnTo>
                  <a:lnTo>
                    <a:pt x="550" y="989"/>
                  </a:lnTo>
                  <a:lnTo>
                    <a:pt x="604" y="1065"/>
                  </a:lnTo>
                  <a:lnTo>
                    <a:pt x="659" y="1140"/>
                  </a:lnTo>
                  <a:lnTo>
                    <a:pt x="717" y="1214"/>
                  </a:lnTo>
                  <a:lnTo>
                    <a:pt x="774" y="1286"/>
                  </a:lnTo>
                  <a:lnTo>
                    <a:pt x="833" y="1358"/>
                  </a:lnTo>
                  <a:lnTo>
                    <a:pt x="892" y="1428"/>
                  </a:lnTo>
                  <a:lnTo>
                    <a:pt x="953" y="1497"/>
                  </a:lnTo>
                  <a:lnTo>
                    <a:pt x="1015" y="1565"/>
                  </a:lnTo>
                  <a:lnTo>
                    <a:pt x="1078" y="1632"/>
                  </a:lnTo>
                  <a:lnTo>
                    <a:pt x="1142" y="1699"/>
                  </a:lnTo>
                  <a:lnTo>
                    <a:pt x="1207" y="1763"/>
                  </a:lnTo>
                  <a:lnTo>
                    <a:pt x="1272" y="1827"/>
                  </a:lnTo>
                  <a:lnTo>
                    <a:pt x="1340" y="1889"/>
                  </a:lnTo>
                  <a:lnTo>
                    <a:pt x="1407" y="1951"/>
                  </a:lnTo>
                  <a:lnTo>
                    <a:pt x="1476" y="2010"/>
                  </a:lnTo>
                  <a:lnTo>
                    <a:pt x="1546" y="2069"/>
                  </a:lnTo>
                  <a:lnTo>
                    <a:pt x="1616" y="2127"/>
                  </a:lnTo>
                  <a:lnTo>
                    <a:pt x="1688" y="2184"/>
                  </a:lnTo>
                  <a:lnTo>
                    <a:pt x="1760" y="2239"/>
                  </a:lnTo>
                  <a:lnTo>
                    <a:pt x="1835" y="2293"/>
                  </a:lnTo>
                  <a:lnTo>
                    <a:pt x="1835" y="2293"/>
                  </a:lnTo>
                  <a:lnTo>
                    <a:pt x="1802" y="2269"/>
                  </a:lnTo>
                  <a:lnTo>
                    <a:pt x="1769" y="2244"/>
                  </a:lnTo>
                  <a:lnTo>
                    <a:pt x="1738" y="2219"/>
                  </a:lnTo>
                  <a:lnTo>
                    <a:pt x="1706" y="2193"/>
                  </a:lnTo>
                  <a:lnTo>
                    <a:pt x="1676" y="2167"/>
                  </a:lnTo>
                  <a:lnTo>
                    <a:pt x="1646" y="2139"/>
                  </a:lnTo>
                  <a:lnTo>
                    <a:pt x="1616" y="2112"/>
                  </a:lnTo>
                  <a:lnTo>
                    <a:pt x="1587" y="2084"/>
                  </a:lnTo>
                  <a:lnTo>
                    <a:pt x="1558" y="2054"/>
                  </a:lnTo>
                  <a:lnTo>
                    <a:pt x="1530" y="2025"/>
                  </a:lnTo>
                  <a:lnTo>
                    <a:pt x="1503" y="1995"/>
                  </a:lnTo>
                  <a:lnTo>
                    <a:pt x="1476" y="1963"/>
                  </a:lnTo>
                  <a:lnTo>
                    <a:pt x="1449" y="1933"/>
                  </a:lnTo>
                  <a:lnTo>
                    <a:pt x="1423" y="1900"/>
                  </a:lnTo>
                  <a:lnTo>
                    <a:pt x="1397" y="1869"/>
                  </a:lnTo>
                  <a:lnTo>
                    <a:pt x="1372" y="1835"/>
                  </a:lnTo>
                  <a:lnTo>
                    <a:pt x="1349" y="1801"/>
                  </a:lnTo>
                  <a:lnTo>
                    <a:pt x="1325" y="1767"/>
                  </a:lnTo>
                  <a:lnTo>
                    <a:pt x="1302" y="1733"/>
                  </a:lnTo>
                  <a:lnTo>
                    <a:pt x="1280" y="1698"/>
                  </a:lnTo>
                  <a:lnTo>
                    <a:pt x="1258" y="1662"/>
                  </a:lnTo>
                  <a:lnTo>
                    <a:pt x="1237" y="1626"/>
                  </a:lnTo>
                  <a:lnTo>
                    <a:pt x="1217" y="1590"/>
                  </a:lnTo>
                  <a:lnTo>
                    <a:pt x="1197" y="1551"/>
                  </a:lnTo>
                  <a:lnTo>
                    <a:pt x="1178" y="1514"/>
                  </a:lnTo>
                  <a:lnTo>
                    <a:pt x="1160" y="1476"/>
                  </a:lnTo>
                  <a:lnTo>
                    <a:pt x="1143" y="1437"/>
                  </a:lnTo>
                  <a:lnTo>
                    <a:pt x="1126" y="1398"/>
                  </a:lnTo>
                  <a:lnTo>
                    <a:pt x="1109" y="1358"/>
                  </a:lnTo>
                  <a:lnTo>
                    <a:pt x="1095" y="1319"/>
                  </a:lnTo>
                  <a:lnTo>
                    <a:pt x="1080" y="1277"/>
                  </a:lnTo>
                  <a:lnTo>
                    <a:pt x="1065" y="1236"/>
                  </a:lnTo>
                  <a:lnTo>
                    <a:pt x="1065" y="1236"/>
                  </a:lnTo>
                  <a:close/>
                </a:path>
              </a:pathLst>
            </a:custGeom>
            <a:solidFill>
              <a:srgbClr val="587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7" name="Freeform 12"/>
            <p:cNvSpPr>
              <a:spLocks/>
            </p:cNvSpPr>
            <p:nvPr userDrawn="1"/>
          </p:nvSpPr>
          <p:spPr bwMode="auto">
            <a:xfrm>
              <a:off x="6084888" y="3640138"/>
              <a:ext cx="1604963" cy="1503363"/>
            </a:xfrm>
            <a:custGeom>
              <a:avLst/>
              <a:gdLst>
                <a:gd name="T0" fmla="*/ 602 w 1011"/>
                <a:gd name="T1" fmla="*/ 947 h 947"/>
                <a:gd name="T2" fmla="*/ 602 w 1011"/>
                <a:gd name="T3" fmla="*/ 947 h 947"/>
                <a:gd name="T4" fmla="*/ 633 w 1011"/>
                <a:gd name="T5" fmla="*/ 890 h 947"/>
                <a:gd name="T6" fmla="*/ 663 w 1011"/>
                <a:gd name="T7" fmla="*/ 832 h 947"/>
                <a:gd name="T8" fmla="*/ 692 w 1011"/>
                <a:gd name="T9" fmla="*/ 775 h 947"/>
                <a:gd name="T10" fmla="*/ 722 w 1011"/>
                <a:gd name="T11" fmla="*/ 716 h 947"/>
                <a:gd name="T12" fmla="*/ 750 w 1011"/>
                <a:gd name="T13" fmla="*/ 658 h 947"/>
                <a:gd name="T14" fmla="*/ 777 w 1011"/>
                <a:gd name="T15" fmla="*/ 599 h 947"/>
                <a:gd name="T16" fmla="*/ 803 w 1011"/>
                <a:gd name="T17" fmla="*/ 541 h 947"/>
                <a:gd name="T18" fmla="*/ 828 w 1011"/>
                <a:gd name="T19" fmla="*/ 481 h 947"/>
                <a:gd name="T20" fmla="*/ 854 w 1011"/>
                <a:gd name="T21" fmla="*/ 423 h 947"/>
                <a:gd name="T22" fmla="*/ 878 w 1011"/>
                <a:gd name="T23" fmla="*/ 363 h 947"/>
                <a:gd name="T24" fmla="*/ 903 w 1011"/>
                <a:gd name="T25" fmla="*/ 302 h 947"/>
                <a:gd name="T26" fmla="*/ 925 w 1011"/>
                <a:gd name="T27" fmla="*/ 243 h 947"/>
                <a:gd name="T28" fmla="*/ 948 w 1011"/>
                <a:gd name="T29" fmla="*/ 182 h 947"/>
                <a:gd name="T30" fmla="*/ 969 w 1011"/>
                <a:gd name="T31" fmla="*/ 121 h 947"/>
                <a:gd name="T32" fmla="*/ 990 w 1011"/>
                <a:gd name="T33" fmla="*/ 61 h 947"/>
                <a:gd name="T34" fmla="*/ 1011 w 1011"/>
                <a:gd name="T35" fmla="*/ 0 h 947"/>
                <a:gd name="T36" fmla="*/ 1011 w 1011"/>
                <a:gd name="T37" fmla="*/ 0 h 947"/>
                <a:gd name="T38" fmla="*/ 1011 w 1011"/>
                <a:gd name="T39" fmla="*/ 0 h 947"/>
                <a:gd name="T40" fmla="*/ 939 w 1011"/>
                <a:gd name="T41" fmla="*/ 53 h 947"/>
                <a:gd name="T42" fmla="*/ 868 w 1011"/>
                <a:gd name="T43" fmla="*/ 107 h 947"/>
                <a:gd name="T44" fmla="*/ 799 w 1011"/>
                <a:gd name="T45" fmla="*/ 161 h 947"/>
                <a:gd name="T46" fmla="*/ 731 w 1011"/>
                <a:gd name="T47" fmla="*/ 217 h 947"/>
                <a:gd name="T48" fmla="*/ 664 w 1011"/>
                <a:gd name="T49" fmla="*/ 273 h 947"/>
                <a:gd name="T50" fmla="*/ 598 w 1011"/>
                <a:gd name="T51" fmla="*/ 329 h 947"/>
                <a:gd name="T52" fmla="*/ 533 w 1011"/>
                <a:gd name="T53" fmla="*/ 388 h 947"/>
                <a:gd name="T54" fmla="*/ 470 w 1011"/>
                <a:gd name="T55" fmla="*/ 446 h 947"/>
                <a:gd name="T56" fmla="*/ 407 w 1011"/>
                <a:gd name="T57" fmla="*/ 507 h 947"/>
                <a:gd name="T58" fmla="*/ 345 w 1011"/>
                <a:gd name="T59" fmla="*/ 567 h 947"/>
                <a:gd name="T60" fmla="*/ 284 w 1011"/>
                <a:gd name="T61" fmla="*/ 629 h 947"/>
                <a:gd name="T62" fmla="*/ 226 w 1011"/>
                <a:gd name="T63" fmla="*/ 691 h 947"/>
                <a:gd name="T64" fmla="*/ 167 w 1011"/>
                <a:gd name="T65" fmla="*/ 754 h 947"/>
                <a:gd name="T66" fmla="*/ 110 w 1011"/>
                <a:gd name="T67" fmla="*/ 818 h 947"/>
                <a:gd name="T68" fmla="*/ 54 w 1011"/>
                <a:gd name="T69" fmla="*/ 882 h 947"/>
                <a:gd name="T70" fmla="*/ 0 w 1011"/>
                <a:gd name="T71" fmla="*/ 947 h 947"/>
                <a:gd name="T72" fmla="*/ 602 w 1011"/>
                <a:gd name="T73" fmla="*/ 947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11" h="947">
                  <a:moveTo>
                    <a:pt x="602" y="947"/>
                  </a:moveTo>
                  <a:lnTo>
                    <a:pt x="602" y="947"/>
                  </a:lnTo>
                  <a:lnTo>
                    <a:pt x="633" y="890"/>
                  </a:lnTo>
                  <a:lnTo>
                    <a:pt x="663" y="832"/>
                  </a:lnTo>
                  <a:lnTo>
                    <a:pt x="692" y="775"/>
                  </a:lnTo>
                  <a:lnTo>
                    <a:pt x="722" y="716"/>
                  </a:lnTo>
                  <a:lnTo>
                    <a:pt x="750" y="658"/>
                  </a:lnTo>
                  <a:lnTo>
                    <a:pt x="777" y="599"/>
                  </a:lnTo>
                  <a:lnTo>
                    <a:pt x="803" y="541"/>
                  </a:lnTo>
                  <a:lnTo>
                    <a:pt x="828" y="481"/>
                  </a:lnTo>
                  <a:lnTo>
                    <a:pt x="854" y="423"/>
                  </a:lnTo>
                  <a:lnTo>
                    <a:pt x="878" y="363"/>
                  </a:lnTo>
                  <a:lnTo>
                    <a:pt x="903" y="302"/>
                  </a:lnTo>
                  <a:lnTo>
                    <a:pt x="925" y="243"/>
                  </a:lnTo>
                  <a:lnTo>
                    <a:pt x="948" y="182"/>
                  </a:lnTo>
                  <a:lnTo>
                    <a:pt x="969" y="121"/>
                  </a:lnTo>
                  <a:lnTo>
                    <a:pt x="990" y="61"/>
                  </a:lnTo>
                  <a:lnTo>
                    <a:pt x="1011" y="0"/>
                  </a:lnTo>
                  <a:lnTo>
                    <a:pt x="1011" y="0"/>
                  </a:lnTo>
                  <a:lnTo>
                    <a:pt x="1011" y="0"/>
                  </a:lnTo>
                  <a:lnTo>
                    <a:pt x="939" y="53"/>
                  </a:lnTo>
                  <a:lnTo>
                    <a:pt x="868" y="107"/>
                  </a:lnTo>
                  <a:lnTo>
                    <a:pt x="799" y="161"/>
                  </a:lnTo>
                  <a:lnTo>
                    <a:pt x="731" y="217"/>
                  </a:lnTo>
                  <a:lnTo>
                    <a:pt x="664" y="273"/>
                  </a:lnTo>
                  <a:lnTo>
                    <a:pt x="598" y="329"/>
                  </a:lnTo>
                  <a:lnTo>
                    <a:pt x="533" y="388"/>
                  </a:lnTo>
                  <a:lnTo>
                    <a:pt x="470" y="446"/>
                  </a:lnTo>
                  <a:lnTo>
                    <a:pt x="407" y="507"/>
                  </a:lnTo>
                  <a:lnTo>
                    <a:pt x="345" y="567"/>
                  </a:lnTo>
                  <a:lnTo>
                    <a:pt x="284" y="629"/>
                  </a:lnTo>
                  <a:lnTo>
                    <a:pt x="226" y="691"/>
                  </a:lnTo>
                  <a:lnTo>
                    <a:pt x="167" y="754"/>
                  </a:lnTo>
                  <a:lnTo>
                    <a:pt x="110" y="818"/>
                  </a:lnTo>
                  <a:lnTo>
                    <a:pt x="54" y="882"/>
                  </a:lnTo>
                  <a:lnTo>
                    <a:pt x="0" y="947"/>
                  </a:lnTo>
                  <a:lnTo>
                    <a:pt x="602" y="947"/>
                  </a:lnTo>
                  <a:close/>
                </a:path>
              </a:pathLst>
            </a:custGeom>
            <a:solidFill>
              <a:srgbClr val="587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</p:grpSp>
      <p:sp>
        <p:nvSpPr>
          <p:cNvPr id="10" name="Otsikko 1"/>
          <p:cNvSpPr>
            <a:spLocks noGrp="1"/>
          </p:cNvSpPr>
          <p:nvPr userDrawn="1">
            <p:ph type="ctrTitle"/>
          </p:nvPr>
        </p:nvSpPr>
        <p:spPr>
          <a:xfrm>
            <a:off x="911424" y="2468894"/>
            <a:ext cx="7776864" cy="2794037"/>
          </a:xfrm>
        </p:spPr>
        <p:txBody>
          <a:bodyPr anchor="b" anchorCtr="0">
            <a:noAutofit/>
          </a:bodyPr>
          <a:lstStyle>
            <a:lvl1pPr algn="l">
              <a:defRPr sz="5333">
                <a:solidFill>
                  <a:srgbClr val="FFFFFF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1" name="Alaotsikko 2"/>
          <p:cNvSpPr>
            <a:spLocks noGrp="1"/>
          </p:cNvSpPr>
          <p:nvPr userDrawn="1">
            <p:ph type="subTitle" idx="1"/>
          </p:nvPr>
        </p:nvSpPr>
        <p:spPr>
          <a:xfrm>
            <a:off x="911424" y="5419437"/>
            <a:ext cx="7776864" cy="88988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grpSp>
        <p:nvGrpSpPr>
          <p:cNvPr id="58" name="Group 57"/>
          <p:cNvGrpSpPr/>
          <p:nvPr userDrawn="1"/>
        </p:nvGrpSpPr>
        <p:grpSpPr>
          <a:xfrm>
            <a:off x="937685" y="836085"/>
            <a:ext cx="4102100" cy="1198033"/>
            <a:chOff x="703263" y="627063"/>
            <a:chExt cx="3076575" cy="89852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1528763" y="893763"/>
              <a:ext cx="160338" cy="141288"/>
            </a:xfrm>
            <a:custGeom>
              <a:avLst/>
              <a:gdLst>
                <a:gd name="T0" fmla="*/ 623 w 1210"/>
                <a:gd name="T1" fmla="*/ 1065 h 1065"/>
                <a:gd name="T2" fmla="*/ 211 w 1210"/>
                <a:gd name="T3" fmla="*/ 202 h 1065"/>
                <a:gd name="T4" fmla="*/ 194 w 1210"/>
                <a:gd name="T5" fmla="*/ 163 h 1065"/>
                <a:gd name="T6" fmla="*/ 177 w 1210"/>
                <a:gd name="T7" fmla="*/ 131 h 1065"/>
                <a:gd name="T8" fmla="*/ 160 w 1210"/>
                <a:gd name="T9" fmla="*/ 105 h 1065"/>
                <a:gd name="T10" fmla="*/ 139 w 1210"/>
                <a:gd name="T11" fmla="*/ 84 h 1065"/>
                <a:gd name="T12" fmla="*/ 115 w 1210"/>
                <a:gd name="T13" fmla="*/ 69 h 1065"/>
                <a:gd name="T14" fmla="*/ 84 w 1210"/>
                <a:gd name="T15" fmla="*/ 59 h 1065"/>
                <a:gd name="T16" fmla="*/ 47 w 1210"/>
                <a:gd name="T17" fmla="*/ 52 h 1065"/>
                <a:gd name="T18" fmla="*/ 0 w 1210"/>
                <a:gd name="T19" fmla="*/ 50 h 1065"/>
                <a:gd name="T20" fmla="*/ 566 w 1210"/>
                <a:gd name="T21" fmla="*/ 0 h 1065"/>
                <a:gd name="T22" fmla="*/ 566 w 1210"/>
                <a:gd name="T23" fmla="*/ 50 h 1065"/>
                <a:gd name="T24" fmla="*/ 516 w 1210"/>
                <a:gd name="T25" fmla="*/ 52 h 1065"/>
                <a:gd name="T26" fmla="*/ 477 w 1210"/>
                <a:gd name="T27" fmla="*/ 58 h 1065"/>
                <a:gd name="T28" fmla="*/ 448 w 1210"/>
                <a:gd name="T29" fmla="*/ 68 h 1065"/>
                <a:gd name="T30" fmla="*/ 430 w 1210"/>
                <a:gd name="T31" fmla="*/ 81 h 1065"/>
                <a:gd name="T32" fmla="*/ 421 w 1210"/>
                <a:gd name="T33" fmla="*/ 99 h 1065"/>
                <a:gd name="T34" fmla="*/ 419 w 1210"/>
                <a:gd name="T35" fmla="*/ 122 h 1065"/>
                <a:gd name="T36" fmla="*/ 425 w 1210"/>
                <a:gd name="T37" fmla="*/ 150 h 1065"/>
                <a:gd name="T38" fmla="*/ 437 w 1210"/>
                <a:gd name="T39" fmla="*/ 181 h 1065"/>
                <a:gd name="T40" fmla="*/ 922 w 1210"/>
                <a:gd name="T41" fmla="*/ 181 h 1065"/>
                <a:gd name="T42" fmla="*/ 928 w 1210"/>
                <a:gd name="T43" fmla="*/ 165 h 1065"/>
                <a:gd name="T44" fmla="*/ 937 w 1210"/>
                <a:gd name="T45" fmla="*/ 134 h 1065"/>
                <a:gd name="T46" fmla="*/ 938 w 1210"/>
                <a:gd name="T47" fmla="*/ 110 h 1065"/>
                <a:gd name="T48" fmla="*/ 932 w 1210"/>
                <a:gd name="T49" fmla="*/ 89 h 1065"/>
                <a:gd name="T50" fmla="*/ 918 w 1210"/>
                <a:gd name="T51" fmla="*/ 74 h 1065"/>
                <a:gd name="T52" fmla="*/ 894 w 1210"/>
                <a:gd name="T53" fmla="*/ 62 h 1065"/>
                <a:gd name="T54" fmla="*/ 860 w 1210"/>
                <a:gd name="T55" fmla="*/ 54 h 1065"/>
                <a:gd name="T56" fmla="*/ 817 w 1210"/>
                <a:gd name="T57" fmla="*/ 50 h 1065"/>
                <a:gd name="T58" fmla="*/ 792 w 1210"/>
                <a:gd name="T59" fmla="*/ 0 h 1065"/>
                <a:gd name="T60" fmla="*/ 1210 w 1210"/>
                <a:gd name="T61" fmla="*/ 50 h 1065"/>
                <a:gd name="T62" fmla="*/ 1189 w 1210"/>
                <a:gd name="T63" fmla="*/ 50 h 1065"/>
                <a:gd name="T64" fmla="*/ 1151 w 1210"/>
                <a:gd name="T65" fmla="*/ 53 h 1065"/>
                <a:gd name="T66" fmla="*/ 1119 w 1210"/>
                <a:gd name="T67" fmla="*/ 61 h 1065"/>
                <a:gd name="T68" fmla="*/ 1091 w 1210"/>
                <a:gd name="T69" fmla="*/ 73 h 1065"/>
                <a:gd name="T70" fmla="*/ 1068 w 1210"/>
                <a:gd name="T71" fmla="*/ 89 h 1065"/>
                <a:gd name="T72" fmla="*/ 1046 w 1210"/>
                <a:gd name="T73" fmla="*/ 113 h 1065"/>
                <a:gd name="T74" fmla="*/ 1027 w 1210"/>
                <a:gd name="T75" fmla="*/ 142 h 1065"/>
                <a:gd name="T76" fmla="*/ 1008 w 1210"/>
                <a:gd name="T77" fmla="*/ 180 h 1065"/>
                <a:gd name="T78" fmla="*/ 997 w 1210"/>
                <a:gd name="T79" fmla="*/ 20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0" h="1065">
                  <a:moveTo>
                    <a:pt x="997" y="202"/>
                  </a:moveTo>
                  <a:lnTo>
                    <a:pt x="623" y="1065"/>
                  </a:lnTo>
                  <a:lnTo>
                    <a:pt x="587" y="1065"/>
                  </a:lnTo>
                  <a:lnTo>
                    <a:pt x="211" y="202"/>
                  </a:lnTo>
                  <a:lnTo>
                    <a:pt x="211" y="202"/>
                  </a:lnTo>
                  <a:lnTo>
                    <a:pt x="194" y="163"/>
                  </a:lnTo>
                  <a:lnTo>
                    <a:pt x="185" y="146"/>
                  </a:lnTo>
                  <a:lnTo>
                    <a:pt x="177" y="131"/>
                  </a:lnTo>
                  <a:lnTo>
                    <a:pt x="168" y="117"/>
                  </a:lnTo>
                  <a:lnTo>
                    <a:pt x="160" y="105"/>
                  </a:lnTo>
                  <a:lnTo>
                    <a:pt x="150" y="93"/>
                  </a:lnTo>
                  <a:lnTo>
                    <a:pt x="139" y="84"/>
                  </a:lnTo>
                  <a:lnTo>
                    <a:pt x="128" y="76"/>
                  </a:lnTo>
                  <a:lnTo>
                    <a:pt x="115" y="69"/>
                  </a:lnTo>
                  <a:lnTo>
                    <a:pt x="101" y="63"/>
                  </a:lnTo>
                  <a:lnTo>
                    <a:pt x="84" y="59"/>
                  </a:lnTo>
                  <a:lnTo>
                    <a:pt x="67" y="54"/>
                  </a:lnTo>
                  <a:lnTo>
                    <a:pt x="47" y="52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66" y="0"/>
                  </a:lnTo>
                  <a:lnTo>
                    <a:pt x="566" y="50"/>
                  </a:lnTo>
                  <a:lnTo>
                    <a:pt x="566" y="50"/>
                  </a:lnTo>
                  <a:lnTo>
                    <a:pt x="539" y="50"/>
                  </a:lnTo>
                  <a:lnTo>
                    <a:pt x="516" y="52"/>
                  </a:lnTo>
                  <a:lnTo>
                    <a:pt x="494" y="54"/>
                  </a:lnTo>
                  <a:lnTo>
                    <a:pt x="477" y="58"/>
                  </a:lnTo>
                  <a:lnTo>
                    <a:pt x="460" y="63"/>
                  </a:lnTo>
                  <a:lnTo>
                    <a:pt x="448" y="68"/>
                  </a:lnTo>
                  <a:lnTo>
                    <a:pt x="438" y="74"/>
                  </a:lnTo>
                  <a:lnTo>
                    <a:pt x="430" y="81"/>
                  </a:lnTo>
                  <a:lnTo>
                    <a:pt x="424" y="90"/>
                  </a:lnTo>
                  <a:lnTo>
                    <a:pt x="421" y="99"/>
                  </a:lnTo>
                  <a:lnTo>
                    <a:pt x="419" y="111"/>
                  </a:lnTo>
                  <a:lnTo>
                    <a:pt x="419" y="122"/>
                  </a:lnTo>
                  <a:lnTo>
                    <a:pt x="421" y="135"/>
                  </a:lnTo>
                  <a:lnTo>
                    <a:pt x="425" y="150"/>
                  </a:lnTo>
                  <a:lnTo>
                    <a:pt x="430" y="165"/>
                  </a:lnTo>
                  <a:lnTo>
                    <a:pt x="437" y="181"/>
                  </a:lnTo>
                  <a:lnTo>
                    <a:pt x="678" y="742"/>
                  </a:lnTo>
                  <a:lnTo>
                    <a:pt x="922" y="181"/>
                  </a:lnTo>
                  <a:lnTo>
                    <a:pt x="922" y="181"/>
                  </a:lnTo>
                  <a:lnTo>
                    <a:pt x="928" y="165"/>
                  </a:lnTo>
                  <a:lnTo>
                    <a:pt x="933" y="149"/>
                  </a:lnTo>
                  <a:lnTo>
                    <a:pt x="937" y="134"/>
                  </a:lnTo>
                  <a:lnTo>
                    <a:pt x="938" y="122"/>
                  </a:lnTo>
                  <a:lnTo>
                    <a:pt x="938" y="110"/>
                  </a:lnTo>
                  <a:lnTo>
                    <a:pt x="936" y="98"/>
                  </a:lnTo>
                  <a:lnTo>
                    <a:pt x="932" y="89"/>
                  </a:lnTo>
                  <a:lnTo>
                    <a:pt x="926" y="81"/>
                  </a:lnTo>
                  <a:lnTo>
                    <a:pt x="918" y="74"/>
                  </a:lnTo>
                  <a:lnTo>
                    <a:pt x="906" y="67"/>
                  </a:lnTo>
                  <a:lnTo>
                    <a:pt x="894" y="62"/>
                  </a:lnTo>
                  <a:lnTo>
                    <a:pt x="879" y="58"/>
                  </a:lnTo>
                  <a:lnTo>
                    <a:pt x="860" y="54"/>
                  </a:lnTo>
                  <a:lnTo>
                    <a:pt x="841" y="52"/>
                  </a:lnTo>
                  <a:lnTo>
                    <a:pt x="817" y="50"/>
                  </a:lnTo>
                  <a:lnTo>
                    <a:pt x="792" y="50"/>
                  </a:lnTo>
                  <a:lnTo>
                    <a:pt x="792" y="0"/>
                  </a:lnTo>
                  <a:lnTo>
                    <a:pt x="1210" y="0"/>
                  </a:lnTo>
                  <a:lnTo>
                    <a:pt x="1210" y="50"/>
                  </a:lnTo>
                  <a:lnTo>
                    <a:pt x="1210" y="50"/>
                  </a:lnTo>
                  <a:lnTo>
                    <a:pt x="1189" y="50"/>
                  </a:lnTo>
                  <a:lnTo>
                    <a:pt x="1169" y="51"/>
                  </a:lnTo>
                  <a:lnTo>
                    <a:pt x="1151" y="53"/>
                  </a:lnTo>
                  <a:lnTo>
                    <a:pt x="1134" y="57"/>
                  </a:lnTo>
                  <a:lnTo>
                    <a:pt x="1119" y="61"/>
                  </a:lnTo>
                  <a:lnTo>
                    <a:pt x="1105" y="66"/>
                  </a:lnTo>
                  <a:lnTo>
                    <a:pt x="1091" y="73"/>
                  </a:lnTo>
                  <a:lnTo>
                    <a:pt x="1079" y="80"/>
                  </a:lnTo>
                  <a:lnTo>
                    <a:pt x="1068" y="89"/>
                  </a:lnTo>
                  <a:lnTo>
                    <a:pt x="1057" y="100"/>
                  </a:lnTo>
                  <a:lnTo>
                    <a:pt x="1046" y="113"/>
                  </a:lnTo>
                  <a:lnTo>
                    <a:pt x="1036" y="127"/>
                  </a:lnTo>
                  <a:lnTo>
                    <a:pt x="1027" y="142"/>
                  </a:lnTo>
                  <a:lnTo>
                    <a:pt x="1017" y="161"/>
                  </a:lnTo>
                  <a:lnTo>
                    <a:pt x="1008" y="180"/>
                  </a:lnTo>
                  <a:lnTo>
                    <a:pt x="997" y="202"/>
                  </a:lnTo>
                  <a:lnTo>
                    <a:pt x="997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" name="Freeform 6"/>
            <p:cNvSpPr>
              <a:spLocks noEditPoints="1"/>
            </p:cNvSpPr>
            <p:nvPr userDrawn="1"/>
          </p:nvSpPr>
          <p:spPr bwMode="auto">
            <a:xfrm>
              <a:off x="1671638" y="890588"/>
              <a:ext cx="160338" cy="139700"/>
            </a:xfrm>
            <a:custGeom>
              <a:avLst/>
              <a:gdLst>
                <a:gd name="T0" fmla="*/ 289 w 1210"/>
                <a:gd name="T1" fmla="*/ 883 h 1064"/>
                <a:gd name="T2" fmla="*/ 276 w 1210"/>
                <a:gd name="T3" fmla="*/ 916 h 1064"/>
                <a:gd name="T4" fmla="*/ 271 w 1210"/>
                <a:gd name="T5" fmla="*/ 943 h 1064"/>
                <a:gd name="T6" fmla="*/ 274 w 1210"/>
                <a:gd name="T7" fmla="*/ 966 h 1064"/>
                <a:gd name="T8" fmla="*/ 284 w 1210"/>
                <a:gd name="T9" fmla="*/ 983 h 1064"/>
                <a:gd name="T10" fmla="*/ 303 w 1210"/>
                <a:gd name="T11" fmla="*/ 998 h 1064"/>
                <a:gd name="T12" fmla="*/ 331 w 1210"/>
                <a:gd name="T13" fmla="*/ 1007 h 1064"/>
                <a:gd name="T14" fmla="*/ 369 w 1210"/>
                <a:gd name="T15" fmla="*/ 1013 h 1064"/>
                <a:gd name="T16" fmla="*/ 417 w 1210"/>
                <a:gd name="T17" fmla="*/ 1014 h 1064"/>
                <a:gd name="T18" fmla="*/ 0 w 1210"/>
                <a:gd name="T19" fmla="*/ 1064 h 1064"/>
                <a:gd name="T20" fmla="*/ 0 w 1210"/>
                <a:gd name="T21" fmla="*/ 1014 h 1064"/>
                <a:gd name="T22" fmla="*/ 41 w 1210"/>
                <a:gd name="T23" fmla="*/ 1013 h 1064"/>
                <a:gd name="T24" fmla="*/ 76 w 1210"/>
                <a:gd name="T25" fmla="*/ 1008 h 1064"/>
                <a:gd name="T26" fmla="*/ 106 w 1210"/>
                <a:gd name="T27" fmla="*/ 999 h 1064"/>
                <a:gd name="T28" fmla="*/ 131 w 1210"/>
                <a:gd name="T29" fmla="*/ 984 h 1064"/>
                <a:gd name="T30" fmla="*/ 153 w 1210"/>
                <a:gd name="T31" fmla="*/ 964 h 1064"/>
                <a:gd name="T32" fmla="*/ 173 w 1210"/>
                <a:gd name="T33" fmla="*/ 938 h 1064"/>
                <a:gd name="T34" fmla="*/ 192 w 1210"/>
                <a:gd name="T35" fmla="*/ 904 h 1064"/>
                <a:gd name="T36" fmla="*/ 212 w 1210"/>
                <a:gd name="T37" fmla="*/ 863 h 1064"/>
                <a:gd name="T38" fmla="*/ 623 w 1210"/>
                <a:gd name="T39" fmla="*/ 0 h 1064"/>
                <a:gd name="T40" fmla="*/ 999 w 1210"/>
                <a:gd name="T41" fmla="*/ 863 h 1064"/>
                <a:gd name="T42" fmla="*/ 1025 w 1210"/>
                <a:gd name="T43" fmla="*/ 918 h 1064"/>
                <a:gd name="T44" fmla="*/ 1041 w 1210"/>
                <a:gd name="T45" fmla="*/ 946 h 1064"/>
                <a:gd name="T46" fmla="*/ 1060 w 1210"/>
                <a:gd name="T47" fmla="*/ 970 h 1064"/>
                <a:gd name="T48" fmla="*/ 1082 w 1210"/>
                <a:gd name="T49" fmla="*/ 988 h 1064"/>
                <a:gd name="T50" fmla="*/ 1110 w 1210"/>
                <a:gd name="T51" fmla="*/ 1002 h 1064"/>
                <a:gd name="T52" fmla="*/ 1142 w 1210"/>
                <a:gd name="T53" fmla="*/ 1010 h 1064"/>
                <a:gd name="T54" fmla="*/ 1185 w 1210"/>
                <a:gd name="T55" fmla="*/ 1014 h 1064"/>
                <a:gd name="T56" fmla="*/ 1210 w 1210"/>
                <a:gd name="T57" fmla="*/ 1064 h 1064"/>
                <a:gd name="T58" fmla="*/ 647 w 1210"/>
                <a:gd name="T59" fmla="*/ 1014 h 1064"/>
                <a:gd name="T60" fmla="*/ 674 w 1210"/>
                <a:gd name="T61" fmla="*/ 1014 h 1064"/>
                <a:gd name="T62" fmla="*/ 719 w 1210"/>
                <a:gd name="T63" fmla="*/ 1010 h 1064"/>
                <a:gd name="T64" fmla="*/ 752 w 1210"/>
                <a:gd name="T65" fmla="*/ 1003 h 1064"/>
                <a:gd name="T66" fmla="*/ 775 w 1210"/>
                <a:gd name="T67" fmla="*/ 990 h 1064"/>
                <a:gd name="T68" fmla="*/ 790 w 1210"/>
                <a:gd name="T69" fmla="*/ 974 h 1064"/>
                <a:gd name="T70" fmla="*/ 795 w 1210"/>
                <a:gd name="T71" fmla="*/ 954 h 1064"/>
                <a:gd name="T72" fmla="*/ 793 w 1210"/>
                <a:gd name="T73" fmla="*/ 929 h 1064"/>
                <a:gd name="T74" fmla="*/ 783 w 1210"/>
                <a:gd name="T75" fmla="*/ 899 h 1064"/>
                <a:gd name="T76" fmla="*/ 704 w 1210"/>
                <a:gd name="T77" fmla="*/ 719 h 1064"/>
                <a:gd name="T78" fmla="*/ 289 w 1210"/>
                <a:gd name="T79" fmla="*/ 883 h 1064"/>
                <a:gd name="T80" fmla="*/ 394 w 1210"/>
                <a:gd name="T81" fmla="*/ 642 h 1064"/>
                <a:gd name="T82" fmla="*/ 533 w 1210"/>
                <a:gd name="T83" fmla="*/ 318 h 1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0" h="1064">
                  <a:moveTo>
                    <a:pt x="289" y="883"/>
                  </a:moveTo>
                  <a:lnTo>
                    <a:pt x="289" y="883"/>
                  </a:lnTo>
                  <a:lnTo>
                    <a:pt x="281" y="900"/>
                  </a:lnTo>
                  <a:lnTo>
                    <a:pt x="276" y="916"/>
                  </a:lnTo>
                  <a:lnTo>
                    <a:pt x="273" y="930"/>
                  </a:lnTo>
                  <a:lnTo>
                    <a:pt x="271" y="943"/>
                  </a:lnTo>
                  <a:lnTo>
                    <a:pt x="272" y="955"/>
                  </a:lnTo>
                  <a:lnTo>
                    <a:pt x="274" y="966"/>
                  </a:lnTo>
                  <a:lnTo>
                    <a:pt x="278" y="975"/>
                  </a:lnTo>
                  <a:lnTo>
                    <a:pt x="284" y="983"/>
                  </a:lnTo>
                  <a:lnTo>
                    <a:pt x="293" y="991"/>
                  </a:lnTo>
                  <a:lnTo>
                    <a:pt x="303" y="998"/>
                  </a:lnTo>
                  <a:lnTo>
                    <a:pt x="316" y="1003"/>
                  </a:lnTo>
                  <a:lnTo>
                    <a:pt x="331" y="1007"/>
                  </a:lnTo>
                  <a:lnTo>
                    <a:pt x="349" y="1010"/>
                  </a:lnTo>
                  <a:lnTo>
                    <a:pt x="369" y="1013"/>
                  </a:lnTo>
                  <a:lnTo>
                    <a:pt x="392" y="1014"/>
                  </a:lnTo>
                  <a:lnTo>
                    <a:pt x="417" y="1014"/>
                  </a:lnTo>
                  <a:lnTo>
                    <a:pt x="417" y="1064"/>
                  </a:lnTo>
                  <a:lnTo>
                    <a:pt x="0" y="1064"/>
                  </a:lnTo>
                  <a:lnTo>
                    <a:pt x="0" y="1014"/>
                  </a:lnTo>
                  <a:lnTo>
                    <a:pt x="0" y="1014"/>
                  </a:lnTo>
                  <a:lnTo>
                    <a:pt x="22" y="1014"/>
                  </a:lnTo>
                  <a:lnTo>
                    <a:pt x="41" y="1013"/>
                  </a:lnTo>
                  <a:lnTo>
                    <a:pt x="59" y="1011"/>
                  </a:lnTo>
                  <a:lnTo>
                    <a:pt x="76" y="1008"/>
                  </a:lnTo>
                  <a:lnTo>
                    <a:pt x="91" y="1004"/>
                  </a:lnTo>
                  <a:lnTo>
                    <a:pt x="106" y="999"/>
                  </a:lnTo>
                  <a:lnTo>
                    <a:pt x="119" y="992"/>
                  </a:lnTo>
                  <a:lnTo>
                    <a:pt x="131" y="984"/>
                  </a:lnTo>
                  <a:lnTo>
                    <a:pt x="142" y="975"/>
                  </a:lnTo>
                  <a:lnTo>
                    <a:pt x="153" y="964"/>
                  </a:lnTo>
                  <a:lnTo>
                    <a:pt x="164" y="952"/>
                  </a:lnTo>
                  <a:lnTo>
                    <a:pt x="173" y="938"/>
                  </a:lnTo>
                  <a:lnTo>
                    <a:pt x="183" y="922"/>
                  </a:lnTo>
                  <a:lnTo>
                    <a:pt x="192" y="904"/>
                  </a:lnTo>
                  <a:lnTo>
                    <a:pt x="203" y="884"/>
                  </a:lnTo>
                  <a:lnTo>
                    <a:pt x="212" y="863"/>
                  </a:lnTo>
                  <a:lnTo>
                    <a:pt x="586" y="0"/>
                  </a:lnTo>
                  <a:lnTo>
                    <a:pt x="623" y="0"/>
                  </a:lnTo>
                  <a:lnTo>
                    <a:pt x="999" y="863"/>
                  </a:lnTo>
                  <a:lnTo>
                    <a:pt x="999" y="863"/>
                  </a:lnTo>
                  <a:lnTo>
                    <a:pt x="1017" y="900"/>
                  </a:lnTo>
                  <a:lnTo>
                    <a:pt x="1025" y="918"/>
                  </a:lnTo>
                  <a:lnTo>
                    <a:pt x="1033" y="933"/>
                  </a:lnTo>
                  <a:lnTo>
                    <a:pt x="1041" y="946"/>
                  </a:lnTo>
                  <a:lnTo>
                    <a:pt x="1050" y="959"/>
                  </a:lnTo>
                  <a:lnTo>
                    <a:pt x="1060" y="970"/>
                  </a:lnTo>
                  <a:lnTo>
                    <a:pt x="1071" y="980"/>
                  </a:lnTo>
                  <a:lnTo>
                    <a:pt x="1082" y="988"/>
                  </a:lnTo>
                  <a:lnTo>
                    <a:pt x="1095" y="995"/>
                  </a:lnTo>
                  <a:lnTo>
                    <a:pt x="1110" y="1002"/>
                  </a:lnTo>
                  <a:lnTo>
                    <a:pt x="1125" y="1006"/>
                  </a:lnTo>
                  <a:lnTo>
                    <a:pt x="1142" y="1010"/>
                  </a:lnTo>
                  <a:lnTo>
                    <a:pt x="1163" y="1012"/>
                  </a:lnTo>
                  <a:lnTo>
                    <a:pt x="1185" y="1014"/>
                  </a:lnTo>
                  <a:lnTo>
                    <a:pt x="1210" y="1014"/>
                  </a:lnTo>
                  <a:lnTo>
                    <a:pt x="1210" y="1064"/>
                  </a:lnTo>
                  <a:lnTo>
                    <a:pt x="647" y="1064"/>
                  </a:lnTo>
                  <a:lnTo>
                    <a:pt x="647" y="1014"/>
                  </a:lnTo>
                  <a:lnTo>
                    <a:pt x="647" y="1014"/>
                  </a:lnTo>
                  <a:lnTo>
                    <a:pt x="674" y="1014"/>
                  </a:lnTo>
                  <a:lnTo>
                    <a:pt x="698" y="1012"/>
                  </a:lnTo>
                  <a:lnTo>
                    <a:pt x="719" y="1010"/>
                  </a:lnTo>
                  <a:lnTo>
                    <a:pt x="736" y="1007"/>
                  </a:lnTo>
                  <a:lnTo>
                    <a:pt x="752" y="1003"/>
                  </a:lnTo>
                  <a:lnTo>
                    <a:pt x="765" y="996"/>
                  </a:lnTo>
                  <a:lnTo>
                    <a:pt x="775" y="990"/>
                  </a:lnTo>
                  <a:lnTo>
                    <a:pt x="783" y="983"/>
                  </a:lnTo>
                  <a:lnTo>
                    <a:pt x="790" y="974"/>
                  </a:lnTo>
                  <a:lnTo>
                    <a:pt x="793" y="965"/>
                  </a:lnTo>
                  <a:lnTo>
                    <a:pt x="795" y="954"/>
                  </a:lnTo>
                  <a:lnTo>
                    <a:pt x="795" y="942"/>
                  </a:lnTo>
                  <a:lnTo>
                    <a:pt x="793" y="929"/>
                  </a:lnTo>
                  <a:lnTo>
                    <a:pt x="789" y="915"/>
                  </a:lnTo>
                  <a:lnTo>
                    <a:pt x="783" y="899"/>
                  </a:lnTo>
                  <a:lnTo>
                    <a:pt x="776" y="883"/>
                  </a:lnTo>
                  <a:lnTo>
                    <a:pt x="704" y="719"/>
                  </a:lnTo>
                  <a:lnTo>
                    <a:pt x="359" y="719"/>
                  </a:lnTo>
                  <a:lnTo>
                    <a:pt x="289" y="883"/>
                  </a:lnTo>
                  <a:close/>
                  <a:moveTo>
                    <a:pt x="533" y="318"/>
                  </a:moveTo>
                  <a:lnTo>
                    <a:pt x="394" y="642"/>
                  </a:lnTo>
                  <a:lnTo>
                    <a:pt x="671" y="642"/>
                  </a:lnTo>
                  <a:lnTo>
                    <a:pt x="533" y="3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1849438" y="893763"/>
              <a:ext cx="131763" cy="136525"/>
            </a:xfrm>
            <a:custGeom>
              <a:avLst/>
              <a:gdLst>
                <a:gd name="T0" fmla="*/ 0 w 1002"/>
                <a:gd name="T1" fmla="*/ 0 h 1035"/>
                <a:gd name="T2" fmla="*/ 545 w 1002"/>
                <a:gd name="T3" fmla="*/ 50 h 1035"/>
                <a:gd name="T4" fmla="*/ 519 w 1002"/>
                <a:gd name="T5" fmla="*/ 50 h 1035"/>
                <a:gd name="T6" fmla="*/ 476 w 1002"/>
                <a:gd name="T7" fmla="*/ 54 h 1035"/>
                <a:gd name="T8" fmla="*/ 443 w 1002"/>
                <a:gd name="T9" fmla="*/ 63 h 1035"/>
                <a:gd name="T10" fmla="*/ 424 w 1002"/>
                <a:gd name="T11" fmla="*/ 73 h 1035"/>
                <a:gd name="T12" fmla="*/ 413 w 1002"/>
                <a:gd name="T13" fmla="*/ 81 h 1035"/>
                <a:gd name="T14" fmla="*/ 405 w 1002"/>
                <a:gd name="T15" fmla="*/ 92 h 1035"/>
                <a:gd name="T16" fmla="*/ 394 w 1002"/>
                <a:gd name="T17" fmla="*/ 113 h 1035"/>
                <a:gd name="T18" fmla="*/ 385 w 1002"/>
                <a:gd name="T19" fmla="*/ 148 h 1035"/>
                <a:gd name="T20" fmla="*/ 380 w 1002"/>
                <a:gd name="T21" fmla="*/ 194 h 1035"/>
                <a:gd name="T22" fmla="*/ 379 w 1002"/>
                <a:gd name="T23" fmla="*/ 252 h 1035"/>
                <a:gd name="T24" fmla="*/ 379 w 1002"/>
                <a:gd name="T25" fmla="*/ 756 h 1035"/>
                <a:gd name="T26" fmla="*/ 380 w 1002"/>
                <a:gd name="T27" fmla="*/ 814 h 1035"/>
                <a:gd name="T28" fmla="*/ 385 w 1002"/>
                <a:gd name="T29" fmla="*/ 860 h 1035"/>
                <a:gd name="T30" fmla="*/ 394 w 1002"/>
                <a:gd name="T31" fmla="*/ 896 h 1035"/>
                <a:gd name="T32" fmla="*/ 405 w 1002"/>
                <a:gd name="T33" fmla="*/ 915 h 1035"/>
                <a:gd name="T34" fmla="*/ 413 w 1002"/>
                <a:gd name="T35" fmla="*/ 927 h 1035"/>
                <a:gd name="T36" fmla="*/ 424 w 1002"/>
                <a:gd name="T37" fmla="*/ 936 h 1035"/>
                <a:gd name="T38" fmla="*/ 443 w 1002"/>
                <a:gd name="T39" fmla="*/ 946 h 1035"/>
                <a:gd name="T40" fmla="*/ 476 w 1002"/>
                <a:gd name="T41" fmla="*/ 954 h 1035"/>
                <a:gd name="T42" fmla="*/ 519 w 1002"/>
                <a:gd name="T43" fmla="*/ 957 h 1035"/>
                <a:gd name="T44" fmla="*/ 743 w 1002"/>
                <a:gd name="T45" fmla="*/ 957 h 1035"/>
                <a:gd name="T46" fmla="*/ 772 w 1002"/>
                <a:gd name="T47" fmla="*/ 957 h 1035"/>
                <a:gd name="T48" fmla="*/ 819 w 1002"/>
                <a:gd name="T49" fmla="*/ 953 h 1035"/>
                <a:gd name="T50" fmla="*/ 855 w 1002"/>
                <a:gd name="T51" fmla="*/ 946 h 1035"/>
                <a:gd name="T52" fmla="*/ 883 w 1002"/>
                <a:gd name="T53" fmla="*/ 934 h 1035"/>
                <a:gd name="T54" fmla="*/ 904 w 1002"/>
                <a:gd name="T55" fmla="*/ 917 h 1035"/>
                <a:gd name="T56" fmla="*/ 919 w 1002"/>
                <a:gd name="T57" fmla="*/ 897 h 1035"/>
                <a:gd name="T58" fmla="*/ 930 w 1002"/>
                <a:gd name="T59" fmla="*/ 872 h 1035"/>
                <a:gd name="T60" fmla="*/ 943 w 1002"/>
                <a:gd name="T61" fmla="*/ 826 h 1035"/>
                <a:gd name="T62" fmla="*/ 1002 w 1002"/>
                <a:gd name="T63" fmla="*/ 792 h 1035"/>
                <a:gd name="T64" fmla="*/ 0 w 1002"/>
                <a:gd name="T65" fmla="*/ 1035 h 1035"/>
                <a:gd name="T66" fmla="*/ 0 w 1002"/>
                <a:gd name="T67" fmla="*/ 985 h 1035"/>
                <a:gd name="T68" fmla="*/ 48 w 1002"/>
                <a:gd name="T69" fmla="*/ 984 h 1035"/>
                <a:gd name="T70" fmla="*/ 86 w 1002"/>
                <a:gd name="T71" fmla="*/ 978 h 1035"/>
                <a:gd name="T72" fmla="*/ 114 w 1002"/>
                <a:gd name="T73" fmla="*/ 966 h 1035"/>
                <a:gd name="T74" fmla="*/ 125 w 1002"/>
                <a:gd name="T75" fmla="*/ 958 h 1035"/>
                <a:gd name="T76" fmla="*/ 136 w 1002"/>
                <a:gd name="T77" fmla="*/ 949 h 1035"/>
                <a:gd name="T78" fmla="*/ 143 w 1002"/>
                <a:gd name="T79" fmla="*/ 937 h 1035"/>
                <a:gd name="T80" fmla="*/ 154 w 1002"/>
                <a:gd name="T81" fmla="*/ 906 h 1035"/>
                <a:gd name="T82" fmla="*/ 161 w 1002"/>
                <a:gd name="T83" fmla="*/ 866 h 1035"/>
                <a:gd name="T84" fmla="*/ 163 w 1002"/>
                <a:gd name="T85" fmla="*/ 814 h 1035"/>
                <a:gd name="T86" fmla="*/ 163 w 1002"/>
                <a:gd name="T87" fmla="*/ 252 h 1035"/>
                <a:gd name="T88" fmla="*/ 163 w 1002"/>
                <a:gd name="T89" fmla="*/ 221 h 1035"/>
                <a:gd name="T90" fmla="*/ 161 w 1002"/>
                <a:gd name="T91" fmla="*/ 169 h 1035"/>
                <a:gd name="T92" fmla="*/ 154 w 1002"/>
                <a:gd name="T93" fmla="*/ 129 h 1035"/>
                <a:gd name="T94" fmla="*/ 143 w 1002"/>
                <a:gd name="T95" fmla="*/ 98 h 1035"/>
                <a:gd name="T96" fmla="*/ 136 w 1002"/>
                <a:gd name="T97" fmla="*/ 86 h 1035"/>
                <a:gd name="T98" fmla="*/ 125 w 1002"/>
                <a:gd name="T99" fmla="*/ 77 h 1035"/>
                <a:gd name="T100" fmla="*/ 114 w 1002"/>
                <a:gd name="T101" fmla="*/ 69 h 1035"/>
                <a:gd name="T102" fmla="*/ 86 w 1002"/>
                <a:gd name="T103" fmla="*/ 58 h 1035"/>
                <a:gd name="T104" fmla="*/ 48 w 1002"/>
                <a:gd name="T105" fmla="*/ 51 h 1035"/>
                <a:gd name="T106" fmla="*/ 0 w 1002"/>
                <a:gd name="T107" fmla="*/ 5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02" h="1035">
                  <a:moveTo>
                    <a:pt x="0" y="50"/>
                  </a:moveTo>
                  <a:lnTo>
                    <a:pt x="0" y="0"/>
                  </a:lnTo>
                  <a:lnTo>
                    <a:pt x="545" y="0"/>
                  </a:lnTo>
                  <a:lnTo>
                    <a:pt x="545" y="50"/>
                  </a:lnTo>
                  <a:lnTo>
                    <a:pt x="545" y="50"/>
                  </a:lnTo>
                  <a:lnTo>
                    <a:pt x="519" y="50"/>
                  </a:lnTo>
                  <a:lnTo>
                    <a:pt x="497" y="51"/>
                  </a:lnTo>
                  <a:lnTo>
                    <a:pt x="476" y="54"/>
                  </a:lnTo>
                  <a:lnTo>
                    <a:pt x="459" y="58"/>
                  </a:lnTo>
                  <a:lnTo>
                    <a:pt x="443" y="63"/>
                  </a:lnTo>
                  <a:lnTo>
                    <a:pt x="429" y="69"/>
                  </a:lnTo>
                  <a:lnTo>
                    <a:pt x="424" y="73"/>
                  </a:lnTo>
                  <a:lnTo>
                    <a:pt x="418" y="77"/>
                  </a:lnTo>
                  <a:lnTo>
                    <a:pt x="413" y="81"/>
                  </a:lnTo>
                  <a:lnTo>
                    <a:pt x="409" y="86"/>
                  </a:lnTo>
                  <a:lnTo>
                    <a:pt x="405" y="92"/>
                  </a:lnTo>
                  <a:lnTo>
                    <a:pt x="400" y="98"/>
                  </a:lnTo>
                  <a:lnTo>
                    <a:pt x="394" y="113"/>
                  </a:lnTo>
                  <a:lnTo>
                    <a:pt x="389" y="129"/>
                  </a:lnTo>
                  <a:lnTo>
                    <a:pt x="385" y="148"/>
                  </a:lnTo>
                  <a:lnTo>
                    <a:pt x="382" y="169"/>
                  </a:lnTo>
                  <a:lnTo>
                    <a:pt x="380" y="194"/>
                  </a:lnTo>
                  <a:lnTo>
                    <a:pt x="379" y="221"/>
                  </a:lnTo>
                  <a:lnTo>
                    <a:pt x="379" y="252"/>
                  </a:lnTo>
                  <a:lnTo>
                    <a:pt x="379" y="756"/>
                  </a:lnTo>
                  <a:lnTo>
                    <a:pt x="379" y="756"/>
                  </a:lnTo>
                  <a:lnTo>
                    <a:pt x="379" y="787"/>
                  </a:lnTo>
                  <a:lnTo>
                    <a:pt x="380" y="814"/>
                  </a:lnTo>
                  <a:lnTo>
                    <a:pt x="382" y="839"/>
                  </a:lnTo>
                  <a:lnTo>
                    <a:pt x="385" y="860"/>
                  </a:lnTo>
                  <a:lnTo>
                    <a:pt x="389" y="879"/>
                  </a:lnTo>
                  <a:lnTo>
                    <a:pt x="394" y="896"/>
                  </a:lnTo>
                  <a:lnTo>
                    <a:pt x="400" y="909"/>
                  </a:lnTo>
                  <a:lnTo>
                    <a:pt x="405" y="915"/>
                  </a:lnTo>
                  <a:lnTo>
                    <a:pt x="409" y="921"/>
                  </a:lnTo>
                  <a:lnTo>
                    <a:pt x="413" y="927"/>
                  </a:lnTo>
                  <a:lnTo>
                    <a:pt x="418" y="932"/>
                  </a:lnTo>
                  <a:lnTo>
                    <a:pt x="424" y="936"/>
                  </a:lnTo>
                  <a:lnTo>
                    <a:pt x="429" y="939"/>
                  </a:lnTo>
                  <a:lnTo>
                    <a:pt x="443" y="946"/>
                  </a:lnTo>
                  <a:lnTo>
                    <a:pt x="459" y="950"/>
                  </a:lnTo>
                  <a:lnTo>
                    <a:pt x="476" y="954"/>
                  </a:lnTo>
                  <a:lnTo>
                    <a:pt x="497" y="956"/>
                  </a:lnTo>
                  <a:lnTo>
                    <a:pt x="519" y="957"/>
                  </a:lnTo>
                  <a:lnTo>
                    <a:pt x="545" y="957"/>
                  </a:lnTo>
                  <a:lnTo>
                    <a:pt x="743" y="957"/>
                  </a:lnTo>
                  <a:lnTo>
                    <a:pt x="743" y="957"/>
                  </a:lnTo>
                  <a:lnTo>
                    <a:pt x="772" y="957"/>
                  </a:lnTo>
                  <a:lnTo>
                    <a:pt x="796" y="955"/>
                  </a:lnTo>
                  <a:lnTo>
                    <a:pt x="819" y="953"/>
                  </a:lnTo>
                  <a:lnTo>
                    <a:pt x="838" y="950"/>
                  </a:lnTo>
                  <a:lnTo>
                    <a:pt x="855" y="946"/>
                  </a:lnTo>
                  <a:lnTo>
                    <a:pt x="871" y="940"/>
                  </a:lnTo>
                  <a:lnTo>
                    <a:pt x="883" y="934"/>
                  </a:lnTo>
                  <a:lnTo>
                    <a:pt x="894" y="927"/>
                  </a:lnTo>
                  <a:lnTo>
                    <a:pt x="904" y="917"/>
                  </a:lnTo>
                  <a:lnTo>
                    <a:pt x="912" y="908"/>
                  </a:lnTo>
                  <a:lnTo>
                    <a:pt x="919" y="897"/>
                  </a:lnTo>
                  <a:lnTo>
                    <a:pt x="925" y="886"/>
                  </a:lnTo>
                  <a:lnTo>
                    <a:pt x="930" y="872"/>
                  </a:lnTo>
                  <a:lnTo>
                    <a:pt x="935" y="858"/>
                  </a:lnTo>
                  <a:lnTo>
                    <a:pt x="943" y="826"/>
                  </a:lnTo>
                  <a:lnTo>
                    <a:pt x="952" y="792"/>
                  </a:lnTo>
                  <a:lnTo>
                    <a:pt x="1002" y="792"/>
                  </a:lnTo>
                  <a:lnTo>
                    <a:pt x="988" y="1035"/>
                  </a:lnTo>
                  <a:lnTo>
                    <a:pt x="0" y="1035"/>
                  </a:lnTo>
                  <a:lnTo>
                    <a:pt x="0" y="985"/>
                  </a:lnTo>
                  <a:lnTo>
                    <a:pt x="0" y="985"/>
                  </a:lnTo>
                  <a:lnTo>
                    <a:pt x="25" y="985"/>
                  </a:lnTo>
                  <a:lnTo>
                    <a:pt x="48" y="984"/>
                  </a:lnTo>
                  <a:lnTo>
                    <a:pt x="68" y="982"/>
                  </a:lnTo>
                  <a:lnTo>
                    <a:pt x="86" y="978"/>
                  </a:lnTo>
                  <a:lnTo>
                    <a:pt x="101" y="973"/>
                  </a:lnTo>
                  <a:lnTo>
                    <a:pt x="114" y="966"/>
                  </a:lnTo>
                  <a:lnTo>
                    <a:pt x="120" y="963"/>
                  </a:lnTo>
                  <a:lnTo>
                    <a:pt x="125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0" y="923"/>
                  </a:lnTo>
                  <a:lnTo>
                    <a:pt x="154" y="906"/>
                  </a:lnTo>
                  <a:lnTo>
                    <a:pt x="158" y="888"/>
                  </a:lnTo>
                  <a:lnTo>
                    <a:pt x="161" y="866"/>
                  </a:lnTo>
                  <a:lnTo>
                    <a:pt x="162" y="842"/>
                  </a:lnTo>
                  <a:lnTo>
                    <a:pt x="163" y="814"/>
                  </a:lnTo>
                  <a:lnTo>
                    <a:pt x="163" y="783"/>
                  </a:lnTo>
                  <a:lnTo>
                    <a:pt x="163" y="252"/>
                  </a:lnTo>
                  <a:lnTo>
                    <a:pt x="163" y="252"/>
                  </a:lnTo>
                  <a:lnTo>
                    <a:pt x="163" y="221"/>
                  </a:lnTo>
                  <a:lnTo>
                    <a:pt x="162" y="194"/>
                  </a:lnTo>
                  <a:lnTo>
                    <a:pt x="161" y="169"/>
                  </a:lnTo>
                  <a:lnTo>
                    <a:pt x="158" y="148"/>
                  </a:lnTo>
                  <a:lnTo>
                    <a:pt x="154" y="129"/>
                  </a:lnTo>
                  <a:lnTo>
                    <a:pt x="150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5" y="77"/>
                  </a:lnTo>
                  <a:lnTo>
                    <a:pt x="120" y="73"/>
                  </a:lnTo>
                  <a:lnTo>
                    <a:pt x="114" y="69"/>
                  </a:lnTo>
                  <a:lnTo>
                    <a:pt x="101" y="63"/>
                  </a:lnTo>
                  <a:lnTo>
                    <a:pt x="86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982788" y="893763"/>
              <a:ext cx="142875" cy="136525"/>
            </a:xfrm>
            <a:custGeom>
              <a:avLst/>
              <a:gdLst>
                <a:gd name="T0" fmla="*/ 1028 w 1078"/>
                <a:gd name="T1" fmla="*/ 244 h 1035"/>
                <a:gd name="T2" fmla="*/ 1019 w 1078"/>
                <a:gd name="T3" fmla="*/ 209 h 1035"/>
                <a:gd name="T4" fmla="*/ 1006 w 1078"/>
                <a:gd name="T5" fmla="*/ 163 h 1035"/>
                <a:gd name="T6" fmla="*/ 995 w 1078"/>
                <a:gd name="T7" fmla="*/ 138 h 1035"/>
                <a:gd name="T8" fmla="*/ 979 w 1078"/>
                <a:gd name="T9" fmla="*/ 118 h 1035"/>
                <a:gd name="T10" fmla="*/ 959 w 1078"/>
                <a:gd name="T11" fmla="*/ 101 h 1035"/>
                <a:gd name="T12" fmla="*/ 931 w 1078"/>
                <a:gd name="T13" fmla="*/ 90 h 1035"/>
                <a:gd name="T14" fmla="*/ 895 w 1078"/>
                <a:gd name="T15" fmla="*/ 82 h 1035"/>
                <a:gd name="T16" fmla="*/ 848 w 1078"/>
                <a:gd name="T17" fmla="*/ 78 h 1035"/>
                <a:gd name="T18" fmla="*/ 646 w 1078"/>
                <a:gd name="T19" fmla="*/ 78 h 1035"/>
                <a:gd name="T20" fmla="*/ 646 w 1078"/>
                <a:gd name="T21" fmla="*/ 783 h 1035"/>
                <a:gd name="T22" fmla="*/ 648 w 1078"/>
                <a:gd name="T23" fmla="*/ 842 h 1035"/>
                <a:gd name="T24" fmla="*/ 652 w 1078"/>
                <a:gd name="T25" fmla="*/ 888 h 1035"/>
                <a:gd name="T26" fmla="*/ 661 w 1078"/>
                <a:gd name="T27" fmla="*/ 923 h 1035"/>
                <a:gd name="T28" fmla="*/ 672 w 1078"/>
                <a:gd name="T29" fmla="*/ 943 h 1035"/>
                <a:gd name="T30" fmla="*/ 680 w 1078"/>
                <a:gd name="T31" fmla="*/ 954 h 1035"/>
                <a:gd name="T32" fmla="*/ 691 w 1078"/>
                <a:gd name="T33" fmla="*/ 963 h 1035"/>
                <a:gd name="T34" fmla="*/ 711 w 1078"/>
                <a:gd name="T35" fmla="*/ 973 h 1035"/>
                <a:gd name="T36" fmla="*/ 743 w 1078"/>
                <a:gd name="T37" fmla="*/ 982 h 1035"/>
                <a:gd name="T38" fmla="*/ 786 w 1078"/>
                <a:gd name="T39" fmla="*/ 985 h 1035"/>
                <a:gd name="T40" fmla="*/ 812 w 1078"/>
                <a:gd name="T41" fmla="*/ 1035 h 1035"/>
                <a:gd name="T42" fmla="*/ 267 w 1078"/>
                <a:gd name="T43" fmla="*/ 985 h 1035"/>
                <a:gd name="T44" fmla="*/ 292 w 1078"/>
                <a:gd name="T45" fmla="*/ 985 h 1035"/>
                <a:gd name="T46" fmla="*/ 335 w 1078"/>
                <a:gd name="T47" fmla="*/ 982 h 1035"/>
                <a:gd name="T48" fmla="*/ 368 w 1078"/>
                <a:gd name="T49" fmla="*/ 973 h 1035"/>
                <a:gd name="T50" fmla="*/ 387 w 1078"/>
                <a:gd name="T51" fmla="*/ 963 h 1035"/>
                <a:gd name="T52" fmla="*/ 398 w 1078"/>
                <a:gd name="T53" fmla="*/ 954 h 1035"/>
                <a:gd name="T54" fmla="*/ 407 w 1078"/>
                <a:gd name="T55" fmla="*/ 943 h 1035"/>
                <a:gd name="T56" fmla="*/ 417 w 1078"/>
                <a:gd name="T57" fmla="*/ 923 h 1035"/>
                <a:gd name="T58" fmla="*/ 425 w 1078"/>
                <a:gd name="T59" fmla="*/ 888 h 1035"/>
                <a:gd name="T60" fmla="*/ 429 w 1078"/>
                <a:gd name="T61" fmla="*/ 842 h 1035"/>
                <a:gd name="T62" fmla="*/ 431 w 1078"/>
                <a:gd name="T63" fmla="*/ 783 h 1035"/>
                <a:gd name="T64" fmla="*/ 259 w 1078"/>
                <a:gd name="T65" fmla="*/ 78 h 1035"/>
                <a:gd name="T66" fmla="*/ 231 w 1078"/>
                <a:gd name="T67" fmla="*/ 78 h 1035"/>
                <a:gd name="T68" fmla="*/ 184 w 1078"/>
                <a:gd name="T69" fmla="*/ 82 h 1035"/>
                <a:gd name="T70" fmla="*/ 147 w 1078"/>
                <a:gd name="T71" fmla="*/ 90 h 1035"/>
                <a:gd name="T72" fmla="*/ 120 w 1078"/>
                <a:gd name="T73" fmla="*/ 101 h 1035"/>
                <a:gd name="T74" fmla="*/ 99 w 1078"/>
                <a:gd name="T75" fmla="*/ 118 h 1035"/>
                <a:gd name="T76" fmla="*/ 85 w 1078"/>
                <a:gd name="T77" fmla="*/ 138 h 1035"/>
                <a:gd name="T78" fmla="*/ 74 w 1078"/>
                <a:gd name="T79" fmla="*/ 163 h 1035"/>
                <a:gd name="T80" fmla="*/ 60 w 1078"/>
                <a:gd name="T81" fmla="*/ 209 h 1035"/>
                <a:gd name="T82" fmla="*/ 0 w 1078"/>
                <a:gd name="T83" fmla="*/ 244 h 1035"/>
                <a:gd name="T84" fmla="*/ 1064 w 1078"/>
                <a:gd name="T85" fmla="*/ 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8" h="1035">
                  <a:moveTo>
                    <a:pt x="1078" y="244"/>
                  </a:moveTo>
                  <a:lnTo>
                    <a:pt x="1028" y="244"/>
                  </a:lnTo>
                  <a:lnTo>
                    <a:pt x="1019" y="209"/>
                  </a:lnTo>
                  <a:lnTo>
                    <a:pt x="1019" y="209"/>
                  </a:lnTo>
                  <a:lnTo>
                    <a:pt x="1011" y="177"/>
                  </a:lnTo>
                  <a:lnTo>
                    <a:pt x="1006" y="163"/>
                  </a:lnTo>
                  <a:lnTo>
                    <a:pt x="1001" y="150"/>
                  </a:lnTo>
                  <a:lnTo>
                    <a:pt x="995" y="138"/>
                  </a:lnTo>
                  <a:lnTo>
                    <a:pt x="988" y="127"/>
                  </a:lnTo>
                  <a:lnTo>
                    <a:pt x="979" y="118"/>
                  </a:lnTo>
                  <a:lnTo>
                    <a:pt x="970" y="109"/>
                  </a:lnTo>
                  <a:lnTo>
                    <a:pt x="959" y="101"/>
                  </a:lnTo>
                  <a:lnTo>
                    <a:pt x="946" y="95"/>
                  </a:lnTo>
                  <a:lnTo>
                    <a:pt x="931" y="90"/>
                  </a:lnTo>
                  <a:lnTo>
                    <a:pt x="914" y="85"/>
                  </a:lnTo>
                  <a:lnTo>
                    <a:pt x="895" y="82"/>
                  </a:lnTo>
                  <a:lnTo>
                    <a:pt x="872" y="80"/>
                  </a:lnTo>
                  <a:lnTo>
                    <a:pt x="848" y="78"/>
                  </a:lnTo>
                  <a:lnTo>
                    <a:pt x="819" y="78"/>
                  </a:lnTo>
                  <a:lnTo>
                    <a:pt x="646" y="78"/>
                  </a:lnTo>
                  <a:lnTo>
                    <a:pt x="646" y="783"/>
                  </a:lnTo>
                  <a:lnTo>
                    <a:pt x="646" y="783"/>
                  </a:lnTo>
                  <a:lnTo>
                    <a:pt x="647" y="814"/>
                  </a:lnTo>
                  <a:lnTo>
                    <a:pt x="648" y="842"/>
                  </a:lnTo>
                  <a:lnTo>
                    <a:pt x="649" y="866"/>
                  </a:lnTo>
                  <a:lnTo>
                    <a:pt x="652" y="888"/>
                  </a:lnTo>
                  <a:lnTo>
                    <a:pt x="656" y="906"/>
                  </a:lnTo>
                  <a:lnTo>
                    <a:pt x="661" y="923"/>
                  </a:lnTo>
                  <a:lnTo>
                    <a:pt x="668" y="937"/>
                  </a:lnTo>
                  <a:lnTo>
                    <a:pt x="672" y="943"/>
                  </a:lnTo>
                  <a:lnTo>
                    <a:pt x="676" y="949"/>
                  </a:lnTo>
                  <a:lnTo>
                    <a:pt x="680" y="954"/>
                  </a:lnTo>
                  <a:lnTo>
                    <a:pt x="685" y="958"/>
                  </a:lnTo>
                  <a:lnTo>
                    <a:pt x="691" y="963"/>
                  </a:lnTo>
                  <a:lnTo>
                    <a:pt x="697" y="966"/>
                  </a:lnTo>
                  <a:lnTo>
                    <a:pt x="711" y="973"/>
                  </a:lnTo>
                  <a:lnTo>
                    <a:pt x="726" y="978"/>
                  </a:lnTo>
                  <a:lnTo>
                    <a:pt x="743" y="982"/>
                  </a:lnTo>
                  <a:lnTo>
                    <a:pt x="764" y="984"/>
                  </a:lnTo>
                  <a:lnTo>
                    <a:pt x="786" y="985"/>
                  </a:lnTo>
                  <a:lnTo>
                    <a:pt x="812" y="985"/>
                  </a:lnTo>
                  <a:lnTo>
                    <a:pt x="812" y="1035"/>
                  </a:lnTo>
                  <a:lnTo>
                    <a:pt x="267" y="1035"/>
                  </a:lnTo>
                  <a:lnTo>
                    <a:pt x="267" y="985"/>
                  </a:lnTo>
                  <a:lnTo>
                    <a:pt x="267" y="985"/>
                  </a:lnTo>
                  <a:lnTo>
                    <a:pt x="292" y="985"/>
                  </a:lnTo>
                  <a:lnTo>
                    <a:pt x="315" y="984"/>
                  </a:lnTo>
                  <a:lnTo>
                    <a:pt x="335" y="982"/>
                  </a:lnTo>
                  <a:lnTo>
                    <a:pt x="353" y="978"/>
                  </a:lnTo>
                  <a:lnTo>
                    <a:pt x="368" y="973"/>
                  </a:lnTo>
                  <a:lnTo>
                    <a:pt x="381" y="966"/>
                  </a:lnTo>
                  <a:lnTo>
                    <a:pt x="387" y="963"/>
                  </a:lnTo>
                  <a:lnTo>
                    <a:pt x="394" y="958"/>
                  </a:lnTo>
                  <a:lnTo>
                    <a:pt x="398" y="954"/>
                  </a:lnTo>
                  <a:lnTo>
                    <a:pt x="403" y="949"/>
                  </a:lnTo>
                  <a:lnTo>
                    <a:pt x="407" y="943"/>
                  </a:lnTo>
                  <a:lnTo>
                    <a:pt x="411" y="937"/>
                  </a:lnTo>
                  <a:lnTo>
                    <a:pt x="417" y="923"/>
                  </a:lnTo>
                  <a:lnTo>
                    <a:pt x="422" y="906"/>
                  </a:lnTo>
                  <a:lnTo>
                    <a:pt x="425" y="888"/>
                  </a:lnTo>
                  <a:lnTo>
                    <a:pt x="428" y="866"/>
                  </a:lnTo>
                  <a:lnTo>
                    <a:pt x="429" y="842"/>
                  </a:lnTo>
                  <a:lnTo>
                    <a:pt x="430" y="814"/>
                  </a:lnTo>
                  <a:lnTo>
                    <a:pt x="431" y="783"/>
                  </a:lnTo>
                  <a:lnTo>
                    <a:pt x="431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31" y="78"/>
                  </a:lnTo>
                  <a:lnTo>
                    <a:pt x="205" y="80"/>
                  </a:lnTo>
                  <a:lnTo>
                    <a:pt x="184" y="82"/>
                  </a:lnTo>
                  <a:lnTo>
                    <a:pt x="165" y="85"/>
                  </a:lnTo>
                  <a:lnTo>
                    <a:pt x="147" y="90"/>
                  </a:lnTo>
                  <a:lnTo>
                    <a:pt x="133" y="95"/>
                  </a:lnTo>
                  <a:lnTo>
                    <a:pt x="120" y="101"/>
                  </a:lnTo>
                  <a:lnTo>
                    <a:pt x="108" y="109"/>
                  </a:lnTo>
                  <a:lnTo>
                    <a:pt x="99" y="118"/>
                  </a:lnTo>
                  <a:lnTo>
                    <a:pt x="91" y="127"/>
                  </a:lnTo>
                  <a:lnTo>
                    <a:pt x="85" y="138"/>
                  </a:lnTo>
                  <a:lnTo>
                    <a:pt x="79" y="150"/>
                  </a:lnTo>
                  <a:lnTo>
                    <a:pt x="74" y="163"/>
                  </a:lnTo>
                  <a:lnTo>
                    <a:pt x="68" y="177"/>
                  </a:lnTo>
                  <a:lnTo>
                    <a:pt x="60" y="209"/>
                  </a:lnTo>
                  <a:lnTo>
                    <a:pt x="51" y="244"/>
                  </a:lnTo>
                  <a:lnTo>
                    <a:pt x="0" y="244"/>
                  </a:lnTo>
                  <a:lnTo>
                    <a:pt x="15" y="0"/>
                  </a:lnTo>
                  <a:lnTo>
                    <a:pt x="1064" y="0"/>
                  </a:lnTo>
                  <a:lnTo>
                    <a:pt x="1078" y="2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2152651" y="893763"/>
              <a:ext cx="73025" cy="136525"/>
            </a:xfrm>
            <a:custGeom>
              <a:avLst/>
              <a:gdLst>
                <a:gd name="T0" fmla="*/ 0 w 545"/>
                <a:gd name="T1" fmla="*/ 985 h 1035"/>
                <a:gd name="T2" fmla="*/ 26 w 545"/>
                <a:gd name="T3" fmla="*/ 985 h 1035"/>
                <a:gd name="T4" fmla="*/ 69 w 545"/>
                <a:gd name="T5" fmla="*/ 982 h 1035"/>
                <a:gd name="T6" fmla="*/ 102 w 545"/>
                <a:gd name="T7" fmla="*/ 973 h 1035"/>
                <a:gd name="T8" fmla="*/ 121 w 545"/>
                <a:gd name="T9" fmla="*/ 963 h 1035"/>
                <a:gd name="T10" fmla="*/ 131 w 545"/>
                <a:gd name="T11" fmla="*/ 954 h 1035"/>
                <a:gd name="T12" fmla="*/ 140 w 545"/>
                <a:gd name="T13" fmla="*/ 943 h 1035"/>
                <a:gd name="T14" fmla="*/ 151 w 545"/>
                <a:gd name="T15" fmla="*/ 923 h 1035"/>
                <a:gd name="T16" fmla="*/ 159 w 545"/>
                <a:gd name="T17" fmla="*/ 888 h 1035"/>
                <a:gd name="T18" fmla="*/ 163 w 545"/>
                <a:gd name="T19" fmla="*/ 842 h 1035"/>
                <a:gd name="T20" fmla="*/ 164 w 545"/>
                <a:gd name="T21" fmla="*/ 783 h 1035"/>
                <a:gd name="T22" fmla="*/ 164 w 545"/>
                <a:gd name="T23" fmla="*/ 252 h 1035"/>
                <a:gd name="T24" fmla="*/ 163 w 545"/>
                <a:gd name="T25" fmla="*/ 194 h 1035"/>
                <a:gd name="T26" fmla="*/ 159 w 545"/>
                <a:gd name="T27" fmla="*/ 148 h 1035"/>
                <a:gd name="T28" fmla="*/ 151 w 545"/>
                <a:gd name="T29" fmla="*/ 113 h 1035"/>
                <a:gd name="T30" fmla="*/ 140 w 545"/>
                <a:gd name="T31" fmla="*/ 92 h 1035"/>
                <a:gd name="T32" fmla="*/ 131 w 545"/>
                <a:gd name="T33" fmla="*/ 81 h 1035"/>
                <a:gd name="T34" fmla="*/ 121 w 545"/>
                <a:gd name="T35" fmla="*/ 73 h 1035"/>
                <a:gd name="T36" fmla="*/ 102 w 545"/>
                <a:gd name="T37" fmla="*/ 63 h 1035"/>
                <a:gd name="T38" fmla="*/ 69 w 545"/>
                <a:gd name="T39" fmla="*/ 54 h 1035"/>
                <a:gd name="T40" fmla="*/ 26 w 545"/>
                <a:gd name="T41" fmla="*/ 50 h 1035"/>
                <a:gd name="T42" fmla="*/ 0 w 545"/>
                <a:gd name="T43" fmla="*/ 0 h 1035"/>
                <a:gd name="T44" fmla="*/ 545 w 545"/>
                <a:gd name="T45" fmla="*/ 50 h 1035"/>
                <a:gd name="T46" fmla="*/ 520 w 545"/>
                <a:gd name="T47" fmla="*/ 50 h 1035"/>
                <a:gd name="T48" fmla="*/ 477 w 545"/>
                <a:gd name="T49" fmla="*/ 54 h 1035"/>
                <a:gd name="T50" fmla="*/ 444 w 545"/>
                <a:gd name="T51" fmla="*/ 63 h 1035"/>
                <a:gd name="T52" fmla="*/ 425 w 545"/>
                <a:gd name="T53" fmla="*/ 73 h 1035"/>
                <a:gd name="T54" fmla="*/ 413 w 545"/>
                <a:gd name="T55" fmla="*/ 81 h 1035"/>
                <a:gd name="T56" fmla="*/ 405 w 545"/>
                <a:gd name="T57" fmla="*/ 92 h 1035"/>
                <a:gd name="T58" fmla="*/ 395 w 545"/>
                <a:gd name="T59" fmla="*/ 113 h 1035"/>
                <a:gd name="T60" fmla="*/ 386 w 545"/>
                <a:gd name="T61" fmla="*/ 148 h 1035"/>
                <a:gd name="T62" fmla="*/ 381 w 545"/>
                <a:gd name="T63" fmla="*/ 194 h 1035"/>
                <a:gd name="T64" fmla="*/ 380 w 545"/>
                <a:gd name="T65" fmla="*/ 252 h 1035"/>
                <a:gd name="T66" fmla="*/ 380 w 545"/>
                <a:gd name="T67" fmla="*/ 783 h 1035"/>
                <a:gd name="T68" fmla="*/ 381 w 545"/>
                <a:gd name="T69" fmla="*/ 842 h 1035"/>
                <a:gd name="T70" fmla="*/ 386 w 545"/>
                <a:gd name="T71" fmla="*/ 888 h 1035"/>
                <a:gd name="T72" fmla="*/ 395 w 545"/>
                <a:gd name="T73" fmla="*/ 923 h 1035"/>
                <a:gd name="T74" fmla="*/ 405 w 545"/>
                <a:gd name="T75" fmla="*/ 943 h 1035"/>
                <a:gd name="T76" fmla="*/ 413 w 545"/>
                <a:gd name="T77" fmla="*/ 954 h 1035"/>
                <a:gd name="T78" fmla="*/ 425 w 545"/>
                <a:gd name="T79" fmla="*/ 963 h 1035"/>
                <a:gd name="T80" fmla="*/ 444 w 545"/>
                <a:gd name="T81" fmla="*/ 973 h 1035"/>
                <a:gd name="T82" fmla="*/ 477 w 545"/>
                <a:gd name="T83" fmla="*/ 982 h 1035"/>
                <a:gd name="T84" fmla="*/ 520 w 545"/>
                <a:gd name="T85" fmla="*/ 985 h 1035"/>
                <a:gd name="T86" fmla="*/ 545 w 545"/>
                <a:gd name="T87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5" h="1035">
                  <a:moveTo>
                    <a:pt x="0" y="1035"/>
                  </a:moveTo>
                  <a:lnTo>
                    <a:pt x="0" y="985"/>
                  </a:lnTo>
                  <a:lnTo>
                    <a:pt x="0" y="985"/>
                  </a:lnTo>
                  <a:lnTo>
                    <a:pt x="26" y="985"/>
                  </a:lnTo>
                  <a:lnTo>
                    <a:pt x="48" y="984"/>
                  </a:lnTo>
                  <a:lnTo>
                    <a:pt x="69" y="982"/>
                  </a:lnTo>
                  <a:lnTo>
                    <a:pt x="86" y="978"/>
                  </a:lnTo>
                  <a:lnTo>
                    <a:pt x="102" y="973"/>
                  </a:lnTo>
                  <a:lnTo>
                    <a:pt x="115" y="966"/>
                  </a:lnTo>
                  <a:lnTo>
                    <a:pt x="121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1" y="923"/>
                  </a:lnTo>
                  <a:lnTo>
                    <a:pt x="155" y="906"/>
                  </a:lnTo>
                  <a:lnTo>
                    <a:pt x="159" y="888"/>
                  </a:lnTo>
                  <a:lnTo>
                    <a:pt x="162" y="866"/>
                  </a:lnTo>
                  <a:lnTo>
                    <a:pt x="163" y="842"/>
                  </a:lnTo>
                  <a:lnTo>
                    <a:pt x="164" y="814"/>
                  </a:lnTo>
                  <a:lnTo>
                    <a:pt x="164" y="783"/>
                  </a:lnTo>
                  <a:lnTo>
                    <a:pt x="164" y="252"/>
                  </a:lnTo>
                  <a:lnTo>
                    <a:pt x="164" y="252"/>
                  </a:lnTo>
                  <a:lnTo>
                    <a:pt x="164" y="221"/>
                  </a:lnTo>
                  <a:lnTo>
                    <a:pt x="163" y="194"/>
                  </a:lnTo>
                  <a:lnTo>
                    <a:pt x="162" y="169"/>
                  </a:lnTo>
                  <a:lnTo>
                    <a:pt x="159" y="148"/>
                  </a:lnTo>
                  <a:lnTo>
                    <a:pt x="155" y="129"/>
                  </a:lnTo>
                  <a:lnTo>
                    <a:pt x="151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6" y="58"/>
                  </a:lnTo>
                  <a:lnTo>
                    <a:pt x="69" y="54"/>
                  </a:lnTo>
                  <a:lnTo>
                    <a:pt x="48" y="51"/>
                  </a:lnTo>
                  <a:lnTo>
                    <a:pt x="26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45" y="0"/>
                  </a:lnTo>
                  <a:lnTo>
                    <a:pt x="545" y="50"/>
                  </a:lnTo>
                  <a:lnTo>
                    <a:pt x="545" y="50"/>
                  </a:lnTo>
                  <a:lnTo>
                    <a:pt x="520" y="50"/>
                  </a:lnTo>
                  <a:lnTo>
                    <a:pt x="497" y="51"/>
                  </a:lnTo>
                  <a:lnTo>
                    <a:pt x="477" y="54"/>
                  </a:lnTo>
                  <a:lnTo>
                    <a:pt x="459" y="58"/>
                  </a:lnTo>
                  <a:lnTo>
                    <a:pt x="444" y="63"/>
                  </a:lnTo>
                  <a:lnTo>
                    <a:pt x="430" y="69"/>
                  </a:lnTo>
                  <a:lnTo>
                    <a:pt x="425" y="73"/>
                  </a:lnTo>
                  <a:lnTo>
                    <a:pt x="418" y="77"/>
                  </a:lnTo>
                  <a:lnTo>
                    <a:pt x="413" y="81"/>
                  </a:lnTo>
                  <a:lnTo>
                    <a:pt x="409" y="86"/>
                  </a:lnTo>
                  <a:lnTo>
                    <a:pt x="405" y="92"/>
                  </a:lnTo>
                  <a:lnTo>
                    <a:pt x="401" y="98"/>
                  </a:lnTo>
                  <a:lnTo>
                    <a:pt x="395" y="113"/>
                  </a:lnTo>
                  <a:lnTo>
                    <a:pt x="390" y="129"/>
                  </a:lnTo>
                  <a:lnTo>
                    <a:pt x="386" y="148"/>
                  </a:lnTo>
                  <a:lnTo>
                    <a:pt x="383" y="169"/>
                  </a:lnTo>
                  <a:lnTo>
                    <a:pt x="381" y="194"/>
                  </a:lnTo>
                  <a:lnTo>
                    <a:pt x="380" y="221"/>
                  </a:lnTo>
                  <a:lnTo>
                    <a:pt x="380" y="252"/>
                  </a:lnTo>
                  <a:lnTo>
                    <a:pt x="380" y="783"/>
                  </a:lnTo>
                  <a:lnTo>
                    <a:pt x="380" y="783"/>
                  </a:lnTo>
                  <a:lnTo>
                    <a:pt x="380" y="814"/>
                  </a:lnTo>
                  <a:lnTo>
                    <a:pt x="381" y="842"/>
                  </a:lnTo>
                  <a:lnTo>
                    <a:pt x="383" y="866"/>
                  </a:lnTo>
                  <a:lnTo>
                    <a:pt x="386" y="888"/>
                  </a:lnTo>
                  <a:lnTo>
                    <a:pt x="390" y="906"/>
                  </a:lnTo>
                  <a:lnTo>
                    <a:pt x="395" y="923"/>
                  </a:lnTo>
                  <a:lnTo>
                    <a:pt x="401" y="937"/>
                  </a:lnTo>
                  <a:lnTo>
                    <a:pt x="405" y="943"/>
                  </a:lnTo>
                  <a:lnTo>
                    <a:pt x="409" y="949"/>
                  </a:lnTo>
                  <a:lnTo>
                    <a:pt x="413" y="954"/>
                  </a:lnTo>
                  <a:lnTo>
                    <a:pt x="418" y="958"/>
                  </a:lnTo>
                  <a:lnTo>
                    <a:pt x="425" y="963"/>
                  </a:lnTo>
                  <a:lnTo>
                    <a:pt x="430" y="966"/>
                  </a:lnTo>
                  <a:lnTo>
                    <a:pt x="444" y="973"/>
                  </a:lnTo>
                  <a:lnTo>
                    <a:pt x="459" y="978"/>
                  </a:lnTo>
                  <a:lnTo>
                    <a:pt x="477" y="982"/>
                  </a:lnTo>
                  <a:lnTo>
                    <a:pt x="497" y="984"/>
                  </a:lnTo>
                  <a:lnTo>
                    <a:pt x="520" y="985"/>
                  </a:lnTo>
                  <a:lnTo>
                    <a:pt x="545" y="985"/>
                  </a:lnTo>
                  <a:lnTo>
                    <a:pt x="545" y="1035"/>
                  </a:lnTo>
                  <a:lnTo>
                    <a:pt x="0" y="10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2260601" y="890588"/>
              <a:ext cx="152400" cy="144463"/>
            </a:xfrm>
            <a:custGeom>
              <a:avLst/>
              <a:gdLst>
                <a:gd name="T0" fmla="*/ 489 w 1152"/>
                <a:gd name="T1" fmla="*/ 1087 h 1094"/>
                <a:gd name="T2" fmla="*/ 353 w 1152"/>
                <a:gd name="T3" fmla="*/ 1051 h 1094"/>
                <a:gd name="T4" fmla="*/ 232 w 1152"/>
                <a:gd name="T5" fmla="*/ 984 h 1094"/>
                <a:gd name="T6" fmla="*/ 132 w 1152"/>
                <a:gd name="T7" fmla="*/ 894 h 1094"/>
                <a:gd name="T8" fmla="*/ 57 w 1152"/>
                <a:gd name="T9" fmla="*/ 783 h 1094"/>
                <a:gd name="T10" fmla="*/ 12 w 1152"/>
                <a:gd name="T11" fmla="*/ 656 h 1094"/>
                <a:gd name="T12" fmla="*/ 0 w 1152"/>
                <a:gd name="T13" fmla="*/ 547 h 1094"/>
                <a:gd name="T14" fmla="*/ 19 w 1152"/>
                <a:gd name="T15" fmla="*/ 411 h 1094"/>
                <a:gd name="T16" fmla="*/ 70 w 1152"/>
                <a:gd name="T17" fmla="*/ 287 h 1094"/>
                <a:gd name="T18" fmla="*/ 151 w 1152"/>
                <a:gd name="T19" fmla="*/ 180 h 1094"/>
                <a:gd name="T20" fmla="*/ 255 w 1152"/>
                <a:gd name="T21" fmla="*/ 94 h 1094"/>
                <a:gd name="T22" fmla="*/ 379 w 1152"/>
                <a:gd name="T23" fmla="*/ 33 h 1094"/>
                <a:gd name="T24" fmla="*/ 518 w 1152"/>
                <a:gd name="T25" fmla="*/ 3 h 1094"/>
                <a:gd name="T26" fmla="*/ 635 w 1152"/>
                <a:gd name="T27" fmla="*/ 3 h 1094"/>
                <a:gd name="T28" fmla="*/ 773 w 1152"/>
                <a:gd name="T29" fmla="*/ 33 h 1094"/>
                <a:gd name="T30" fmla="*/ 897 w 1152"/>
                <a:gd name="T31" fmla="*/ 94 h 1094"/>
                <a:gd name="T32" fmla="*/ 1001 w 1152"/>
                <a:gd name="T33" fmla="*/ 180 h 1094"/>
                <a:gd name="T34" fmla="*/ 1082 w 1152"/>
                <a:gd name="T35" fmla="*/ 287 h 1094"/>
                <a:gd name="T36" fmla="*/ 1133 w 1152"/>
                <a:gd name="T37" fmla="*/ 411 h 1094"/>
                <a:gd name="T38" fmla="*/ 1152 w 1152"/>
                <a:gd name="T39" fmla="*/ 547 h 1094"/>
                <a:gd name="T40" fmla="*/ 1139 w 1152"/>
                <a:gd name="T41" fmla="*/ 656 h 1094"/>
                <a:gd name="T42" fmla="*/ 1094 w 1152"/>
                <a:gd name="T43" fmla="*/ 783 h 1094"/>
                <a:gd name="T44" fmla="*/ 1020 w 1152"/>
                <a:gd name="T45" fmla="*/ 894 h 1094"/>
                <a:gd name="T46" fmla="*/ 919 w 1152"/>
                <a:gd name="T47" fmla="*/ 984 h 1094"/>
                <a:gd name="T48" fmla="*/ 800 w 1152"/>
                <a:gd name="T49" fmla="*/ 1051 h 1094"/>
                <a:gd name="T50" fmla="*/ 664 w 1152"/>
                <a:gd name="T51" fmla="*/ 1087 h 1094"/>
                <a:gd name="T52" fmla="*/ 577 w 1152"/>
                <a:gd name="T53" fmla="*/ 82 h 1094"/>
                <a:gd name="T54" fmla="*/ 492 w 1152"/>
                <a:gd name="T55" fmla="*/ 94 h 1094"/>
                <a:gd name="T56" fmla="*/ 404 w 1152"/>
                <a:gd name="T57" fmla="*/ 137 h 1094"/>
                <a:gd name="T58" fmla="*/ 336 w 1152"/>
                <a:gd name="T59" fmla="*/ 204 h 1094"/>
                <a:gd name="T60" fmla="*/ 285 w 1152"/>
                <a:gd name="T61" fmla="*/ 290 h 1094"/>
                <a:gd name="T62" fmla="*/ 253 w 1152"/>
                <a:gd name="T63" fmla="*/ 386 h 1094"/>
                <a:gd name="T64" fmla="*/ 234 w 1152"/>
                <a:gd name="T65" fmla="*/ 507 h 1094"/>
                <a:gd name="T66" fmla="*/ 240 w 1152"/>
                <a:gd name="T67" fmla="*/ 647 h 1094"/>
                <a:gd name="T68" fmla="*/ 264 w 1152"/>
                <a:gd name="T69" fmla="*/ 747 h 1094"/>
                <a:gd name="T70" fmla="*/ 303 w 1152"/>
                <a:gd name="T71" fmla="*/ 840 h 1094"/>
                <a:gd name="T72" fmla="*/ 360 w 1152"/>
                <a:gd name="T73" fmla="*/ 919 h 1094"/>
                <a:gd name="T74" fmla="*/ 437 w 1152"/>
                <a:gd name="T75" fmla="*/ 977 h 1094"/>
                <a:gd name="T76" fmla="*/ 533 w 1152"/>
                <a:gd name="T77" fmla="*/ 1008 h 1094"/>
                <a:gd name="T78" fmla="*/ 621 w 1152"/>
                <a:gd name="T79" fmla="*/ 1008 h 1094"/>
                <a:gd name="T80" fmla="*/ 716 w 1152"/>
                <a:gd name="T81" fmla="*/ 977 h 1094"/>
                <a:gd name="T82" fmla="*/ 793 w 1152"/>
                <a:gd name="T83" fmla="*/ 919 h 1094"/>
                <a:gd name="T84" fmla="*/ 850 w 1152"/>
                <a:gd name="T85" fmla="*/ 840 h 1094"/>
                <a:gd name="T86" fmla="*/ 890 w 1152"/>
                <a:gd name="T87" fmla="*/ 747 h 1094"/>
                <a:gd name="T88" fmla="*/ 912 w 1152"/>
                <a:gd name="T89" fmla="*/ 647 h 1094"/>
                <a:gd name="T90" fmla="*/ 918 w 1152"/>
                <a:gd name="T91" fmla="*/ 507 h 1094"/>
                <a:gd name="T92" fmla="*/ 901 w 1152"/>
                <a:gd name="T93" fmla="*/ 386 h 1094"/>
                <a:gd name="T94" fmla="*/ 867 w 1152"/>
                <a:gd name="T95" fmla="*/ 290 h 1094"/>
                <a:gd name="T96" fmla="*/ 817 w 1152"/>
                <a:gd name="T97" fmla="*/ 204 h 1094"/>
                <a:gd name="T98" fmla="*/ 749 w 1152"/>
                <a:gd name="T99" fmla="*/ 137 h 1094"/>
                <a:gd name="T100" fmla="*/ 662 w 1152"/>
                <a:gd name="T101" fmla="*/ 94 h 1094"/>
                <a:gd name="T102" fmla="*/ 577 w 1152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2" h="1094">
                  <a:moveTo>
                    <a:pt x="577" y="1094"/>
                  </a:moveTo>
                  <a:lnTo>
                    <a:pt x="577" y="1094"/>
                  </a:lnTo>
                  <a:lnTo>
                    <a:pt x="547" y="1093"/>
                  </a:lnTo>
                  <a:lnTo>
                    <a:pt x="518" y="1091"/>
                  </a:lnTo>
                  <a:lnTo>
                    <a:pt x="489" y="1087"/>
                  </a:lnTo>
                  <a:lnTo>
                    <a:pt x="460" y="1082"/>
                  </a:lnTo>
                  <a:lnTo>
                    <a:pt x="433" y="1076"/>
                  </a:lnTo>
                  <a:lnTo>
                    <a:pt x="406" y="1069"/>
                  </a:lnTo>
                  <a:lnTo>
                    <a:pt x="379" y="1060"/>
                  </a:lnTo>
                  <a:lnTo>
                    <a:pt x="353" y="1051"/>
                  </a:lnTo>
                  <a:lnTo>
                    <a:pt x="327" y="1039"/>
                  </a:lnTo>
                  <a:lnTo>
                    <a:pt x="303" y="1027"/>
                  </a:lnTo>
                  <a:lnTo>
                    <a:pt x="278" y="1014"/>
                  </a:lnTo>
                  <a:lnTo>
                    <a:pt x="255" y="1000"/>
                  </a:lnTo>
                  <a:lnTo>
                    <a:pt x="232" y="984"/>
                  </a:lnTo>
                  <a:lnTo>
                    <a:pt x="211" y="968"/>
                  </a:lnTo>
                  <a:lnTo>
                    <a:pt x="189" y="950"/>
                  </a:lnTo>
                  <a:lnTo>
                    <a:pt x="170" y="933"/>
                  </a:lnTo>
                  <a:lnTo>
                    <a:pt x="151" y="914"/>
                  </a:lnTo>
                  <a:lnTo>
                    <a:pt x="132" y="894"/>
                  </a:lnTo>
                  <a:lnTo>
                    <a:pt x="115" y="873"/>
                  </a:lnTo>
                  <a:lnTo>
                    <a:pt x="99" y="851"/>
                  </a:lnTo>
                  <a:lnTo>
                    <a:pt x="84" y="830"/>
                  </a:lnTo>
                  <a:lnTo>
                    <a:pt x="70" y="806"/>
                  </a:lnTo>
                  <a:lnTo>
                    <a:pt x="57" y="783"/>
                  </a:lnTo>
                  <a:lnTo>
                    <a:pt x="46" y="758"/>
                  </a:lnTo>
                  <a:lnTo>
                    <a:pt x="36" y="734"/>
                  </a:lnTo>
                  <a:lnTo>
                    <a:pt x="27" y="708"/>
                  </a:lnTo>
                  <a:lnTo>
                    <a:pt x="19" y="683"/>
                  </a:lnTo>
                  <a:lnTo>
                    <a:pt x="12" y="656"/>
                  </a:lnTo>
                  <a:lnTo>
                    <a:pt x="7" y="629"/>
                  </a:lnTo>
                  <a:lnTo>
                    <a:pt x="3" y="602"/>
                  </a:lnTo>
                  <a:lnTo>
                    <a:pt x="1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1" y="519"/>
                  </a:lnTo>
                  <a:lnTo>
                    <a:pt x="3" y="491"/>
                  </a:lnTo>
                  <a:lnTo>
                    <a:pt x="7" y="464"/>
                  </a:lnTo>
                  <a:lnTo>
                    <a:pt x="12" y="437"/>
                  </a:lnTo>
                  <a:lnTo>
                    <a:pt x="19" y="411"/>
                  </a:lnTo>
                  <a:lnTo>
                    <a:pt x="27" y="385"/>
                  </a:lnTo>
                  <a:lnTo>
                    <a:pt x="36" y="360"/>
                  </a:lnTo>
                  <a:lnTo>
                    <a:pt x="46" y="335"/>
                  </a:lnTo>
                  <a:lnTo>
                    <a:pt x="57" y="310"/>
                  </a:lnTo>
                  <a:lnTo>
                    <a:pt x="70" y="287"/>
                  </a:lnTo>
                  <a:lnTo>
                    <a:pt x="84" y="264"/>
                  </a:lnTo>
                  <a:lnTo>
                    <a:pt x="99" y="242"/>
                  </a:lnTo>
                  <a:lnTo>
                    <a:pt x="115" y="220"/>
                  </a:lnTo>
                  <a:lnTo>
                    <a:pt x="132" y="200"/>
                  </a:lnTo>
                  <a:lnTo>
                    <a:pt x="151" y="180"/>
                  </a:lnTo>
                  <a:lnTo>
                    <a:pt x="170" y="161"/>
                  </a:lnTo>
                  <a:lnTo>
                    <a:pt x="189" y="143"/>
                  </a:lnTo>
                  <a:lnTo>
                    <a:pt x="211" y="125"/>
                  </a:lnTo>
                  <a:lnTo>
                    <a:pt x="232" y="109"/>
                  </a:lnTo>
                  <a:lnTo>
                    <a:pt x="255" y="94"/>
                  </a:lnTo>
                  <a:lnTo>
                    <a:pt x="278" y="79"/>
                  </a:lnTo>
                  <a:lnTo>
                    <a:pt x="303" y="66"/>
                  </a:lnTo>
                  <a:lnTo>
                    <a:pt x="327" y="54"/>
                  </a:lnTo>
                  <a:lnTo>
                    <a:pt x="353" y="44"/>
                  </a:lnTo>
                  <a:lnTo>
                    <a:pt x="379" y="33"/>
                  </a:lnTo>
                  <a:lnTo>
                    <a:pt x="406" y="24"/>
                  </a:lnTo>
                  <a:lnTo>
                    <a:pt x="433" y="17"/>
                  </a:lnTo>
                  <a:lnTo>
                    <a:pt x="460" y="11"/>
                  </a:lnTo>
                  <a:lnTo>
                    <a:pt x="489" y="6"/>
                  </a:lnTo>
                  <a:lnTo>
                    <a:pt x="518" y="3"/>
                  </a:lnTo>
                  <a:lnTo>
                    <a:pt x="547" y="1"/>
                  </a:lnTo>
                  <a:lnTo>
                    <a:pt x="577" y="0"/>
                  </a:lnTo>
                  <a:lnTo>
                    <a:pt x="577" y="0"/>
                  </a:lnTo>
                  <a:lnTo>
                    <a:pt x="607" y="1"/>
                  </a:lnTo>
                  <a:lnTo>
                    <a:pt x="635" y="3"/>
                  </a:lnTo>
                  <a:lnTo>
                    <a:pt x="664" y="6"/>
                  </a:lnTo>
                  <a:lnTo>
                    <a:pt x="692" y="11"/>
                  </a:lnTo>
                  <a:lnTo>
                    <a:pt x="720" y="17"/>
                  </a:lnTo>
                  <a:lnTo>
                    <a:pt x="747" y="24"/>
                  </a:lnTo>
                  <a:lnTo>
                    <a:pt x="773" y="33"/>
                  </a:lnTo>
                  <a:lnTo>
                    <a:pt x="800" y="44"/>
                  </a:lnTo>
                  <a:lnTo>
                    <a:pt x="825" y="54"/>
                  </a:lnTo>
                  <a:lnTo>
                    <a:pt x="850" y="66"/>
                  </a:lnTo>
                  <a:lnTo>
                    <a:pt x="873" y="79"/>
                  </a:lnTo>
                  <a:lnTo>
                    <a:pt x="897" y="94"/>
                  </a:lnTo>
                  <a:lnTo>
                    <a:pt x="919" y="109"/>
                  </a:lnTo>
                  <a:lnTo>
                    <a:pt x="942" y="125"/>
                  </a:lnTo>
                  <a:lnTo>
                    <a:pt x="962" y="143"/>
                  </a:lnTo>
                  <a:lnTo>
                    <a:pt x="983" y="161"/>
                  </a:lnTo>
                  <a:lnTo>
                    <a:pt x="1001" y="180"/>
                  </a:lnTo>
                  <a:lnTo>
                    <a:pt x="1020" y="200"/>
                  </a:lnTo>
                  <a:lnTo>
                    <a:pt x="1037" y="220"/>
                  </a:lnTo>
                  <a:lnTo>
                    <a:pt x="1052" y="242"/>
                  </a:lnTo>
                  <a:lnTo>
                    <a:pt x="1068" y="264"/>
                  </a:lnTo>
                  <a:lnTo>
                    <a:pt x="1082" y="287"/>
                  </a:lnTo>
                  <a:lnTo>
                    <a:pt x="1094" y="310"/>
                  </a:lnTo>
                  <a:lnTo>
                    <a:pt x="1106" y="335"/>
                  </a:lnTo>
                  <a:lnTo>
                    <a:pt x="1116" y="360"/>
                  </a:lnTo>
                  <a:lnTo>
                    <a:pt x="1125" y="385"/>
                  </a:lnTo>
                  <a:lnTo>
                    <a:pt x="1133" y="411"/>
                  </a:lnTo>
                  <a:lnTo>
                    <a:pt x="1139" y="437"/>
                  </a:lnTo>
                  <a:lnTo>
                    <a:pt x="1144" y="464"/>
                  </a:lnTo>
                  <a:lnTo>
                    <a:pt x="1148" y="491"/>
                  </a:lnTo>
                  <a:lnTo>
                    <a:pt x="1151" y="519"/>
                  </a:lnTo>
                  <a:lnTo>
                    <a:pt x="1152" y="547"/>
                  </a:lnTo>
                  <a:lnTo>
                    <a:pt x="1152" y="547"/>
                  </a:lnTo>
                  <a:lnTo>
                    <a:pt x="1151" y="574"/>
                  </a:lnTo>
                  <a:lnTo>
                    <a:pt x="1148" y="602"/>
                  </a:lnTo>
                  <a:lnTo>
                    <a:pt x="1144" y="629"/>
                  </a:lnTo>
                  <a:lnTo>
                    <a:pt x="1139" y="656"/>
                  </a:lnTo>
                  <a:lnTo>
                    <a:pt x="1133" y="683"/>
                  </a:lnTo>
                  <a:lnTo>
                    <a:pt x="1125" y="708"/>
                  </a:lnTo>
                  <a:lnTo>
                    <a:pt x="1116" y="734"/>
                  </a:lnTo>
                  <a:lnTo>
                    <a:pt x="1106" y="758"/>
                  </a:lnTo>
                  <a:lnTo>
                    <a:pt x="1094" y="783"/>
                  </a:lnTo>
                  <a:lnTo>
                    <a:pt x="1082" y="806"/>
                  </a:lnTo>
                  <a:lnTo>
                    <a:pt x="1068" y="830"/>
                  </a:lnTo>
                  <a:lnTo>
                    <a:pt x="1052" y="851"/>
                  </a:lnTo>
                  <a:lnTo>
                    <a:pt x="1037" y="873"/>
                  </a:lnTo>
                  <a:lnTo>
                    <a:pt x="1020" y="894"/>
                  </a:lnTo>
                  <a:lnTo>
                    <a:pt x="1001" y="914"/>
                  </a:lnTo>
                  <a:lnTo>
                    <a:pt x="983" y="933"/>
                  </a:lnTo>
                  <a:lnTo>
                    <a:pt x="962" y="950"/>
                  </a:lnTo>
                  <a:lnTo>
                    <a:pt x="942" y="968"/>
                  </a:lnTo>
                  <a:lnTo>
                    <a:pt x="919" y="984"/>
                  </a:lnTo>
                  <a:lnTo>
                    <a:pt x="897" y="1000"/>
                  </a:lnTo>
                  <a:lnTo>
                    <a:pt x="873" y="1014"/>
                  </a:lnTo>
                  <a:lnTo>
                    <a:pt x="850" y="1027"/>
                  </a:lnTo>
                  <a:lnTo>
                    <a:pt x="825" y="1039"/>
                  </a:lnTo>
                  <a:lnTo>
                    <a:pt x="800" y="1051"/>
                  </a:lnTo>
                  <a:lnTo>
                    <a:pt x="773" y="1060"/>
                  </a:lnTo>
                  <a:lnTo>
                    <a:pt x="747" y="1069"/>
                  </a:lnTo>
                  <a:lnTo>
                    <a:pt x="720" y="1076"/>
                  </a:lnTo>
                  <a:lnTo>
                    <a:pt x="692" y="1082"/>
                  </a:lnTo>
                  <a:lnTo>
                    <a:pt x="664" y="1087"/>
                  </a:lnTo>
                  <a:lnTo>
                    <a:pt x="635" y="1091"/>
                  </a:lnTo>
                  <a:lnTo>
                    <a:pt x="607" y="1093"/>
                  </a:lnTo>
                  <a:lnTo>
                    <a:pt x="577" y="1094"/>
                  </a:lnTo>
                  <a:lnTo>
                    <a:pt x="577" y="1094"/>
                  </a:lnTo>
                  <a:close/>
                  <a:moveTo>
                    <a:pt x="577" y="82"/>
                  </a:moveTo>
                  <a:lnTo>
                    <a:pt x="577" y="82"/>
                  </a:lnTo>
                  <a:lnTo>
                    <a:pt x="554" y="83"/>
                  </a:lnTo>
                  <a:lnTo>
                    <a:pt x="533" y="86"/>
                  </a:lnTo>
                  <a:lnTo>
                    <a:pt x="511" y="90"/>
                  </a:lnTo>
                  <a:lnTo>
                    <a:pt x="492" y="94"/>
                  </a:lnTo>
                  <a:lnTo>
                    <a:pt x="473" y="100"/>
                  </a:lnTo>
                  <a:lnTo>
                    <a:pt x="454" y="108"/>
                  </a:lnTo>
                  <a:lnTo>
                    <a:pt x="437" y="116"/>
                  </a:lnTo>
                  <a:lnTo>
                    <a:pt x="419" y="125"/>
                  </a:lnTo>
                  <a:lnTo>
                    <a:pt x="404" y="137"/>
                  </a:lnTo>
                  <a:lnTo>
                    <a:pt x="389" y="148"/>
                  </a:lnTo>
                  <a:lnTo>
                    <a:pt x="374" y="161"/>
                  </a:lnTo>
                  <a:lnTo>
                    <a:pt x="360" y="174"/>
                  </a:lnTo>
                  <a:lnTo>
                    <a:pt x="348" y="189"/>
                  </a:lnTo>
                  <a:lnTo>
                    <a:pt x="336" y="204"/>
                  </a:lnTo>
                  <a:lnTo>
                    <a:pt x="324" y="219"/>
                  </a:lnTo>
                  <a:lnTo>
                    <a:pt x="313" y="237"/>
                  </a:lnTo>
                  <a:lnTo>
                    <a:pt x="303" y="253"/>
                  </a:lnTo>
                  <a:lnTo>
                    <a:pt x="294" y="272"/>
                  </a:lnTo>
                  <a:lnTo>
                    <a:pt x="285" y="290"/>
                  </a:lnTo>
                  <a:lnTo>
                    <a:pt x="277" y="308"/>
                  </a:lnTo>
                  <a:lnTo>
                    <a:pt x="270" y="327"/>
                  </a:lnTo>
                  <a:lnTo>
                    <a:pt x="264" y="346"/>
                  </a:lnTo>
                  <a:lnTo>
                    <a:pt x="258" y="367"/>
                  </a:lnTo>
                  <a:lnTo>
                    <a:pt x="253" y="386"/>
                  </a:lnTo>
                  <a:lnTo>
                    <a:pt x="248" y="407"/>
                  </a:lnTo>
                  <a:lnTo>
                    <a:pt x="245" y="426"/>
                  </a:lnTo>
                  <a:lnTo>
                    <a:pt x="240" y="446"/>
                  </a:lnTo>
                  <a:lnTo>
                    <a:pt x="238" y="467"/>
                  </a:lnTo>
                  <a:lnTo>
                    <a:pt x="234" y="507"/>
                  </a:lnTo>
                  <a:lnTo>
                    <a:pt x="233" y="547"/>
                  </a:lnTo>
                  <a:lnTo>
                    <a:pt x="233" y="547"/>
                  </a:lnTo>
                  <a:lnTo>
                    <a:pt x="234" y="587"/>
                  </a:lnTo>
                  <a:lnTo>
                    <a:pt x="238" y="626"/>
                  </a:lnTo>
                  <a:lnTo>
                    <a:pt x="240" y="647"/>
                  </a:lnTo>
                  <a:lnTo>
                    <a:pt x="245" y="667"/>
                  </a:lnTo>
                  <a:lnTo>
                    <a:pt x="248" y="687"/>
                  </a:lnTo>
                  <a:lnTo>
                    <a:pt x="253" y="707"/>
                  </a:lnTo>
                  <a:lnTo>
                    <a:pt x="258" y="728"/>
                  </a:lnTo>
                  <a:lnTo>
                    <a:pt x="264" y="747"/>
                  </a:lnTo>
                  <a:lnTo>
                    <a:pt x="270" y="766"/>
                  </a:lnTo>
                  <a:lnTo>
                    <a:pt x="277" y="785"/>
                  </a:lnTo>
                  <a:lnTo>
                    <a:pt x="285" y="804"/>
                  </a:lnTo>
                  <a:lnTo>
                    <a:pt x="294" y="822"/>
                  </a:lnTo>
                  <a:lnTo>
                    <a:pt x="303" y="840"/>
                  </a:lnTo>
                  <a:lnTo>
                    <a:pt x="313" y="857"/>
                  </a:lnTo>
                  <a:lnTo>
                    <a:pt x="324" y="874"/>
                  </a:lnTo>
                  <a:lnTo>
                    <a:pt x="336" y="889"/>
                  </a:lnTo>
                  <a:lnTo>
                    <a:pt x="348" y="904"/>
                  </a:lnTo>
                  <a:lnTo>
                    <a:pt x="360" y="919"/>
                  </a:lnTo>
                  <a:lnTo>
                    <a:pt x="374" y="932"/>
                  </a:lnTo>
                  <a:lnTo>
                    <a:pt x="389" y="945"/>
                  </a:lnTo>
                  <a:lnTo>
                    <a:pt x="404" y="957"/>
                  </a:lnTo>
                  <a:lnTo>
                    <a:pt x="419" y="968"/>
                  </a:lnTo>
                  <a:lnTo>
                    <a:pt x="437" y="977"/>
                  </a:lnTo>
                  <a:lnTo>
                    <a:pt x="454" y="986"/>
                  </a:lnTo>
                  <a:lnTo>
                    <a:pt x="473" y="993"/>
                  </a:lnTo>
                  <a:lnTo>
                    <a:pt x="492" y="1000"/>
                  </a:lnTo>
                  <a:lnTo>
                    <a:pt x="511" y="1005"/>
                  </a:lnTo>
                  <a:lnTo>
                    <a:pt x="533" y="1008"/>
                  </a:lnTo>
                  <a:lnTo>
                    <a:pt x="554" y="1010"/>
                  </a:lnTo>
                  <a:lnTo>
                    <a:pt x="577" y="1011"/>
                  </a:lnTo>
                  <a:lnTo>
                    <a:pt x="577" y="1011"/>
                  </a:lnTo>
                  <a:lnTo>
                    <a:pt x="599" y="1010"/>
                  </a:lnTo>
                  <a:lnTo>
                    <a:pt x="621" y="1008"/>
                  </a:lnTo>
                  <a:lnTo>
                    <a:pt x="641" y="1005"/>
                  </a:lnTo>
                  <a:lnTo>
                    <a:pt x="662" y="1000"/>
                  </a:lnTo>
                  <a:lnTo>
                    <a:pt x="680" y="993"/>
                  </a:lnTo>
                  <a:lnTo>
                    <a:pt x="699" y="986"/>
                  </a:lnTo>
                  <a:lnTo>
                    <a:pt x="716" y="977"/>
                  </a:lnTo>
                  <a:lnTo>
                    <a:pt x="733" y="968"/>
                  </a:lnTo>
                  <a:lnTo>
                    <a:pt x="749" y="957"/>
                  </a:lnTo>
                  <a:lnTo>
                    <a:pt x="764" y="945"/>
                  </a:lnTo>
                  <a:lnTo>
                    <a:pt x="778" y="932"/>
                  </a:lnTo>
                  <a:lnTo>
                    <a:pt x="793" y="919"/>
                  </a:lnTo>
                  <a:lnTo>
                    <a:pt x="805" y="904"/>
                  </a:lnTo>
                  <a:lnTo>
                    <a:pt x="817" y="889"/>
                  </a:lnTo>
                  <a:lnTo>
                    <a:pt x="828" y="874"/>
                  </a:lnTo>
                  <a:lnTo>
                    <a:pt x="840" y="857"/>
                  </a:lnTo>
                  <a:lnTo>
                    <a:pt x="850" y="840"/>
                  </a:lnTo>
                  <a:lnTo>
                    <a:pt x="859" y="822"/>
                  </a:lnTo>
                  <a:lnTo>
                    <a:pt x="867" y="804"/>
                  </a:lnTo>
                  <a:lnTo>
                    <a:pt x="875" y="785"/>
                  </a:lnTo>
                  <a:lnTo>
                    <a:pt x="883" y="766"/>
                  </a:lnTo>
                  <a:lnTo>
                    <a:pt x="890" y="747"/>
                  </a:lnTo>
                  <a:lnTo>
                    <a:pt x="895" y="728"/>
                  </a:lnTo>
                  <a:lnTo>
                    <a:pt x="901" y="707"/>
                  </a:lnTo>
                  <a:lnTo>
                    <a:pt x="905" y="687"/>
                  </a:lnTo>
                  <a:lnTo>
                    <a:pt x="909" y="667"/>
                  </a:lnTo>
                  <a:lnTo>
                    <a:pt x="912" y="647"/>
                  </a:lnTo>
                  <a:lnTo>
                    <a:pt x="915" y="626"/>
                  </a:lnTo>
                  <a:lnTo>
                    <a:pt x="918" y="587"/>
                  </a:lnTo>
                  <a:lnTo>
                    <a:pt x="920" y="547"/>
                  </a:lnTo>
                  <a:lnTo>
                    <a:pt x="920" y="547"/>
                  </a:lnTo>
                  <a:lnTo>
                    <a:pt x="918" y="507"/>
                  </a:lnTo>
                  <a:lnTo>
                    <a:pt x="915" y="467"/>
                  </a:lnTo>
                  <a:lnTo>
                    <a:pt x="912" y="446"/>
                  </a:lnTo>
                  <a:lnTo>
                    <a:pt x="909" y="426"/>
                  </a:lnTo>
                  <a:lnTo>
                    <a:pt x="905" y="407"/>
                  </a:lnTo>
                  <a:lnTo>
                    <a:pt x="901" y="386"/>
                  </a:lnTo>
                  <a:lnTo>
                    <a:pt x="895" y="367"/>
                  </a:lnTo>
                  <a:lnTo>
                    <a:pt x="890" y="346"/>
                  </a:lnTo>
                  <a:lnTo>
                    <a:pt x="883" y="327"/>
                  </a:lnTo>
                  <a:lnTo>
                    <a:pt x="875" y="308"/>
                  </a:lnTo>
                  <a:lnTo>
                    <a:pt x="867" y="290"/>
                  </a:lnTo>
                  <a:lnTo>
                    <a:pt x="859" y="272"/>
                  </a:lnTo>
                  <a:lnTo>
                    <a:pt x="850" y="253"/>
                  </a:lnTo>
                  <a:lnTo>
                    <a:pt x="840" y="237"/>
                  </a:lnTo>
                  <a:lnTo>
                    <a:pt x="828" y="219"/>
                  </a:lnTo>
                  <a:lnTo>
                    <a:pt x="817" y="204"/>
                  </a:lnTo>
                  <a:lnTo>
                    <a:pt x="805" y="189"/>
                  </a:lnTo>
                  <a:lnTo>
                    <a:pt x="793" y="174"/>
                  </a:lnTo>
                  <a:lnTo>
                    <a:pt x="778" y="161"/>
                  </a:lnTo>
                  <a:lnTo>
                    <a:pt x="764" y="148"/>
                  </a:lnTo>
                  <a:lnTo>
                    <a:pt x="749" y="137"/>
                  </a:lnTo>
                  <a:lnTo>
                    <a:pt x="733" y="125"/>
                  </a:lnTo>
                  <a:lnTo>
                    <a:pt x="716" y="116"/>
                  </a:lnTo>
                  <a:lnTo>
                    <a:pt x="699" y="108"/>
                  </a:lnTo>
                  <a:lnTo>
                    <a:pt x="680" y="100"/>
                  </a:lnTo>
                  <a:lnTo>
                    <a:pt x="662" y="94"/>
                  </a:lnTo>
                  <a:lnTo>
                    <a:pt x="641" y="90"/>
                  </a:lnTo>
                  <a:lnTo>
                    <a:pt x="621" y="86"/>
                  </a:lnTo>
                  <a:lnTo>
                    <a:pt x="599" y="83"/>
                  </a:lnTo>
                  <a:lnTo>
                    <a:pt x="577" y="82"/>
                  </a:lnTo>
                  <a:lnTo>
                    <a:pt x="577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2447926" y="893763"/>
              <a:ext cx="155575" cy="141288"/>
            </a:xfrm>
            <a:custGeom>
              <a:avLst/>
              <a:gdLst>
                <a:gd name="T0" fmla="*/ 922 w 1165"/>
                <a:gd name="T1" fmla="*/ 252 h 1065"/>
                <a:gd name="T2" fmla="*/ 921 w 1165"/>
                <a:gd name="T3" fmla="*/ 194 h 1065"/>
                <a:gd name="T4" fmla="*/ 916 w 1165"/>
                <a:gd name="T5" fmla="*/ 148 h 1065"/>
                <a:gd name="T6" fmla="*/ 906 w 1165"/>
                <a:gd name="T7" fmla="*/ 113 h 1065"/>
                <a:gd name="T8" fmla="*/ 896 w 1165"/>
                <a:gd name="T9" fmla="*/ 92 h 1065"/>
                <a:gd name="T10" fmla="*/ 888 w 1165"/>
                <a:gd name="T11" fmla="*/ 81 h 1065"/>
                <a:gd name="T12" fmla="*/ 877 w 1165"/>
                <a:gd name="T13" fmla="*/ 73 h 1065"/>
                <a:gd name="T14" fmla="*/ 857 w 1165"/>
                <a:gd name="T15" fmla="*/ 63 h 1065"/>
                <a:gd name="T16" fmla="*/ 825 w 1165"/>
                <a:gd name="T17" fmla="*/ 54 h 1065"/>
                <a:gd name="T18" fmla="*/ 782 w 1165"/>
                <a:gd name="T19" fmla="*/ 50 h 1065"/>
                <a:gd name="T20" fmla="*/ 756 w 1165"/>
                <a:gd name="T21" fmla="*/ 0 h 1065"/>
                <a:gd name="T22" fmla="*/ 1165 w 1165"/>
                <a:gd name="T23" fmla="*/ 50 h 1065"/>
                <a:gd name="T24" fmla="*/ 1139 w 1165"/>
                <a:gd name="T25" fmla="*/ 50 h 1065"/>
                <a:gd name="T26" fmla="*/ 1096 w 1165"/>
                <a:gd name="T27" fmla="*/ 54 h 1065"/>
                <a:gd name="T28" fmla="*/ 1062 w 1165"/>
                <a:gd name="T29" fmla="*/ 63 h 1065"/>
                <a:gd name="T30" fmla="*/ 1042 w 1165"/>
                <a:gd name="T31" fmla="*/ 73 h 1065"/>
                <a:gd name="T32" fmla="*/ 1032 w 1165"/>
                <a:gd name="T33" fmla="*/ 81 h 1065"/>
                <a:gd name="T34" fmla="*/ 1023 w 1165"/>
                <a:gd name="T35" fmla="*/ 92 h 1065"/>
                <a:gd name="T36" fmla="*/ 1014 w 1165"/>
                <a:gd name="T37" fmla="*/ 113 h 1065"/>
                <a:gd name="T38" fmla="*/ 1005 w 1165"/>
                <a:gd name="T39" fmla="*/ 148 h 1065"/>
                <a:gd name="T40" fmla="*/ 1000 w 1165"/>
                <a:gd name="T41" fmla="*/ 194 h 1065"/>
                <a:gd name="T42" fmla="*/ 999 w 1165"/>
                <a:gd name="T43" fmla="*/ 252 h 1065"/>
                <a:gd name="T44" fmla="*/ 955 w 1165"/>
                <a:gd name="T45" fmla="*/ 1065 h 1065"/>
                <a:gd name="T46" fmla="*/ 242 w 1165"/>
                <a:gd name="T47" fmla="*/ 783 h 1065"/>
                <a:gd name="T48" fmla="*/ 242 w 1165"/>
                <a:gd name="T49" fmla="*/ 814 h 1065"/>
                <a:gd name="T50" fmla="*/ 245 w 1165"/>
                <a:gd name="T51" fmla="*/ 866 h 1065"/>
                <a:gd name="T52" fmla="*/ 251 w 1165"/>
                <a:gd name="T53" fmla="*/ 906 h 1065"/>
                <a:gd name="T54" fmla="*/ 263 w 1165"/>
                <a:gd name="T55" fmla="*/ 937 h 1065"/>
                <a:gd name="T56" fmla="*/ 271 w 1165"/>
                <a:gd name="T57" fmla="*/ 949 h 1065"/>
                <a:gd name="T58" fmla="*/ 281 w 1165"/>
                <a:gd name="T59" fmla="*/ 958 h 1065"/>
                <a:gd name="T60" fmla="*/ 292 w 1165"/>
                <a:gd name="T61" fmla="*/ 966 h 1065"/>
                <a:gd name="T62" fmla="*/ 322 w 1165"/>
                <a:gd name="T63" fmla="*/ 978 h 1065"/>
                <a:gd name="T64" fmla="*/ 359 w 1165"/>
                <a:gd name="T65" fmla="*/ 984 h 1065"/>
                <a:gd name="T66" fmla="*/ 407 w 1165"/>
                <a:gd name="T67" fmla="*/ 985 h 1065"/>
                <a:gd name="T68" fmla="*/ 0 w 1165"/>
                <a:gd name="T69" fmla="*/ 1035 h 1065"/>
                <a:gd name="T70" fmla="*/ 0 w 1165"/>
                <a:gd name="T71" fmla="*/ 985 h 1065"/>
                <a:gd name="T72" fmla="*/ 49 w 1165"/>
                <a:gd name="T73" fmla="*/ 984 h 1065"/>
                <a:gd name="T74" fmla="*/ 86 w 1165"/>
                <a:gd name="T75" fmla="*/ 978 h 1065"/>
                <a:gd name="T76" fmla="*/ 115 w 1165"/>
                <a:gd name="T77" fmla="*/ 966 h 1065"/>
                <a:gd name="T78" fmla="*/ 126 w 1165"/>
                <a:gd name="T79" fmla="*/ 958 h 1065"/>
                <a:gd name="T80" fmla="*/ 135 w 1165"/>
                <a:gd name="T81" fmla="*/ 949 h 1065"/>
                <a:gd name="T82" fmla="*/ 144 w 1165"/>
                <a:gd name="T83" fmla="*/ 937 h 1065"/>
                <a:gd name="T84" fmla="*/ 155 w 1165"/>
                <a:gd name="T85" fmla="*/ 906 h 1065"/>
                <a:gd name="T86" fmla="*/ 161 w 1165"/>
                <a:gd name="T87" fmla="*/ 866 h 1065"/>
                <a:gd name="T88" fmla="*/ 164 w 1165"/>
                <a:gd name="T89" fmla="*/ 814 h 1065"/>
                <a:gd name="T90" fmla="*/ 164 w 1165"/>
                <a:gd name="T91" fmla="*/ 252 h 1065"/>
                <a:gd name="T92" fmla="*/ 164 w 1165"/>
                <a:gd name="T93" fmla="*/ 221 h 1065"/>
                <a:gd name="T94" fmla="*/ 161 w 1165"/>
                <a:gd name="T95" fmla="*/ 169 h 1065"/>
                <a:gd name="T96" fmla="*/ 155 w 1165"/>
                <a:gd name="T97" fmla="*/ 129 h 1065"/>
                <a:gd name="T98" fmla="*/ 144 w 1165"/>
                <a:gd name="T99" fmla="*/ 98 h 1065"/>
                <a:gd name="T100" fmla="*/ 135 w 1165"/>
                <a:gd name="T101" fmla="*/ 86 h 1065"/>
                <a:gd name="T102" fmla="*/ 126 w 1165"/>
                <a:gd name="T103" fmla="*/ 77 h 1065"/>
                <a:gd name="T104" fmla="*/ 115 w 1165"/>
                <a:gd name="T105" fmla="*/ 69 h 1065"/>
                <a:gd name="T106" fmla="*/ 86 w 1165"/>
                <a:gd name="T107" fmla="*/ 58 h 1065"/>
                <a:gd name="T108" fmla="*/ 49 w 1165"/>
                <a:gd name="T109" fmla="*/ 51 h 1065"/>
                <a:gd name="T110" fmla="*/ 0 w 1165"/>
                <a:gd name="T111" fmla="*/ 50 h 1065"/>
                <a:gd name="T112" fmla="*/ 345 w 1165"/>
                <a:gd name="T113" fmla="*/ 0 h 1065"/>
                <a:gd name="T114" fmla="*/ 922 w 1165"/>
                <a:gd name="T115" fmla="*/ 25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65" h="1065">
                  <a:moveTo>
                    <a:pt x="922" y="252"/>
                  </a:moveTo>
                  <a:lnTo>
                    <a:pt x="922" y="252"/>
                  </a:lnTo>
                  <a:lnTo>
                    <a:pt x="921" y="221"/>
                  </a:lnTo>
                  <a:lnTo>
                    <a:pt x="921" y="194"/>
                  </a:lnTo>
                  <a:lnTo>
                    <a:pt x="919" y="169"/>
                  </a:lnTo>
                  <a:lnTo>
                    <a:pt x="916" y="148"/>
                  </a:lnTo>
                  <a:lnTo>
                    <a:pt x="912" y="129"/>
                  </a:lnTo>
                  <a:lnTo>
                    <a:pt x="906" y="113"/>
                  </a:lnTo>
                  <a:lnTo>
                    <a:pt x="900" y="98"/>
                  </a:lnTo>
                  <a:lnTo>
                    <a:pt x="896" y="92"/>
                  </a:lnTo>
                  <a:lnTo>
                    <a:pt x="892" y="86"/>
                  </a:lnTo>
                  <a:lnTo>
                    <a:pt x="888" y="81"/>
                  </a:lnTo>
                  <a:lnTo>
                    <a:pt x="883" y="77"/>
                  </a:lnTo>
                  <a:lnTo>
                    <a:pt x="877" y="73"/>
                  </a:lnTo>
                  <a:lnTo>
                    <a:pt x="872" y="69"/>
                  </a:lnTo>
                  <a:lnTo>
                    <a:pt x="857" y="63"/>
                  </a:lnTo>
                  <a:lnTo>
                    <a:pt x="842" y="58"/>
                  </a:lnTo>
                  <a:lnTo>
                    <a:pt x="825" y="54"/>
                  </a:lnTo>
                  <a:lnTo>
                    <a:pt x="804" y="51"/>
                  </a:lnTo>
                  <a:lnTo>
                    <a:pt x="782" y="50"/>
                  </a:lnTo>
                  <a:lnTo>
                    <a:pt x="756" y="50"/>
                  </a:lnTo>
                  <a:lnTo>
                    <a:pt x="756" y="0"/>
                  </a:lnTo>
                  <a:lnTo>
                    <a:pt x="1165" y="0"/>
                  </a:lnTo>
                  <a:lnTo>
                    <a:pt x="1165" y="50"/>
                  </a:lnTo>
                  <a:lnTo>
                    <a:pt x="1165" y="50"/>
                  </a:lnTo>
                  <a:lnTo>
                    <a:pt x="1139" y="50"/>
                  </a:lnTo>
                  <a:lnTo>
                    <a:pt x="1116" y="51"/>
                  </a:lnTo>
                  <a:lnTo>
                    <a:pt x="1096" y="54"/>
                  </a:lnTo>
                  <a:lnTo>
                    <a:pt x="1078" y="58"/>
                  </a:lnTo>
                  <a:lnTo>
                    <a:pt x="1062" y="63"/>
                  </a:lnTo>
                  <a:lnTo>
                    <a:pt x="1049" y="69"/>
                  </a:lnTo>
                  <a:lnTo>
                    <a:pt x="1042" y="73"/>
                  </a:lnTo>
                  <a:lnTo>
                    <a:pt x="1037" y="77"/>
                  </a:lnTo>
                  <a:lnTo>
                    <a:pt x="1032" y="81"/>
                  </a:lnTo>
                  <a:lnTo>
                    <a:pt x="1028" y="86"/>
                  </a:lnTo>
                  <a:lnTo>
                    <a:pt x="1023" y="92"/>
                  </a:lnTo>
                  <a:lnTo>
                    <a:pt x="1020" y="98"/>
                  </a:lnTo>
                  <a:lnTo>
                    <a:pt x="1014" y="113"/>
                  </a:lnTo>
                  <a:lnTo>
                    <a:pt x="1009" y="129"/>
                  </a:lnTo>
                  <a:lnTo>
                    <a:pt x="1005" y="148"/>
                  </a:lnTo>
                  <a:lnTo>
                    <a:pt x="1002" y="169"/>
                  </a:lnTo>
                  <a:lnTo>
                    <a:pt x="1000" y="194"/>
                  </a:lnTo>
                  <a:lnTo>
                    <a:pt x="999" y="221"/>
                  </a:lnTo>
                  <a:lnTo>
                    <a:pt x="999" y="252"/>
                  </a:lnTo>
                  <a:lnTo>
                    <a:pt x="999" y="1065"/>
                  </a:lnTo>
                  <a:lnTo>
                    <a:pt x="955" y="1065"/>
                  </a:lnTo>
                  <a:lnTo>
                    <a:pt x="242" y="212"/>
                  </a:lnTo>
                  <a:lnTo>
                    <a:pt x="242" y="783"/>
                  </a:lnTo>
                  <a:lnTo>
                    <a:pt x="242" y="783"/>
                  </a:lnTo>
                  <a:lnTo>
                    <a:pt x="242" y="814"/>
                  </a:lnTo>
                  <a:lnTo>
                    <a:pt x="243" y="842"/>
                  </a:lnTo>
                  <a:lnTo>
                    <a:pt x="245" y="866"/>
                  </a:lnTo>
                  <a:lnTo>
                    <a:pt x="248" y="888"/>
                  </a:lnTo>
                  <a:lnTo>
                    <a:pt x="251" y="906"/>
                  </a:lnTo>
                  <a:lnTo>
                    <a:pt x="256" y="923"/>
                  </a:lnTo>
                  <a:lnTo>
                    <a:pt x="263" y="937"/>
                  </a:lnTo>
                  <a:lnTo>
                    <a:pt x="266" y="943"/>
                  </a:lnTo>
                  <a:lnTo>
                    <a:pt x="271" y="949"/>
                  </a:lnTo>
                  <a:lnTo>
                    <a:pt x="276" y="954"/>
                  </a:lnTo>
                  <a:lnTo>
                    <a:pt x="281" y="958"/>
                  </a:lnTo>
                  <a:lnTo>
                    <a:pt x="286" y="963"/>
                  </a:lnTo>
                  <a:lnTo>
                    <a:pt x="292" y="966"/>
                  </a:lnTo>
                  <a:lnTo>
                    <a:pt x="305" y="973"/>
                  </a:lnTo>
                  <a:lnTo>
                    <a:pt x="322" y="978"/>
                  </a:lnTo>
                  <a:lnTo>
                    <a:pt x="339" y="982"/>
                  </a:lnTo>
                  <a:lnTo>
                    <a:pt x="359" y="984"/>
                  </a:lnTo>
                  <a:lnTo>
                    <a:pt x="382" y="985"/>
                  </a:lnTo>
                  <a:lnTo>
                    <a:pt x="407" y="985"/>
                  </a:lnTo>
                  <a:lnTo>
                    <a:pt x="407" y="1035"/>
                  </a:lnTo>
                  <a:lnTo>
                    <a:pt x="0" y="1035"/>
                  </a:lnTo>
                  <a:lnTo>
                    <a:pt x="0" y="985"/>
                  </a:lnTo>
                  <a:lnTo>
                    <a:pt x="0" y="985"/>
                  </a:lnTo>
                  <a:lnTo>
                    <a:pt x="26" y="985"/>
                  </a:lnTo>
                  <a:lnTo>
                    <a:pt x="49" y="984"/>
                  </a:lnTo>
                  <a:lnTo>
                    <a:pt x="69" y="982"/>
                  </a:lnTo>
                  <a:lnTo>
                    <a:pt x="86" y="978"/>
                  </a:lnTo>
                  <a:lnTo>
                    <a:pt x="102" y="973"/>
                  </a:lnTo>
                  <a:lnTo>
                    <a:pt x="115" y="966"/>
                  </a:lnTo>
                  <a:lnTo>
                    <a:pt x="121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5" y="949"/>
                  </a:lnTo>
                  <a:lnTo>
                    <a:pt x="141" y="943"/>
                  </a:lnTo>
                  <a:lnTo>
                    <a:pt x="144" y="937"/>
                  </a:lnTo>
                  <a:lnTo>
                    <a:pt x="150" y="923"/>
                  </a:lnTo>
                  <a:lnTo>
                    <a:pt x="155" y="906"/>
                  </a:lnTo>
                  <a:lnTo>
                    <a:pt x="159" y="888"/>
                  </a:lnTo>
                  <a:lnTo>
                    <a:pt x="161" y="866"/>
                  </a:lnTo>
                  <a:lnTo>
                    <a:pt x="163" y="842"/>
                  </a:lnTo>
                  <a:lnTo>
                    <a:pt x="164" y="814"/>
                  </a:lnTo>
                  <a:lnTo>
                    <a:pt x="164" y="783"/>
                  </a:lnTo>
                  <a:lnTo>
                    <a:pt x="164" y="252"/>
                  </a:lnTo>
                  <a:lnTo>
                    <a:pt x="164" y="252"/>
                  </a:lnTo>
                  <a:lnTo>
                    <a:pt x="164" y="221"/>
                  </a:lnTo>
                  <a:lnTo>
                    <a:pt x="163" y="194"/>
                  </a:lnTo>
                  <a:lnTo>
                    <a:pt x="161" y="169"/>
                  </a:lnTo>
                  <a:lnTo>
                    <a:pt x="159" y="148"/>
                  </a:lnTo>
                  <a:lnTo>
                    <a:pt x="155" y="129"/>
                  </a:lnTo>
                  <a:lnTo>
                    <a:pt x="150" y="113"/>
                  </a:lnTo>
                  <a:lnTo>
                    <a:pt x="144" y="98"/>
                  </a:lnTo>
                  <a:lnTo>
                    <a:pt x="141" y="92"/>
                  </a:lnTo>
                  <a:lnTo>
                    <a:pt x="135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6" y="58"/>
                  </a:lnTo>
                  <a:lnTo>
                    <a:pt x="69" y="54"/>
                  </a:lnTo>
                  <a:lnTo>
                    <a:pt x="49" y="51"/>
                  </a:lnTo>
                  <a:lnTo>
                    <a:pt x="26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345" y="0"/>
                  </a:lnTo>
                  <a:lnTo>
                    <a:pt x="922" y="686"/>
                  </a:lnTo>
                  <a:lnTo>
                    <a:pt x="922" y="2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2636838" y="893763"/>
              <a:ext cx="127000" cy="136525"/>
            </a:xfrm>
            <a:custGeom>
              <a:avLst/>
              <a:gdLst>
                <a:gd name="T0" fmla="*/ 25 w 959"/>
                <a:gd name="T1" fmla="*/ 985 h 1035"/>
                <a:gd name="T2" fmla="*/ 86 w 959"/>
                <a:gd name="T3" fmla="*/ 978 h 1035"/>
                <a:gd name="T4" fmla="*/ 120 w 959"/>
                <a:gd name="T5" fmla="*/ 963 h 1035"/>
                <a:gd name="T6" fmla="*/ 136 w 959"/>
                <a:gd name="T7" fmla="*/ 949 h 1035"/>
                <a:gd name="T8" fmla="*/ 150 w 959"/>
                <a:gd name="T9" fmla="*/ 923 h 1035"/>
                <a:gd name="T10" fmla="*/ 161 w 959"/>
                <a:gd name="T11" fmla="*/ 866 h 1035"/>
                <a:gd name="T12" fmla="*/ 163 w 959"/>
                <a:gd name="T13" fmla="*/ 783 h 1035"/>
                <a:gd name="T14" fmla="*/ 163 w 959"/>
                <a:gd name="T15" fmla="*/ 221 h 1035"/>
                <a:gd name="T16" fmla="*/ 158 w 959"/>
                <a:gd name="T17" fmla="*/ 148 h 1035"/>
                <a:gd name="T18" fmla="*/ 143 w 959"/>
                <a:gd name="T19" fmla="*/ 98 h 1035"/>
                <a:gd name="T20" fmla="*/ 131 w 959"/>
                <a:gd name="T21" fmla="*/ 81 h 1035"/>
                <a:gd name="T22" fmla="*/ 114 w 959"/>
                <a:gd name="T23" fmla="*/ 69 h 1035"/>
                <a:gd name="T24" fmla="*/ 68 w 959"/>
                <a:gd name="T25" fmla="*/ 54 h 1035"/>
                <a:gd name="T26" fmla="*/ 0 w 959"/>
                <a:gd name="T27" fmla="*/ 50 h 1035"/>
                <a:gd name="T28" fmla="*/ 902 w 959"/>
                <a:gd name="T29" fmla="*/ 244 h 1035"/>
                <a:gd name="T30" fmla="*/ 843 w 959"/>
                <a:gd name="T31" fmla="*/ 209 h 1035"/>
                <a:gd name="T32" fmla="*/ 824 w 959"/>
                <a:gd name="T33" fmla="*/ 150 h 1035"/>
                <a:gd name="T34" fmla="*/ 803 w 959"/>
                <a:gd name="T35" fmla="*/ 118 h 1035"/>
                <a:gd name="T36" fmla="*/ 770 w 959"/>
                <a:gd name="T37" fmla="*/ 95 h 1035"/>
                <a:gd name="T38" fmla="*/ 719 w 959"/>
                <a:gd name="T39" fmla="*/ 82 h 1035"/>
                <a:gd name="T40" fmla="*/ 643 w 959"/>
                <a:gd name="T41" fmla="*/ 78 h 1035"/>
                <a:gd name="T42" fmla="*/ 474 w 959"/>
                <a:gd name="T43" fmla="*/ 449 h 1035"/>
                <a:gd name="T44" fmla="*/ 532 w 959"/>
                <a:gd name="T45" fmla="*/ 447 h 1035"/>
                <a:gd name="T46" fmla="*/ 597 w 959"/>
                <a:gd name="T47" fmla="*/ 439 h 1035"/>
                <a:gd name="T48" fmla="*/ 634 w 959"/>
                <a:gd name="T49" fmla="*/ 424 h 1035"/>
                <a:gd name="T50" fmla="*/ 649 w 959"/>
                <a:gd name="T51" fmla="*/ 410 h 1035"/>
                <a:gd name="T52" fmla="*/ 662 w 959"/>
                <a:gd name="T53" fmla="*/ 385 h 1035"/>
                <a:gd name="T54" fmla="*/ 673 w 959"/>
                <a:gd name="T55" fmla="*/ 332 h 1035"/>
                <a:gd name="T56" fmla="*/ 725 w 959"/>
                <a:gd name="T57" fmla="*/ 283 h 1035"/>
                <a:gd name="T58" fmla="*/ 675 w 959"/>
                <a:gd name="T59" fmla="*/ 691 h 1035"/>
                <a:gd name="T60" fmla="*/ 671 w 959"/>
                <a:gd name="T61" fmla="*/ 623 h 1035"/>
                <a:gd name="T62" fmla="*/ 656 w 959"/>
                <a:gd name="T63" fmla="*/ 576 h 1035"/>
                <a:gd name="T64" fmla="*/ 644 w 959"/>
                <a:gd name="T65" fmla="*/ 560 h 1035"/>
                <a:gd name="T66" fmla="*/ 628 w 959"/>
                <a:gd name="T67" fmla="*/ 547 h 1035"/>
                <a:gd name="T68" fmla="*/ 578 w 959"/>
                <a:gd name="T69" fmla="*/ 532 h 1035"/>
                <a:gd name="T70" fmla="*/ 505 w 959"/>
                <a:gd name="T71" fmla="*/ 527 h 1035"/>
                <a:gd name="T72" fmla="*/ 379 w 959"/>
                <a:gd name="T73" fmla="*/ 756 h 1035"/>
                <a:gd name="T74" fmla="*/ 380 w 959"/>
                <a:gd name="T75" fmla="*/ 814 h 1035"/>
                <a:gd name="T76" fmla="*/ 389 w 959"/>
                <a:gd name="T77" fmla="*/ 879 h 1035"/>
                <a:gd name="T78" fmla="*/ 405 w 959"/>
                <a:gd name="T79" fmla="*/ 915 h 1035"/>
                <a:gd name="T80" fmla="*/ 418 w 959"/>
                <a:gd name="T81" fmla="*/ 932 h 1035"/>
                <a:gd name="T82" fmla="*/ 444 w 959"/>
                <a:gd name="T83" fmla="*/ 946 h 1035"/>
                <a:gd name="T84" fmla="*/ 497 w 959"/>
                <a:gd name="T85" fmla="*/ 956 h 1035"/>
                <a:gd name="T86" fmla="*/ 700 w 959"/>
                <a:gd name="T87" fmla="*/ 957 h 1035"/>
                <a:gd name="T88" fmla="*/ 753 w 959"/>
                <a:gd name="T89" fmla="*/ 955 h 1035"/>
                <a:gd name="T90" fmla="*/ 813 w 959"/>
                <a:gd name="T91" fmla="*/ 946 h 1035"/>
                <a:gd name="T92" fmla="*/ 852 w 959"/>
                <a:gd name="T93" fmla="*/ 927 h 1035"/>
                <a:gd name="T94" fmla="*/ 876 w 959"/>
                <a:gd name="T95" fmla="*/ 897 h 1035"/>
                <a:gd name="T96" fmla="*/ 891 w 959"/>
                <a:gd name="T97" fmla="*/ 858 h 1035"/>
                <a:gd name="T98" fmla="*/ 959 w 959"/>
                <a:gd name="T99" fmla="*/ 792 h 1035"/>
                <a:gd name="T100" fmla="*/ 0 w 959"/>
                <a:gd name="T101" fmla="*/ 98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9" h="1035">
                  <a:moveTo>
                    <a:pt x="0" y="985"/>
                  </a:moveTo>
                  <a:lnTo>
                    <a:pt x="0" y="985"/>
                  </a:lnTo>
                  <a:lnTo>
                    <a:pt x="25" y="985"/>
                  </a:lnTo>
                  <a:lnTo>
                    <a:pt x="48" y="984"/>
                  </a:lnTo>
                  <a:lnTo>
                    <a:pt x="68" y="982"/>
                  </a:lnTo>
                  <a:lnTo>
                    <a:pt x="86" y="978"/>
                  </a:lnTo>
                  <a:lnTo>
                    <a:pt x="101" y="973"/>
                  </a:lnTo>
                  <a:lnTo>
                    <a:pt x="114" y="966"/>
                  </a:lnTo>
                  <a:lnTo>
                    <a:pt x="120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0" y="923"/>
                  </a:lnTo>
                  <a:lnTo>
                    <a:pt x="154" y="906"/>
                  </a:lnTo>
                  <a:lnTo>
                    <a:pt x="158" y="888"/>
                  </a:lnTo>
                  <a:lnTo>
                    <a:pt x="161" y="866"/>
                  </a:lnTo>
                  <a:lnTo>
                    <a:pt x="162" y="842"/>
                  </a:lnTo>
                  <a:lnTo>
                    <a:pt x="163" y="814"/>
                  </a:lnTo>
                  <a:lnTo>
                    <a:pt x="163" y="783"/>
                  </a:lnTo>
                  <a:lnTo>
                    <a:pt x="163" y="252"/>
                  </a:lnTo>
                  <a:lnTo>
                    <a:pt x="163" y="252"/>
                  </a:lnTo>
                  <a:lnTo>
                    <a:pt x="163" y="221"/>
                  </a:lnTo>
                  <a:lnTo>
                    <a:pt x="162" y="194"/>
                  </a:lnTo>
                  <a:lnTo>
                    <a:pt x="161" y="169"/>
                  </a:lnTo>
                  <a:lnTo>
                    <a:pt x="158" y="148"/>
                  </a:lnTo>
                  <a:lnTo>
                    <a:pt x="154" y="129"/>
                  </a:lnTo>
                  <a:lnTo>
                    <a:pt x="150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0" y="73"/>
                  </a:lnTo>
                  <a:lnTo>
                    <a:pt x="114" y="69"/>
                  </a:lnTo>
                  <a:lnTo>
                    <a:pt x="101" y="63"/>
                  </a:lnTo>
                  <a:lnTo>
                    <a:pt x="86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888" y="0"/>
                  </a:lnTo>
                  <a:lnTo>
                    <a:pt x="902" y="244"/>
                  </a:lnTo>
                  <a:lnTo>
                    <a:pt x="852" y="244"/>
                  </a:lnTo>
                  <a:lnTo>
                    <a:pt x="843" y="209"/>
                  </a:lnTo>
                  <a:lnTo>
                    <a:pt x="843" y="209"/>
                  </a:lnTo>
                  <a:lnTo>
                    <a:pt x="834" y="177"/>
                  </a:lnTo>
                  <a:lnTo>
                    <a:pt x="830" y="163"/>
                  </a:lnTo>
                  <a:lnTo>
                    <a:pt x="824" y="150"/>
                  </a:lnTo>
                  <a:lnTo>
                    <a:pt x="818" y="138"/>
                  </a:lnTo>
                  <a:lnTo>
                    <a:pt x="812" y="127"/>
                  </a:lnTo>
                  <a:lnTo>
                    <a:pt x="803" y="118"/>
                  </a:lnTo>
                  <a:lnTo>
                    <a:pt x="794" y="109"/>
                  </a:lnTo>
                  <a:lnTo>
                    <a:pt x="783" y="101"/>
                  </a:lnTo>
                  <a:lnTo>
                    <a:pt x="770" y="95"/>
                  </a:lnTo>
                  <a:lnTo>
                    <a:pt x="755" y="90"/>
                  </a:lnTo>
                  <a:lnTo>
                    <a:pt x="738" y="85"/>
                  </a:lnTo>
                  <a:lnTo>
                    <a:pt x="719" y="82"/>
                  </a:lnTo>
                  <a:lnTo>
                    <a:pt x="696" y="80"/>
                  </a:lnTo>
                  <a:lnTo>
                    <a:pt x="672" y="78"/>
                  </a:lnTo>
                  <a:lnTo>
                    <a:pt x="643" y="78"/>
                  </a:lnTo>
                  <a:lnTo>
                    <a:pt x="379" y="78"/>
                  </a:lnTo>
                  <a:lnTo>
                    <a:pt x="379" y="449"/>
                  </a:lnTo>
                  <a:lnTo>
                    <a:pt x="474" y="449"/>
                  </a:lnTo>
                  <a:lnTo>
                    <a:pt x="474" y="449"/>
                  </a:lnTo>
                  <a:lnTo>
                    <a:pt x="505" y="448"/>
                  </a:lnTo>
                  <a:lnTo>
                    <a:pt x="532" y="447"/>
                  </a:lnTo>
                  <a:lnTo>
                    <a:pt x="557" y="446"/>
                  </a:lnTo>
                  <a:lnTo>
                    <a:pt x="578" y="443"/>
                  </a:lnTo>
                  <a:lnTo>
                    <a:pt x="597" y="439"/>
                  </a:lnTo>
                  <a:lnTo>
                    <a:pt x="613" y="434"/>
                  </a:lnTo>
                  <a:lnTo>
                    <a:pt x="628" y="428"/>
                  </a:lnTo>
                  <a:lnTo>
                    <a:pt x="634" y="424"/>
                  </a:lnTo>
                  <a:lnTo>
                    <a:pt x="639" y="419"/>
                  </a:lnTo>
                  <a:lnTo>
                    <a:pt x="644" y="415"/>
                  </a:lnTo>
                  <a:lnTo>
                    <a:pt x="649" y="410"/>
                  </a:lnTo>
                  <a:lnTo>
                    <a:pt x="653" y="404"/>
                  </a:lnTo>
                  <a:lnTo>
                    <a:pt x="656" y="398"/>
                  </a:lnTo>
                  <a:lnTo>
                    <a:pt x="662" y="385"/>
                  </a:lnTo>
                  <a:lnTo>
                    <a:pt x="667" y="369"/>
                  </a:lnTo>
                  <a:lnTo>
                    <a:pt x="671" y="352"/>
                  </a:lnTo>
                  <a:lnTo>
                    <a:pt x="673" y="332"/>
                  </a:lnTo>
                  <a:lnTo>
                    <a:pt x="674" y="309"/>
                  </a:lnTo>
                  <a:lnTo>
                    <a:pt x="675" y="283"/>
                  </a:lnTo>
                  <a:lnTo>
                    <a:pt x="725" y="283"/>
                  </a:lnTo>
                  <a:lnTo>
                    <a:pt x="725" y="691"/>
                  </a:lnTo>
                  <a:lnTo>
                    <a:pt x="675" y="691"/>
                  </a:lnTo>
                  <a:lnTo>
                    <a:pt x="675" y="691"/>
                  </a:lnTo>
                  <a:lnTo>
                    <a:pt x="674" y="666"/>
                  </a:lnTo>
                  <a:lnTo>
                    <a:pt x="673" y="643"/>
                  </a:lnTo>
                  <a:lnTo>
                    <a:pt x="671" y="623"/>
                  </a:lnTo>
                  <a:lnTo>
                    <a:pt x="667" y="605"/>
                  </a:lnTo>
                  <a:lnTo>
                    <a:pt x="662" y="589"/>
                  </a:lnTo>
                  <a:lnTo>
                    <a:pt x="656" y="576"/>
                  </a:lnTo>
                  <a:lnTo>
                    <a:pt x="653" y="570"/>
                  </a:lnTo>
                  <a:lnTo>
                    <a:pt x="649" y="565"/>
                  </a:lnTo>
                  <a:lnTo>
                    <a:pt x="644" y="560"/>
                  </a:lnTo>
                  <a:lnTo>
                    <a:pt x="639" y="554"/>
                  </a:lnTo>
                  <a:lnTo>
                    <a:pt x="634" y="550"/>
                  </a:lnTo>
                  <a:lnTo>
                    <a:pt x="628" y="547"/>
                  </a:lnTo>
                  <a:lnTo>
                    <a:pt x="613" y="540"/>
                  </a:lnTo>
                  <a:lnTo>
                    <a:pt x="597" y="536"/>
                  </a:lnTo>
                  <a:lnTo>
                    <a:pt x="578" y="532"/>
                  </a:lnTo>
                  <a:lnTo>
                    <a:pt x="557" y="529"/>
                  </a:lnTo>
                  <a:lnTo>
                    <a:pt x="532" y="528"/>
                  </a:lnTo>
                  <a:lnTo>
                    <a:pt x="505" y="527"/>
                  </a:lnTo>
                  <a:lnTo>
                    <a:pt x="474" y="527"/>
                  </a:lnTo>
                  <a:lnTo>
                    <a:pt x="379" y="527"/>
                  </a:lnTo>
                  <a:lnTo>
                    <a:pt x="379" y="756"/>
                  </a:lnTo>
                  <a:lnTo>
                    <a:pt x="379" y="756"/>
                  </a:lnTo>
                  <a:lnTo>
                    <a:pt x="379" y="787"/>
                  </a:lnTo>
                  <a:lnTo>
                    <a:pt x="380" y="814"/>
                  </a:lnTo>
                  <a:lnTo>
                    <a:pt x="382" y="839"/>
                  </a:lnTo>
                  <a:lnTo>
                    <a:pt x="385" y="860"/>
                  </a:lnTo>
                  <a:lnTo>
                    <a:pt x="389" y="879"/>
                  </a:lnTo>
                  <a:lnTo>
                    <a:pt x="394" y="896"/>
                  </a:lnTo>
                  <a:lnTo>
                    <a:pt x="401" y="909"/>
                  </a:lnTo>
                  <a:lnTo>
                    <a:pt x="405" y="915"/>
                  </a:lnTo>
                  <a:lnTo>
                    <a:pt x="409" y="921"/>
                  </a:lnTo>
                  <a:lnTo>
                    <a:pt x="413" y="927"/>
                  </a:lnTo>
                  <a:lnTo>
                    <a:pt x="418" y="932"/>
                  </a:lnTo>
                  <a:lnTo>
                    <a:pt x="424" y="936"/>
                  </a:lnTo>
                  <a:lnTo>
                    <a:pt x="429" y="939"/>
                  </a:lnTo>
                  <a:lnTo>
                    <a:pt x="444" y="946"/>
                  </a:lnTo>
                  <a:lnTo>
                    <a:pt x="459" y="950"/>
                  </a:lnTo>
                  <a:lnTo>
                    <a:pt x="476" y="954"/>
                  </a:lnTo>
                  <a:lnTo>
                    <a:pt x="497" y="956"/>
                  </a:lnTo>
                  <a:lnTo>
                    <a:pt x="519" y="957"/>
                  </a:lnTo>
                  <a:lnTo>
                    <a:pt x="545" y="957"/>
                  </a:lnTo>
                  <a:lnTo>
                    <a:pt x="700" y="957"/>
                  </a:lnTo>
                  <a:lnTo>
                    <a:pt x="700" y="957"/>
                  </a:lnTo>
                  <a:lnTo>
                    <a:pt x="729" y="957"/>
                  </a:lnTo>
                  <a:lnTo>
                    <a:pt x="753" y="955"/>
                  </a:lnTo>
                  <a:lnTo>
                    <a:pt x="776" y="953"/>
                  </a:lnTo>
                  <a:lnTo>
                    <a:pt x="795" y="950"/>
                  </a:lnTo>
                  <a:lnTo>
                    <a:pt x="813" y="946"/>
                  </a:lnTo>
                  <a:lnTo>
                    <a:pt x="827" y="940"/>
                  </a:lnTo>
                  <a:lnTo>
                    <a:pt x="840" y="934"/>
                  </a:lnTo>
                  <a:lnTo>
                    <a:pt x="852" y="927"/>
                  </a:lnTo>
                  <a:lnTo>
                    <a:pt x="861" y="917"/>
                  </a:lnTo>
                  <a:lnTo>
                    <a:pt x="869" y="908"/>
                  </a:lnTo>
                  <a:lnTo>
                    <a:pt x="876" y="897"/>
                  </a:lnTo>
                  <a:lnTo>
                    <a:pt x="882" y="886"/>
                  </a:lnTo>
                  <a:lnTo>
                    <a:pt x="887" y="872"/>
                  </a:lnTo>
                  <a:lnTo>
                    <a:pt x="891" y="858"/>
                  </a:lnTo>
                  <a:lnTo>
                    <a:pt x="901" y="826"/>
                  </a:lnTo>
                  <a:lnTo>
                    <a:pt x="909" y="792"/>
                  </a:lnTo>
                  <a:lnTo>
                    <a:pt x="959" y="792"/>
                  </a:lnTo>
                  <a:lnTo>
                    <a:pt x="946" y="1035"/>
                  </a:lnTo>
                  <a:lnTo>
                    <a:pt x="0" y="1035"/>
                  </a:lnTo>
                  <a:lnTo>
                    <a:pt x="0" y="9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2798763" y="893763"/>
              <a:ext cx="152400" cy="141288"/>
            </a:xfrm>
            <a:custGeom>
              <a:avLst/>
              <a:gdLst>
                <a:gd name="T0" fmla="*/ 1159 w 1159"/>
                <a:gd name="T1" fmla="*/ 50 h 1065"/>
                <a:gd name="T2" fmla="*/ 1091 w 1159"/>
                <a:gd name="T3" fmla="*/ 54 h 1065"/>
                <a:gd name="T4" fmla="*/ 1039 w 1159"/>
                <a:gd name="T5" fmla="*/ 73 h 1065"/>
                <a:gd name="T6" fmla="*/ 1019 w 1159"/>
                <a:gd name="T7" fmla="*/ 92 h 1065"/>
                <a:gd name="T8" fmla="*/ 1001 w 1159"/>
                <a:gd name="T9" fmla="*/ 148 h 1065"/>
                <a:gd name="T10" fmla="*/ 996 w 1159"/>
                <a:gd name="T11" fmla="*/ 252 h 1065"/>
                <a:gd name="T12" fmla="*/ 994 w 1159"/>
                <a:gd name="T13" fmla="*/ 700 h 1065"/>
                <a:gd name="T14" fmla="*/ 976 w 1159"/>
                <a:gd name="T15" fmla="*/ 790 h 1065"/>
                <a:gd name="T16" fmla="*/ 944 w 1159"/>
                <a:gd name="T17" fmla="*/ 866 h 1065"/>
                <a:gd name="T18" fmla="*/ 899 w 1159"/>
                <a:gd name="T19" fmla="*/ 932 h 1065"/>
                <a:gd name="T20" fmla="*/ 843 w 1159"/>
                <a:gd name="T21" fmla="*/ 984 h 1065"/>
                <a:gd name="T22" fmla="*/ 777 w 1159"/>
                <a:gd name="T23" fmla="*/ 1023 h 1065"/>
                <a:gd name="T24" fmla="*/ 702 w 1159"/>
                <a:gd name="T25" fmla="*/ 1049 h 1065"/>
                <a:gd name="T26" fmla="*/ 621 w 1159"/>
                <a:gd name="T27" fmla="*/ 1063 h 1065"/>
                <a:gd name="T28" fmla="*/ 558 w 1159"/>
                <a:gd name="T29" fmla="*/ 1065 h 1065"/>
                <a:gd name="T30" fmla="*/ 476 w 1159"/>
                <a:gd name="T31" fmla="*/ 1054 h 1065"/>
                <a:gd name="T32" fmla="*/ 399 w 1159"/>
                <a:gd name="T33" fmla="*/ 1031 h 1065"/>
                <a:gd name="T34" fmla="*/ 331 w 1159"/>
                <a:gd name="T35" fmla="*/ 995 h 1065"/>
                <a:gd name="T36" fmla="*/ 273 w 1159"/>
                <a:gd name="T37" fmla="*/ 946 h 1065"/>
                <a:gd name="T38" fmla="*/ 226 w 1159"/>
                <a:gd name="T39" fmla="*/ 884 h 1065"/>
                <a:gd name="T40" fmla="*/ 191 w 1159"/>
                <a:gd name="T41" fmla="*/ 810 h 1065"/>
                <a:gd name="T42" fmla="*/ 170 w 1159"/>
                <a:gd name="T43" fmla="*/ 723 h 1065"/>
                <a:gd name="T44" fmla="*/ 165 w 1159"/>
                <a:gd name="T45" fmla="*/ 252 h 1065"/>
                <a:gd name="T46" fmla="*/ 162 w 1159"/>
                <a:gd name="T47" fmla="*/ 169 h 1065"/>
                <a:gd name="T48" fmla="*/ 145 w 1159"/>
                <a:gd name="T49" fmla="*/ 98 h 1065"/>
                <a:gd name="T50" fmla="*/ 126 w 1159"/>
                <a:gd name="T51" fmla="*/ 77 h 1065"/>
                <a:gd name="T52" fmla="*/ 87 w 1159"/>
                <a:gd name="T53" fmla="*/ 58 h 1065"/>
                <a:gd name="T54" fmla="*/ 0 w 1159"/>
                <a:gd name="T55" fmla="*/ 50 h 1065"/>
                <a:gd name="T56" fmla="*/ 547 w 1159"/>
                <a:gd name="T57" fmla="*/ 50 h 1065"/>
                <a:gd name="T58" fmla="*/ 460 w 1159"/>
                <a:gd name="T59" fmla="*/ 58 h 1065"/>
                <a:gd name="T60" fmla="*/ 419 w 1159"/>
                <a:gd name="T61" fmla="*/ 77 h 1065"/>
                <a:gd name="T62" fmla="*/ 402 w 1159"/>
                <a:gd name="T63" fmla="*/ 98 h 1065"/>
                <a:gd name="T64" fmla="*/ 384 w 1159"/>
                <a:gd name="T65" fmla="*/ 169 h 1065"/>
                <a:gd name="T66" fmla="*/ 381 w 1159"/>
                <a:gd name="T67" fmla="*/ 631 h 1065"/>
                <a:gd name="T68" fmla="*/ 384 w 1159"/>
                <a:gd name="T69" fmla="*/ 691 h 1065"/>
                <a:gd name="T70" fmla="*/ 397 w 1159"/>
                <a:gd name="T71" fmla="*/ 761 h 1065"/>
                <a:gd name="T72" fmla="*/ 420 w 1159"/>
                <a:gd name="T73" fmla="*/ 819 h 1065"/>
                <a:gd name="T74" fmla="*/ 451 w 1159"/>
                <a:gd name="T75" fmla="*/ 867 h 1065"/>
                <a:gd name="T76" fmla="*/ 488 w 1159"/>
                <a:gd name="T77" fmla="*/ 905 h 1065"/>
                <a:gd name="T78" fmla="*/ 532 w 1159"/>
                <a:gd name="T79" fmla="*/ 933 h 1065"/>
                <a:gd name="T80" fmla="*/ 581 w 1159"/>
                <a:gd name="T81" fmla="*/ 950 h 1065"/>
                <a:gd name="T82" fmla="*/ 635 w 1159"/>
                <a:gd name="T83" fmla="*/ 957 h 1065"/>
                <a:gd name="T84" fmla="*/ 676 w 1159"/>
                <a:gd name="T85" fmla="*/ 956 h 1065"/>
                <a:gd name="T86" fmla="*/ 727 w 1159"/>
                <a:gd name="T87" fmla="*/ 947 h 1065"/>
                <a:gd name="T88" fmla="*/ 773 w 1159"/>
                <a:gd name="T89" fmla="*/ 927 h 1065"/>
                <a:gd name="T90" fmla="*/ 814 w 1159"/>
                <a:gd name="T91" fmla="*/ 897 h 1065"/>
                <a:gd name="T92" fmla="*/ 847 w 1159"/>
                <a:gd name="T93" fmla="*/ 857 h 1065"/>
                <a:gd name="T94" fmla="*/ 873 w 1159"/>
                <a:gd name="T95" fmla="*/ 806 h 1065"/>
                <a:gd name="T96" fmla="*/ 891 w 1159"/>
                <a:gd name="T97" fmla="*/ 745 h 1065"/>
                <a:gd name="T98" fmla="*/ 901 w 1159"/>
                <a:gd name="T99" fmla="*/ 672 h 1065"/>
                <a:gd name="T100" fmla="*/ 903 w 1159"/>
                <a:gd name="T101" fmla="*/ 252 h 1065"/>
                <a:gd name="T102" fmla="*/ 896 w 1159"/>
                <a:gd name="T103" fmla="*/ 148 h 1065"/>
                <a:gd name="T104" fmla="*/ 878 w 1159"/>
                <a:gd name="T105" fmla="*/ 92 h 1065"/>
                <a:gd name="T106" fmla="*/ 859 w 1159"/>
                <a:gd name="T107" fmla="*/ 73 h 1065"/>
                <a:gd name="T108" fmla="*/ 805 w 1159"/>
                <a:gd name="T109" fmla="*/ 54 h 1065"/>
                <a:gd name="T110" fmla="*/ 737 w 1159"/>
                <a:gd name="T111" fmla="*/ 5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59" h="1065">
                  <a:moveTo>
                    <a:pt x="737" y="50"/>
                  </a:moveTo>
                  <a:lnTo>
                    <a:pt x="737" y="0"/>
                  </a:lnTo>
                  <a:lnTo>
                    <a:pt x="1159" y="0"/>
                  </a:lnTo>
                  <a:lnTo>
                    <a:pt x="1159" y="50"/>
                  </a:lnTo>
                  <a:lnTo>
                    <a:pt x="1159" y="50"/>
                  </a:lnTo>
                  <a:lnTo>
                    <a:pt x="1134" y="50"/>
                  </a:lnTo>
                  <a:lnTo>
                    <a:pt x="1111" y="51"/>
                  </a:lnTo>
                  <a:lnTo>
                    <a:pt x="1091" y="54"/>
                  </a:lnTo>
                  <a:lnTo>
                    <a:pt x="1073" y="58"/>
                  </a:lnTo>
                  <a:lnTo>
                    <a:pt x="1058" y="63"/>
                  </a:lnTo>
                  <a:lnTo>
                    <a:pt x="1045" y="69"/>
                  </a:lnTo>
                  <a:lnTo>
                    <a:pt x="1039" y="73"/>
                  </a:lnTo>
                  <a:lnTo>
                    <a:pt x="1033" y="77"/>
                  </a:lnTo>
                  <a:lnTo>
                    <a:pt x="1028" y="81"/>
                  </a:lnTo>
                  <a:lnTo>
                    <a:pt x="1023" y="86"/>
                  </a:lnTo>
                  <a:lnTo>
                    <a:pt x="1019" y="92"/>
                  </a:lnTo>
                  <a:lnTo>
                    <a:pt x="1016" y="98"/>
                  </a:lnTo>
                  <a:lnTo>
                    <a:pt x="1009" y="113"/>
                  </a:lnTo>
                  <a:lnTo>
                    <a:pt x="1005" y="129"/>
                  </a:lnTo>
                  <a:lnTo>
                    <a:pt x="1001" y="148"/>
                  </a:lnTo>
                  <a:lnTo>
                    <a:pt x="998" y="169"/>
                  </a:lnTo>
                  <a:lnTo>
                    <a:pt x="997" y="194"/>
                  </a:lnTo>
                  <a:lnTo>
                    <a:pt x="996" y="221"/>
                  </a:lnTo>
                  <a:lnTo>
                    <a:pt x="996" y="252"/>
                  </a:lnTo>
                  <a:lnTo>
                    <a:pt x="996" y="651"/>
                  </a:lnTo>
                  <a:lnTo>
                    <a:pt x="996" y="651"/>
                  </a:lnTo>
                  <a:lnTo>
                    <a:pt x="995" y="675"/>
                  </a:lnTo>
                  <a:lnTo>
                    <a:pt x="994" y="700"/>
                  </a:lnTo>
                  <a:lnTo>
                    <a:pt x="990" y="723"/>
                  </a:lnTo>
                  <a:lnTo>
                    <a:pt x="986" y="746"/>
                  </a:lnTo>
                  <a:lnTo>
                    <a:pt x="982" y="768"/>
                  </a:lnTo>
                  <a:lnTo>
                    <a:pt x="976" y="790"/>
                  </a:lnTo>
                  <a:lnTo>
                    <a:pt x="970" y="810"/>
                  </a:lnTo>
                  <a:lnTo>
                    <a:pt x="962" y="829"/>
                  </a:lnTo>
                  <a:lnTo>
                    <a:pt x="954" y="849"/>
                  </a:lnTo>
                  <a:lnTo>
                    <a:pt x="944" y="866"/>
                  </a:lnTo>
                  <a:lnTo>
                    <a:pt x="934" y="884"/>
                  </a:lnTo>
                  <a:lnTo>
                    <a:pt x="924" y="901"/>
                  </a:lnTo>
                  <a:lnTo>
                    <a:pt x="912" y="916"/>
                  </a:lnTo>
                  <a:lnTo>
                    <a:pt x="899" y="932"/>
                  </a:lnTo>
                  <a:lnTo>
                    <a:pt x="886" y="946"/>
                  </a:lnTo>
                  <a:lnTo>
                    <a:pt x="873" y="959"/>
                  </a:lnTo>
                  <a:lnTo>
                    <a:pt x="859" y="972"/>
                  </a:lnTo>
                  <a:lnTo>
                    <a:pt x="843" y="984"/>
                  </a:lnTo>
                  <a:lnTo>
                    <a:pt x="828" y="995"/>
                  </a:lnTo>
                  <a:lnTo>
                    <a:pt x="812" y="1005"/>
                  </a:lnTo>
                  <a:lnTo>
                    <a:pt x="794" y="1015"/>
                  </a:lnTo>
                  <a:lnTo>
                    <a:pt x="777" y="1023"/>
                  </a:lnTo>
                  <a:lnTo>
                    <a:pt x="759" y="1031"/>
                  </a:lnTo>
                  <a:lnTo>
                    <a:pt x="741" y="1038"/>
                  </a:lnTo>
                  <a:lnTo>
                    <a:pt x="722" y="1044"/>
                  </a:lnTo>
                  <a:lnTo>
                    <a:pt x="702" y="1049"/>
                  </a:lnTo>
                  <a:lnTo>
                    <a:pt x="683" y="1054"/>
                  </a:lnTo>
                  <a:lnTo>
                    <a:pt x="662" y="1057"/>
                  </a:lnTo>
                  <a:lnTo>
                    <a:pt x="643" y="1061"/>
                  </a:lnTo>
                  <a:lnTo>
                    <a:pt x="621" y="1063"/>
                  </a:lnTo>
                  <a:lnTo>
                    <a:pt x="601" y="1065"/>
                  </a:lnTo>
                  <a:lnTo>
                    <a:pt x="579" y="1065"/>
                  </a:lnTo>
                  <a:lnTo>
                    <a:pt x="579" y="1065"/>
                  </a:lnTo>
                  <a:lnTo>
                    <a:pt x="558" y="1065"/>
                  </a:lnTo>
                  <a:lnTo>
                    <a:pt x="538" y="1063"/>
                  </a:lnTo>
                  <a:lnTo>
                    <a:pt x="516" y="1061"/>
                  </a:lnTo>
                  <a:lnTo>
                    <a:pt x="496" y="1057"/>
                  </a:lnTo>
                  <a:lnTo>
                    <a:pt x="476" y="1054"/>
                  </a:lnTo>
                  <a:lnTo>
                    <a:pt x="456" y="1049"/>
                  </a:lnTo>
                  <a:lnTo>
                    <a:pt x="437" y="1044"/>
                  </a:lnTo>
                  <a:lnTo>
                    <a:pt x="418" y="1038"/>
                  </a:lnTo>
                  <a:lnTo>
                    <a:pt x="399" y="1031"/>
                  </a:lnTo>
                  <a:lnTo>
                    <a:pt x="382" y="1023"/>
                  </a:lnTo>
                  <a:lnTo>
                    <a:pt x="365" y="1015"/>
                  </a:lnTo>
                  <a:lnTo>
                    <a:pt x="347" y="1005"/>
                  </a:lnTo>
                  <a:lnTo>
                    <a:pt x="331" y="995"/>
                  </a:lnTo>
                  <a:lnTo>
                    <a:pt x="316" y="984"/>
                  </a:lnTo>
                  <a:lnTo>
                    <a:pt x="301" y="972"/>
                  </a:lnTo>
                  <a:lnTo>
                    <a:pt x="286" y="959"/>
                  </a:lnTo>
                  <a:lnTo>
                    <a:pt x="273" y="946"/>
                  </a:lnTo>
                  <a:lnTo>
                    <a:pt x="259" y="932"/>
                  </a:lnTo>
                  <a:lnTo>
                    <a:pt x="247" y="916"/>
                  </a:lnTo>
                  <a:lnTo>
                    <a:pt x="236" y="901"/>
                  </a:lnTo>
                  <a:lnTo>
                    <a:pt x="226" y="884"/>
                  </a:lnTo>
                  <a:lnTo>
                    <a:pt x="215" y="866"/>
                  </a:lnTo>
                  <a:lnTo>
                    <a:pt x="206" y="849"/>
                  </a:lnTo>
                  <a:lnTo>
                    <a:pt x="198" y="829"/>
                  </a:lnTo>
                  <a:lnTo>
                    <a:pt x="191" y="810"/>
                  </a:lnTo>
                  <a:lnTo>
                    <a:pt x="184" y="790"/>
                  </a:lnTo>
                  <a:lnTo>
                    <a:pt x="179" y="768"/>
                  </a:lnTo>
                  <a:lnTo>
                    <a:pt x="174" y="746"/>
                  </a:lnTo>
                  <a:lnTo>
                    <a:pt x="170" y="723"/>
                  </a:lnTo>
                  <a:lnTo>
                    <a:pt x="167" y="700"/>
                  </a:lnTo>
                  <a:lnTo>
                    <a:pt x="166" y="675"/>
                  </a:lnTo>
                  <a:lnTo>
                    <a:pt x="165" y="651"/>
                  </a:lnTo>
                  <a:lnTo>
                    <a:pt x="165" y="252"/>
                  </a:lnTo>
                  <a:lnTo>
                    <a:pt x="165" y="252"/>
                  </a:lnTo>
                  <a:lnTo>
                    <a:pt x="165" y="221"/>
                  </a:lnTo>
                  <a:lnTo>
                    <a:pt x="164" y="194"/>
                  </a:lnTo>
                  <a:lnTo>
                    <a:pt x="162" y="169"/>
                  </a:lnTo>
                  <a:lnTo>
                    <a:pt x="160" y="148"/>
                  </a:lnTo>
                  <a:lnTo>
                    <a:pt x="156" y="129"/>
                  </a:lnTo>
                  <a:lnTo>
                    <a:pt x="151" y="113"/>
                  </a:lnTo>
                  <a:lnTo>
                    <a:pt x="145" y="98"/>
                  </a:lnTo>
                  <a:lnTo>
                    <a:pt x="141" y="92"/>
                  </a:lnTo>
                  <a:lnTo>
                    <a:pt x="137" y="86"/>
                  </a:lnTo>
                  <a:lnTo>
                    <a:pt x="132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7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47" y="0"/>
                  </a:lnTo>
                  <a:lnTo>
                    <a:pt x="547" y="50"/>
                  </a:lnTo>
                  <a:lnTo>
                    <a:pt x="547" y="50"/>
                  </a:lnTo>
                  <a:lnTo>
                    <a:pt x="521" y="50"/>
                  </a:lnTo>
                  <a:lnTo>
                    <a:pt x="498" y="51"/>
                  </a:lnTo>
                  <a:lnTo>
                    <a:pt x="477" y="54"/>
                  </a:lnTo>
                  <a:lnTo>
                    <a:pt x="460" y="58"/>
                  </a:lnTo>
                  <a:lnTo>
                    <a:pt x="444" y="63"/>
                  </a:lnTo>
                  <a:lnTo>
                    <a:pt x="430" y="69"/>
                  </a:lnTo>
                  <a:lnTo>
                    <a:pt x="425" y="73"/>
                  </a:lnTo>
                  <a:lnTo>
                    <a:pt x="419" y="77"/>
                  </a:lnTo>
                  <a:lnTo>
                    <a:pt x="414" y="81"/>
                  </a:lnTo>
                  <a:lnTo>
                    <a:pt x="410" y="86"/>
                  </a:lnTo>
                  <a:lnTo>
                    <a:pt x="406" y="92"/>
                  </a:lnTo>
                  <a:lnTo>
                    <a:pt x="402" y="98"/>
                  </a:lnTo>
                  <a:lnTo>
                    <a:pt x="395" y="113"/>
                  </a:lnTo>
                  <a:lnTo>
                    <a:pt x="390" y="129"/>
                  </a:lnTo>
                  <a:lnTo>
                    <a:pt x="386" y="148"/>
                  </a:lnTo>
                  <a:lnTo>
                    <a:pt x="384" y="169"/>
                  </a:lnTo>
                  <a:lnTo>
                    <a:pt x="382" y="194"/>
                  </a:lnTo>
                  <a:lnTo>
                    <a:pt x="381" y="221"/>
                  </a:lnTo>
                  <a:lnTo>
                    <a:pt x="381" y="252"/>
                  </a:lnTo>
                  <a:lnTo>
                    <a:pt x="381" y="631"/>
                  </a:lnTo>
                  <a:lnTo>
                    <a:pt x="381" y="631"/>
                  </a:lnTo>
                  <a:lnTo>
                    <a:pt x="381" y="652"/>
                  </a:lnTo>
                  <a:lnTo>
                    <a:pt x="382" y="672"/>
                  </a:lnTo>
                  <a:lnTo>
                    <a:pt x="384" y="691"/>
                  </a:lnTo>
                  <a:lnTo>
                    <a:pt x="386" y="710"/>
                  </a:lnTo>
                  <a:lnTo>
                    <a:pt x="389" y="727"/>
                  </a:lnTo>
                  <a:lnTo>
                    <a:pt x="393" y="745"/>
                  </a:lnTo>
                  <a:lnTo>
                    <a:pt x="397" y="761"/>
                  </a:lnTo>
                  <a:lnTo>
                    <a:pt x="403" y="776"/>
                  </a:lnTo>
                  <a:lnTo>
                    <a:pt x="408" y="792"/>
                  </a:lnTo>
                  <a:lnTo>
                    <a:pt x="413" y="806"/>
                  </a:lnTo>
                  <a:lnTo>
                    <a:pt x="420" y="819"/>
                  </a:lnTo>
                  <a:lnTo>
                    <a:pt x="427" y="833"/>
                  </a:lnTo>
                  <a:lnTo>
                    <a:pt x="434" y="845"/>
                  </a:lnTo>
                  <a:lnTo>
                    <a:pt x="442" y="857"/>
                  </a:lnTo>
                  <a:lnTo>
                    <a:pt x="451" y="867"/>
                  </a:lnTo>
                  <a:lnTo>
                    <a:pt x="459" y="878"/>
                  </a:lnTo>
                  <a:lnTo>
                    <a:pt x="468" y="888"/>
                  </a:lnTo>
                  <a:lnTo>
                    <a:pt x="478" y="897"/>
                  </a:lnTo>
                  <a:lnTo>
                    <a:pt x="488" y="905"/>
                  </a:lnTo>
                  <a:lnTo>
                    <a:pt x="499" y="913"/>
                  </a:lnTo>
                  <a:lnTo>
                    <a:pt x="510" y="920"/>
                  </a:lnTo>
                  <a:lnTo>
                    <a:pt x="521" y="927"/>
                  </a:lnTo>
                  <a:lnTo>
                    <a:pt x="532" y="933"/>
                  </a:lnTo>
                  <a:lnTo>
                    <a:pt x="544" y="938"/>
                  </a:lnTo>
                  <a:lnTo>
                    <a:pt x="556" y="943"/>
                  </a:lnTo>
                  <a:lnTo>
                    <a:pt x="569" y="947"/>
                  </a:lnTo>
                  <a:lnTo>
                    <a:pt x="581" y="950"/>
                  </a:lnTo>
                  <a:lnTo>
                    <a:pt x="595" y="953"/>
                  </a:lnTo>
                  <a:lnTo>
                    <a:pt x="608" y="955"/>
                  </a:lnTo>
                  <a:lnTo>
                    <a:pt x="621" y="956"/>
                  </a:lnTo>
                  <a:lnTo>
                    <a:pt x="635" y="957"/>
                  </a:lnTo>
                  <a:lnTo>
                    <a:pt x="649" y="957"/>
                  </a:lnTo>
                  <a:lnTo>
                    <a:pt x="649" y="957"/>
                  </a:lnTo>
                  <a:lnTo>
                    <a:pt x="662" y="957"/>
                  </a:lnTo>
                  <a:lnTo>
                    <a:pt x="676" y="956"/>
                  </a:lnTo>
                  <a:lnTo>
                    <a:pt x="689" y="955"/>
                  </a:lnTo>
                  <a:lnTo>
                    <a:pt x="702" y="953"/>
                  </a:lnTo>
                  <a:lnTo>
                    <a:pt x="714" y="950"/>
                  </a:lnTo>
                  <a:lnTo>
                    <a:pt x="727" y="947"/>
                  </a:lnTo>
                  <a:lnTo>
                    <a:pt x="739" y="943"/>
                  </a:lnTo>
                  <a:lnTo>
                    <a:pt x="751" y="938"/>
                  </a:lnTo>
                  <a:lnTo>
                    <a:pt x="762" y="933"/>
                  </a:lnTo>
                  <a:lnTo>
                    <a:pt x="773" y="927"/>
                  </a:lnTo>
                  <a:lnTo>
                    <a:pt x="784" y="920"/>
                  </a:lnTo>
                  <a:lnTo>
                    <a:pt x="794" y="913"/>
                  </a:lnTo>
                  <a:lnTo>
                    <a:pt x="803" y="905"/>
                  </a:lnTo>
                  <a:lnTo>
                    <a:pt x="814" y="897"/>
                  </a:lnTo>
                  <a:lnTo>
                    <a:pt x="823" y="888"/>
                  </a:lnTo>
                  <a:lnTo>
                    <a:pt x="831" y="878"/>
                  </a:lnTo>
                  <a:lnTo>
                    <a:pt x="839" y="867"/>
                  </a:lnTo>
                  <a:lnTo>
                    <a:pt x="847" y="857"/>
                  </a:lnTo>
                  <a:lnTo>
                    <a:pt x="854" y="845"/>
                  </a:lnTo>
                  <a:lnTo>
                    <a:pt x="861" y="833"/>
                  </a:lnTo>
                  <a:lnTo>
                    <a:pt x="868" y="819"/>
                  </a:lnTo>
                  <a:lnTo>
                    <a:pt x="873" y="806"/>
                  </a:lnTo>
                  <a:lnTo>
                    <a:pt x="879" y="792"/>
                  </a:lnTo>
                  <a:lnTo>
                    <a:pt x="883" y="776"/>
                  </a:lnTo>
                  <a:lnTo>
                    <a:pt x="887" y="761"/>
                  </a:lnTo>
                  <a:lnTo>
                    <a:pt x="891" y="745"/>
                  </a:lnTo>
                  <a:lnTo>
                    <a:pt x="894" y="727"/>
                  </a:lnTo>
                  <a:lnTo>
                    <a:pt x="897" y="710"/>
                  </a:lnTo>
                  <a:lnTo>
                    <a:pt x="899" y="691"/>
                  </a:lnTo>
                  <a:lnTo>
                    <a:pt x="901" y="672"/>
                  </a:lnTo>
                  <a:lnTo>
                    <a:pt x="902" y="652"/>
                  </a:lnTo>
                  <a:lnTo>
                    <a:pt x="903" y="631"/>
                  </a:lnTo>
                  <a:lnTo>
                    <a:pt x="903" y="252"/>
                  </a:lnTo>
                  <a:lnTo>
                    <a:pt x="903" y="252"/>
                  </a:lnTo>
                  <a:lnTo>
                    <a:pt x="902" y="221"/>
                  </a:lnTo>
                  <a:lnTo>
                    <a:pt x="901" y="194"/>
                  </a:lnTo>
                  <a:lnTo>
                    <a:pt x="899" y="169"/>
                  </a:lnTo>
                  <a:lnTo>
                    <a:pt x="896" y="148"/>
                  </a:lnTo>
                  <a:lnTo>
                    <a:pt x="893" y="129"/>
                  </a:lnTo>
                  <a:lnTo>
                    <a:pt x="888" y="113"/>
                  </a:lnTo>
                  <a:lnTo>
                    <a:pt x="881" y="98"/>
                  </a:lnTo>
                  <a:lnTo>
                    <a:pt x="878" y="92"/>
                  </a:lnTo>
                  <a:lnTo>
                    <a:pt x="874" y="86"/>
                  </a:lnTo>
                  <a:lnTo>
                    <a:pt x="869" y="81"/>
                  </a:lnTo>
                  <a:lnTo>
                    <a:pt x="864" y="77"/>
                  </a:lnTo>
                  <a:lnTo>
                    <a:pt x="859" y="73"/>
                  </a:lnTo>
                  <a:lnTo>
                    <a:pt x="852" y="69"/>
                  </a:lnTo>
                  <a:lnTo>
                    <a:pt x="839" y="63"/>
                  </a:lnTo>
                  <a:lnTo>
                    <a:pt x="824" y="58"/>
                  </a:lnTo>
                  <a:lnTo>
                    <a:pt x="805" y="54"/>
                  </a:lnTo>
                  <a:lnTo>
                    <a:pt x="785" y="51"/>
                  </a:lnTo>
                  <a:lnTo>
                    <a:pt x="762" y="50"/>
                  </a:lnTo>
                  <a:lnTo>
                    <a:pt x="737" y="50"/>
                  </a:lnTo>
                  <a:lnTo>
                    <a:pt x="737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2962276" y="893763"/>
              <a:ext cx="160338" cy="141288"/>
            </a:xfrm>
            <a:custGeom>
              <a:avLst/>
              <a:gdLst>
                <a:gd name="T0" fmla="*/ 623 w 1210"/>
                <a:gd name="T1" fmla="*/ 1065 h 1065"/>
                <a:gd name="T2" fmla="*/ 211 w 1210"/>
                <a:gd name="T3" fmla="*/ 202 h 1065"/>
                <a:gd name="T4" fmla="*/ 193 w 1210"/>
                <a:gd name="T5" fmla="*/ 163 h 1065"/>
                <a:gd name="T6" fmla="*/ 177 w 1210"/>
                <a:gd name="T7" fmla="*/ 131 h 1065"/>
                <a:gd name="T8" fmla="*/ 159 w 1210"/>
                <a:gd name="T9" fmla="*/ 105 h 1065"/>
                <a:gd name="T10" fmla="*/ 139 w 1210"/>
                <a:gd name="T11" fmla="*/ 84 h 1065"/>
                <a:gd name="T12" fmla="*/ 114 w 1210"/>
                <a:gd name="T13" fmla="*/ 69 h 1065"/>
                <a:gd name="T14" fmla="*/ 85 w 1210"/>
                <a:gd name="T15" fmla="*/ 59 h 1065"/>
                <a:gd name="T16" fmla="*/ 47 w 1210"/>
                <a:gd name="T17" fmla="*/ 52 h 1065"/>
                <a:gd name="T18" fmla="*/ 0 w 1210"/>
                <a:gd name="T19" fmla="*/ 50 h 1065"/>
                <a:gd name="T20" fmla="*/ 566 w 1210"/>
                <a:gd name="T21" fmla="*/ 0 h 1065"/>
                <a:gd name="T22" fmla="*/ 566 w 1210"/>
                <a:gd name="T23" fmla="*/ 50 h 1065"/>
                <a:gd name="T24" fmla="*/ 515 w 1210"/>
                <a:gd name="T25" fmla="*/ 52 h 1065"/>
                <a:gd name="T26" fmla="*/ 476 w 1210"/>
                <a:gd name="T27" fmla="*/ 58 h 1065"/>
                <a:gd name="T28" fmla="*/ 448 w 1210"/>
                <a:gd name="T29" fmla="*/ 68 h 1065"/>
                <a:gd name="T30" fmla="*/ 429 w 1210"/>
                <a:gd name="T31" fmla="*/ 81 h 1065"/>
                <a:gd name="T32" fmla="*/ 420 w 1210"/>
                <a:gd name="T33" fmla="*/ 99 h 1065"/>
                <a:gd name="T34" fmla="*/ 419 w 1210"/>
                <a:gd name="T35" fmla="*/ 122 h 1065"/>
                <a:gd name="T36" fmla="*/ 424 w 1210"/>
                <a:gd name="T37" fmla="*/ 150 h 1065"/>
                <a:gd name="T38" fmla="*/ 436 w 1210"/>
                <a:gd name="T39" fmla="*/ 181 h 1065"/>
                <a:gd name="T40" fmla="*/ 921 w 1210"/>
                <a:gd name="T41" fmla="*/ 181 h 1065"/>
                <a:gd name="T42" fmla="*/ 928 w 1210"/>
                <a:gd name="T43" fmla="*/ 165 h 1065"/>
                <a:gd name="T44" fmla="*/ 936 w 1210"/>
                <a:gd name="T45" fmla="*/ 134 h 1065"/>
                <a:gd name="T46" fmla="*/ 938 w 1210"/>
                <a:gd name="T47" fmla="*/ 110 h 1065"/>
                <a:gd name="T48" fmla="*/ 931 w 1210"/>
                <a:gd name="T49" fmla="*/ 89 h 1065"/>
                <a:gd name="T50" fmla="*/ 917 w 1210"/>
                <a:gd name="T51" fmla="*/ 74 h 1065"/>
                <a:gd name="T52" fmla="*/ 894 w 1210"/>
                <a:gd name="T53" fmla="*/ 62 h 1065"/>
                <a:gd name="T54" fmla="*/ 861 w 1210"/>
                <a:gd name="T55" fmla="*/ 54 h 1065"/>
                <a:gd name="T56" fmla="*/ 817 w 1210"/>
                <a:gd name="T57" fmla="*/ 50 h 1065"/>
                <a:gd name="T58" fmla="*/ 792 w 1210"/>
                <a:gd name="T59" fmla="*/ 0 h 1065"/>
                <a:gd name="T60" fmla="*/ 1210 w 1210"/>
                <a:gd name="T61" fmla="*/ 50 h 1065"/>
                <a:gd name="T62" fmla="*/ 1188 w 1210"/>
                <a:gd name="T63" fmla="*/ 50 h 1065"/>
                <a:gd name="T64" fmla="*/ 1150 w 1210"/>
                <a:gd name="T65" fmla="*/ 53 h 1065"/>
                <a:gd name="T66" fmla="*/ 1119 w 1210"/>
                <a:gd name="T67" fmla="*/ 61 h 1065"/>
                <a:gd name="T68" fmla="*/ 1091 w 1210"/>
                <a:gd name="T69" fmla="*/ 73 h 1065"/>
                <a:gd name="T70" fmla="*/ 1067 w 1210"/>
                <a:gd name="T71" fmla="*/ 89 h 1065"/>
                <a:gd name="T72" fmla="*/ 1046 w 1210"/>
                <a:gd name="T73" fmla="*/ 113 h 1065"/>
                <a:gd name="T74" fmla="*/ 1026 w 1210"/>
                <a:gd name="T75" fmla="*/ 142 h 1065"/>
                <a:gd name="T76" fmla="*/ 1007 w 1210"/>
                <a:gd name="T77" fmla="*/ 180 h 1065"/>
                <a:gd name="T78" fmla="*/ 997 w 1210"/>
                <a:gd name="T79" fmla="*/ 20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0" h="1065">
                  <a:moveTo>
                    <a:pt x="997" y="202"/>
                  </a:moveTo>
                  <a:lnTo>
                    <a:pt x="623" y="1065"/>
                  </a:lnTo>
                  <a:lnTo>
                    <a:pt x="587" y="1065"/>
                  </a:lnTo>
                  <a:lnTo>
                    <a:pt x="211" y="202"/>
                  </a:lnTo>
                  <a:lnTo>
                    <a:pt x="211" y="202"/>
                  </a:lnTo>
                  <a:lnTo>
                    <a:pt x="193" y="163"/>
                  </a:lnTo>
                  <a:lnTo>
                    <a:pt x="185" y="146"/>
                  </a:lnTo>
                  <a:lnTo>
                    <a:pt x="177" y="131"/>
                  </a:lnTo>
                  <a:lnTo>
                    <a:pt x="169" y="117"/>
                  </a:lnTo>
                  <a:lnTo>
                    <a:pt x="159" y="105"/>
                  </a:lnTo>
                  <a:lnTo>
                    <a:pt x="149" y="93"/>
                  </a:lnTo>
                  <a:lnTo>
                    <a:pt x="139" y="84"/>
                  </a:lnTo>
                  <a:lnTo>
                    <a:pt x="128" y="76"/>
                  </a:lnTo>
                  <a:lnTo>
                    <a:pt x="114" y="69"/>
                  </a:lnTo>
                  <a:lnTo>
                    <a:pt x="100" y="63"/>
                  </a:lnTo>
                  <a:lnTo>
                    <a:pt x="85" y="59"/>
                  </a:lnTo>
                  <a:lnTo>
                    <a:pt x="66" y="54"/>
                  </a:lnTo>
                  <a:lnTo>
                    <a:pt x="47" y="52"/>
                  </a:lnTo>
                  <a:lnTo>
                    <a:pt x="24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66" y="0"/>
                  </a:lnTo>
                  <a:lnTo>
                    <a:pt x="566" y="50"/>
                  </a:lnTo>
                  <a:lnTo>
                    <a:pt x="566" y="50"/>
                  </a:lnTo>
                  <a:lnTo>
                    <a:pt x="539" y="50"/>
                  </a:lnTo>
                  <a:lnTo>
                    <a:pt x="515" y="52"/>
                  </a:lnTo>
                  <a:lnTo>
                    <a:pt x="494" y="54"/>
                  </a:lnTo>
                  <a:lnTo>
                    <a:pt x="476" y="58"/>
                  </a:lnTo>
                  <a:lnTo>
                    <a:pt x="461" y="63"/>
                  </a:lnTo>
                  <a:lnTo>
                    <a:pt x="448" y="68"/>
                  </a:lnTo>
                  <a:lnTo>
                    <a:pt x="438" y="74"/>
                  </a:lnTo>
                  <a:lnTo>
                    <a:pt x="429" y="81"/>
                  </a:lnTo>
                  <a:lnTo>
                    <a:pt x="423" y="90"/>
                  </a:lnTo>
                  <a:lnTo>
                    <a:pt x="420" y="99"/>
                  </a:lnTo>
                  <a:lnTo>
                    <a:pt x="418" y="111"/>
                  </a:lnTo>
                  <a:lnTo>
                    <a:pt x="419" y="122"/>
                  </a:lnTo>
                  <a:lnTo>
                    <a:pt x="421" y="135"/>
                  </a:lnTo>
                  <a:lnTo>
                    <a:pt x="424" y="150"/>
                  </a:lnTo>
                  <a:lnTo>
                    <a:pt x="429" y="165"/>
                  </a:lnTo>
                  <a:lnTo>
                    <a:pt x="436" y="181"/>
                  </a:lnTo>
                  <a:lnTo>
                    <a:pt x="678" y="742"/>
                  </a:lnTo>
                  <a:lnTo>
                    <a:pt x="921" y="181"/>
                  </a:lnTo>
                  <a:lnTo>
                    <a:pt x="921" y="181"/>
                  </a:lnTo>
                  <a:lnTo>
                    <a:pt x="928" y="165"/>
                  </a:lnTo>
                  <a:lnTo>
                    <a:pt x="933" y="149"/>
                  </a:lnTo>
                  <a:lnTo>
                    <a:pt x="936" y="134"/>
                  </a:lnTo>
                  <a:lnTo>
                    <a:pt x="938" y="122"/>
                  </a:lnTo>
                  <a:lnTo>
                    <a:pt x="938" y="110"/>
                  </a:lnTo>
                  <a:lnTo>
                    <a:pt x="935" y="98"/>
                  </a:lnTo>
                  <a:lnTo>
                    <a:pt x="931" y="89"/>
                  </a:lnTo>
                  <a:lnTo>
                    <a:pt x="925" y="81"/>
                  </a:lnTo>
                  <a:lnTo>
                    <a:pt x="917" y="74"/>
                  </a:lnTo>
                  <a:lnTo>
                    <a:pt x="906" y="67"/>
                  </a:lnTo>
                  <a:lnTo>
                    <a:pt x="894" y="62"/>
                  </a:lnTo>
                  <a:lnTo>
                    <a:pt x="878" y="58"/>
                  </a:lnTo>
                  <a:lnTo>
                    <a:pt x="861" y="54"/>
                  </a:lnTo>
                  <a:lnTo>
                    <a:pt x="840" y="52"/>
                  </a:lnTo>
                  <a:lnTo>
                    <a:pt x="817" y="50"/>
                  </a:lnTo>
                  <a:lnTo>
                    <a:pt x="792" y="50"/>
                  </a:lnTo>
                  <a:lnTo>
                    <a:pt x="792" y="0"/>
                  </a:lnTo>
                  <a:lnTo>
                    <a:pt x="1210" y="0"/>
                  </a:lnTo>
                  <a:lnTo>
                    <a:pt x="1210" y="50"/>
                  </a:lnTo>
                  <a:lnTo>
                    <a:pt x="1210" y="50"/>
                  </a:lnTo>
                  <a:lnTo>
                    <a:pt x="1188" y="50"/>
                  </a:lnTo>
                  <a:lnTo>
                    <a:pt x="1169" y="51"/>
                  </a:lnTo>
                  <a:lnTo>
                    <a:pt x="1150" y="53"/>
                  </a:lnTo>
                  <a:lnTo>
                    <a:pt x="1134" y="57"/>
                  </a:lnTo>
                  <a:lnTo>
                    <a:pt x="1119" y="61"/>
                  </a:lnTo>
                  <a:lnTo>
                    <a:pt x="1104" y="66"/>
                  </a:lnTo>
                  <a:lnTo>
                    <a:pt x="1091" y="73"/>
                  </a:lnTo>
                  <a:lnTo>
                    <a:pt x="1079" y="80"/>
                  </a:lnTo>
                  <a:lnTo>
                    <a:pt x="1067" y="89"/>
                  </a:lnTo>
                  <a:lnTo>
                    <a:pt x="1056" y="100"/>
                  </a:lnTo>
                  <a:lnTo>
                    <a:pt x="1046" y="113"/>
                  </a:lnTo>
                  <a:lnTo>
                    <a:pt x="1036" y="127"/>
                  </a:lnTo>
                  <a:lnTo>
                    <a:pt x="1026" y="142"/>
                  </a:lnTo>
                  <a:lnTo>
                    <a:pt x="1016" y="161"/>
                  </a:lnTo>
                  <a:lnTo>
                    <a:pt x="1007" y="180"/>
                  </a:lnTo>
                  <a:lnTo>
                    <a:pt x="997" y="202"/>
                  </a:lnTo>
                  <a:lnTo>
                    <a:pt x="997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7" name="Freeform 15"/>
            <p:cNvSpPr>
              <a:spLocks noEditPoints="1"/>
            </p:cNvSpPr>
            <p:nvPr userDrawn="1"/>
          </p:nvSpPr>
          <p:spPr bwMode="auto">
            <a:xfrm>
              <a:off x="3135313" y="890588"/>
              <a:ext cx="152400" cy="144463"/>
            </a:xfrm>
            <a:custGeom>
              <a:avLst/>
              <a:gdLst>
                <a:gd name="T0" fmla="*/ 489 w 1151"/>
                <a:gd name="T1" fmla="*/ 1087 h 1094"/>
                <a:gd name="T2" fmla="*/ 353 w 1151"/>
                <a:gd name="T3" fmla="*/ 1051 h 1094"/>
                <a:gd name="T4" fmla="*/ 232 w 1151"/>
                <a:gd name="T5" fmla="*/ 984 h 1094"/>
                <a:gd name="T6" fmla="*/ 132 w 1151"/>
                <a:gd name="T7" fmla="*/ 894 h 1094"/>
                <a:gd name="T8" fmla="*/ 57 w 1151"/>
                <a:gd name="T9" fmla="*/ 783 h 1094"/>
                <a:gd name="T10" fmla="*/ 12 w 1151"/>
                <a:gd name="T11" fmla="*/ 656 h 1094"/>
                <a:gd name="T12" fmla="*/ 0 w 1151"/>
                <a:gd name="T13" fmla="*/ 547 h 1094"/>
                <a:gd name="T14" fmla="*/ 18 w 1151"/>
                <a:gd name="T15" fmla="*/ 411 h 1094"/>
                <a:gd name="T16" fmla="*/ 70 w 1151"/>
                <a:gd name="T17" fmla="*/ 287 h 1094"/>
                <a:gd name="T18" fmla="*/ 150 w 1151"/>
                <a:gd name="T19" fmla="*/ 180 h 1094"/>
                <a:gd name="T20" fmla="*/ 254 w 1151"/>
                <a:gd name="T21" fmla="*/ 94 h 1094"/>
                <a:gd name="T22" fmla="*/ 379 w 1151"/>
                <a:gd name="T23" fmla="*/ 33 h 1094"/>
                <a:gd name="T24" fmla="*/ 517 w 1151"/>
                <a:gd name="T25" fmla="*/ 3 h 1094"/>
                <a:gd name="T26" fmla="*/ 635 w 1151"/>
                <a:gd name="T27" fmla="*/ 3 h 1094"/>
                <a:gd name="T28" fmla="*/ 774 w 1151"/>
                <a:gd name="T29" fmla="*/ 33 h 1094"/>
                <a:gd name="T30" fmla="*/ 897 w 1151"/>
                <a:gd name="T31" fmla="*/ 94 h 1094"/>
                <a:gd name="T32" fmla="*/ 1001 w 1151"/>
                <a:gd name="T33" fmla="*/ 180 h 1094"/>
                <a:gd name="T34" fmla="*/ 1082 w 1151"/>
                <a:gd name="T35" fmla="*/ 287 h 1094"/>
                <a:gd name="T36" fmla="*/ 1133 w 1151"/>
                <a:gd name="T37" fmla="*/ 411 h 1094"/>
                <a:gd name="T38" fmla="*/ 1151 w 1151"/>
                <a:gd name="T39" fmla="*/ 547 h 1094"/>
                <a:gd name="T40" fmla="*/ 1139 w 1151"/>
                <a:gd name="T41" fmla="*/ 656 h 1094"/>
                <a:gd name="T42" fmla="*/ 1094 w 1151"/>
                <a:gd name="T43" fmla="*/ 783 h 1094"/>
                <a:gd name="T44" fmla="*/ 1019 w 1151"/>
                <a:gd name="T45" fmla="*/ 894 h 1094"/>
                <a:gd name="T46" fmla="*/ 919 w 1151"/>
                <a:gd name="T47" fmla="*/ 984 h 1094"/>
                <a:gd name="T48" fmla="*/ 799 w 1151"/>
                <a:gd name="T49" fmla="*/ 1051 h 1094"/>
                <a:gd name="T50" fmla="*/ 663 w 1151"/>
                <a:gd name="T51" fmla="*/ 1087 h 1094"/>
                <a:gd name="T52" fmla="*/ 577 w 1151"/>
                <a:gd name="T53" fmla="*/ 82 h 1094"/>
                <a:gd name="T54" fmla="*/ 492 w 1151"/>
                <a:gd name="T55" fmla="*/ 94 h 1094"/>
                <a:gd name="T56" fmla="*/ 404 w 1151"/>
                <a:gd name="T57" fmla="*/ 137 h 1094"/>
                <a:gd name="T58" fmla="*/ 335 w 1151"/>
                <a:gd name="T59" fmla="*/ 204 h 1094"/>
                <a:gd name="T60" fmla="*/ 285 w 1151"/>
                <a:gd name="T61" fmla="*/ 290 h 1094"/>
                <a:gd name="T62" fmla="*/ 252 w 1151"/>
                <a:gd name="T63" fmla="*/ 386 h 1094"/>
                <a:gd name="T64" fmla="*/ 234 w 1151"/>
                <a:gd name="T65" fmla="*/ 507 h 1094"/>
                <a:gd name="T66" fmla="*/ 240 w 1151"/>
                <a:gd name="T67" fmla="*/ 647 h 1094"/>
                <a:gd name="T68" fmla="*/ 264 w 1151"/>
                <a:gd name="T69" fmla="*/ 747 h 1094"/>
                <a:gd name="T70" fmla="*/ 303 w 1151"/>
                <a:gd name="T71" fmla="*/ 840 h 1094"/>
                <a:gd name="T72" fmla="*/ 360 w 1151"/>
                <a:gd name="T73" fmla="*/ 919 h 1094"/>
                <a:gd name="T74" fmla="*/ 436 w 1151"/>
                <a:gd name="T75" fmla="*/ 977 h 1094"/>
                <a:gd name="T76" fmla="*/ 533 w 1151"/>
                <a:gd name="T77" fmla="*/ 1008 h 1094"/>
                <a:gd name="T78" fmla="*/ 621 w 1151"/>
                <a:gd name="T79" fmla="*/ 1008 h 1094"/>
                <a:gd name="T80" fmla="*/ 716 w 1151"/>
                <a:gd name="T81" fmla="*/ 977 h 1094"/>
                <a:gd name="T82" fmla="*/ 792 w 1151"/>
                <a:gd name="T83" fmla="*/ 919 h 1094"/>
                <a:gd name="T84" fmla="*/ 850 w 1151"/>
                <a:gd name="T85" fmla="*/ 840 h 1094"/>
                <a:gd name="T86" fmla="*/ 889 w 1151"/>
                <a:gd name="T87" fmla="*/ 747 h 1094"/>
                <a:gd name="T88" fmla="*/ 912 w 1151"/>
                <a:gd name="T89" fmla="*/ 647 h 1094"/>
                <a:gd name="T90" fmla="*/ 919 w 1151"/>
                <a:gd name="T91" fmla="*/ 507 h 1094"/>
                <a:gd name="T92" fmla="*/ 901 w 1151"/>
                <a:gd name="T93" fmla="*/ 386 h 1094"/>
                <a:gd name="T94" fmla="*/ 867 w 1151"/>
                <a:gd name="T95" fmla="*/ 290 h 1094"/>
                <a:gd name="T96" fmla="*/ 817 w 1151"/>
                <a:gd name="T97" fmla="*/ 204 h 1094"/>
                <a:gd name="T98" fmla="*/ 748 w 1151"/>
                <a:gd name="T99" fmla="*/ 137 h 1094"/>
                <a:gd name="T100" fmla="*/ 661 w 1151"/>
                <a:gd name="T101" fmla="*/ 94 h 1094"/>
                <a:gd name="T102" fmla="*/ 577 w 1151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1" h="1094">
                  <a:moveTo>
                    <a:pt x="577" y="1094"/>
                  </a:moveTo>
                  <a:lnTo>
                    <a:pt x="577" y="1094"/>
                  </a:lnTo>
                  <a:lnTo>
                    <a:pt x="547" y="1093"/>
                  </a:lnTo>
                  <a:lnTo>
                    <a:pt x="517" y="1091"/>
                  </a:lnTo>
                  <a:lnTo>
                    <a:pt x="489" y="1087"/>
                  </a:lnTo>
                  <a:lnTo>
                    <a:pt x="461" y="1082"/>
                  </a:lnTo>
                  <a:lnTo>
                    <a:pt x="432" y="1076"/>
                  </a:lnTo>
                  <a:lnTo>
                    <a:pt x="406" y="1069"/>
                  </a:lnTo>
                  <a:lnTo>
                    <a:pt x="379" y="1060"/>
                  </a:lnTo>
                  <a:lnTo>
                    <a:pt x="353" y="1051"/>
                  </a:lnTo>
                  <a:lnTo>
                    <a:pt x="327" y="1039"/>
                  </a:lnTo>
                  <a:lnTo>
                    <a:pt x="303" y="1027"/>
                  </a:lnTo>
                  <a:lnTo>
                    <a:pt x="278" y="1014"/>
                  </a:lnTo>
                  <a:lnTo>
                    <a:pt x="254" y="1000"/>
                  </a:lnTo>
                  <a:lnTo>
                    <a:pt x="232" y="984"/>
                  </a:lnTo>
                  <a:lnTo>
                    <a:pt x="210" y="968"/>
                  </a:lnTo>
                  <a:lnTo>
                    <a:pt x="189" y="950"/>
                  </a:lnTo>
                  <a:lnTo>
                    <a:pt x="170" y="933"/>
                  </a:lnTo>
                  <a:lnTo>
                    <a:pt x="150" y="914"/>
                  </a:lnTo>
                  <a:lnTo>
                    <a:pt x="132" y="894"/>
                  </a:lnTo>
                  <a:lnTo>
                    <a:pt x="115" y="873"/>
                  </a:lnTo>
                  <a:lnTo>
                    <a:pt x="99" y="851"/>
                  </a:lnTo>
                  <a:lnTo>
                    <a:pt x="84" y="830"/>
                  </a:lnTo>
                  <a:lnTo>
                    <a:pt x="70" y="806"/>
                  </a:lnTo>
                  <a:lnTo>
                    <a:pt x="57" y="783"/>
                  </a:lnTo>
                  <a:lnTo>
                    <a:pt x="46" y="758"/>
                  </a:lnTo>
                  <a:lnTo>
                    <a:pt x="36" y="734"/>
                  </a:lnTo>
                  <a:lnTo>
                    <a:pt x="26" y="708"/>
                  </a:lnTo>
                  <a:lnTo>
                    <a:pt x="18" y="683"/>
                  </a:lnTo>
                  <a:lnTo>
                    <a:pt x="12" y="656"/>
                  </a:lnTo>
                  <a:lnTo>
                    <a:pt x="7" y="629"/>
                  </a:lnTo>
                  <a:lnTo>
                    <a:pt x="3" y="602"/>
                  </a:lnTo>
                  <a:lnTo>
                    <a:pt x="1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1" y="519"/>
                  </a:lnTo>
                  <a:lnTo>
                    <a:pt x="3" y="491"/>
                  </a:lnTo>
                  <a:lnTo>
                    <a:pt x="7" y="464"/>
                  </a:lnTo>
                  <a:lnTo>
                    <a:pt x="12" y="437"/>
                  </a:lnTo>
                  <a:lnTo>
                    <a:pt x="18" y="411"/>
                  </a:lnTo>
                  <a:lnTo>
                    <a:pt x="26" y="385"/>
                  </a:lnTo>
                  <a:lnTo>
                    <a:pt x="36" y="360"/>
                  </a:lnTo>
                  <a:lnTo>
                    <a:pt x="46" y="335"/>
                  </a:lnTo>
                  <a:lnTo>
                    <a:pt x="57" y="310"/>
                  </a:lnTo>
                  <a:lnTo>
                    <a:pt x="70" y="287"/>
                  </a:lnTo>
                  <a:lnTo>
                    <a:pt x="84" y="264"/>
                  </a:lnTo>
                  <a:lnTo>
                    <a:pt x="99" y="242"/>
                  </a:lnTo>
                  <a:lnTo>
                    <a:pt x="115" y="220"/>
                  </a:lnTo>
                  <a:lnTo>
                    <a:pt x="132" y="200"/>
                  </a:lnTo>
                  <a:lnTo>
                    <a:pt x="150" y="180"/>
                  </a:lnTo>
                  <a:lnTo>
                    <a:pt x="170" y="161"/>
                  </a:lnTo>
                  <a:lnTo>
                    <a:pt x="189" y="143"/>
                  </a:lnTo>
                  <a:lnTo>
                    <a:pt x="210" y="125"/>
                  </a:lnTo>
                  <a:lnTo>
                    <a:pt x="232" y="109"/>
                  </a:lnTo>
                  <a:lnTo>
                    <a:pt x="254" y="94"/>
                  </a:lnTo>
                  <a:lnTo>
                    <a:pt x="278" y="79"/>
                  </a:lnTo>
                  <a:lnTo>
                    <a:pt x="303" y="66"/>
                  </a:lnTo>
                  <a:lnTo>
                    <a:pt x="327" y="54"/>
                  </a:lnTo>
                  <a:lnTo>
                    <a:pt x="353" y="44"/>
                  </a:lnTo>
                  <a:lnTo>
                    <a:pt x="379" y="33"/>
                  </a:lnTo>
                  <a:lnTo>
                    <a:pt x="406" y="24"/>
                  </a:lnTo>
                  <a:lnTo>
                    <a:pt x="432" y="17"/>
                  </a:lnTo>
                  <a:lnTo>
                    <a:pt x="461" y="11"/>
                  </a:lnTo>
                  <a:lnTo>
                    <a:pt x="489" y="6"/>
                  </a:lnTo>
                  <a:lnTo>
                    <a:pt x="517" y="3"/>
                  </a:lnTo>
                  <a:lnTo>
                    <a:pt x="547" y="1"/>
                  </a:lnTo>
                  <a:lnTo>
                    <a:pt x="577" y="0"/>
                  </a:lnTo>
                  <a:lnTo>
                    <a:pt x="577" y="0"/>
                  </a:lnTo>
                  <a:lnTo>
                    <a:pt x="606" y="1"/>
                  </a:lnTo>
                  <a:lnTo>
                    <a:pt x="635" y="3"/>
                  </a:lnTo>
                  <a:lnTo>
                    <a:pt x="663" y="6"/>
                  </a:lnTo>
                  <a:lnTo>
                    <a:pt x="692" y="11"/>
                  </a:lnTo>
                  <a:lnTo>
                    <a:pt x="720" y="17"/>
                  </a:lnTo>
                  <a:lnTo>
                    <a:pt x="746" y="24"/>
                  </a:lnTo>
                  <a:lnTo>
                    <a:pt x="774" y="33"/>
                  </a:lnTo>
                  <a:lnTo>
                    <a:pt x="799" y="44"/>
                  </a:lnTo>
                  <a:lnTo>
                    <a:pt x="825" y="54"/>
                  </a:lnTo>
                  <a:lnTo>
                    <a:pt x="850" y="66"/>
                  </a:lnTo>
                  <a:lnTo>
                    <a:pt x="874" y="79"/>
                  </a:lnTo>
                  <a:lnTo>
                    <a:pt x="897" y="94"/>
                  </a:lnTo>
                  <a:lnTo>
                    <a:pt x="919" y="109"/>
                  </a:lnTo>
                  <a:lnTo>
                    <a:pt x="942" y="125"/>
                  </a:lnTo>
                  <a:lnTo>
                    <a:pt x="962" y="143"/>
                  </a:lnTo>
                  <a:lnTo>
                    <a:pt x="982" y="161"/>
                  </a:lnTo>
                  <a:lnTo>
                    <a:pt x="1001" y="180"/>
                  </a:lnTo>
                  <a:lnTo>
                    <a:pt x="1019" y="200"/>
                  </a:lnTo>
                  <a:lnTo>
                    <a:pt x="1037" y="220"/>
                  </a:lnTo>
                  <a:lnTo>
                    <a:pt x="1052" y="242"/>
                  </a:lnTo>
                  <a:lnTo>
                    <a:pt x="1067" y="264"/>
                  </a:lnTo>
                  <a:lnTo>
                    <a:pt x="1082" y="287"/>
                  </a:lnTo>
                  <a:lnTo>
                    <a:pt x="1094" y="310"/>
                  </a:lnTo>
                  <a:lnTo>
                    <a:pt x="1105" y="335"/>
                  </a:lnTo>
                  <a:lnTo>
                    <a:pt x="1116" y="360"/>
                  </a:lnTo>
                  <a:lnTo>
                    <a:pt x="1125" y="385"/>
                  </a:lnTo>
                  <a:lnTo>
                    <a:pt x="1133" y="411"/>
                  </a:lnTo>
                  <a:lnTo>
                    <a:pt x="1139" y="437"/>
                  </a:lnTo>
                  <a:lnTo>
                    <a:pt x="1144" y="464"/>
                  </a:lnTo>
                  <a:lnTo>
                    <a:pt x="1148" y="491"/>
                  </a:lnTo>
                  <a:lnTo>
                    <a:pt x="1150" y="519"/>
                  </a:lnTo>
                  <a:lnTo>
                    <a:pt x="1151" y="547"/>
                  </a:lnTo>
                  <a:lnTo>
                    <a:pt x="1151" y="547"/>
                  </a:lnTo>
                  <a:lnTo>
                    <a:pt x="1150" y="574"/>
                  </a:lnTo>
                  <a:lnTo>
                    <a:pt x="1148" y="602"/>
                  </a:lnTo>
                  <a:lnTo>
                    <a:pt x="1144" y="629"/>
                  </a:lnTo>
                  <a:lnTo>
                    <a:pt x="1139" y="656"/>
                  </a:lnTo>
                  <a:lnTo>
                    <a:pt x="1133" y="683"/>
                  </a:lnTo>
                  <a:lnTo>
                    <a:pt x="1125" y="708"/>
                  </a:lnTo>
                  <a:lnTo>
                    <a:pt x="1116" y="734"/>
                  </a:lnTo>
                  <a:lnTo>
                    <a:pt x="1105" y="758"/>
                  </a:lnTo>
                  <a:lnTo>
                    <a:pt x="1094" y="783"/>
                  </a:lnTo>
                  <a:lnTo>
                    <a:pt x="1082" y="806"/>
                  </a:lnTo>
                  <a:lnTo>
                    <a:pt x="1067" y="830"/>
                  </a:lnTo>
                  <a:lnTo>
                    <a:pt x="1052" y="851"/>
                  </a:lnTo>
                  <a:lnTo>
                    <a:pt x="1037" y="873"/>
                  </a:lnTo>
                  <a:lnTo>
                    <a:pt x="1019" y="894"/>
                  </a:lnTo>
                  <a:lnTo>
                    <a:pt x="1001" y="914"/>
                  </a:lnTo>
                  <a:lnTo>
                    <a:pt x="982" y="933"/>
                  </a:lnTo>
                  <a:lnTo>
                    <a:pt x="962" y="950"/>
                  </a:lnTo>
                  <a:lnTo>
                    <a:pt x="942" y="968"/>
                  </a:lnTo>
                  <a:lnTo>
                    <a:pt x="919" y="984"/>
                  </a:lnTo>
                  <a:lnTo>
                    <a:pt x="897" y="1000"/>
                  </a:lnTo>
                  <a:lnTo>
                    <a:pt x="874" y="1014"/>
                  </a:lnTo>
                  <a:lnTo>
                    <a:pt x="850" y="1027"/>
                  </a:lnTo>
                  <a:lnTo>
                    <a:pt x="825" y="1039"/>
                  </a:lnTo>
                  <a:lnTo>
                    <a:pt x="799" y="1051"/>
                  </a:lnTo>
                  <a:lnTo>
                    <a:pt x="774" y="1060"/>
                  </a:lnTo>
                  <a:lnTo>
                    <a:pt x="746" y="1069"/>
                  </a:lnTo>
                  <a:lnTo>
                    <a:pt x="720" y="1076"/>
                  </a:lnTo>
                  <a:lnTo>
                    <a:pt x="692" y="1082"/>
                  </a:lnTo>
                  <a:lnTo>
                    <a:pt x="663" y="1087"/>
                  </a:lnTo>
                  <a:lnTo>
                    <a:pt x="635" y="1091"/>
                  </a:lnTo>
                  <a:lnTo>
                    <a:pt x="606" y="1093"/>
                  </a:lnTo>
                  <a:lnTo>
                    <a:pt x="577" y="1094"/>
                  </a:lnTo>
                  <a:lnTo>
                    <a:pt x="577" y="1094"/>
                  </a:lnTo>
                  <a:close/>
                  <a:moveTo>
                    <a:pt x="577" y="82"/>
                  </a:moveTo>
                  <a:lnTo>
                    <a:pt x="577" y="82"/>
                  </a:lnTo>
                  <a:lnTo>
                    <a:pt x="554" y="83"/>
                  </a:lnTo>
                  <a:lnTo>
                    <a:pt x="533" y="86"/>
                  </a:lnTo>
                  <a:lnTo>
                    <a:pt x="511" y="90"/>
                  </a:lnTo>
                  <a:lnTo>
                    <a:pt x="492" y="94"/>
                  </a:lnTo>
                  <a:lnTo>
                    <a:pt x="472" y="100"/>
                  </a:lnTo>
                  <a:lnTo>
                    <a:pt x="454" y="108"/>
                  </a:lnTo>
                  <a:lnTo>
                    <a:pt x="436" y="116"/>
                  </a:lnTo>
                  <a:lnTo>
                    <a:pt x="419" y="125"/>
                  </a:lnTo>
                  <a:lnTo>
                    <a:pt x="404" y="137"/>
                  </a:lnTo>
                  <a:lnTo>
                    <a:pt x="388" y="148"/>
                  </a:lnTo>
                  <a:lnTo>
                    <a:pt x="374" y="161"/>
                  </a:lnTo>
                  <a:lnTo>
                    <a:pt x="360" y="174"/>
                  </a:lnTo>
                  <a:lnTo>
                    <a:pt x="347" y="189"/>
                  </a:lnTo>
                  <a:lnTo>
                    <a:pt x="335" y="204"/>
                  </a:lnTo>
                  <a:lnTo>
                    <a:pt x="324" y="219"/>
                  </a:lnTo>
                  <a:lnTo>
                    <a:pt x="313" y="237"/>
                  </a:lnTo>
                  <a:lnTo>
                    <a:pt x="303" y="253"/>
                  </a:lnTo>
                  <a:lnTo>
                    <a:pt x="293" y="272"/>
                  </a:lnTo>
                  <a:lnTo>
                    <a:pt x="285" y="290"/>
                  </a:lnTo>
                  <a:lnTo>
                    <a:pt x="277" y="308"/>
                  </a:lnTo>
                  <a:lnTo>
                    <a:pt x="270" y="327"/>
                  </a:lnTo>
                  <a:lnTo>
                    <a:pt x="264" y="346"/>
                  </a:lnTo>
                  <a:lnTo>
                    <a:pt x="258" y="367"/>
                  </a:lnTo>
                  <a:lnTo>
                    <a:pt x="252" y="386"/>
                  </a:lnTo>
                  <a:lnTo>
                    <a:pt x="248" y="407"/>
                  </a:lnTo>
                  <a:lnTo>
                    <a:pt x="244" y="426"/>
                  </a:lnTo>
                  <a:lnTo>
                    <a:pt x="240" y="446"/>
                  </a:lnTo>
                  <a:lnTo>
                    <a:pt x="238" y="467"/>
                  </a:lnTo>
                  <a:lnTo>
                    <a:pt x="234" y="507"/>
                  </a:lnTo>
                  <a:lnTo>
                    <a:pt x="233" y="547"/>
                  </a:lnTo>
                  <a:lnTo>
                    <a:pt x="233" y="547"/>
                  </a:lnTo>
                  <a:lnTo>
                    <a:pt x="234" y="587"/>
                  </a:lnTo>
                  <a:lnTo>
                    <a:pt x="238" y="626"/>
                  </a:lnTo>
                  <a:lnTo>
                    <a:pt x="240" y="647"/>
                  </a:lnTo>
                  <a:lnTo>
                    <a:pt x="244" y="667"/>
                  </a:lnTo>
                  <a:lnTo>
                    <a:pt x="248" y="687"/>
                  </a:lnTo>
                  <a:lnTo>
                    <a:pt x="252" y="707"/>
                  </a:lnTo>
                  <a:lnTo>
                    <a:pt x="258" y="728"/>
                  </a:lnTo>
                  <a:lnTo>
                    <a:pt x="264" y="747"/>
                  </a:lnTo>
                  <a:lnTo>
                    <a:pt x="270" y="766"/>
                  </a:lnTo>
                  <a:lnTo>
                    <a:pt x="277" y="785"/>
                  </a:lnTo>
                  <a:lnTo>
                    <a:pt x="285" y="804"/>
                  </a:lnTo>
                  <a:lnTo>
                    <a:pt x="293" y="822"/>
                  </a:lnTo>
                  <a:lnTo>
                    <a:pt x="303" y="840"/>
                  </a:lnTo>
                  <a:lnTo>
                    <a:pt x="313" y="857"/>
                  </a:lnTo>
                  <a:lnTo>
                    <a:pt x="324" y="874"/>
                  </a:lnTo>
                  <a:lnTo>
                    <a:pt x="335" y="889"/>
                  </a:lnTo>
                  <a:lnTo>
                    <a:pt x="347" y="904"/>
                  </a:lnTo>
                  <a:lnTo>
                    <a:pt x="360" y="919"/>
                  </a:lnTo>
                  <a:lnTo>
                    <a:pt x="374" y="932"/>
                  </a:lnTo>
                  <a:lnTo>
                    <a:pt x="388" y="945"/>
                  </a:lnTo>
                  <a:lnTo>
                    <a:pt x="404" y="957"/>
                  </a:lnTo>
                  <a:lnTo>
                    <a:pt x="419" y="968"/>
                  </a:lnTo>
                  <a:lnTo>
                    <a:pt x="436" y="977"/>
                  </a:lnTo>
                  <a:lnTo>
                    <a:pt x="454" y="986"/>
                  </a:lnTo>
                  <a:lnTo>
                    <a:pt x="472" y="993"/>
                  </a:lnTo>
                  <a:lnTo>
                    <a:pt x="492" y="1000"/>
                  </a:lnTo>
                  <a:lnTo>
                    <a:pt x="511" y="1005"/>
                  </a:lnTo>
                  <a:lnTo>
                    <a:pt x="533" y="1008"/>
                  </a:lnTo>
                  <a:lnTo>
                    <a:pt x="554" y="1010"/>
                  </a:lnTo>
                  <a:lnTo>
                    <a:pt x="577" y="1011"/>
                  </a:lnTo>
                  <a:lnTo>
                    <a:pt x="577" y="1011"/>
                  </a:lnTo>
                  <a:lnTo>
                    <a:pt x="599" y="1010"/>
                  </a:lnTo>
                  <a:lnTo>
                    <a:pt x="621" y="1008"/>
                  </a:lnTo>
                  <a:lnTo>
                    <a:pt x="641" y="1005"/>
                  </a:lnTo>
                  <a:lnTo>
                    <a:pt x="661" y="1000"/>
                  </a:lnTo>
                  <a:lnTo>
                    <a:pt x="680" y="993"/>
                  </a:lnTo>
                  <a:lnTo>
                    <a:pt x="698" y="986"/>
                  </a:lnTo>
                  <a:lnTo>
                    <a:pt x="716" y="977"/>
                  </a:lnTo>
                  <a:lnTo>
                    <a:pt x="733" y="968"/>
                  </a:lnTo>
                  <a:lnTo>
                    <a:pt x="748" y="957"/>
                  </a:lnTo>
                  <a:lnTo>
                    <a:pt x="764" y="945"/>
                  </a:lnTo>
                  <a:lnTo>
                    <a:pt x="778" y="932"/>
                  </a:lnTo>
                  <a:lnTo>
                    <a:pt x="792" y="919"/>
                  </a:lnTo>
                  <a:lnTo>
                    <a:pt x="805" y="904"/>
                  </a:lnTo>
                  <a:lnTo>
                    <a:pt x="817" y="889"/>
                  </a:lnTo>
                  <a:lnTo>
                    <a:pt x="829" y="874"/>
                  </a:lnTo>
                  <a:lnTo>
                    <a:pt x="839" y="857"/>
                  </a:lnTo>
                  <a:lnTo>
                    <a:pt x="850" y="840"/>
                  </a:lnTo>
                  <a:lnTo>
                    <a:pt x="859" y="822"/>
                  </a:lnTo>
                  <a:lnTo>
                    <a:pt x="867" y="804"/>
                  </a:lnTo>
                  <a:lnTo>
                    <a:pt x="875" y="785"/>
                  </a:lnTo>
                  <a:lnTo>
                    <a:pt x="882" y="766"/>
                  </a:lnTo>
                  <a:lnTo>
                    <a:pt x="889" y="747"/>
                  </a:lnTo>
                  <a:lnTo>
                    <a:pt x="896" y="728"/>
                  </a:lnTo>
                  <a:lnTo>
                    <a:pt x="901" y="707"/>
                  </a:lnTo>
                  <a:lnTo>
                    <a:pt x="905" y="687"/>
                  </a:lnTo>
                  <a:lnTo>
                    <a:pt x="909" y="667"/>
                  </a:lnTo>
                  <a:lnTo>
                    <a:pt x="912" y="647"/>
                  </a:lnTo>
                  <a:lnTo>
                    <a:pt x="915" y="626"/>
                  </a:lnTo>
                  <a:lnTo>
                    <a:pt x="919" y="587"/>
                  </a:lnTo>
                  <a:lnTo>
                    <a:pt x="920" y="547"/>
                  </a:lnTo>
                  <a:lnTo>
                    <a:pt x="920" y="547"/>
                  </a:lnTo>
                  <a:lnTo>
                    <a:pt x="919" y="507"/>
                  </a:lnTo>
                  <a:lnTo>
                    <a:pt x="915" y="467"/>
                  </a:lnTo>
                  <a:lnTo>
                    <a:pt x="912" y="446"/>
                  </a:lnTo>
                  <a:lnTo>
                    <a:pt x="909" y="426"/>
                  </a:lnTo>
                  <a:lnTo>
                    <a:pt x="905" y="407"/>
                  </a:lnTo>
                  <a:lnTo>
                    <a:pt x="901" y="386"/>
                  </a:lnTo>
                  <a:lnTo>
                    <a:pt x="896" y="367"/>
                  </a:lnTo>
                  <a:lnTo>
                    <a:pt x="889" y="346"/>
                  </a:lnTo>
                  <a:lnTo>
                    <a:pt x="882" y="327"/>
                  </a:lnTo>
                  <a:lnTo>
                    <a:pt x="875" y="308"/>
                  </a:lnTo>
                  <a:lnTo>
                    <a:pt x="867" y="290"/>
                  </a:lnTo>
                  <a:lnTo>
                    <a:pt x="859" y="272"/>
                  </a:lnTo>
                  <a:lnTo>
                    <a:pt x="850" y="253"/>
                  </a:lnTo>
                  <a:lnTo>
                    <a:pt x="839" y="237"/>
                  </a:lnTo>
                  <a:lnTo>
                    <a:pt x="829" y="219"/>
                  </a:lnTo>
                  <a:lnTo>
                    <a:pt x="817" y="204"/>
                  </a:lnTo>
                  <a:lnTo>
                    <a:pt x="805" y="189"/>
                  </a:lnTo>
                  <a:lnTo>
                    <a:pt x="792" y="174"/>
                  </a:lnTo>
                  <a:lnTo>
                    <a:pt x="778" y="161"/>
                  </a:lnTo>
                  <a:lnTo>
                    <a:pt x="764" y="148"/>
                  </a:lnTo>
                  <a:lnTo>
                    <a:pt x="748" y="137"/>
                  </a:lnTo>
                  <a:lnTo>
                    <a:pt x="733" y="125"/>
                  </a:lnTo>
                  <a:lnTo>
                    <a:pt x="716" y="116"/>
                  </a:lnTo>
                  <a:lnTo>
                    <a:pt x="698" y="108"/>
                  </a:lnTo>
                  <a:lnTo>
                    <a:pt x="680" y="100"/>
                  </a:lnTo>
                  <a:lnTo>
                    <a:pt x="661" y="94"/>
                  </a:lnTo>
                  <a:lnTo>
                    <a:pt x="641" y="90"/>
                  </a:lnTo>
                  <a:lnTo>
                    <a:pt x="621" y="86"/>
                  </a:lnTo>
                  <a:lnTo>
                    <a:pt x="599" y="83"/>
                  </a:lnTo>
                  <a:lnTo>
                    <a:pt x="577" y="82"/>
                  </a:lnTo>
                  <a:lnTo>
                    <a:pt x="577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8" name="Freeform 16"/>
            <p:cNvSpPr>
              <a:spLocks/>
            </p:cNvSpPr>
            <p:nvPr userDrawn="1"/>
          </p:nvSpPr>
          <p:spPr bwMode="auto">
            <a:xfrm>
              <a:off x="3332163" y="889001"/>
              <a:ext cx="93663" cy="146050"/>
            </a:xfrm>
            <a:custGeom>
              <a:avLst/>
              <a:gdLst>
                <a:gd name="T0" fmla="*/ 52 w 712"/>
                <a:gd name="T1" fmla="*/ 723 h 1103"/>
                <a:gd name="T2" fmla="*/ 75 w 712"/>
                <a:gd name="T3" fmla="*/ 804 h 1103"/>
                <a:gd name="T4" fmla="*/ 112 w 712"/>
                <a:gd name="T5" fmla="*/ 875 h 1103"/>
                <a:gd name="T6" fmla="*/ 159 w 712"/>
                <a:gd name="T7" fmla="*/ 933 h 1103"/>
                <a:gd name="T8" fmla="*/ 215 w 712"/>
                <a:gd name="T9" fmla="*/ 978 h 1103"/>
                <a:gd name="T10" fmla="*/ 278 w 712"/>
                <a:gd name="T11" fmla="*/ 1009 h 1103"/>
                <a:gd name="T12" fmla="*/ 343 w 712"/>
                <a:gd name="T13" fmla="*/ 1024 h 1103"/>
                <a:gd name="T14" fmla="*/ 405 w 712"/>
                <a:gd name="T15" fmla="*/ 1022 h 1103"/>
                <a:gd name="T16" fmla="*/ 481 w 712"/>
                <a:gd name="T17" fmla="*/ 992 h 1103"/>
                <a:gd name="T18" fmla="*/ 529 w 712"/>
                <a:gd name="T19" fmla="*/ 929 h 1103"/>
                <a:gd name="T20" fmla="*/ 541 w 712"/>
                <a:gd name="T21" fmla="*/ 854 h 1103"/>
                <a:gd name="T22" fmla="*/ 528 w 712"/>
                <a:gd name="T23" fmla="*/ 795 h 1103"/>
                <a:gd name="T24" fmla="*/ 490 w 712"/>
                <a:gd name="T25" fmla="*/ 737 h 1103"/>
                <a:gd name="T26" fmla="*/ 429 w 712"/>
                <a:gd name="T27" fmla="*/ 688 h 1103"/>
                <a:gd name="T28" fmla="*/ 198 w 712"/>
                <a:gd name="T29" fmla="*/ 566 h 1103"/>
                <a:gd name="T30" fmla="*/ 94 w 712"/>
                <a:gd name="T31" fmla="*/ 485 h 1103"/>
                <a:gd name="T32" fmla="*/ 32 w 712"/>
                <a:gd name="T33" fmla="*/ 380 h 1103"/>
                <a:gd name="T34" fmla="*/ 16 w 712"/>
                <a:gd name="T35" fmla="*/ 267 h 1103"/>
                <a:gd name="T36" fmla="*/ 25 w 712"/>
                <a:gd name="T37" fmla="*/ 204 h 1103"/>
                <a:gd name="T38" fmla="*/ 52 w 712"/>
                <a:gd name="T39" fmla="*/ 145 h 1103"/>
                <a:gd name="T40" fmla="*/ 94 w 712"/>
                <a:gd name="T41" fmla="*/ 95 h 1103"/>
                <a:gd name="T42" fmla="*/ 148 w 712"/>
                <a:gd name="T43" fmla="*/ 54 h 1103"/>
                <a:gd name="T44" fmla="*/ 212 w 712"/>
                <a:gd name="T45" fmla="*/ 25 h 1103"/>
                <a:gd name="T46" fmla="*/ 285 w 712"/>
                <a:gd name="T47" fmla="*/ 11 h 1103"/>
                <a:gd name="T48" fmla="*/ 352 w 712"/>
                <a:gd name="T49" fmla="*/ 11 h 1103"/>
                <a:gd name="T50" fmla="*/ 427 w 712"/>
                <a:gd name="T51" fmla="*/ 25 h 1103"/>
                <a:gd name="T52" fmla="*/ 526 w 712"/>
                <a:gd name="T53" fmla="*/ 79 h 1103"/>
                <a:gd name="T54" fmla="*/ 556 w 712"/>
                <a:gd name="T55" fmla="*/ 47 h 1103"/>
                <a:gd name="T56" fmla="*/ 624 w 712"/>
                <a:gd name="T57" fmla="*/ 0 h 1103"/>
                <a:gd name="T58" fmla="*/ 568 w 712"/>
                <a:gd name="T59" fmla="*/ 328 h 1103"/>
                <a:gd name="T60" fmla="*/ 527 w 712"/>
                <a:gd name="T61" fmla="*/ 203 h 1103"/>
                <a:gd name="T62" fmla="*/ 481 w 712"/>
                <a:gd name="T63" fmla="*/ 142 h 1103"/>
                <a:gd name="T64" fmla="*/ 428 w 712"/>
                <a:gd name="T65" fmla="*/ 106 h 1103"/>
                <a:gd name="T66" fmla="*/ 358 w 712"/>
                <a:gd name="T67" fmla="*/ 86 h 1103"/>
                <a:gd name="T68" fmla="*/ 300 w 712"/>
                <a:gd name="T69" fmla="*/ 87 h 1103"/>
                <a:gd name="T70" fmla="*/ 240 w 712"/>
                <a:gd name="T71" fmla="*/ 113 h 1103"/>
                <a:gd name="T72" fmla="*/ 199 w 712"/>
                <a:gd name="T73" fmla="*/ 165 h 1103"/>
                <a:gd name="T74" fmla="*/ 187 w 712"/>
                <a:gd name="T75" fmla="*/ 222 h 1103"/>
                <a:gd name="T76" fmla="*/ 200 w 712"/>
                <a:gd name="T77" fmla="*/ 278 h 1103"/>
                <a:gd name="T78" fmla="*/ 241 w 712"/>
                <a:gd name="T79" fmla="*/ 336 h 1103"/>
                <a:gd name="T80" fmla="*/ 308 w 712"/>
                <a:gd name="T81" fmla="*/ 390 h 1103"/>
                <a:gd name="T82" fmla="*/ 535 w 712"/>
                <a:gd name="T83" fmla="*/ 510 h 1103"/>
                <a:gd name="T84" fmla="*/ 631 w 712"/>
                <a:gd name="T85" fmla="*/ 590 h 1103"/>
                <a:gd name="T86" fmla="*/ 695 w 712"/>
                <a:gd name="T87" fmla="*/ 693 h 1103"/>
                <a:gd name="T88" fmla="*/ 712 w 712"/>
                <a:gd name="T89" fmla="*/ 789 h 1103"/>
                <a:gd name="T90" fmla="*/ 701 w 712"/>
                <a:gd name="T91" fmla="*/ 872 h 1103"/>
                <a:gd name="T92" fmla="*/ 669 w 712"/>
                <a:gd name="T93" fmla="*/ 945 h 1103"/>
                <a:gd name="T94" fmla="*/ 619 w 712"/>
                <a:gd name="T95" fmla="*/ 1005 h 1103"/>
                <a:gd name="T96" fmla="*/ 556 w 712"/>
                <a:gd name="T97" fmla="*/ 1053 h 1103"/>
                <a:gd name="T98" fmla="*/ 483 w 712"/>
                <a:gd name="T99" fmla="*/ 1085 h 1103"/>
                <a:gd name="T100" fmla="*/ 402 w 712"/>
                <a:gd name="T101" fmla="*/ 1101 h 1103"/>
                <a:gd name="T102" fmla="*/ 323 w 712"/>
                <a:gd name="T103" fmla="*/ 1100 h 1103"/>
                <a:gd name="T104" fmla="*/ 223 w 712"/>
                <a:gd name="T105" fmla="*/ 1073 h 1103"/>
                <a:gd name="T106" fmla="*/ 111 w 712"/>
                <a:gd name="T107" fmla="*/ 1024 h 1103"/>
                <a:gd name="T108" fmla="*/ 77 w 712"/>
                <a:gd name="T109" fmla="*/ 1044 h 1103"/>
                <a:gd name="T110" fmla="*/ 51 w 712"/>
                <a:gd name="T111" fmla="*/ 1103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2" h="1103">
                  <a:moveTo>
                    <a:pt x="51" y="1103"/>
                  </a:moveTo>
                  <a:lnTo>
                    <a:pt x="0" y="1103"/>
                  </a:lnTo>
                  <a:lnTo>
                    <a:pt x="0" y="723"/>
                  </a:lnTo>
                  <a:lnTo>
                    <a:pt x="52" y="723"/>
                  </a:lnTo>
                  <a:lnTo>
                    <a:pt x="52" y="723"/>
                  </a:lnTo>
                  <a:lnTo>
                    <a:pt x="56" y="740"/>
                  </a:lnTo>
                  <a:lnTo>
                    <a:pt x="60" y="757"/>
                  </a:lnTo>
                  <a:lnTo>
                    <a:pt x="64" y="773"/>
                  </a:lnTo>
                  <a:lnTo>
                    <a:pt x="69" y="789"/>
                  </a:lnTo>
                  <a:lnTo>
                    <a:pt x="75" y="804"/>
                  </a:lnTo>
                  <a:lnTo>
                    <a:pt x="81" y="819"/>
                  </a:lnTo>
                  <a:lnTo>
                    <a:pt x="88" y="834"/>
                  </a:lnTo>
                  <a:lnTo>
                    <a:pt x="96" y="848"/>
                  </a:lnTo>
                  <a:lnTo>
                    <a:pt x="104" y="861"/>
                  </a:lnTo>
                  <a:lnTo>
                    <a:pt x="112" y="875"/>
                  </a:lnTo>
                  <a:lnTo>
                    <a:pt x="120" y="888"/>
                  </a:lnTo>
                  <a:lnTo>
                    <a:pt x="129" y="899"/>
                  </a:lnTo>
                  <a:lnTo>
                    <a:pt x="139" y="911"/>
                  </a:lnTo>
                  <a:lnTo>
                    <a:pt x="149" y="923"/>
                  </a:lnTo>
                  <a:lnTo>
                    <a:pt x="159" y="933"/>
                  </a:lnTo>
                  <a:lnTo>
                    <a:pt x="170" y="943"/>
                  </a:lnTo>
                  <a:lnTo>
                    <a:pt x="180" y="952"/>
                  </a:lnTo>
                  <a:lnTo>
                    <a:pt x="192" y="962"/>
                  </a:lnTo>
                  <a:lnTo>
                    <a:pt x="204" y="970"/>
                  </a:lnTo>
                  <a:lnTo>
                    <a:pt x="215" y="978"/>
                  </a:lnTo>
                  <a:lnTo>
                    <a:pt x="227" y="985"/>
                  </a:lnTo>
                  <a:lnTo>
                    <a:pt x="240" y="992"/>
                  </a:lnTo>
                  <a:lnTo>
                    <a:pt x="252" y="998"/>
                  </a:lnTo>
                  <a:lnTo>
                    <a:pt x="264" y="1003"/>
                  </a:lnTo>
                  <a:lnTo>
                    <a:pt x="278" y="1009"/>
                  </a:lnTo>
                  <a:lnTo>
                    <a:pt x="290" y="1013"/>
                  </a:lnTo>
                  <a:lnTo>
                    <a:pt x="303" y="1017"/>
                  </a:lnTo>
                  <a:lnTo>
                    <a:pt x="316" y="1020"/>
                  </a:lnTo>
                  <a:lnTo>
                    <a:pt x="330" y="1022"/>
                  </a:lnTo>
                  <a:lnTo>
                    <a:pt x="343" y="1024"/>
                  </a:lnTo>
                  <a:lnTo>
                    <a:pt x="356" y="1025"/>
                  </a:lnTo>
                  <a:lnTo>
                    <a:pt x="370" y="1025"/>
                  </a:lnTo>
                  <a:lnTo>
                    <a:pt x="370" y="1025"/>
                  </a:lnTo>
                  <a:lnTo>
                    <a:pt x="388" y="1024"/>
                  </a:lnTo>
                  <a:lnTo>
                    <a:pt x="405" y="1022"/>
                  </a:lnTo>
                  <a:lnTo>
                    <a:pt x="423" y="1019"/>
                  </a:lnTo>
                  <a:lnTo>
                    <a:pt x="438" y="1015"/>
                  </a:lnTo>
                  <a:lnTo>
                    <a:pt x="453" y="1009"/>
                  </a:lnTo>
                  <a:lnTo>
                    <a:pt x="468" y="1000"/>
                  </a:lnTo>
                  <a:lnTo>
                    <a:pt x="481" y="992"/>
                  </a:lnTo>
                  <a:lnTo>
                    <a:pt x="493" y="982"/>
                  </a:lnTo>
                  <a:lnTo>
                    <a:pt x="504" y="971"/>
                  </a:lnTo>
                  <a:lnTo>
                    <a:pt x="514" y="958"/>
                  </a:lnTo>
                  <a:lnTo>
                    <a:pt x="522" y="944"/>
                  </a:lnTo>
                  <a:lnTo>
                    <a:pt x="529" y="929"/>
                  </a:lnTo>
                  <a:lnTo>
                    <a:pt x="534" y="912"/>
                  </a:lnTo>
                  <a:lnTo>
                    <a:pt x="538" y="894"/>
                  </a:lnTo>
                  <a:lnTo>
                    <a:pt x="541" y="875"/>
                  </a:lnTo>
                  <a:lnTo>
                    <a:pt x="541" y="854"/>
                  </a:lnTo>
                  <a:lnTo>
                    <a:pt x="541" y="854"/>
                  </a:lnTo>
                  <a:lnTo>
                    <a:pt x="541" y="842"/>
                  </a:lnTo>
                  <a:lnTo>
                    <a:pt x="539" y="831"/>
                  </a:lnTo>
                  <a:lnTo>
                    <a:pt x="537" y="818"/>
                  </a:lnTo>
                  <a:lnTo>
                    <a:pt x="533" y="806"/>
                  </a:lnTo>
                  <a:lnTo>
                    <a:pt x="528" y="795"/>
                  </a:lnTo>
                  <a:lnTo>
                    <a:pt x="523" y="783"/>
                  </a:lnTo>
                  <a:lnTo>
                    <a:pt x="516" y="771"/>
                  </a:lnTo>
                  <a:lnTo>
                    <a:pt x="509" y="759"/>
                  </a:lnTo>
                  <a:lnTo>
                    <a:pt x="499" y="748"/>
                  </a:lnTo>
                  <a:lnTo>
                    <a:pt x="490" y="737"/>
                  </a:lnTo>
                  <a:lnTo>
                    <a:pt x="480" y="726"/>
                  </a:lnTo>
                  <a:lnTo>
                    <a:pt x="469" y="716"/>
                  </a:lnTo>
                  <a:lnTo>
                    <a:pt x="457" y="706"/>
                  </a:lnTo>
                  <a:lnTo>
                    <a:pt x="443" y="697"/>
                  </a:lnTo>
                  <a:lnTo>
                    <a:pt x="429" y="688"/>
                  </a:lnTo>
                  <a:lnTo>
                    <a:pt x="415" y="680"/>
                  </a:lnTo>
                  <a:lnTo>
                    <a:pt x="250" y="593"/>
                  </a:lnTo>
                  <a:lnTo>
                    <a:pt x="250" y="593"/>
                  </a:lnTo>
                  <a:lnTo>
                    <a:pt x="223" y="580"/>
                  </a:lnTo>
                  <a:lnTo>
                    <a:pt x="198" y="566"/>
                  </a:lnTo>
                  <a:lnTo>
                    <a:pt x="174" y="551"/>
                  </a:lnTo>
                  <a:lnTo>
                    <a:pt x="152" y="535"/>
                  </a:lnTo>
                  <a:lnTo>
                    <a:pt x="131" y="520"/>
                  </a:lnTo>
                  <a:lnTo>
                    <a:pt x="112" y="502"/>
                  </a:lnTo>
                  <a:lnTo>
                    <a:pt x="94" y="485"/>
                  </a:lnTo>
                  <a:lnTo>
                    <a:pt x="78" y="467"/>
                  </a:lnTo>
                  <a:lnTo>
                    <a:pt x="64" y="447"/>
                  </a:lnTo>
                  <a:lnTo>
                    <a:pt x="52" y="426"/>
                  </a:lnTo>
                  <a:lnTo>
                    <a:pt x="40" y="404"/>
                  </a:lnTo>
                  <a:lnTo>
                    <a:pt x="32" y="380"/>
                  </a:lnTo>
                  <a:lnTo>
                    <a:pt x="25" y="355"/>
                  </a:lnTo>
                  <a:lnTo>
                    <a:pt x="20" y="328"/>
                  </a:lnTo>
                  <a:lnTo>
                    <a:pt x="17" y="299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54"/>
                  </a:lnTo>
                  <a:lnTo>
                    <a:pt x="17" y="242"/>
                  </a:lnTo>
                  <a:lnTo>
                    <a:pt x="19" y="228"/>
                  </a:lnTo>
                  <a:lnTo>
                    <a:pt x="22" y="216"/>
                  </a:lnTo>
                  <a:lnTo>
                    <a:pt x="25" y="204"/>
                  </a:lnTo>
                  <a:lnTo>
                    <a:pt x="29" y="192"/>
                  </a:lnTo>
                  <a:lnTo>
                    <a:pt x="34" y="179"/>
                  </a:lnTo>
                  <a:lnTo>
                    <a:pt x="39" y="167"/>
                  </a:lnTo>
                  <a:lnTo>
                    <a:pt x="45" y="156"/>
                  </a:lnTo>
                  <a:lnTo>
                    <a:pt x="52" y="145"/>
                  </a:lnTo>
                  <a:lnTo>
                    <a:pt x="59" y="134"/>
                  </a:lnTo>
                  <a:lnTo>
                    <a:pt x="67" y="123"/>
                  </a:lnTo>
                  <a:lnTo>
                    <a:pt x="75" y="114"/>
                  </a:lnTo>
                  <a:lnTo>
                    <a:pt x="83" y="104"/>
                  </a:lnTo>
                  <a:lnTo>
                    <a:pt x="94" y="95"/>
                  </a:lnTo>
                  <a:lnTo>
                    <a:pt x="103" y="85"/>
                  </a:lnTo>
                  <a:lnTo>
                    <a:pt x="113" y="76"/>
                  </a:lnTo>
                  <a:lnTo>
                    <a:pt x="124" y="69"/>
                  </a:lnTo>
                  <a:lnTo>
                    <a:pt x="135" y="61"/>
                  </a:lnTo>
                  <a:lnTo>
                    <a:pt x="148" y="54"/>
                  </a:lnTo>
                  <a:lnTo>
                    <a:pt x="160" y="46"/>
                  </a:lnTo>
                  <a:lnTo>
                    <a:pt x="172" y="40"/>
                  </a:lnTo>
                  <a:lnTo>
                    <a:pt x="186" y="34"/>
                  </a:lnTo>
                  <a:lnTo>
                    <a:pt x="199" y="29"/>
                  </a:lnTo>
                  <a:lnTo>
                    <a:pt x="212" y="25"/>
                  </a:lnTo>
                  <a:lnTo>
                    <a:pt x="226" y="21"/>
                  </a:lnTo>
                  <a:lnTo>
                    <a:pt x="241" y="17"/>
                  </a:lnTo>
                  <a:lnTo>
                    <a:pt x="255" y="14"/>
                  </a:lnTo>
                  <a:lnTo>
                    <a:pt x="269" y="12"/>
                  </a:lnTo>
                  <a:lnTo>
                    <a:pt x="285" y="11"/>
                  </a:lnTo>
                  <a:lnTo>
                    <a:pt x="300" y="10"/>
                  </a:lnTo>
                  <a:lnTo>
                    <a:pt x="315" y="9"/>
                  </a:lnTo>
                  <a:lnTo>
                    <a:pt x="315" y="9"/>
                  </a:lnTo>
                  <a:lnTo>
                    <a:pt x="335" y="10"/>
                  </a:lnTo>
                  <a:lnTo>
                    <a:pt x="352" y="11"/>
                  </a:lnTo>
                  <a:lnTo>
                    <a:pt x="369" y="12"/>
                  </a:lnTo>
                  <a:lnTo>
                    <a:pt x="384" y="15"/>
                  </a:lnTo>
                  <a:lnTo>
                    <a:pt x="399" y="18"/>
                  </a:lnTo>
                  <a:lnTo>
                    <a:pt x="414" y="21"/>
                  </a:lnTo>
                  <a:lnTo>
                    <a:pt x="427" y="25"/>
                  </a:lnTo>
                  <a:lnTo>
                    <a:pt x="440" y="30"/>
                  </a:lnTo>
                  <a:lnTo>
                    <a:pt x="464" y="40"/>
                  </a:lnTo>
                  <a:lnTo>
                    <a:pt x="486" y="53"/>
                  </a:lnTo>
                  <a:lnTo>
                    <a:pt x="507" y="66"/>
                  </a:lnTo>
                  <a:lnTo>
                    <a:pt x="526" y="79"/>
                  </a:lnTo>
                  <a:lnTo>
                    <a:pt x="526" y="79"/>
                  </a:lnTo>
                  <a:lnTo>
                    <a:pt x="534" y="73"/>
                  </a:lnTo>
                  <a:lnTo>
                    <a:pt x="541" y="65"/>
                  </a:lnTo>
                  <a:lnTo>
                    <a:pt x="549" y="57"/>
                  </a:lnTo>
                  <a:lnTo>
                    <a:pt x="556" y="47"/>
                  </a:lnTo>
                  <a:lnTo>
                    <a:pt x="562" y="36"/>
                  </a:lnTo>
                  <a:lnTo>
                    <a:pt x="568" y="26"/>
                  </a:lnTo>
                  <a:lnTo>
                    <a:pt x="572" y="14"/>
                  </a:lnTo>
                  <a:lnTo>
                    <a:pt x="576" y="0"/>
                  </a:lnTo>
                  <a:lnTo>
                    <a:pt x="624" y="0"/>
                  </a:lnTo>
                  <a:lnTo>
                    <a:pt x="624" y="380"/>
                  </a:lnTo>
                  <a:lnTo>
                    <a:pt x="575" y="380"/>
                  </a:lnTo>
                  <a:lnTo>
                    <a:pt x="575" y="380"/>
                  </a:lnTo>
                  <a:lnTo>
                    <a:pt x="572" y="354"/>
                  </a:lnTo>
                  <a:lnTo>
                    <a:pt x="568" y="328"/>
                  </a:lnTo>
                  <a:lnTo>
                    <a:pt x="563" y="301"/>
                  </a:lnTo>
                  <a:lnTo>
                    <a:pt x="556" y="275"/>
                  </a:lnTo>
                  <a:lnTo>
                    <a:pt x="549" y="250"/>
                  </a:lnTo>
                  <a:lnTo>
                    <a:pt x="538" y="225"/>
                  </a:lnTo>
                  <a:lnTo>
                    <a:pt x="527" y="203"/>
                  </a:lnTo>
                  <a:lnTo>
                    <a:pt x="514" y="180"/>
                  </a:lnTo>
                  <a:lnTo>
                    <a:pt x="507" y="170"/>
                  </a:lnTo>
                  <a:lnTo>
                    <a:pt x="498" y="160"/>
                  </a:lnTo>
                  <a:lnTo>
                    <a:pt x="490" y="151"/>
                  </a:lnTo>
                  <a:lnTo>
                    <a:pt x="481" y="142"/>
                  </a:lnTo>
                  <a:lnTo>
                    <a:pt x="472" y="133"/>
                  </a:lnTo>
                  <a:lnTo>
                    <a:pt x="462" y="125"/>
                  </a:lnTo>
                  <a:lnTo>
                    <a:pt x="451" y="118"/>
                  </a:lnTo>
                  <a:lnTo>
                    <a:pt x="440" y="112"/>
                  </a:lnTo>
                  <a:lnTo>
                    <a:pt x="428" y="106"/>
                  </a:lnTo>
                  <a:lnTo>
                    <a:pt x="416" y="101"/>
                  </a:lnTo>
                  <a:lnTo>
                    <a:pt x="402" y="96"/>
                  </a:lnTo>
                  <a:lnTo>
                    <a:pt x="388" y="91"/>
                  </a:lnTo>
                  <a:lnTo>
                    <a:pt x="374" y="88"/>
                  </a:lnTo>
                  <a:lnTo>
                    <a:pt x="358" y="86"/>
                  </a:lnTo>
                  <a:lnTo>
                    <a:pt x="343" y="85"/>
                  </a:lnTo>
                  <a:lnTo>
                    <a:pt x="327" y="84"/>
                  </a:lnTo>
                  <a:lnTo>
                    <a:pt x="327" y="84"/>
                  </a:lnTo>
                  <a:lnTo>
                    <a:pt x="313" y="85"/>
                  </a:lnTo>
                  <a:lnTo>
                    <a:pt x="300" y="87"/>
                  </a:lnTo>
                  <a:lnTo>
                    <a:pt x="287" y="90"/>
                  </a:lnTo>
                  <a:lnTo>
                    <a:pt x="275" y="95"/>
                  </a:lnTo>
                  <a:lnTo>
                    <a:pt x="262" y="100"/>
                  </a:lnTo>
                  <a:lnTo>
                    <a:pt x="251" y="106"/>
                  </a:lnTo>
                  <a:lnTo>
                    <a:pt x="240" y="113"/>
                  </a:lnTo>
                  <a:lnTo>
                    <a:pt x="230" y="121"/>
                  </a:lnTo>
                  <a:lnTo>
                    <a:pt x="220" y="131"/>
                  </a:lnTo>
                  <a:lnTo>
                    <a:pt x="212" y="142"/>
                  </a:lnTo>
                  <a:lnTo>
                    <a:pt x="205" y="153"/>
                  </a:lnTo>
                  <a:lnTo>
                    <a:pt x="199" y="165"/>
                  </a:lnTo>
                  <a:lnTo>
                    <a:pt x="194" y="178"/>
                  </a:lnTo>
                  <a:lnTo>
                    <a:pt x="190" y="192"/>
                  </a:lnTo>
                  <a:lnTo>
                    <a:pt x="188" y="207"/>
                  </a:lnTo>
                  <a:lnTo>
                    <a:pt x="187" y="222"/>
                  </a:lnTo>
                  <a:lnTo>
                    <a:pt x="187" y="222"/>
                  </a:lnTo>
                  <a:lnTo>
                    <a:pt x="187" y="233"/>
                  </a:lnTo>
                  <a:lnTo>
                    <a:pt x="189" y="244"/>
                  </a:lnTo>
                  <a:lnTo>
                    <a:pt x="192" y="254"/>
                  </a:lnTo>
                  <a:lnTo>
                    <a:pt x="195" y="265"/>
                  </a:lnTo>
                  <a:lnTo>
                    <a:pt x="200" y="278"/>
                  </a:lnTo>
                  <a:lnTo>
                    <a:pt x="206" y="289"/>
                  </a:lnTo>
                  <a:lnTo>
                    <a:pt x="213" y="301"/>
                  </a:lnTo>
                  <a:lnTo>
                    <a:pt x="221" y="312"/>
                  </a:lnTo>
                  <a:lnTo>
                    <a:pt x="231" y="325"/>
                  </a:lnTo>
                  <a:lnTo>
                    <a:pt x="241" y="336"/>
                  </a:lnTo>
                  <a:lnTo>
                    <a:pt x="252" y="348"/>
                  </a:lnTo>
                  <a:lnTo>
                    <a:pt x="264" y="359"/>
                  </a:lnTo>
                  <a:lnTo>
                    <a:pt x="278" y="370"/>
                  </a:lnTo>
                  <a:lnTo>
                    <a:pt x="292" y="380"/>
                  </a:lnTo>
                  <a:lnTo>
                    <a:pt x="308" y="390"/>
                  </a:lnTo>
                  <a:lnTo>
                    <a:pt x="325" y="399"/>
                  </a:lnTo>
                  <a:lnTo>
                    <a:pt x="490" y="483"/>
                  </a:lnTo>
                  <a:lnTo>
                    <a:pt x="490" y="483"/>
                  </a:lnTo>
                  <a:lnTo>
                    <a:pt x="513" y="495"/>
                  </a:lnTo>
                  <a:lnTo>
                    <a:pt x="535" y="510"/>
                  </a:lnTo>
                  <a:lnTo>
                    <a:pt x="556" y="524"/>
                  </a:lnTo>
                  <a:lnTo>
                    <a:pt x="576" y="538"/>
                  </a:lnTo>
                  <a:lnTo>
                    <a:pt x="596" y="555"/>
                  </a:lnTo>
                  <a:lnTo>
                    <a:pt x="614" y="572"/>
                  </a:lnTo>
                  <a:lnTo>
                    <a:pt x="631" y="590"/>
                  </a:lnTo>
                  <a:lnTo>
                    <a:pt x="648" y="609"/>
                  </a:lnTo>
                  <a:lnTo>
                    <a:pt x="662" y="628"/>
                  </a:lnTo>
                  <a:lnTo>
                    <a:pt x="674" y="649"/>
                  </a:lnTo>
                  <a:lnTo>
                    <a:pt x="686" y="670"/>
                  </a:lnTo>
                  <a:lnTo>
                    <a:pt x="695" y="693"/>
                  </a:lnTo>
                  <a:lnTo>
                    <a:pt x="703" y="715"/>
                  </a:lnTo>
                  <a:lnTo>
                    <a:pt x="708" y="739"/>
                  </a:lnTo>
                  <a:lnTo>
                    <a:pt x="711" y="763"/>
                  </a:lnTo>
                  <a:lnTo>
                    <a:pt x="712" y="789"/>
                  </a:lnTo>
                  <a:lnTo>
                    <a:pt x="712" y="789"/>
                  </a:lnTo>
                  <a:lnTo>
                    <a:pt x="712" y="806"/>
                  </a:lnTo>
                  <a:lnTo>
                    <a:pt x="711" y="824"/>
                  </a:lnTo>
                  <a:lnTo>
                    <a:pt x="708" y="840"/>
                  </a:lnTo>
                  <a:lnTo>
                    <a:pt x="705" y="856"/>
                  </a:lnTo>
                  <a:lnTo>
                    <a:pt x="701" y="872"/>
                  </a:lnTo>
                  <a:lnTo>
                    <a:pt x="696" y="887"/>
                  </a:lnTo>
                  <a:lnTo>
                    <a:pt x="691" y="902"/>
                  </a:lnTo>
                  <a:lnTo>
                    <a:pt x="684" y="917"/>
                  </a:lnTo>
                  <a:lnTo>
                    <a:pt x="676" y="931"/>
                  </a:lnTo>
                  <a:lnTo>
                    <a:pt x="669" y="945"/>
                  </a:lnTo>
                  <a:lnTo>
                    <a:pt x="660" y="957"/>
                  </a:lnTo>
                  <a:lnTo>
                    <a:pt x="651" y="971"/>
                  </a:lnTo>
                  <a:lnTo>
                    <a:pt x="641" y="983"/>
                  </a:lnTo>
                  <a:lnTo>
                    <a:pt x="630" y="994"/>
                  </a:lnTo>
                  <a:lnTo>
                    <a:pt x="619" y="1005"/>
                  </a:lnTo>
                  <a:lnTo>
                    <a:pt x="608" y="1016"/>
                  </a:lnTo>
                  <a:lnTo>
                    <a:pt x="596" y="1026"/>
                  </a:lnTo>
                  <a:lnTo>
                    <a:pt x="582" y="1035"/>
                  </a:lnTo>
                  <a:lnTo>
                    <a:pt x="570" y="1044"/>
                  </a:lnTo>
                  <a:lnTo>
                    <a:pt x="556" y="1053"/>
                  </a:lnTo>
                  <a:lnTo>
                    <a:pt x="542" y="1061"/>
                  </a:lnTo>
                  <a:lnTo>
                    <a:pt x="528" y="1068"/>
                  </a:lnTo>
                  <a:lnTo>
                    <a:pt x="513" y="1074"/>
                  </a:lnTo>
                  <a:lnTo>
                    <a:pt x="498" y="1080"/>
                  </a:lnTo>
                  <a:lnTo>
                    <a:pt x="483" y="1085"/>
                  </a:lnTo>
                  <a:lnTo>
                    <a:pt x="467" y="1089"/>
                  </a:lnTo>
                  <a:lnTo>
                    <a:pt x="451" y="1093"/>
                  </a:lnTo>
                  <a:lnTo>
                    <a:pt x="435" y="1096"/>
                  </a:lnTo>
                  <a:lnTo>
                    <a:pt x="419" y="1100"/>
                  </a:lnTo>
                  <a:lnTo>
                    <a:pt x="402" y="1101"/>
                  </a:lnTo>
                  <a:lnTo>
                    <a:pt x="386" y="1103"/>
                  </a:lnTo>
                  <a:lnTo>
                    <a:pt x="370" y="1103"/>
                  </a:lnTo>
                  <a:lnTo>
                    <a:pt x="370" y="1103"/>
                  </a:lnTo>
                  <a:lnTo>
                    <a:pt x="345" y="1102"/>
                  </a:lnTo>
                  <a:lnTo>
                    <a:pt x="323" y="1100"/>
                  </a:lnTo>
                  <a:lnTo>
                    <a:pt x="300" y="1096"/>
                  </a:lnTo>
                  <a:lnTo>
                    <a:pt x="280" y="1091"/>
                  </a:lnTo>
                  <a:lnTo>
                    <a:pt x="260" y="1086"/>
                  </a:lnTo>
                  <a:lnTo>
                    <a:pt x="241" y="1080"/>
                  </a:lnTo>
                  <a:lnTo>
                    <a:pt x="223" y="1073"/>
                  </a:lnTo>
                  <a:lnTo>
                    <a:pt x="206" y="1067"/>
                  </a:lnTo>
                  <a:lnTo>
                    <a:pt x="175" y="1053"/>
                  </a:lnTo>
                  <a:lnTo>
                    <a:pt x="147" y="1039"/>
                  </a:lnTo>
                  <a:lnTo>
                    <a:pt x="122" y="1028"/>
                  </a:lnTo>
                  <a:lnTo>
                    <a:pt x="111" y="1024"/>
                  </a:lnTo>
                  <a:lnTo>
                    <a:pt x="101" y="1022"/>
                  </a:lnTo>
                  <a:lnTo>
                    <a:pt x="101" y="1022"/>
                  </a:lnTo>
                  <a:lnTo>
                    <a:pt x="93" y="1028"/>
                  </a:lnTo>
                  <a:lnTo>
                    <a:pt x="85" y="1036"/>
                  </a:lnTo>
                  <a:lnTo>
                    <a:pt x="77" y="1044"/>
                  </a:lnTo>
                  <a:lnTo>
                    <a:pt x="71" y="1055"/>
                  </a:lnTo>
                  <a:lnTo>
                    <a:pt x="64" y="1065"/>
                  </a:lnTo>
                  <a:lnTo>
                    <a:pt x="59" y="1076"/>
                  </a:lnTo>
                  <a:lnTo>
                    <a:pt x="54" y="1089"/>
                  </a:lnTo>
                  <a:lnTo>
                    <a:pt x="51" y="1103"/>
                  </a:lnTo>
                  <a:lnTo>
                    <a:pt x="51" y="1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9" name="Freeform 17"/>
            <p:cNvSpPr>
              <a:spLocks/>
            </p:cNvSpPr>
            <p:nvPr userDrawn="1"/>
          </p:nvSpPr>
          <p:spPr bwMode="auto">
            <a:xfrm>
              <a:off x="3455988" y="893763"/>
              <a:ext cx="142875" cy="136525"/>
            </a:xfrm>
            <a:custGeom>
              <a:avLst/>
              <a:gdLst>
                <a:gd name="T0" fmla="*/ 1028 w 1078"/>
                <a:gd name="T1" fmla="*/ 244 h 1035"/>
                <a:gd name="T2" fmla="*/ 1020 w 1078"/>
                <a:gd name="T3" fmla="*/ 209 h 1035"/>
                <a:gd name="T4" fmla="*/ 1006 w 1078"/>
                <a:gd name="T5" fmla="*/ 163 h 1035"/>
                <a:gd name="T6" fmla="*/ 995 w 1078"/>
                <a:gd name="T7" fmla="*/ 138 h 1035"/>
                <a:gd name="T8" fmla="*/ 980 w 1078"/>
                <a:gd name="T9" fmla="*/ 118 h 1035"/>
                <a:gd name="T10" fmla="*/ 959 w 1078"/>
                <a:gd name="T11" fmla="*/ 101 h 1035"/>
                <a:gd name="T12" fmla="*/ 932 w 1078"/>
                <a:gd name="T13" fmla="*/ 90 h 1035"/>
                <a:gd name="T14" fmla="*/ 895 w 1078"/>
                <a:gd name="T15" fmla="*/ 82 h 1035"/>
                <a:gd name="T16" fmla="*/ 848 w 1078"/>
                <a:gd name="T17" fmla="*/ 78 h 1035"/>
                <a:gd name="T18" fmla="*/ 646 w 1078"/>
                <a:gd name="T19" fmla="*/ 78 h 1035"/>
                <a:gd name="T20" fmla="*/ 646 w 1078"/>
                <a:gd name="T21" fmla="*/ 783 h 1035"/>
                <a:gd name="T22" fmla="*/ 648 w 1078"/>
                <a:gd name="T23" fmla="*/ 842 h 1035"/>
                <a:gd name="T24" fmla="*/ 652 w 1078"/>
                <a:gd name="T25" fmla="*/ 888 h 1035"/>
                <a:gd name="T26" fmla="*/ 662 w 1078"/>
                <a:gd name="T27" fmla="*/ 923 h 1035"/>
                <a:gd name="T28" fmla="*/ 672 w 1078"/>
                <a:gd name="T29" fmla="*/ 943 h 1035"/>
                <a:gd name="T30" fmla="*/ 680 w 1078"/>
                <a:gd name="T31" fmla="*/ 954 h 1035"/>
                <a:gd name="T32" fmla="*/ 691 w 1078"/>
                <a:gd name="T33" fmla="*/ 963 h 1035"/>
                <a:gd name="T34" fmla="*/ 711 w 1078"/>
                <a:gd name="T35" fmla="*/ 973 h 1035"/>
                <a:gd name="T36" fmla="*/ 743 w 1078"/>
                <a:gd name="T37" fmla="*/ 982 h 1035"/>
                <a:gd name="T38" fmla="*/ 787 w 1078"/>
                <a:gd name="T39" fmla="*/ 985 h 1035"/>
                <a:gd name="T40" fmla="*/ 812 w 1078"/>
                <a:gd name="T41" fmla="*/ 1035 h 1035"/>
                <a:gd name="T42" fmla="*/ 267 w 1078"/>
                <a:gd name="T43" fmla="*/ 985 h 1035"/>
                <a:gd name="T44" fmla="*/ 293 w 1078"/>
                <a:gd name="T45" fmla="*/ 985 h 1035"/>
                <a:gd name="T46" fmla="*/ 335 w 1078"/>
                <a:gd name="T47" fmla="*/ 982 h 1035"/>
                <a:gd name="T48" fmla="*/ 369 w 1078"/>
                <a:gd name="T49" fmla="*/ 973 h 1035"/>
                <a:gd name="T50" fmla="*/ 388 w 1078"/>
                <a:gd name="T51" fmla="*/ 963 h 1035"/>
                <a:gd name="T52" fmla="*/ 399 w 1078"/>
                <a:gd name="T53" fmla="*/ 954 h 1035"/>
                <a:gd name="T54" fmla="*/ 407 w 1078"/>
                <a:gd name="T55" fmla="*/ 943 h 1035"/>
                <a:gd name="T56" fmla="*/ 417 w 1078"/>
                <a:gd name="T57" fmla="*/ 923 h 1035"/>
                <a:gd name="T58" fmla="*/ 425 w 1078"/>
                <a:gd name="T59" fmla="*/ 888 h 1035"/>
                <a:gd name="T60" fmla="*/ 430 w 1078"/>
                <a:gd name="T61" fmla="*/ 842 h 1035"/>
                <a:gd name="T62" fmla="*/ 432 w 1078"/>
                <a:gd name="T63" fmla="*/ 783 h 1035"/>
                <a:gd name="T64" fmla="*/ 259 w 1078"/>
                <a:gd name="T65" fmla="*/ 78 h 1035"/>
                <a:gd name="T66" fmla="*/ 231 w 1078"/>
                <a:gd name="T67" fmla="*/ 78 h 1035"/>
                <a:gd name="T68" fmla="*/ 184 w 1078"/>
                <a:gd name="T69" fmla="*/ 82 h 1035"/>
                <a:gd name="T70" fmla="*/ 147 w 1078"/>
                <a:gd name="T71" fmla="*/ 90 h 1035"/>
                <a:gd name="T72" fmla="*/ 120 w 1078"/>
                <a:gd name="T73" fmla="*/ 101 h 1035"/>
                <a:gd name="T74" fmla="*/ 99 w 1078"/>
                <a:gd name="T75" fmla="*/ 118 h 1035"/>
                <a:gd name="T76" fmla="*/ 85 w 1078"/>
                <a:gd name="T77" fmla="*/ 138 h 1035"/>
                <a:gd name="T78" fmla="*/ 74 w 1078"/>
                <a:gd name="T79" fmla="*/ 163 h 1035"/>
                <a:gd name="T80" fmla="*/ 60 w 1078"/>
                <a:gd name="T81" fmla="*/ 209 h 1035"/>
                <a:gd name="T82" fmla="*/ 0 w 1078"/>
                <a:gd name="T83" fmla="*/ 244 h 1035"/>
                <a:gd name="T84" fmla="*/ 1065 w 1078"/>
                <a:gd name="T85" fmla="*/ 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8" h="1035">
                  <a:moveTo>
                    <a:pt x="1078" y="244"/>
                  </a:moveTo>
                  <a:lnTo>
                    <a:pt x="1028" y="244"/>
                  </a:lnTo>
                  <a:lnTo>
                    <a:pt x="1020" y="209"/>
                  </a:lnTo>
                  <a:lnTo>
                    <a:pt x="1020" y="209"/>
                  </a:lnTo>
                  <a:lnTo>
                    <a:pt x="1011" y="177"/>
                  </a:lnTo>
                  <a:lnTo>
                    <a:pt x="1006" y="163"/>
                  </a:lnTo>
                  <a:lnTo>
                    <a:pt x="1001" y="150"/>
                  </a:lnTo>
                  <a:lnTo>
                    <a:pt x="995" y="138"/>
                  </a:lnTo>
                  <a:lnTo>
                    <a:pt x="988" y="127"/>
                  </a:lnTo>
                  <a:lnTo>
                    <a:pt x="980" y="118"/>
                  </a:lnTo>
                  <a:lnTo>
                    <a:pt x="970" y="109"/>
                  </a:lnTo>
                  <a:lnTo>
                    <a:pt x="959" y="101"/>
                  </a:lnTo>
                  <a:lnTo>
                    <a:pt x="947" y="95"/>
                  </a:lnTo>
                  <a:lnTo>
                    <a:pt x="932" y="90"/>
                  </a:lnTo>
                  <a:lnTo>
                    <a:pt x="914" y="85"/>
                  </a:lnTo>
                  <a:lnTo>
                    <a:pt x="895" y="82"/>
                  </a:lnTo>
                  <a:lnTo>
                    <a:pt x="872" y="80"/>
                  </a:lnTo>
                  <a:lnTo>
                    <a:pt x="848" y="78"/>
                  </a:lnTo>
                  <a:lnTo>
                    <a:pt x="819" y="78"/>
                  </a:lnTo>
                  <a:lnTo>
                    <a:pt x="646" y="78"/>
                  </a:lnTo>
                  <a:lnTo>
                    <a:pt x="646" y="783"/>
                  </a:lnTo>
                  <a:lnTo>
                    <a:pt x="646" y="783"/>
                  </a:lnTo>
                  <a:lnTo>
                    <a:pt x="647" y="814"/>
                  </a:lnTo>
                  <a:lnTo>
                    <a:pt x="648" y="842"/>
                  </a:lnTo>
                  <a:lnTo>
                    <a:pt x="649" y="866"/>
                  </a:lnTo>
                  <a:lnTo>
                    <a:pt x="652" y="888"/>
                  </a:lnTo>
                  <a:lnTo>
                    <a:pt x="657" y="906"/>
                  </a:lnTo>
                  <a:lnTo>
                    <a:pt x="662" y="923"/>
                  </a:lnTo>
                  <a:lnTo>
                    <a:pt x="668" y="937"/>
                  </a:lnTo>
                  <a:lnTo>
                    <a:pt x="672" y="943"/>
                  </a:lnTo>
                  <a:lnTo>
                    <a:pt x="676" y="949"/>
                  </a:lnTo>
                  <a:lnTo>
                    <a:pt x="680" y="954"/>
                  </a:lnTo>
                  <a:lnTo>
                    <a:pt x="685" y="958"/>
                  </a:lnTo>
                  <a:lnTo>
                    <a:pt x="691" y="963"/>
                  </a:lnTo>
                  <a:lnTo>
                    <a:pt x="697" y="966"/>
                  </a:lnTo>
                  <a:lnTo>
                    <a:pt x="711" y="973"/>
                  </a:lnTo>
                  <a:lnTo>
                    <a:pt x="726" y="978"/>
                  </a:lnTo>
                  <a:lnTo>
                    <a:pt x="743" y="982"/>
                  </a:lnTo>
                  <a:lnTo>
                    <a:pt x="764" y="984"/>
                  </a:lnTo>
                  <a:lnTo>
                    <a:pt x="787" y="985"/>
                  </a:lnTo>
                  <a:lnTo>
                    <a:pt x="812" y="985"/>
                  </a:lnTo>
                  <a:lnTo>
                    <a:pt x="812" y="1035"/>
                  </a:lnTo>
                  <a:lnTo>
                    <a:pt x="267" y="1035"/>
                  </a:lnTo>
                  <a:lnTo>
                    <a:pt x="267" y="985"/>
                  </a:lnTo>
                  <a:lnTo>
                    <a:pt x="267" y="985"/>
                  </a:lnTo>
                  <a:lnTo>
                    <a:pt x="293" y="985"/>
                  </a:lnTo>
                  <a:lnTo>
                    <a:pt x="315" y="984"/>
                  </a:lnTo>
                  <a:lnTo>
                    <a:pt x="335" y="982"/>
                  </a:lnTo>
                  <a:lnTo>
                    <a:pt x="353" y="978"/>
                  </a:lnTo>
                  <a:lnTo>
                    <a:pt x="369" y="973"/>
                  </a:lnTo>
                  <a:lnTo>
                    <a:pt x="383" y="966"/>
                  </a:lnTo>
                  <a:lnTo>
                    <a:pt x="388" y="963"/>
                  </a:lnTo>
                  <a:lnTo>
                    <a:pt x="394" y="958"/>
                  </a:lnTo>
                  <a:lnTo>
                    <a:pt x="399" y="954"/>
                  </a:lnTo>
                  <a:lnTo>
                    <a:pt x="403" y="949"/>
                  </a:lnTo>
                  <a:lnTo>
                    <a:pt x="407" y="943"/>
                  </a:lnTo>
                  <a:lnTo>
                    <a:pt x="411" y="937"/>
                  </a:lnTo>
                  <a:lnTo>
                    <a:pt x="417" y="923"/>
                  </a:lnTo>
                  <a:lnTo>
                    <a:pt x="422" y="906"/>
                  </a:lnTo>
                  <a:lnTo>
                    <a:pt x="425" y="888"/>
                  </a:lnTo>
                  <a:lnTo>
                    <a:pt x="429" y="866"/>
                  </a:lnTo>
                  <a:lnTo>
                    <a:pt x="430" y="842"/>
                  </a:lnTo>
                  <a:lnTo>
                    <a:pt x="431" y="814"/>
                  </a:lnTo>
                  <a:lnTo>
                    <a:pt x="432" y="783"/>
                  </a:lnTo>
                  <a:lnTo>
                    <a:pt x="432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31" y="78"/>
                  </a:lnTo>
                  <a:lnTo>
                    <a:pt x="206" y="80"/>
                  </a:lnTo>
                  <a:lnTo>
                    <a:pt x="184" y="82"/>
                  </a:lnTo>
                  <a:lnTo>
                    <a:pt x="165" y="85"/>
                  </a:lnTo>
                  <a:lnTo>
                    <a:pt x="147" y="90"/>
                  </a:lnTo>
                  <a:lnTo>
                    <a:pt x="133" y="95"/>
                  </a:lnTo>
                  <a:lnTo>
                    <a:pt x="120" y="101"/>
                  </a:lnTo>
                  <a:lnTo>
                    <a:pt x="110" y="109"/>
                  </a:lnTo>
                  <a:lnTo>
                    <a:pt x="99" y="118"/>
                  </a:lnTo>
                  <a:lnTo>
                    <a:pt x="91" y="127"/>
                  </a:lnTo>
                  <a:lnTo>
                    <a:pt x="85" y="138"/>
                  </a:lnTo>
                  <a:lnTo>
                    <a:pt x="79" y="150"/>
                  </a:lnTo>
                  <a:lnTo>
                    <a:pt x="74" y="163"/>
                  </a:lnTo>
                  <a:lnTo>
                    <a:pt x="69" y="177"/>
                  </a:lnTo>
                  <a:lnTo>
                    <a:pt x="60" y="209"/>
                  </a:lnTo>
                  <a:lnTo>
                    <a:pt x="51" y="244"/>
                  </a:lnTo>
                  <a:lnTo>
                    <a:pt x="0" y="244"/>
                  </a:lnTo>
                  <a:lnTo>
                    <a:pt x="15" y="0"/>
                  </a:lnTo>
                  <a:lnTo>
                    <a:pt x="1065" y="0"/>
                  </a:lnTo>
                  <a:lnTo>
                    <a:pt x="1078" y="2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0" name="Freeform 18"/>
            <p:cNvSpPr>
              <a:spLocks noEditPoints="1"/>
            </p:cNvSpPr>
            <p:nvPr userDrawn="1"/>
          </p:nvSpPr>
          <p:spPr bwMode="auto">
            <a:xfrm>
              <a:off x="3627438" y="890588"/>
              <a:ext cx="152400" cy="144463"/>
            </a:xfrm>
            <a:custGeom>
              <a:avLst/>
              <a:gdLst>
                <a:gd name="T0" fmla="*/ 487 w 1150"/>
                <a:gd name="T1" fmla="*/ 1087 h 1094"/>
                <a:gd name="T2" fmla="*/ 351 w 1150"/>
                <a:gd name="T3" fmla="*/ 1051 h 1094"/>
                <a:gd name="T4" fmla="*/ 231 w 1150"/>
                <a:gd name="T5" fmla="*/ 984 h 1094"/>
                <a:gd name="T6" fmla="*/ 131 w 1150"/>
                <a:gd name="T7" fmla="*/ 894 h 1094"/>
                <a:gd name="T8" fmla="*/ 56 w 1150"/>
                <a:gd name="T9" fmla="*/ 783 h 1094"/>
                <a:gd name="T10" fmla="*/ 11 w 1150"/>
                <a:gd name="T11" fmla="*/ 656 h 1094"/>
                <a:gd name="T12" fmla="*/ 0 w 1150"/>
                <a:gd name="T13" fmla="*/ 547 h 1094"/>
                <a:gd name="T14" fmla="*/ 17 w 1150"/>
                <a:gd name="T15" fmla="*/ 411 h 1094"/>
                <a:gd name="T16" fmla="*/ 69 w 1150"/>
                <a:gd name="T17" fmla="*/ 287 h 1094"/>
                <a:gd name="T18" fmla="*/ 149 w 1150"/>
                <a:gd name="T19" fmla="*/ 180 h 1094"/>
                <a:gd name="T20" fmla="*/ 253 w 1150"/>
                <a:gd name="T21" fmla="*/ 94 h 1094"/>
                <a:gd name="T22" fmla="*/ 378 w 1150"/>
                <a:gd name="T23" fmla="*/ 33 h 1094"/>
                <a:gd name="T24" fmla="*/ 517 w 1150"/>
                <a:gd name="T25" fmla="*/ 3 h 1094"/>
                <a:gd name="T26" fmla="*/ 634 w 1150"/>
                <a:gd name="T27" fmla="*/ 3 h 1094"/>
                <a:gd name="T28" fmla="*/ 773 w 1150"/>
                <a:gd name="T29" fmla="*/ 33 h 1094"/>
                <a:gd name="T30" fmla="*/ 895 w 1150"/>
                <a:gd name="T31" fmla="*/ 94 h 1094"/>
                <a:gd name="T32" fmla="*/ 1000 w 1150"/>
                <a:gd name="T33" fmla="*/ 180 h 1094"/>
                <a:gd name="T34" fmla="*/ 1080 w 1150"/>
                <a:gd name="T35" fmla="*/ 287 h 1094"/>
                <a:gd name="T36" fmla="*/ 1132 w 1150"/>
                <a:gd name="T37" fmla="*/ 411 h 1094"/>
                <a:gd name="T38" fmla="*/ 1150 w 1150"/>
                <a:gd name="T39" fmla="*/ 547 h 1094"/>
                <a:gd name="T40" fmla="*/ 1138 w 1150"/>
                <a:gd name="T41" fmla="*/ 656 h 1094"/>
                <a:gd name="T42" fmla="*/ 1093 w 1150"/>
                <a:gd name="T43" fmla="*/ 783 h 1094"/>
                <a:gd name="T44" fmla="*/ 1018 w 1150"/>
                <a:gd name="T45" fmla="*/ 894 h 1094"/>
                <a:gd name="T46" fmla="*/ 919 w 1150"/>
                <a:gd name="T47" fmla="*/ 984 h 1094"/>
                <a:gd name="T48" fmla="*/ 798 w 1150"/>
                <a:gd name="T49" fmla="*/ 1051 h 1094"/>
                <a:gd name="T50" fmla="*/ 662 w 1150"/>
                <a:gd name="T51" fmla="*/ 1087 h 1094"/>
                <a:gd name="T52" fmla="*/ 575 w 1150"/>
                <a:gd name="T53" fmla="*/ 82 h 1094"/>
                <a:gd name="T54" fmla="*/ 490 w 1150"/>
                <a:gd name="T55" fmla="*/ 94 h 1094"/>
                <a:gd name="T56" fmla="*/ 403 w 1150"/>
                <a:gd name="T57" fmla="*/ 137 h 1094"/>
                <a:gd name="T58" fmla="*/ 334 w 1150"/>
                <a:gd name="T59" fmla="*/ 204 h 1094"/>
                <a:gd name="T60" fmla="*/ 284 w 1150"/>
                <a:gd name="T61" fmla="*/ 290 h 1094"/>
                <a:gd name="T62" fmla="*/ 251 w 1150"/>
                <a:gd name="T63" fmla="*/ 386 h 1094"/>
                <a:gd name="T64" fmla="*/ 233 w 1150"/>
                <a:gd name="T65" fmla="*/ 507 h 1094"/>
                <a:gd name="T66" fmla="*/ 240 w 1150"/>
                <a:gd name="T67" fmla="*/ 647 h 1094"/>
                <a:gd name="T68" fmla="*/ 262 w 1150"/>
                <a:gd name="T69" fmla="*/ 747 h 1094"/>
                <a:gd name="T70" fmla="*/ 302 w 1150"/>
                <a:gd name="T71" fmla="*/ 840 h 1094"/>
                <a:gd name="T72" fmla="*/ 360 w 1150"/>
                <a:gd name="T73" fmla="*/ 919 h 1094"/>
                <a:gd name="T74" fmla="*/ 435 w 1150"/>
                <a:gd name="T75" fmla="*/ 977 h 1094"/>
                <a:gd name="T76" fmla="*/ 531 w 1150"/>
                <a:gd name="T77" fmla="*/ 1008 h 1094"/>
                <a:gd name="T78" fmla="*/ 619 w 1150"/>
                <a:gd name="T79" fmla="*/ 1008 h 1094"/>
                <a:gd name="T80" fmla="*/ 715 w 1150"/>
                <a:gd name="T81" fmla="*/ 977 h 1094"/>
                <a:gd name="T82" fmla="*/ 791 w 1150"/>
                <a:gd name="T83" fmla="*/ 919 h 1094"/>
                <a:gd name="T84" fmla="*/ 848 w 1150"/>
                <a:gd name="T85" fmla="*/ 840 h 1094"/>
                <a:gd name="T86" fmla="*/ 888 w 1150"/>
                <a:gd name="T87" fmla="*/ 747 h 1094"/>
                <a:gd name="T88" fmla="*/ 911 w 1150"/>
                <a:gd name="T89" fmla="*/ 647 h 1094"/>
                <a:gd name="T90" fmla="*/ 918 w 1150"/>
                <a:gd name="T91" fmla="*/ 507 h 1094"/>
                <a:gd name="T92" fmla="*/ 899 w 1150"/>
                <a:gd name="T93" fmla="*/ 386 h 1094"/>
                <a:gd name="T94" fmla="*/ 867 w 1150"/>
                <a:gd name="T95" fmla="*/ 290 h 1094"/>
                <a:gd name="T96" fmla="*/ 816 w 1150"/>
                <a:gd name="T97" fmla="*/ 204 h 1094"/>
                <a:gd name="T98" fmla="*/ 747 w 1150"/>
                <a:gd name="T99" fmla="*/ 137 h 1094"/>
                <a:gd name="T100" fmla="*/ 660 w 1150"/>
                <a:gd name="T101" fmla="*/ 94 h 1094"/>
                <a:gd name="T102" fmla="*/ 575 w 1150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0" h="1094">
                  <a:moveTo>
                    <a:pt x="575" y="1094"/>
                  </a:moveTo>
                  <a:lnTo>
                    <a:pt x="575" y="1094"/>
                  </a:lnTo>
                  <a:lnTo>
                    <a:pt x="546" y="1093"/>
                  </a:lnTo>
                  <a:lnTo>
                    <a:pt x="517" y="1091"/>
                  </a:lnTo>
                  <a:lnTo>
                    <a:pt x="487" y="1087"/>
                  </a:lnTo>
                  <a:lnTo>
                    <a:pt x="460" y="1082"/>
                  </a:lnTo>
                  <a:lnTo>
                    <a:pt x="431" y="1076"/>
                  </a:lnTo>
                  <a:lnTo>
                    <a:pt x="405" y="1069"/>
                  </a:lnTo>
                  <a:lnTo>
                    <a:pt x="378" y="1060"/>
                  </a:lnTo>
                  <a:lnTo>
                    <a:pt x="351" y="1051"/>
                  </a:lnTo>
                  <a:lnTo>
                    <a:pt x="326" y="1039"/>
                  </a:lnTo>
                  <a:lnTo>
                    <a:pt x="301" y="1027"/>
                  </a:lnTo>
                  <a:lnTo>
                    <a:pt x="277" y="1014"/>
                  </a:lnTo>
                  <a:lnTo>
                    <a:pt x="253" y="1000"/>
                  </a:lnTo>
                  <a:lnTo>
                    <a:pt x="231" y="984"/>
                  </a:lnTo>
                  <a:lnTo>
                    <a:pt x="209" y="968"/>
                  </a:lnTo>
                  <a:lnTo>
                    <a:pt x="188" y="950"/>
                  </a:lnTo>
                  <a:lnTo>
                    <a:pt x="168" y="933"/>
                  </a:lnTo>
                  <a:lnTo>
                    <a:pt x="149" y="914"/>
                  </a:lnTo>
                  <a:lnTo>
                    <a:pt x="131" y="894"/>
                  </a:lnTo>
                  <a:lnTo>
                    <a:pt x="114" y="873"/>
                  </a:lnTo>
                  <a:lnTo>
                    <a:pt x="98" y="851"/>
                  </a:lnTo>
                  <a:lnTo>
                    <a:pt x="82" y="830"/>
                  </a:lnTo>
                  <a:lnTo>
                    <a:pt x="69" y="806"/>
                  </a:lnTo>
                  <a:lnTo>
                    <a:pt x="56" y="783"/>
                  </a:lnTo>
                  <a:lnTo>
                    <a:pt x="45" y="758"/>
                  </a:lnTo>
                  <a:lnTo>
                    <a:pt x="34" y="734"/>
                  </a:lnTo>
                  <a:lnTo>
                    <a:pt x="25" y="708"/>
                  </a:lnTo>
                  <a:lnTo>
                    <a:pt x="17" y="683"/>
                  </a:lnTo>
                  <a:lnTo>
                    <a:pt x="11" y="656"/>
                  </a:lnTo>
                  <a:lnTo>
                    <a:pt x="6" y="629"/>
                  </a:lnTo>
                  <a:lnTo>
                    <a:pt x="2" y="602"/>
                  </a:lnTo>
                  <a:lnTo>
                    <a:pt x="0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519"/>
                  </a:lnTo>
                  <a:lnTo>
                    <a:pt x="2" y="491"/>
                  </a:lnTo>
                  <a:lnTo>
                    <a:pt x="6" y="464"/>
                  </a:lnTo>
                  <a:lnTo>
                    <a:pt x="11" y="437"/>
                  </a:lnTo>
                  <a:lnTo>
                    <a:pt x="17" y="411"/>
                  </a:lnTo>
                  <a:lnTo>
                    <a:pt x="25" y="385"/>
                  </a:lnTo>
                  <a:lnTo>
                    <a:pt x="34" y="360"/>
                  </a:lnTo>
                  <a:lnTo>
                    <a:pt x="45" y="335"/>
                  </a:lnTo>
                  <a:lnTo>
                    <a:pt x="56" y="310"/>
                  </a:lnTo>
                  <a:lnTo>
                    <a:pt x="69" y="287"/>
                  </a:lnTo>
                  <a:lnTo>
                    <a:pt x="82" y="264"/>
                  </a:lnTo>
                  <a:lnTo>
                    <a:pt x="98" y="242"/>
                  </a:lnTo>
                  <a:lnTo>
                    <a:pt x="114" y="220"/>
                  </a:lnTo>
                  <a:lnTo>
                    <a:pt x="131" y="200"/>
                  </a:lnTo>
                  <a:lnTo>
                    <a:pt x="149" y="180"/>
                  </a:lnTo>
                  <a:lnTo>
                    <a:pt x="168" y="161"/>
                  </a:lnTo>
                  <a:lnTo>
                    <a:pt x="188" y="143"/>
                  </a:lnTo>
                  <a:lnTo>
                    <a:pt x="209" y="125"/>
                  </a:lnTo>
                  <a:lnTo>
                    <a:pt x="231" y="109"/>
                  </a:lnTo>
                  <a:lnTo>
                    <a:pt x="253" y="94"/>
                  </a:lnTo>
                  <a:lnTo>
                    <a:pt x="277" y="79"/>
                  </a:lnTo>
                  <a:lnTo>
                    <a:pt x="301" y="66"/>
                  </a:lnTo>
                  <a:lnTo>
                    <a:pt x="326" y="54"/>
                  </a:lnTo>
                  <a:lnTo>
                    <a:pt x="351" y="44"/>
                  </a:lnTo>
                  <a:lnTo>
                    <a:pt x="378" y="33"/>
                  </a:lnTo>
                  <a:lnTo>
                    <a:pt x="405" y="24"/>
                  </a:lnTo>
                  <a:lnTo>
                    <a:pt x="431" y="17"/>
                  </a:lnTo>
                  <a:lnTo>
                    <a:pt x="460" y="11"/>
                  </a:lnTo>
                  <a:lnTo>
                    <a:pt x="487" y="6"/>
                  </a:lnTo>
                  <a:lnTo>
                    <a:pt x="517" y="3"/>
                  </a:lnTo>
                  <a:lnTo>
                    <a:pt x="546" y="1"/>
                  </a:lnTo>
                  <a:lnTo>
                    <a:pt x="575" y="0"/>
                  </a:lnTo>
                  <a:lnTo>
                    <a:pt x="575" y="0"/>
                  </a:lnTo>
                  <a:lnTo>
                    <a:pt x="605" y="1"/>
                  </a:lnTo>
                  <a:lnTo>
                    <a:pt x="634" y="3"/>
                  </a:lnTo>
                  <a:lnTo>
                    <a:pt x="662" y="6"/>
                  </a:lnTo>
                  <a:lnTo>
                    <a:pt x="691" y="11"/>
                  </a:lnTo>
                  <a:lnTo>
                    <a:pt x="719" y="17"/>
                  </a:lnTo>
                  <a:lnTo>
                    <a:pt x="746" y="24"/>
                  </a:lnTo>
                  <a:lnTo>
                    <a:pt x="773" y="33"/>
                  </a:lnTo>
                  <a:lnTo>
                    <a:pt x="798" y="44"/>
                  </a:lnTo>
                  <a:lnTo>
                    <a:pt x="824" y="54"/>
                  </a:lnTo>
                  <a:lnTo>
                    <a:pt x="848" y="66"/>
                  </a:lnTo>
                  <a:lnTo>
                    <a:pt x="873" y="79"/>
                  </a:lnTo>
                  <a:lnTo>
                    <a:pt x="895" y="94"/>
                  </a:lnTo>
                  <a:lnTo>
                    <a:pt x="919" y="109"/>
                  </a:lnTo>
                  <a:lnTo>
                    <a:pt x="940" y="125"/>
                  </a:lnTo>
                  <a:lnTo>
                    <a:pt x="961" y="143"/>
                  </a:lnTo>
                  <a:lnTo>
                    <a:pt x="981" y="161"/>
                  </a:lnTo>
                  <a:lnTo>
                    <a:pt x="1000" y="180"/>
                  </a:lnTo>
                  <a:lnTo>
                    <a:pt x="1018" y="200"/>
                  </a:lnTo>
                  <a:lnTo>
                    <a:pt x="1035" y="220"/>
                  </a:lnTo>
                  <a:lnTo>
                    <a:pt x="1052" y="242"/>
                  </a:lnTo>
                  <a:lnTo>
                    <a:pt x="1066" y="264"/>
                  </a:lnTo>
                  <a:lnTo>
                    <a:pt x="1080" y="287"/>
                  </a:lnTo>
                  <a:lnTo>
                    <a:pt x="1093" y="310"/>
                  </a:lnTo>
                  <a:lnTo>
                    <a:pt x="1104" y="335"/>
                  </a:lnTo>
                  <a:lnTo>
                    <a:pt x="1115" y="360"/>
                  </a:lnTo>
                  <a:lnTo>
                    <a:pt x="1123" y="385"/>
                  </a:lnTo>
                  <a:lnTo>
                    <a:pt x="1132" y="411"/>
                  </a:lnTo>
                  <a:lnTo>
                    <a:pt x="1138" y="437"/>
                  </a:lnTo>
                  <a:lnTo>
                    <a:pt x="1143" y="464"/>
                  </a:lnTo>
                  <a:lnTo>
                    <a:pt x="1147" y="491"/>
                  </a:lnTo>
                  <a:lnTo>
                    <a:pt x="1149" y="519"/>
                  </a:lnTo>
                  <a:lnTo>
                    <a:pt x="1150" y="547"/>
                  </a:lnTo>
                  <a:lnTo>
                    <a:pt x="1150" y="547"/>
                  </a:lnTo>
                  <a:lnTo>
                    <a:pt x="1149" y="574"/>
                  </a:lnTo>
                  <a:lnTo>
                    <a:pt x="1147" y="602"/>
                  </a:lnTo>
                  <a:lnTo>
                    <a:pt x="1143" y="629"/>
                  </a:lnTo>
                  <a:lnTo>
                    <a:pt x="1138" y="656"/>
                  </a:lnTo>
                  <a:lnTo>
                    <a:pt x="1132" y="683"/>
                  </a:lnTo>
                  <a:lnTo>
                    <a:pt x="1123" y="708"/>
                  </a:lnTo>
                  <a:lnTo>
                    <a:pt x="1115" y="734"/>
                  </a:lnTo>
                  <a:lnTo>
                    <a:pt x="1104" y="758"/>
                  </a:lnTo>
                  <a:lnTo>
                    <a:pt x="1093" y="783"/>
                  </a:lnTo>
                  <a:lnTo>
                    <a:pt x="1080" y="806"/>
                  </a:lnTo>
                  <a:lnTo>
                    <a:pt x="1066" y="830"/>
                  </a:lnTo>
                  <a:lnTo>
                    <a:pt x="1052" y="851"/>
                  </a:lnTo>
                  <a:lnTo>
                    <a:pt x="1035" y="873"/>
                  </a:lnTo>
                  <a:lnTo>
                    <a:pt x="1018" y="894"/>
                  </a:lnTo>
                  <a:lnTo>
                    <a:pt x="1000" y="914"/>
                  </a:lnTo>
                  <a:lnTo>
                    <a:pt x="981" y="933"/>
                  </a:lnTo>
                  <a:lnTo>
                    <a:pt x="961" y="950"/>
                  </a:lnTo>
                  <a:lnTo>
                    <a:pt x="940" y="968"/>
                  </a:lnTo>
                  <a:lnTo>
                    <a:pt x="919" y="984"/>
                  </a:lnTo>
                  <a:lnTo>
                    <a:pt x="895" y="1000"/>
                  </a:lnTo>
                  <a:lnTo>
                    <a:pt x="873" y="1014"/>
                  </a:lnTo>
                  <a:lnTo>
                    <a:pt x="848" y="1027"/>
                  </a:lnTo>
                  <a:lnTo>
                    <a:pt x="824" y="1039"/>
                  </a:lnTo>
                  <a:lnTo>
                    <a:pt x="798" y="1051"/>
                  </a:lnTo>
                  <a:lnTo>
                    <a:pt x="773" y="1060"/>
                  </a:lnTo>
                  <a:lnTo>
                    <a:pt x="746" y="1069"/>
                  </a:lnTo>
                  <a:lnTo>
                    <a:pt x="719" y="1076"/>
                  </a:lnTo>
                  <a:lnTo>
                    <a:pt x="691" y="1082"/>
                  </a:lnTo>
                  <a:lnTo>
                    <a:pt x="662" y="1087"/>
                  </a:lnTo>
                  <a:lnTo>
                    <a:pt x="634" y="1091"/>
                  </a:lnTo>
                  <a:lnTo>
                    <a:pt x="605" y="1093"/>
                  </a:lnTo>
                  <a:lnTo>
                    <a:pt x="575" y="1094"/>
                  </a:lnTo>
                  <a:lnTo>
                    <a:pt x="575" y="1094"/>
                  </a:lnTo>
                  <a:close/>
                  <a:moveTo>
                    <a:pt x="575" y="82"/>
                  </a:moveTo>
                  <a:lnTo>
                    <a:pt x="575" y="82"/>
                  </a:lnTo>
                  <a:lnTo>
                    <a:pt x="553" y="83"/>
                  </a:lnTo>
                  <a:lnTo>
                    <a:pt x="531" y="86"/>
                  </a:lnTo>
                  <a:lnTo>
                    <a:pt x="510" y="90"/>
                  </a:lnTo>
                  <a:lnTo>
                    <a:pt x="490" y="94"/>
                  </a:lnTo>
                  <a:lnTo>
                    <a:pt x="471" y="100"/>
                  </a:lnTo>
                  <a:lnTo>
                    <a:pt x="453" y="108"/>
                  </a:lnTo>
                  <a:lnTo>
                    <a:pt x="435" y="116"/>
                  </a:lnTo>
                  <a:lnTo>
                    <a:pt x="419" y="125"/>
                  </a:lnTo>
                  <a:lnTo>
                    <a:pt x="403" y="137"/>
                  </a:lnTo>
                  <a:lnTo>
                    <a:pt x="387" y="148"/>
                  </a:lnTo>
                  <a:lnTo>
                    <a:pt x="373" y="161"/>
                  </a:lnTo>
                  <a:lnTo>
                    <a:pt x="360" y="174"/>
                  </a:lnTo>
                  <a:lnTo>
                    <a:pt x="346" y="189"/>
                  </a:lnTo>
                  <a:lnTo>
                    <a:pt x="334" y="204"/>
                  </a:lnTo>
                  <a:lnTo>
                    <a:pt x="323" y="219"/>
                  </a:lnTo>
                  <a:lnTo>
                    <a:pt x="312" y="237"/>
                  </a:lnTo>
                  <a:lnTo>
                    <a:pt x="302" y="253"/>
                  </a:lnTo>
                  <a:lnTo>
                    <a:pt x="292" y="272"/>
                  </a:lnTo>
                  <a:lnTo>
                    <a:pt x="284" y="290"/>
                  </a:lnTo>
                  <a:lnTo>
                    <a:pt x="276" y="308"/>
                  </a:lnTo>
                  <a:lnTo>
                    <a:pt x="269" y="327"/>
                  </a:lnTo>
                  <a:lnTo>
                    <a:pt x="262" y="346"/>
                  </a:lnTo>
                  <a:lnTo>
                    <a:pt x="256" y="367"/>
                  </a:lnTo>
                  <a:lnTo>
                    <a:pt x="251" y="386"/>
                  </a:lnTo>
                  <a:lnTo>
                    <a:pt x="247" y="407"/>
                  </a:lnTo>
                  <a:lnTo>
                    <a:pt x="243" y="426"/>
                  </a:lnTo>
                  <a:lnTo>
                    <a:pt x="240" y="446"/>
                  </a:lnTo>
                  <a:lnTo>
                    <a:pt x="237" y="467"/>
                  </a:lnTo>
                  <a:lnTo>
                    <a:pt x="233" y="507"/>
                  </a:lnTo>
                  <a:lnTo>
                    <a:pt x="232" y="547"/>
                  </a:lnTo>
                  <a:lnTo>
                    <a:pt x="232" y="547"/>
                  </a:lnTo>
                  <a:lnTo>
                    <a:pt x="233" y="587"/>
                  </a:lnTo>
                  <a:lnTo>
                    <a:pt x="237" y="626"/>
                  </a:lnTo>
                  <a:lnTo>
                    <a:pt x="240" y="647"/>
                  </a:lnTo>
                  <a:lnTo>
                    <a:pt x="243" y="667"/>
                  </a:lnTo>
                  <a:lnTo>
                    <a:pt x="247" y="687"/>
                  </a:lnTo>
                  <a:lnTo>
                    <a:pt x="251" y="707"/>
                  </a:lnTo>
                  <a:lnTo>
                    <a:pt x="256" y="728"/>
                  </a:lnTo>
                  <a:lnTo>
                    <a:pt x="262" y="747"/>
                  </a:lnTo>
                  <a:lnTo>
                    <a:pt x="269" y="766"/>
                  </a:lnTo>
                  <a:lnTo>
                    <a:pt x="276" y="785"/>
                  </a:lnTo>
                  <a:lnTo>
                    <a:pt x="284" y="804"/>
                  </a:lnTo>
                  <a:lnTo>
                    <a:pt x="292" y="822"/>
                  </a:lnTo>
                  <a:lnTo>
                    <a:pt x="302" y="840"/>
                  </a:lnTo>
                  <a:lnTo>
                    <a:pt x="312" y="857"/>
                  </a:lnTo>
                  <a:lnTo>
                    <a:pt x="323" y="874"/>
                  </a:lnTo>
                  <a:lnTo>
                    <a:pt x="334" y="889"/>
                  </a:lnTo>
                  <a:lnTo>
                    <a:pt x="346" y="904"/>
                  </a:lnTo>
                  <a:lnTo>
                    <a:pt x="360" y="919"/>
                  </a:lnTo>
                  <a:lnTo>
                    <a:pt x="373" y="932"/>
                  </a:lnTo>
                  <a:lnTo>
                    <a:pt x="387" y="945"/>
                  </a:lnTo>
                  <a:lnTo>
                    <a:pt x="403" y="957"/>
                  </a:lnTo>
                  <a:lnTo>
                    <a:pt x="419" y="968"/>
                  </a:lnTo>
                  <a:lnTo>
                    <a:pt x="435" y="977"/>
                  </a:lnTo>
                  <a:lnTo>
                    <a:pt x="453" y="986"/>
                  </a:lnTo>
                  <a:lnTo>
                    <a:pt x="471" y="993"/>
                  </a:lnTo>
                  <a:lnTo>
                    <a:pt x="490" y="1000"/>
                  </a:lnTo>
                  <a:lnTo>
                    <a:pt x="510" y="1005"/>
                  </a:lnTo>
                  <a:lnTo>
                    <a:pt x="531" y="1008"/>
                  </a:lnTo>
                  <a:lnTo>
                    <a:pt x="553" y="1010"/>
                  </a:lnTo>
                  <a:lnTo>
                    <a:pt x="575" y="1011"/>
                  </a:lnTo>
                  <a:lnTo>
                    <a:pt x="575" y="1011"/>
                  </a:lnTo>
                  <a:lnTo>
                    <a:pt x="598" y="1010"/>
                  </a:lnTo>
                  <a:lnTo>
                    <a:pt x="619" y="1008"/>
                  </a:lnTo>
                  <a:lnTo>
                    <a:pt x="640" y="1005"/>
                  </a:lnTo>
                  <a:lnTo>
                    <a:pt x="660" y="1000"/>
                  </a:lnTo>
                  <a:lnTo>
                    <a:pt x="679" y="993"/>
                  </a:lnTo>
                  <a:lnTo>
                    <a:pt x="697" y="986"/>
                  </a:lnTo>
                  <a:lnTo>
                    <a:pt x="715" y="977"/>
                  </a:lnTo>
                  <a:lnTo>
                    <a:pt x="732" y="968"/>
                  </a:lnTo>
                  <a:lnTo>
                    <a:pt x="747" y="957"/>
                  </a:lnTo>
                  <a:lnTo>
                    <a:pt x="762" y="945"/>
                  </a:lnTo>
                  <a:lnTo>
                    <a:pt x="777" y="932"/>
                  </a:lnTo>
                  <a:lnTo>
                    <a:pt x="791" y="919"/>
                  </a:lnTo>
                  <a:lnTo>
                    <a:pt x="803" y="904"/>
                  </a:lnTo>
                  <a:lnTo>
                    <a:pt x="816" y="889"/>
                  </a:lnTo>
                  <a:lnTo>
                    <a:pt x="828" y="874"/>
                  </a:lnTo>
                  <a:lnTo>
                    <a:pt x="838" y="857"/>
                  </a:lnTo>
                  <a:lnTo>
                    <a:pt x="848" y="840"/>
                  </a:lnTo>
                  <a:lnTo>
                    <a:pt x="858" y="822"/>
                  </a:lnTo>
                  <a:lnTo>
                    <a:pt x="867" y="804"/>
                  </a:lnTo>
                  <a:lnTo>
                    <a:pt x="874" y="785"/>
                  </a:lnTo>
                  <a:lnTo>
                    <a:pt x="881" y="766"/>
                  </a:lnTo>
                  <a:lnTo>
                    <a:pt x="888" y="747"/>
                  </a:lnTo>
                  <a:lnTo>
                    <a:pt x="894" y="728"/>
                  </a:lnTo>
                  <a:lnTo>
                    <a:pt x="899" y="707"/>
                  </a:lnTo>
                  <a:lnTo>
                    <a:pt x="904" y="687"/>
                  </a:lnTo>
                  <a:lnTo>
                    <a:pt x="908" y="667"/>
                  </a:lnTo>
                  <a:lnTo>
                    <a:pt x="911" y="647"/>
                  </a:lnTo>
                  <a:lnTo>
                    <a:pt x="914" y="626"/>
                  </a:lnTo>
                  <a:lnTo>
                    <a:pt x="918" y="58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8" y="507"/>
                  </a:lnTo>
                  <a:lnTo>
                    <a:pt x="914" y="467"/>
                  </a:lnTo>
                  <a:lnTo>
                    <a:pt x="911" y="446"/>
                  </a:lnTo>
                  <a:lnTo>
                    <a:pt x="908" y="426"/>
                  </a:lnTo>
                  <a:lnTo>
                    <a:pt x="904" y="407"/>
                  </a:lnTo>
                  <a:lnTo>
                    <a:pt x="899" y="386"/>
                  </a:lnTo>
                  <a:lnTo>
                    <a:pt x="894" y="367"/>
                  </a:lnTo>
                  <a:lnTo>
                    <a:pt x="888" y="346"/>
                  </a:lnTo>
                  <a:lnTo>
                    <a:pt x="881" y="327"/>
                  </a:lnTo>
                  <a:lnTo>
                    <a:pt x="874" y="308"/>
                  </a:lnTo>
                  <a:lnTo>
                    <a:pt x="867" y="290"/>
                  </a:lnTo>
                  <a:lnTo>
                    <a:pt x="858" y="272"/>
                  </a:lnTo>
                  <a:lnTo>
                    <a:pt x="848" y="253"/>
                  </a:lnTo>
                  <a:lnTo>
                    <a:pt x="838" y="237"/>
                  </a:lnTo>
                  <a:lnTo>
                    <a:pt x="828" y="219"/>
                  </a:lnTo>
                  <a:lnTo>
                    <a:pt x="816" y="204"/>
                  </a:lnTo>
                  <a:lnTo>
                    <a:pt x="803" y="189"/>
                  </a:lnTo>
                  <a:lnTo>
                    <a:pt x="791" y="174"/>
                  </a:lnTo>
                  <a:lnTo>
                    <a:pt x="777" y="161"/>
                  </a:lnTo>
                  <a:lnTo>
                    <a:pt x="762" y="148"/>
                  </a:lnTo>
                  <a:lnTo>
                    <a:pt x="747" y="137"/>
                  </a:lnTo>
                  <a:lnTo>
                    <a:pt x="732" y="125"/>
                  </a:lnTo>
                  <a:lnTo>
                    <a:pt x="715" y="116"/>
                  </a:lnTo>
                  <a:lnTo>
                    <a:pt x="697" y="108"/>
                  </a:lnTo>
                  <a:lnTo>
                    <a:pt x="679" y="100"/>
                  </a:lnTo>
                  <a:lnTo>
                    <a:pt x="660" y="94"/>
                  </a:lnTo>
                  <a:lnTo>
                    <a:pt x="640" y="90"/>
                  </a:lnTo>
                  <a:lnTo>
                    <a:pt x="619" y="86"/>
                  </a:lnTo>
                  <a:lnTo>
                    <a:pt x="598" y="83"/>
                  </a:lnTo>
                  <a:lnTo>
                    <a:pt x="575" y="82"/>
                  </a:lnTo>
                  <a:lnTo>
                    <a:pt x="575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auto">
            <a:xfrm>
              <a:off x="1552576" y="1154113"/>
              <a:ext cx="90488" cy="144463"/>
            </a:xfrm>
            <a:custGeom>
              <a:avLst/>
              <a:gdLst>
                <a:gd name="T0" fmla="*/ 38 w 683"/>
                <a:gd name="T1" fmla="*/ 752 h 1102"/>
                <a:gd name="T2" fmla="*/ 64 w 683"/>
                <a:gd name="T3" fmla="*/ 849 h 1102"/>
                <a:gd name="T4" fmla="*/ 104 w 683"/>
                <a:gd name="T5" fmla="*/ 921 h 1102"/>
                <a:gd name="T6" fmla="*/ 171 w 683"/>
                <a:gd name="T7" fmla="*/ 985 h 1102"/>
                <a:gd name="T8" fmla="*/ 273 w 683"/>
                <a:gd name="T9" fmla="*/ 1026 h 1102"/>
                <a:gd name="T10" fmla="*/ 377 w 683"/>
                <a:gd name="T11" fmla="*/ 1032 h 1102"/>
                <a:gd name="T12" fmla="*/ 476 w 683"/>
                <a:gd name="T13" fmla="*/ 1002 h 1102"/>
                <a:gd name="T14" fmla="*/ 544 w 683"/>
                <a:gd name="T15" fmla="*/ 937 h 1102"/>
                <a:gd name="T16" fmla="*/ 570 w 683"/>
                <a:gd name="T17" fmla="*/ 844 h 1102"/>
                <a:gd name="T18" fmla="*/ 556 w 683"/>
                <a:gd name="T19" fmla="*/ 787 h 1102"/>
                <a:gd name="T20" fmla="*/ 501 w 683"/>
                <a:gd name="T21" fmla="*/ 720 h 1102"/>
                <a:gd name="T22" fmla="*/ 413 w 683"/>
                <a:gd name="T23" fmla="*/ 659 h 1102"/>
                <a:gd name="T24" fmla="*/ 168 w 683"/>
                <a:gd name="T25" fmla="*/ 529 h 1102"/>
                <a:gd name="T26" fmla="*/ 86 w 683"/>
                <a:gd name="T27" fmla="*/ 455 h 1102"/>
                <a:gd name="T28" fmla="*/ 30 w 683"/>
                <a:gd name="T29" fmla="*/ 358 h 1102"/>
                <a:gd name="T30" fmla="*/ 14 w 683"/>
                <a:gd name="T31" fmla="*/ 265 h 1102"/>
                <a:gd name="T32" fmla="*/ 23 w 683"/>
                <a:gd name="T33" fmla="*/ 201 h 1102"/>
                <a:gd name="T34" fmla="*/ 46 w 683"/>
                <a:gd name="T35" fmla="*/ 142 h 1102"/>
                <a:gd name="T36" fmla="*/ 85 w 683"/>
                <a:gd name="T37" fmla="*/ 92 h 1102"/>
                <a:gd name="T38" fmla="*/ 136 w 683"/>
                <a:gd name="T39" fmla="*/ 52 h 1102"/>
                <a:gd name="T40" fmla="*/ 199 w 683"/>
                <a:gd name="T41" fmla="*/ 24 h 1102"/>
                <a:gd name="T42" fmla="*/ 269 w 683"/>
                <a:gd name="T43" fmla="*/ 9 h 1102"/>
                <a:gd name="T44" fmla="*/ 337 w 683"/>
                <a:gd name="T45" fmla="*/ 10 h 1102"/>
                <a:gd name="T46" fmla="*/ 411 w 683"/>
                <a:gd name="T47" fmla="*/ 25 h 1102"/>
                <a:gd name="T48" fmla="*/ 511 w 683"/>
                <a:gd name="T49" fmla="*/ 79 h 1102"/>
                <a:gd name="T50" fmla="*/ 540 w 683"/>
                <a:gd name="T51" fmla="*/ 46 h 1102"/>
                <a:gd name="T52" fmla="*/ 595 w 683"/>
                <a:gd name="T53" fmla="*/ 0 h 1102"/>
                <a:gd name="T54" fmla="*/ 553 w 683"/>
                <a:gd name="T55" fmla="*/ 326 h 1102"/>
                <a:gd name="T56" fmla="*/ 512 w 683"/>
                <a:gd name="T57" fmla="*/ 200 h 1102"/>
                <a:gd name="T58" fmla="*/ 473 w 683"/>
                <a:gd name="T59" fmla="*/ 145 h 1102"/>
                <a:gd name="T60" fmla="*/ 420 w 683"/>
                <a:gd name="T61" fmla="*/ 106 h 1102"/>
                <a:gd name="T62" fmla="*/ 348 w 683"/>
                <a:gd name="T63" fmla="*/ 82 h 1102"/>
                <a:gd name="T64" fmla="*/ 277 w 683"/>
                <a:gd name="T65" fmla="*/ 78 h 1102"/>
                <a:gd name="T66" fmla="*/ 200 w 683"/>
                <a:gd name="T67" fmla="*/ 104 h 1102"/>
                <a:gd name="T68" fmla="*/ 148 w 683"/>
                <a:gd name="T69" fmla="*/ 158 h 1102"/>
                <a:gd name="T70" fmla="*/ 128 w 683"/>
                <a:gd name="T71" fmla="*/ 231 h 1102"/>
                <a:gd name="T72" fmla="*/ 139 w 683"/>
                <a:gd name="T73" fmla="*/ 292 h 1102"/>
                <a:gd name="T74" fmla="*/ 191 w 683"/>
                <a:gd name="T75" fmla="*/ 355 h 1102"/>
                <a:gd name="T76" fmla="*/ 287 w 683"/>
                <a:gd name="T77" fmla="*/ 417 h 1102"/>
                <a:gd name="T78" fmla="*/ 548 w 683"/>
                <a:gd name="T79" fmla="*/ 556 h 1102"/>
                <a:gd name="T80" fmla="*/ 631 w 683"/>
                <a:gd name="T81" fmla="*/ 633 h 1102"/>
                <a:gd name="T82" fmla="*/ 674 w 683"/>
                <a:gd name="T83" fmla="*/ 720 h 1102"/>
                <a:gd name="T84" fmla="*/ 683 w 683"/>
                <a:gd name="T85" fmla="*/ 792 h 1102"/>
                <a:gd name="T86" fmla="*/ 673 w 683"/>
                <a:gd name="T87" fmla="*/ 874 h 1102"/>
                <a:gd name="T88" fmla="*/ 643 w 683"/>
                <a:gd name="T89" fmla="*/ 947 h 1102"/>
                <a:gd name="T90" fmla="*/ 597 w 683"/>
                <a:gd name="T91" fmla="*/ 1007 h 1102"/>
                <a:gd name="T92" fmla="*/ 536 w 683"/>
                <a:gd name="T93" fmla="*/ 1053 h 1102"/>
                <a:gd name="T94" fmla="*/ 466 w 683"/>
                <a:gd name="T95" fmla="*/ 1085 h 1102"/>
                <a:gd name="T96" fmla="*/ 387 w 683"/>
                <a:gd name="T97" fmla="*/ 1100 h 1102"/>
                <a:gd name="T98" fmla="*/ 307 w 683"/>
                <a:gd name="T99" fmla="*/ 1099 h 1102"/>
                <a:gd name="T100" fmla="*/ 208 w 683"/>
                <a:gd name="T101" fmla="*/ 1073 h 1102"/>
                <a:gd name="T102" fmla="*/ 95 w 683"/>
                <a:gd name="T103" fmla="*/ 1024 h 1102"/>
                <a:gd name="T104" fmla="*/ 62 w 683"/>
                <a:gd name="T105" fmla="*/ 1044 h 1102"/>
                <a:gd name="T106" fmla="*/ 35 w 683"/>
                <a:gd name="T107" fmla="*/ 110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3" h="1102">
                  <a:moveTo>
                    <a:pt x="0" y="723"/>
                  </a:moveTo>
                  <a:lnTo>
                    <a:pt x="36" y="723"/>
                  </a:lnTo>
                  <a:lnTo>
                    <a:pt x="36" y="723"/>
                  </a:lnTo>
                  <a:lnTo>
                    <a:pt x="37" y="736"/>
                  </a:lnTo>
                  <a:lnTo>
                    <a:pt x="38" y="752"/>
                  </a:lnTo>
                  <a:lnTo>
                    <a:pt x="41" y="771"/>
                  </a:lnTo>
                  <a:lnTo>
                    <a:pt x="46" y="795"/>
                  </a:lnTo>
                  <a:lnTo>
                    <a:pt x="54" y="821"/>
                  </a:lnTo>
                  <a:lnTo>
                    <a:pt x="59" y="835"/>
                  </a:lnTo>
                  <a:lnTo>
                    <a:pt x="64" y="849"/>
                  </a:lnTo>
                  <a:lnTo>
                    <a:pt x="70" y="863"/>
                  </a:lnTo>
                  <a:lnTo>
                    <a:pt x="77" y="878"/>
                  </a:lnTo>
                  <a:lnTo>
                    <a:pt x="84" y="893"/>
                  </a:lnTo>
                  <a:lnTo>
                    <a:pt x="93" y="907"/>
                  </a:lnTo>
                  <a:lnTo>
                    <a:pt x="104" y="921"/>
                  </a:lnTo>
                  <a:lnTo>
                    <a:pt x="115" y="935"/>
                  </a:lnTo>
                  <a:lnTo>
                    <a:pt x="127" y="948"/>
                  </a:lnTo>
                  <a:lnTo>
                    <a:pt x="140" y="961"/>
                  </a:lnTo>
                  <a:lnTo>
                    <a:pt x="155" y="974"/>
                  </a:lnTo>
                  <a:lnTo>
                    <a:pt x="171" y="985"/>
                  </a:lnTo>
                  <a:lnTo>
                    <a:pt x="189" y="995"/>
                  </a:lnTo>
                  <a:lnTo>
                    <a:pt x="207" y="1004"/>
                  </a:lnTo>
                  <a:lnTo>
                    <a:pt x="227" y="1012"/>
                  </a:lnTo>
                  <a:lnTo>
                    <a:pt x="250" y="1020"/>
                  </a:lnTo>
                  <a:lnTo>
                    <a:pt x="273" y="1026"/>
                  </a:lnTo>
                  <a:lnTo>
                    <a:pt x="298" y="1030"/>
                  </a:lnTo>
                  <a:lnTo>
                    <a:pt x="326" y="1032"/>
                  </a:lnTo>
                  <a:lnTo>
                    <a:pt x="354" y="1033"/>
                  </a:lnTo>
                  <a:lnTo>
                    <a:pt x="354" y="1033"/>
                  </a:lnTo>
                  <a:lnTo>
                    <a:pt x="377" y="1032"/>
                  </a:lnTo>
                  <a:lnTo>
                    <a:pt x="398" y="1030"/>
                  </a:lnTo>
                  <a:lnTo>
                    <a:pt x="420" y="1025"/>
                  </a:lnTo>
                  <a:lnTo>
                    <a:pt x="439" y="1019"/>
                  </a:lnTo>
                  <a:lnTo>
                    <a:pt x="458" y="1011"/>
                  </a:lnTo>
                  <a:lnTo>
                    <a:pt x="476" y="1002"/>
                  </a:lnTo>
                  <a:lnTo>
                    <a:pt x="492" y="992"/>
                  </a:lnTo>
                  <a:lnTo>
                    <a:pt x="508" y="980"/>
                  </a:lnTo>
                  <a:lnTo>
                    <a:pt x="522" y="966"/>
                  </a:lnTo>
                  <a:lnTo>
                    <a:pt x="533" y="952"/>
                  </a:lnTo>
                  <a:lnTo>
                    <a:pt x="544" y="937"/>
                  </a:lnTo>
                  <a:lnTo>
                    <a:pt x="553" y="919"/>
                  </a:lnTo>
                  <a:lnTo>
                    <a:pt x="560" y="902"/>
                  </a:lnTo>
                  <a:lnTo>
                    <a:pt x="565" y="884"/>
                  </a:lnTo>
                  <a:lnTo>
                    <a:pt x="569" y="864"/>
                  </a:lnTo>
                  <a:lnTo>
                    <a:pt x="570" y="844"/>
                  </a:lnTo>
                  <a:lnTo>
                    <a:pt x="570" y="844"/>
                  </a:lnTo>
                  <a:lnTo>
                    <a:pt x="569" y="828"/>
                  </a:lnTo>
                  <a:lnTo>
                    <a:pt x="566" y="814"/>
                  </a:lnTo>
                  <a:lnTo>
                    <a:pt x="562" y="800"/>
                  </a:lnTo>
                  <a:lnTo>
                    <a:pt x="556" y="787"/>
                  </a:lnTo>
                  <a:lnTo>
                    <a:pt x="547" y="772"/>
                  </a:lnTo>
                  <a:lnTo>
                    <a:pt x="538" y="759"/>
                  </a:lnTo>
                  <a:lnTo>
                    <a:pt x="527" y="746"/>
                  </a:lnTo>
                  <a:lnTo>
                    <a:pt x="515" y="732"/>
                  </a:lnTo>
                  <a:lnTo>
                    <a:pt x="501" y="720"/>
                  </a:lnTo>
                  <a:lnTo>
                    <a:pt x="486" y="707"/>
                  </a:lnTo>
                  <a:lnTo>
                    <a:pt x="470" y="695"/>
                  </a:lnTo>
                  <a:lnTo>
                    <a:pt x="452" y="682"/>
                  </a:lnTo>
                  <a:lnTo>
                    <a:pt x="434" y="670"/>
                  </a:lnTo>
                  <a:lnTo>
                    <a:pt x="413" y="659"/>
                  </a:lnTo>
                  <a:lnTo>
                    <a:pt x="372" y="634"/>
                  </a:lnTo>
                  <a:lnTo>
                    <a:pt x="206" y="550"/>
                  </a:lnTo>
                  <a:lnTo>
                    <a:pt x="206" y="550"/>
                  </a:lnTo>
                  <a:lnTo>
                    <a:pt x="186" y="540"/>
                  </a:lnTo>
                  <a:lnTo>
                    <a:pt x="168" y="529"/>
                  </a:lnTo>
                  <a:lnTo>
                    <a:pt x="151" y="516"/>
                  </a:lnTo>
                  <a:lnTo>
                    <a:pt x="133" y="502"/>
                  </a:lnTo>
                  <a:lnTo>
                    <a:pt x="117" y="488"/>
                  </a:lnTo>
                  <a:lnTo>
                    <a:pt x="101" y="472"/>
                  </a:lnTo>
                  <a:lnTo>
                    <a:pt x="86" y="455"/>
                  </a:lnTo>
                  <a:lnTo>
                    <a:pt x="72" y="438"/>
                  </a:lnTo>
                  <a:lnTo>
                    <a:pt x="60" y="419"/>
                  </a:lnTo>
                  <a:lnTo>
                    <a:pt x="48" y="400"/>
                  </a:lnTo>
                  <a:lnTo>
                    <a:pt x="38" y="380"/>
                  </a:lnTo>
                  <a:lnTo>
                    <a:pt x="30" y="358"/>
                  </a:lnTo>
                  <a:lnTo>
                    <a:pt x="23" y="336"/>
                  </a:lnTo>
                  <a:lnTo>
                    <a:pt x="18" y="313"/>
                  </a:lnTo>
                  <a:lnTo>
                    <a:pt x="15" y="290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5" y="252"/>
                  </a:lnTo>
                  <a:lnTo>
                    <a:pt x="16" y="240"/>
                  </a:lnTo>
                  <a:lnTo>
                    <a:pt x="17" y="226"/>
                  </a:lnTo>
                  <a:lnTo>
                    <a:pt x="20" y="213"/>
                  </a:lnTo>
                  <a:lnTo>
                    <a:pt x="23" y="201"/>
                  </a:lnTo>
                  <a:lnTo>
                    <a:pt x="26" y="188"/>
                  </a:lnTo>
                  <a:lnTo>
                    <a:pt x="30" y="177"/>
                  </a:lnTo>
                  <a:lnTo>
                    <a:pt x="35" y="165"/>
                  </a:lnTo>
                  <a:lnTo>
                    <a:pt x="40" y="154"/>
                  </a:lnTo>
                  <a:lnTo>
                    <a:pt x="46" y="142"/>
                  </a:lnTo>
                  <a:lnTo>
                    <a:pt x="54" y="132"/>
                  </a:lnTo>
                  <a:lnTo>
                    <a:pt x="61" y="121"/>
                  </a:lnTo>
                  <a:lnTo>
                    <a:pt x="68" y="112"/>
                  </a:lnTo>
                  <a:lnTo>
                    <a:pt x="76" y="101"/>
                  </a:lnTo>
                  <a:lnTo>
                    <a:pt x="85" y="92"/>
                  </a:lnTo>
                  <a:lnTo>
                    <a:pt x="94" y="83"/>
                  </a:lnTo>
                  <a:lnTo>
                    <a:pt x="105" y="75"/>
                  </a:lnTo>
                  <a:lnTo>
                    <a:pt x="115" y="67"/>
                  </a:lnTo>
                  <a:lnTo>
                    <a:pt x="125" y="60"/>
                  </a:lnTo>
                  <a:lnTo>
                    <a:pt x="136" y="52"/>
                  </a:lnTo>
                  <a:lnTo>
                    <a:pt x="148" y="45"/>
                  </a:lnTo>
                  <a:lnTo>
                    <a:pt x="160" y="39"/>
                  </a:lnTo>
                  <a:lnTo>
                    <a:pt x="172" y="34"/>
                  </a:lnTo>
                  <a:lnTo>
                    <a:pt x="185" y="29"/>
                  </a:lnTo>
                  <a:lnTo>
                    <a:pt x="199" y="24"/>
                  </a:lnTo>
                  <a:lnTo>
                    <a:pt x="212" y="20"/>
                  </a:lnTo>
                  <a:lnTo>
                    <a:pt x="225" y="17"/>
                  </a:lnTo>
                  <a:lnTo>
                    <a:pt x="240" y="14"/>
                  </a:lnTo>
                  <a:lnTo>
                    <a:pt x="255" y="12"/>
                  </a:lnTo>
                  <a:lnTo>
                    <a:pt x="269" y="9"/>
                  </a:lnTo>
                  <a:lnTo>
                    <a:pt x="285" y="8"/>
                  </a:lnTo>
                  <a:lnTo>
                    <a:pt x="300" y="8"/>
                  </a:lnTo>
                  <a:lnTo>
                    <a:pt x="300" y="8"/>
                  </a:lnTo>
                  <a:lnTo>
                    <a:pt x="319" y="8"/>
                  </a:lnTo>
                  <a:lnTo>
                    <a:pt x="337" y="10"/>
                  </a:lnTo>
                  <a:lnTo>
                    <a:pt x="353" y="12"/>
                  </a:lnTo>
                  <a:lnTo>
                    <a:pt x="368" y="15"/>
                  </a:lnTo>
                  <a:lnTo>
                    <a:pt x="384" y="18"/>
                  </a:lnTo>
                  <a:lnTo>
                    <a:pt x="398" y="21"/>
                  </a:lnTo>
                  <a:lnTo>
                    <a:pt x="411" y="25"/>
                  </a:lnTo>
                  <a:lnTo>
                    <a:pt x="425" y="30"/>
                  </a:lnTo>
                  <a:lnTo>
                    <a:pt x="448" y="40"/>
                  </a:lnTo>
                  <a:lnTo>
                    <a:pt x="471" y="52"/>
                  </a:lnTo>
                  <a:lnTo>
                    <a:pt x="491" y="66"/>
                  </a:lnTo>
                  <a:lnTo>
                    <a:pt x="511" y="79"/>
                  </a:lnTo>
                  <a:lnTo>
                    <a:pt x="511" y="79"/>
                  </a:lnTo>
                  <a:lnTo>
                    <a:pt x="519" y="73"/>
                  </a:lnTo>
                  <a:lnTo>
                    <a:pt x="526" y="65"/>
                  </a:lnTo>
                  <a:lnTo>
                    <a:pt x="533" y="57"/>
                  </a:lnTo>
                  <a:lnTo>
                    <a:pt x="540" y="46"/>
                  </a:lnTo>
                  <a:lnTo>
                    <a:pt x="546" y="36"/>
                  </a:lnTo>
                  <a:lnTo>
                    <a:pt x="553" y="25"/>
                  </a:lnTo>
                  <a:lnTo>
                    <a:pt x="557" y="13"/>
                  </a:lnTo>
                  <a:lnTo>
                    <a:pt x="561" y="0"/>
                  </a:lnTo>
                  <a:lnTo>
                    <a:pt x="595" y="0"/>
                  </a:lnTo>
                  <a:lnTo>
                    <a:pt x="595" y="380"/>
                  </a:lnTo>
                  <a:lnTo>
                    <a:pt x="559" y="380"/>
                  </a:lnTo>
                  <a:lnTo>
                    <a:pt x="559" y="380"/>
                  </a:lnTo>
                  <a:lnTo>
                    <a:pt x="557" y="353"/>
                  </a:lnTo>
                  <a:lnTo>
                    <a:pt x="553" y="326"/>
                  </a:lnTo>
                  <a:lnTo>
                    <a:pt x="547" y="300"/>
                  </a:lnTo>
                  <a:lnTo>
                    <a:pt x="541" y="274"/>
                  </a:lnTo>
                  <a:lnTo>
                    <a:pt x="533" y="249"/>
                  </a:lnTo>
                  <a:lnTo>
                    <a:pt x="523" y="223"/>
                  </a:lnTo>
                  <a:lnTo>
                    <a:pt x="512" y="200"/>
                  </a:lnTo>
                  <a:lnTo>
                    <a:pt x="504" y="187"/>
                  </a:lnTo>
                  <a:lnTo>
                    <a:pt x="497" y="177"/>
                  </a:lnTo>
                  <a:lnTo>
                    <a:pt x="490" y="166"/>
                  </a:lnTo>
                  <a:lnTo>
                    <a:pt x="482" y="156"/>
                  </a:lnTo>
                  <a:lnTo>
                    <a:pt x="473" y="145"/>
                  </a:lnTo>
                  <a:lnTo>
                    <a:pt x="464" y="136"/>
                  </a:lnTo>
                  <a:lnTo>
                    <a:pt x="453" y="128"/>
                  </a:lnTo>
                  <a:lnTo>
                    <a:pt x="443" y="120"/>
                  </a:lnTo>
                  <a:lnTo>
                    <a:pt x="431" y="112"/>
                  </a:lnTo>
                  <a:lnTo>
                    <a:pt x="420" y="106"/>
                  </a:lnTo>
                  <a:lnTo>
                    <a:pt x="406" y="99"/>
                  </a:lnTo>
                  <a:lnTo>
                    <a:pt x="393" y="93"/>
                  </a:lnTo>
                  <a:lnTo>
                    <a:pt x="379" y="89"/>
                  </a:lnTo>
                  <a:lnTo>
                    <a:pt x="363" y="85"/>
                  </a:lnTo>
                  <a:lnTo>
                    <a:pt x="348" y="82"/>
                  </a:lnTo>
                  <a:lnTo>
                    <a:pt x="331" y="79"/>
                  </a:lnTo>
                  <a:lnTo>
                    <a:pt x="313" y="78"/>
                  </a:lnTo>
                  <a:lnTo>
                    <a:pt x="295" y="78"/>
                  </a:lnTo>
                  <a:lnTo>
                    <a:pt x="295" y="78"/>
                  </a:lnTo>
                  <a:lnTo>
                    <a:pt x="277" y="78"/>
                  </a:lnTo>
                  <a:lnTo>
                    <a:pt x="260" y="81"/>
                  </a:lnTo>
                  <a:lnTo>
                    <a:pt x="244" y="84"/>
                  </a:lnTo>
                  <a:lnTo>
                    <a:pt x="228" y="89"/>
                  </a:lnTo>
                  <a:lnTo>
                    <a:pt x="214" y="95"/>
                  </a:lnTo>
                  <a:lnTo>
                    <a:pt x="200" y="104"/>
                  </a:lnTo>
                  <a:lnTo>
                    <a:pt x="188" y="112"/>
                  </a:lnTo>
                  <a:lnTo>
                    <a:pt x="175" y="122"/>
                  </a:lnTo>
                  <a:lnTo>
                    <a:pt x="165" y="133"/>
                  </a:lnTo>
                  <a:lnTo>
                    <a:pt x="156" y="144"/>
                  </a:lnTo>
                  <a:lnTo>
                    <a:pt x="148" y="158"/>
                  </a:lnTo>
                  <a:lnTo>
                    <a:pt x="140" y="171"/>
                  </a:lnTo>
                  <a:lnTo>
                    <a:pt x="135" y="185"/>
                  </a:lnTo>
                  <a:lnTo>
                    <a:pt x="131" y="200"/>
                  </a:lnTo>
                  <a:lnTo>
                    <a:pt x="128" y="215"/>
                  </a:lnTo>
                  <a:lnTo>
                    <a:pt x="128" y="231"/>
                  </a:lnTo>
                  <a:lnTo>
                    <a:pt x="128" y="231"/>
                  </a:lnTo>
                  <a:lnTo>
                    <a:pt x="128" y="248"/>
                  </a:lnTo>
                  <a:lnTo>
                    <a:pt x="131" y="263"/>
                  </a:lnTo>
                  <a:lnTo>
                    <a:pt x="134" y="277"/>
                  </a:lnTo>
                  <a:lnTo>
                    <a:pt x="139" y="292"/>
                  </a:lnTo>
                  <a:lnTo>
                    <a:pt x="147" y="305"/>
                  </a:lnTo>
                  <a:lnTo>
                    <a:pt x="155" y="317"/>
                  </a:lnTo>
                  <a:lnTo>
                    <a:pt x="165" y="331"/>
                  </a:lnTo>
                  <a:lnTo>
                    <a:pt x="177" y="343"/>
                  </a:lnTo>
                  <a:lnTo>
                    <a:pt x="191" y="355"/>
                  </a:lnTo>
                  <a:lnTo>
                    <a:pt x="206" y="366"/>
                  </a:lnTo>
                  <a:lnTo>
                    <a:pt x="223" y="379"/>
                  </a:lnTo>
                  <a:lnTo>
                    <a:pt x="242" y="392"/>
                  </a:lnTo>
                  <a:lnTo>
                    <a:pt x="263" y="404"/>
                  </a:lnTo>
                  <a:lnTo>
                    <a:pt x="287" y="417"/>
                  </a:lnTo>
                  <a:lnTo>
                    <a:pt x="339" y="445"/>
                  </a:lnTo>
                  <a:lnTo>
                    <a:pt x="502" y="530"/>
                  </a:lnTo>
                  <a:lnTo>
                    <a:pt x="502" y="530"/>
                  </a:lnTo>
                  <a:lnTo>
                    <a:pt x="526" y="542"/>
                  </a:lnTo>
                  <a:lnTo>
                    <a:pt x="548" y="556"/>
                  </a:lnTo>
                  <a:lnTo>
                    <a:pt x="568" y="571"/>
                  </a:lnTo>
                  <a:lnTo>
                    <a:pt x="586" y="585"/>
                  </a:lnTo>
                  <a:lnTo>
                    <a:pt x="603" y="601"/>
                  </a:lnTo>
                  <a:lnTo>
                    <a:pt x="618" y="617"/>
                  </a:lnTo>
                  <a:lnTo>
                    <a:pt x="631" y="633"/>
                  </a:lnTo>
                  <a:lnTo>
                    <a:pt x="643" y="651"/>
                  </a:lnTo>
                  <a:lnTo>
                    <a:pt x="653" y="667"/>
                  </a:lnTo>
                  <a:lnTo>
                    <a:pt x="661" y="684"/>
                  </a:lnTo>
                  <a:lnTo>
                    <a:pt x="668" y="703"/>
                  </a:lnTo>
                  <a:lnTo>
                    <a:pt x="674" y="720"/>
                  </a:lnTo>
                  <a:lnTo>
                    <a:pt x="678" y="738"/>
                  </a:lnTo>
                  <a:lnTo>
                    <a:pt x="681" y="756"/>
                  </a:lnTo>
                  <a:lnTo>
                    <a:pt x="682" y="774"/>
                  </a:lnTo>
                  <a:lnTo>
                    <a:pt x="683" y="792"/>
                  </a:lnTo>
                  <a:lnTo>
                    <a:pt x="683" y="792"/>
                  </a:lnTo>
                  <a:lnTo>
                    <a:pt x="683" y="809"/>
                  </a:lnTo>
                  <a:lnTo>
                    <a:pt x="681" y="826"/>
                  </a:lnTo>
                  <a:lnTo>
                    <a:pt x="679" y="843"/>
                  </a:lnTo>
                  <a:lnTo>
                    <a:pt x="676" y="859"/>
                  </a:lnTo>
                  <a:lnTo>
                    <a:pt x="673" y="874"/>
                  </a:lnTo>
                  <a:lnTo>
                    <a:pt x="668" y="890"/>
                  </a:lnTo>
                  <a:lnTo>
                    <a:pt x="663" y="905"/>
                  </a:lnTo>
                  <a:lnTo>
                    <a:pt x="657" y="919"/>
                  </a:lnTo>
                  <a:lnTo>
                    <a:pt x="650" y="934"/>
                  </a:lnTo>
                  <a:lnTo>
                    <a:pt x="643" y="947"/>
                  </a:lnTo>
                  <a:lnTo>
                    <a:pt x="634" y="960"/>
                  </a:lnTo>
                  <a:lnTo>
                    <a:pt x="626" y="973"/>
                  </a:lnTo>
                  <a:lnTo>
                    <a:pt x="617" y="985"/>
                  </a:lnTo>
                  <a:lnTo>
                    <a:pt x="607" y="996"/>
                  </a:lnTo>
                  <a:lnTo>
                    <a:pt x="597" y="1007"/>
                  </a:lnTo>
                  <a:lnTo>
                    <a:pt x="585" y="1018"/>
                  </a:lnTo>
                  <a:lnTo>
                    <a:pt x="574" y="1028"/>
                  </a:lnTo>
                  <a:lnTo>
                    <a:pt x="562" y="1037"/>
                  </a:lnTo>
                  <a:lnTo>
                    <a:pt x="549" y="1045"/>
                  </a:lnTo>
                  <a:lnTo>
                    <a:pt x="536" y="1053"/>
                  </a:lnTo>
                  <a:lnTo>
                    <a:pt x="523" y="1062"/>
                  </a:lnTo>
                  <a:lnTo>
                    <a:pt x="509" y="1068"/>
                  </a:lnTo>
                  <a:lnTo>
                    <a:pt x="495" y="1075"/>
                  </a:lnTo>
                  <a:lnTo>
                    <a:pt x="480" y="1080"/>
                  </a:lnTo>
                  <a:lnTo>
                    <a:pt x="466" y="1085"/>
                  </a:lnTo>
                  <a:lnTo>
                    <a:pt x="450" y="1089"/>
                  </a:lnTo>
                  <a:lnTo>
                    <a:pt x="435" y="1093"/>
                  </a:lnTo>
                  <a:lnTo>
                    <a:pt x="419" y="1096"/>
                  </a:lnTo>
                  <a:lnTo>
                    <a:pt x="403" y="1099"/>
                  </a:lnTo>
                  <a:lnTo>
                    <a:pt x="387" y="1100"/>
                  </a:lnTo>
                  <a:lnTo>
                    <a:pt x="371" y="1101"/>
                  </a:lnTo>
                  <a:lnTo>
                    <a:pt x="354" y="1102"/>
                  </a:lnTo>
                  <a:lnTo>
                    <a:pt x="354" y="1102"/>
                  </a:lnTo>
                  <a:lnTo>
                    <a:pt x="330" y="1101"/>
                  </a:lnTo>
                  <a:lnTo>
                    <a:pt x="307" y="1099"/>
                  </a:lnTo>
                  <a:lnTo>
                    <a:pt x="285" y="1095"/>
                  </a:lnTo>
                  <a:lnTo>
                    <a:pt x="264" y="1091"/>
                  </a:lnTo>
                  <a:lnTo>
                    <a:pt x="245" y="1086"/>
                  </a:lnTo>
                  <a:lnTo>
                    <a:pt x="225" y="1080"/>
                  </a:lnTo>
                  <a:lnTo>
                    <a:pt x="208" y="1073"/>
                  </a:lnTo>
                  <a:lnTo>
                    <a:pt x="191" y="1067"/>
                  </a:lnTo>
                  <a:lnTo>
                    <a:pt x="160" y="1052"/>
                  </a:lnTo>
                  <a:lnTo>
                    <a:pt x="131" y="1039"/>
                  </a:lnTo>
                  <a:lnTo>
                    <a:pt x="107" y="1028"/>
                  </a:lnTo>
                  <a:lnTo>
                    <a:pt x="95" y="1024"/>
                  </a:lnTo>
                  <a:lnTo>
                    <a:pt x="85" y="1021"/>
                  </a:lnTo>
                  <a:lnTo>
                    <a:pt x="85" y="1021"/>
                  </a:lnTo>
                  <a:lnTo>
                    <a:pt x="77" y="1028"/>
                  </a:lnTo>
                  <a:lnTo>
                    <a:pt x="70" y="1036"/>
                  </a:lnTo>
                  <a:lnTo>
                    <a:pt x="62" y="1044"/>
                  </a:lnTo>
                  <a:lnTo>
                    <a:pt x="56" y="1053"/>
                  </a:lnTo>
                  <a:lnTo>
                    <a:pt x="48" y="1065"/>
                  </a:lnTo>
                  <a:lnTo>
                    <a:pt x="43" y="1076"/>
                  </a:lnTo>
                  <a:lnTo>
                    <a:pt x="38" y="1088"/>
                  </a:lnTo>
                  <a:lnTo>
                    <a:pt x="35" y="1102"/>
                  </a:lnTo>
                  <a:lnTo>
                    <a:pt x="0" y="1102"/>
                  </a:lnTo>
                  <a:lnTo>
                    <a:pt x="0" y="7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2" name="Freeform 20"/>
            <p:cNvSpPr>
              <a:spLocks/>
            </p:cNvSpPr>
            <p:nvPr userDrawn="1"/>
          </p:nvSpPr>
          <p:spPr bwMode="auto">
            <a:xfrm>
              <a:off x="1671638" y="1158876"/>
              <a:ext cx="141288" cy="136525"/>
            </a:xfrm>
            <a:custGeom>
              <a:avLst/>
              <a:gdLst>
                <a:gd name="T0" fmla="*/ 304 w 1077"/>
                <a:gd name="T1" fmla="*/ 999 h 1035"/>
                <a:gd name="T2" fmla="*/ 352 w 1077"/>
                <a:gd name="T3" fmla="*/ 997 h 1035"/>
                <a:gd name="T4" fmla="*/ 390 w 1077"/>
                <a:gd name="T5" fmla="*/ 991 h 1035"/>
                <a:gd name="T6" fmla="*/ 419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8 w 1077"/>
                <a:gd name="T13" fmla="*/ 951 h 1035"/>
                <a:gd name="T14" fmla="*/ 460 w 1077"/>
                <a:gd name="T15" fmla="*/ 920 h 1035"/>
                <a:gd name="T16" fmla="*/ 466 w 1077"/>
                <a:gd name="T17" fmla="*/ 879 h 1035"/>
                <a:gd name="T18" fmla="*/ 469 w 1077"/>
                <a:gd name="T19" fmla="*/ 827 h 1035"/>
                <a:gd name="T20" fmla="*/ 469 w 1077"/>
                <a:gd name="T21" fmla="*/ 68 h 1035"/>
                <a:gd name="T22" fmla="*/ 245 w 1077"/>
                <a:gd name="T23" fmla="*/ 68 h 1035"/>
                <a:gd name="T24" fmla="*/ 192 w 1077"/>
                <a:gd name="T25" fmla="*/ 69 h 1035"/>
                <a:gd name="T26" fmla="*/ 150 w 1077"/>
                <a:gd name="T27" fmla="*/ 75 h 1035"/>
                <a:gd name="T28" fmla="*/ 119 w 1077"/>
                <a:gd name="T29" fmla="*/ 85 h 1035"/>
                <a:gd name="T30" fmla="*/ 94 w 1077"/>
                <a:gd name="T31" fmla="*/ 98 h 1035"/>
                <a:gd name="T32" fmla="*/ 77 w 1077"/>
                <a:gd name="T33" fmla="*/ 117 h 1035"/>
                <a:gd name="T34" fmla="*/ 64 w 1077"/>
                <a:gd name="T35" fmla="*/ 139 h 1035"/>
                <a:gd name="T36" fmla="*/ 54 w 1077"/>
                <a:gd name="T37" fmla="*/ 167 h 1035"/>
                <a:gd name="T38" fmla="*/ 37 w 1077"/>
                <a:gd name="T39" fmla="*/ 233 h 1035"/>
                <a:gd name="T40" fmla="*/ 15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3 w 1077"/>
                <a:gd name="T47" fmla="*/ 167 h 1035"/>
                <a:gd name="T48" fmla="*/ 1012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58 w 1077"/>
                <a:gd name="T55" fmla="*/ 85 h 1035"/>
                <a:gd name="T56" fmla="*/ 926 w 1077"/>
                <a:gd name="T57" fmla="*/ 75 h 1035"/>
                <a:gd name="T58" fmla="*/ 884 w 1077"/>
                <a:gd name="T59" fmla="*/ 69 h 1035"/>
                <a:gd name="T60" fmla="*/ 831 w 1077"/>
                <a:gd name="T61" fmla="*/ 68 h 1035"/>
                <a:gd name="T62" fmla="*/ 607 w 1077"/>
                <a:gd name="T63" fmla="*/ 797 h 1035"/>
                <a:gd name="T64" fmla="*/ 607 w 1077"/>
                <a:gd name="T65" fmla="*/ 827 h 1035"/>
                <a:gd name="T66" fmla="*/ 610 w 1077"/>
                <a:gd name="T67" fmla="*/ 879 h 1035"/>
                <a:gd name="T68" fmla="*/ 617 w 1077"/>
                <a:gd name="T69" fmla="*/ 920 h 1035"/>
                <a:gd name="T70" fmla="*/ 629 w 1077"/>
                <a:gd name="T71" fmla="*/ 951 h 1035"/>
                <a:gd name="T72" fmla="*/ 636 w 1077"/>
                <a:gd name="T73" fmla="*/ 962 h 1035"/>
                <a:gd name="T74" fmla="*/ 646 w 1077"/>
                <a:gd name="T75" fmla="*/ 972 h 1035"/>
                <a:gd name="T76" fmla="*/ 657 w 1077"/>
                <a:gd name="T77" fmla="*/ 981 h 1035"/>
                <a:gd name="T78" fmla="*/ 687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29" y="998"/>
                  </a:lnTo>
                  <a:lnTo>
                    <a:pt x="352" y="997"/>
                  </a:lnTo>
                  <a:lnTo>
                    <a:pt x="372" y="995"/>
                  </a:lnTo>
                  <a:lnTo>
                    <a:pt x="390" y="991"/>
                  </a:lnTo>
                  <a:lnTo>
                    <a:pt x="406" y="987"/>
                  </a:lnTo>
                  <a:lnTo>
                    <a:pt x="419" y="981"/>
                  </a:lnTo>
                  <a:lnTo>
                    <a:pt x="425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8" y="951"/>
                  </a:lnTo>
                  <a:lnTo>
                    <a:pt x="455" y="937"/>
                  </a:lnTo>
                  <a:lnTo>
                    <a:pt x="460" y="920"/>
                  </a:lnTo>
                  <a:lnTo>
                    <a:pt x="463" y="901"/>
                  </a:lnTo>
                  <a:lnTo>
                    <a:pt x="466" y="879"/>
                  </a:lnTo>
                  <a:lnTo>
                    <a:pt x="468" y="855"/>
                  </a:lnTo>
                  <a:lnTo>
                    <a:pt x="469" y="827"/>
                  </a:lnTo>
                  <a:lnTo>
                    <a:pt x="469" y="797"/>
                  </a:lnTo>
                  <a:lnTo>
                    <a:pt x="469" y="68"/>
                  </a:lnTo>
                  <a:lnTo>
                    <a:pt x="245" y="68"/>
                  </a:lnTo>
                  <a:lnTo>
                    <a:pt x="245" y="68"/>
                  </a:lnTo>
                  <a:lnTo>
                    <a:pt x="217" y="68"/>
                  </a:lnTo>
                  <a:lnTo>
                    <a:pt x="192" y="69"/>
                  </a:lnTo>
                  <a:lnTo>
                    <a:pt x="170" y="72"/>
                  </a:lnTo>
                  <a:lnTo>
                    <a:pt x="150" y="75"/>
                  </a:lnTo>
                  <a:lnTo>
                    <a:pt x="133" y="79"/>
                  </a:lnTo>
                  <a:lnTo>
                    <a:pt x="119" y="85"/>
                  </a:lnTo>
                  <a:lnTo>
                    <a:pt x="105" y="91"/>
                  </a:lnTo>
                  <a:lnTo>
                    <a:pt x="94" y="98"/>
                  </a:lnTo>
                  <a:lnTo>
                    <a:pt x="85" y="106"/>
                  </a:lnTo>
                  <a:lnTo>
                    <a:pt x="77" y="117"/>
                  </a:lnTo>
                  <a:lnTo>
                    <a:pt x="71" y="127"/>
                  </a:lnTo>
                  <a:lnTo>
                    <a:pt x="64" y="139"/>
                  </a:lnTo>
                  <a:lnTo>
                    <a:pt x="59" y="152"/>
                  </a:lnTo>
                  <a:lnTo>
                    <a:pt x="54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5" y="0"/>
                  </a:lnTo>
                  <a:lnTo>
                    <a:pt x="1061" y="0"/>
                  </a:lnTo>
                  <a:lnTo>
                    <a:pt x="1077" y="233"/>
                  </a:lnTo>
                  <a:lnTo>
                    <a:pt x="1040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3" y="167"/>
                  </a:lnTo>
                  <a:lnTo>
                    <a:pt x="1017" y="152"/>
                  </a:lnTo>
                  <a:lnTo>
                    <a:pt x="1012" y="139"/>
                  </a:lnTo>
                  <a:lnTo>
                    <a:pt x="1006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1" y="91"/>
                  </a:lnTo>
                  <a:lnTo>
                    <a:pt x="958" y="85"/>
                  </a:lnTo>
                  <a:lnTo>
                    <a:pt x="944" y="79"/>
                  </a:lnTo>
                  <a:lnTo>
                    <a:pt x="926" y="75"/>
                  </a:lnTo>
                  <a:lnTo>
                    <a:pt x="907" y="72"/>
                  </a:lnTo>
                  <a:lnTo>
                    <a:pt x="884" y="69"/>
                  </a:lnTo>
                  <a:lnTo>
                    <a:pt x="860" y="68"/>
                  </a:lnTo>
                  <a:lnTo>
                    <a:pt x="831" y="68"/>
                  </a:lnTo>
                  <a:lnTo>
                    <a:pt x="607" y="68"/>
                  </a:lnTo>
                  <a:lnTo>
                    <a:pt x="607" y="797"/>
                  </a:lnTo>
                  <a:lnTo>
                    <a:pt x="607" y="797"/>
                  </a:lnTo>
                  <a:lnTo>
                    <a:pt x="607" y="827"/>
                  </a:lnTo>
                  <a:lnTo>
                    <a:pt x="608" y="855"/>
                  </a:lnTo>
                  <a:lnTo>
                    <a:pt x="610" y="879"/>
                  </a:lnTo>
                  <a:lnTo>
                    <a:pt x="614" y="901"/>
                  </a:lnTo>
                  <a:lnTo>
                    <a:pt x="617" y="920"/>
                  </a:lnTo>
                  <a:lnTo>
                    <a:pt x="622" y="937"/>
                  </a:lnTo>
                  <a:lnTo>
                    <a:pt x="629" y="951"/>
                  </a:lnTo>
                  <a:lnTo>
                    <a:pt x="632" y="957"/>
                  </a:lnTo>
                  <a:lnTo>
                    <a:pt x="636" y="962"/>
                  </a:lnTo>
                  <a:lnTo>
                    <a:pt x="641" y="967"/>
                  </a:lnTo>
                  <a:lnTo>
                    <a:pt x="646" y="972"/>
                  </a:lnTo>
                  <a:lnTo>
                    <a:pt x="651" y="977"/>
                  </a:lnTo>
                  <a:lnTo>
                    <a:pt x="657" y="981"/>
                  </a:lnTo>
                  <a:lnTo>
                    <a:pt x="671" y="987"/>
                  </a:lnTo>
                  <a:lnTo>
                    <a:pt x="687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7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1811338" y="1154113"/>
              <a:ext cx="157163" cy="141288"/>
            </a:xfrm>
            <a:custGeom>
              <a:avLst/>
              <a:gdLst>
                <a:gd name="T0" fmla="*/ 0 w 1196"/>
                <a:gd name="T1" fmla="*/ 1029 h 1065"/>
                <a:gd name="T2" fmla="*/ 48 w 1196"/>
                <a:gd name="T3" fmla="*/ 1027 h 1065"/>
                <a:gd name="T4" fmla="*/ 86 w 1196"/>
                <a:gd name="T5" fmla="*/ 1022 h 1065"/>
                <a:gd name="T6" fmla="*/ 115 w 1196"/>
                <a:gd name="T7" fmla="*/ 1013 h 1065"/>
                <a:gd name="T8" fmla="*/ 137 w 1196"/>
                <a:gd name="T9" fmla="*/ 999 h 1065"/>
                <a:gd name="T10" fmla="*/ 156 w 1196"/>
                <a:gd name="T11" fmla="*/ 979 h 1065"/>
                <a:gd name="T12" fmla="*/ 172 w 1196"/>
                <a:gd name="T13" fmla="*/ 953 h 1065"/>
                <a:gd name="T14" fmla="*/ 188 w 1196"/>
                <a:gd name="T15" fmla="*/ 920 h 1065"/>
                <a:gd name="T16" fmla="*/ 586 w 1196"/>
                <a:gd name="T17" fmla="*/ 0 h 1065"/>
                <a:gd name="T18" fmla="*/ 990 w 1196"/>
                <a:gd name="T19" fmla="*/ 879 h 1065"/>
                <a:gd name="T20" fmla="*/ 1008 w 1196"/>
                <a:gd name="T21" fmla="*/ 920 h 1065"/>
                <a:gd name="T22" fmla="*/ 1025 w 1196"/>
                <a:gd name="T23" fmla="*/ 953 h 1065"/>
                <a:gd name="T24" fmla="*/ 1041 w 1196"/>
                <a:gd name="T25" fmla="*/ 979 h 1065"/>
                <a:gd name="T26" fmla="*/ 1060 w 1196"/>
                <a:gd name="T27" fmla="*/ 999 h 1065"/>
                <a:gd name="T28" fmla="*/ 1082 w 1196"/>
                <a:gd name="T29" fmla="*/ 1013 h 1065"/>
                <a:gd name="T30" fmla="*/ 1111 w 1196"/>
                <a:gd name="T31" fmla="*/ 1022 h 1065"/>
                <a:gd name="T32" fmla="*/ 1148 w 1196"/>
                <a:gd name="T33" fmla="*/ 1027 h 1065"/>
                <a:gd name="T34" fmla="*/ 1196 w 1196"/>
                <a:gd name="T35" fmla="*/ 1029 h 1065"/>
                <a:gd name="T36" fmla="*/ 717 w 1196"/>
                <a:gd name="T37" fmla="*/ 1065 h 1065"/>
                <a:gd name="T38" fmla="*/ 717 w 1196"/>
                <a:gd name="T39" fmla="*/ 1029 h 1065"/>
                <a:gd name="T40" fmla="*/ 766 w 1196"/>
                <a:gd name="T41" fmla="*/ 1027 h 1065"/>
                <a:gd name="T42" fmla="*/ 805 w 1196"/>
                <a:gd name="T43" fmla="*/ 1022 h 1065"/>
                <a:gd name="T44" fmla="*/ 834 w 1196"/>
                <a:gd name="T45" fmla="*/ 1013 h 1065"/>
                <a:gd name="T46" fmla="*/ 854 w 1196"/>
                <a:gd name="T47" fmla="*/ 998 h 1065"/>
                <a:gd name="T48" fmla="*/ 865 w 1196"/>
                <a:gd name="T49" fmla="*/ 981 h 1065"/>
                <a:gd name="T50" fmla="*/ 868 w 1196"/>
                <a:gd name="T51" fmla="*/ 958 h 1065"/>
                <a:gd name="T52" fmla="*/ 864 w 1196"/>
                <a:gd name="T53" fmla="*/ 931 h 1065"/>
                <a:gd name="T54" fmla="*/ 852 w 1196"/>
                <a:gd name="T55" fmla="*/ 897 h 1065"/>
                <a:gd name="T56" fmla="*/ 352 w 1196"/>
                <a:gd name="T57" fmla="*/ 706 h 1065"/>
                <a:gd name="T58" fmla="*/ 269 w 1196"/>
                <a:gd name="T59" fmla="*/ 897 h 1065"/>
                <a:gd name="T60" fmla="*/ 257 w 1196"/>
                <a:gd name="T61" fmla="*/ 930 h 1065"/>
                <a:gd name="T62" fmla="*/ 253 w 1196"/>
                <a:gd name="T63" fmla="*/ 957 h 1065"/>
                <a:gd name="T64" fmla="*/ 256 w 1196"/>
                <a:gd name="T65" fmla="*/ 980 h 1065"/>
                <a:gd name="T66" fmla="*/ 267 w 1196"/>
                <a:gd name="T67" fmla="*/ 998 h 1065"/>
                <a:gd name="T68" fmla="*/ 288 w 1196"/>
                <a:gd name="T69" fmla="*/ 1012 h 1065"/>
                <a:gd name="T70" fmla="*/ 316 w 1196"/>
                <a:gd name="T71" fmla="*/ 1021 h 1065"/>
                <a:gd name="T72" fmla="*/ 355 w 1196"/>
                <a:gd name="T73" fmla="*/ 1027 h 1065"/>
                <a:gd name="T74" fmla="*/ 403 w 1196"/>
                <a:gd name="T75" fmla="*/ 1029 h 1065"/>
                <a:gd name="T76" fmla="*/ 0 w 1196"/>
                <a:gd name="T77" fmla="*/ 1065 h 1065"/>
                <a:gd name="T78" fmla="*/ 740 w 1196"/>
                <a:gd name="T79" fmla="*/ 643 h 1065"/>
                <a:gd name="T80" fmla="*/ 380 w 1196"/>
                <a:gd name="T81" fmla="*/ 643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6" h="1065">
                  <a:moveTo>
                    <a:pt x="0" y="1029"/>
                  </a:moveTo>
                  <a:lnTo>
                    <a:pt x="0" y="1029"/>
                  </a:lnTo>
                  <a:lnTo>
                    <a:pt x="26" y="1028"/>
                  </a:lnTo>
                  <a:lnTo>
                    <a:pt x="48" y="1027"/>
                  </a:lnTo>
                  <a:lnTo>
                    <a:pt x="68" y="1025"/>
                  </a:lnTo>
                  <a:lnTo>
                    <a:pt x="86" y="1022"/>
                  </a:lnTo>
                  <a:lnTo>
                    <a:pt x="102" y="1018"/>
                  </a:lnTo>
                  <a:lnTo>
                    <a:pt x="115" y="1013"/>
                  </a:lnTo>
                  <a:lnTo>
                    <a:pt x="127" y="1007"/>
                  </a:lnTo>
                  <a:lnTo>
                    <a:pt x="137" y="999"/>
                  </a:lnTo>
                  <a:lnTo>
                    <a:pt x="148" y="990"/>
                  </a:lnTo>
                  <a:lnTo>
                    <a:pt x="156" y="979"/>
                  </a:lnTo>
                  <a:lnTo>
                    <a:pt x="164" y="967"/>
                  </a:lnTo>
                  <a:lnTo>
                    <a:pt x="172" y="953"/>
                  </a:lnTo>
                  <a:lnTo>
                    <a:pt x="180" y="937"/>
                  </a:lnTo>
                  <a:lnTo>
                    <a:pt x="188" y="920"/>
                  </a:lnTo>
                  <a:lnTo>
                    <a:pt x="207" y="879"/>
                  </a:lnTo>
                  <a:lnTo>
                    <a:pt x="586" y="0"/>
                  </a:lnTo>
                  <a:lnTo>
                    <a:pt x="609" y="0"/>
                  </a:lnTo>
                  <a:lnTo>
                    <a:pt x="990" y="879"/>
                  </a:lnTo>
                  <a:lnTo>
                    <a:pt x="990" y="879"/>
                  </a:lnTo>
                  <a:lnTo>
                    <a:pt x="1008" y="920"/>
                  </a:lnTo>
                  <a:lnTo>
                    <a:pt x="1017" y="937"/>
                  </a:lnTo>
                  <a:lnTo>
                    <a:pt x="1025" y="953"/>
                  </a:lnTo>
                  <a:lnTo>
                    <a:pt x="1033" y="967"/>
                  </a:lnTo>
                  <a:lnTo>
                    <a:pt x="1041" y="979"/>
                  </a:lnTo>
                  <a:lnTo>
                    <a:pt x="1049" y="990"/>
                  </a:lnTo>
                  <a:lnTo>
                    <a:pt x="1060" y="999"/>
                  </a:lnTo>
                  <a:lnTo>
                    <a:pt x="1070" y="1007"/>
                  </a:lnTo>
                  <a:lnTo>
                    <a:pt x="1082" y="1013"/>
                  </a:lnTo>
                  <a:lnTo>
                    <a:pt x="1095" y="1018"/>
                  </a:lnTo>
                  <a:lnTo>
                    <a:pt x="1111" y="1022"/>
                  </a:lnTo>
                  <a:lnTo>
                    <a:pt x="1128" y="1025"/>
                  </a:lnTo>
                  <a:lnTo>
                    <a:pt x="1148" y="1027"/>
                  </a:lnTo>
                  <a:lnTo>
                    <a:pt x="1170" y="1028"/>
                  </a:lnTo>
                  <a:lnTo>
                    <a:pt x="1196" y="1029"/>
                  </a:lnTo>
                  <a:lnTo>
                    <a:pt x="1196" y="1065"/>
                  </a:lnTo>
                  <a:lnTo>
                    <a:pt x="717" y="1065"/>
                  </a:lnTo>
                  <a:lnTo>
                    <a:pt x="717" y="1029"/>
                  </a:lnTo>
                  <a:lnTo>
                    <a:pt x="717" y="1029"/>
                  </a:lnTo>
                  <a:lnTo>
                    <a:pt x="743" y="1028"/>
                  </a:lnTo>
                  <a:lnTo>
                    <a:pt x="766" y="1027"/>
                  </a:lnTo>
                  <a:lnTo>
                    <a:pt x="787" y="1025"/>
                  </a:lnTo>
                  <a:lnTo>
                    <a:pt x="805" y="1022"/>
                  </a:lnTo>
                  <a:lnTo>
                    <a:pt x="820" y="1018"/>
                  </a:lnTo>
                  <a:lnTo>
                    <a:pt x="834" y="1013"/>
                  </a:lnTo>
                  <a:lnTo>
                    <a:pt x="845" y="1006"/>
                  </a:lnTo>
                  <a:lnTo>
                    <a:pt x="854" y="998"/>
                  </a:lnTo>
                  <a:lnTo>
                    <a:pt x="861" y="990"/>
                  </a:lnTo>
                  <a:lnTo>
                    <a:pt x="865" y="981"/>
                  </a:lnTo>
                  <a:lnTo>
                    <a:pt x="868" y="970"/>
                  </a:lnTo>
                  <a:lnTo>
                    <a:pt x="868" y="958"/>
                  </a:lnTo>
                  <a:lnTo>
                    <a:pt x="867" y="945"/>
                  </a:lnTo>
                  <a:lnTo>
                    <a:pt x="864" y="931"/>
                  </a:lnTo>
                  <a:lnTo>
                    <a:pt x="859" y="915"/>
                  </a:lnTo>
                  <a:lnTo>
                    <a:pt x="852" y="897"/>
                  </a:lnTo>
                  <a:lnTo>
                    <a:pt x="769" y="706"/>
                  </a:lnTo>
                  <a:lnTo>
                    <a:pt x="352" y="706"/>
                  </a:lnTo>
                  <a:lnTo>
                    <a:pt x="269" y="897"/>
                  </a:lnTo>
                  <a:lnTo>
                    <a:pt x="269" y="897"/>
                  </a:lnTo>
                  <a:lnTo>
                    <a:pt x="262" y="915"/>
                  </a:lnTo>
                  <a:lnTo>
                    <a:pt x="257" y="930"/>
                  </a:lnTo>
                  <a:lnTo>
                    <a:pt x="254" y="944"/>
                  </a:lnTo>
                  <a:lnTo>
                    <a:pt x="253" y="957"/>
                  </a:lnTo>
                  <a:lnTo>
                    <a:pt x="253" y="969"/>
                  </a:lnTo>
                  <a:lnTo>
                    <a:pt x="256" y="980"/>
                  </a:lnTo>
                  <a:lnTo>
                    <a:pt x="260" y="989"/>
                  </a:lnTo>
                  <a:lnTo>
                    <a:pt x="267" y="998"/>
                  </a:lnTo>
                  <a:lnTo>
                    <a:pt x="276" y="1006"/>
                  </a:lnTo>
                  <a:lnTo>
                    <a:pt x="288" y="1012"/>
                  </a:lnTo>
                  <a:lnTo>
                    <a:pt x="301" y="1017"/>
                  </a:lnTo>
                  <a:lnTo>
                    <a:pt x="316" y="1021"/>
                  </a:lnTo>
                  <a:lnTo>
                    <a:pt x="335" y="1025"/>
                  </a:lnTo>
                  <a:lnTo>
                    <a:pt x="355" y="1027"/>
                  </a:lnTo>
                  <a:lnTo>
                    <a:pt x="378" y="1028"/>
                  </a:lnTo>
                  <a:lnTo>
                    <a:pt x="403" y="1029"/>
                  </a:lnTo>
                  <a:lnTo>
                    <a:pt x="403" y="1065"/>
                  </a:lnTo>
                  <a:lnTo>
                    <a:pt x="0" y="1065"/>
                  </a:lnTo>
                  <a:lnTo>
                    <a:pt x="0" y="1029"/>
                  </a:lnTo>
                  <a:close/>
                  <a:moveTo>
                    <a:pt x="740" y="643"/>
                  </a:moveTo>
                  <a:lnTo>
                    <a:pt x="559" y="226"/>
                  </a:lnTo>
                  <a:lnTo>
                    <a:pt x="380" y="643"/>
                  </a:lnTo>
                  <a:lnTo>
                    <a:pt x="740" y="6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4" name="Freeform 22"/>
            <p:cNvSpPr>
              <a:spLocks/>
            </p:cNvSpPr>
            <p:nvPr userDrawn="1"/>
          </p:nvSpPr>
          <p:spPr bwMode="auto">
            <a:xfrm>
              <a:off x="1966913" y="1158876"/>
              <a:ext cx="142875" cy="136525"/>
            </a:xfrm>
            <a:custGeom>
              <a:avLst/>
              <a:gdLst>
                <a:gd name="T0" fmla="*/ 304 w 1077"/>
                <a:gd name="T1" fmla="*/ 999 h 1035"/>
                <a:gd name="T2" fmla="*/ 353 w 1077"/>
                <a:gd name="T3" fmla="*/ 997 h 1035"/>
                <a:gd name="T4" fmla="*/ 391 w 1077"/>
                <a:gd name="T5" fmla="*/ 991 h 1035"/>
                <a:gd name="T6" fmla="*/ 420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9 w 1077"/>
                <a:gd name="T13" fmla="*/ 951 h 1035"/>
                <a:gd name="T14" fmla="*/ 461 w 1077"/>
                <a:gd name="T15" fmla="*/ 920 h 1035"/>
                <a:gd name="T16" fmla="*/ 467 w 1077"/>
                <a:gd name="T17" fmla="*/ 879 h 1035"/>
                <a:gd name="T18" fmla="*/ 470 w 1077"/>
                <a:gd name="T19" fmla="*/ 827 h 1035"/>
                <a:gd name="T20" fmla="*/ 470 w 1077"/>
                <a:gd name="T21" fmla="*/ 68 h 1035"/>
                <a:gd name="T22" fmla="*/ 246 w 1077"/>
                <a:gd name="T23" fmla="*/ 68 h 1035"/>
                <a:gd name="T24" fmla="*/ 193 w 1077"/>
                <a:gd name="T25" fmla="*/ 69 h 1035"/>
                <a:gd name="T26" fmla="*/ 151 w 1077"/>
                <a:gd name="T27" fmla="*/ 75 h 1035"/>
                <a:gd name="T28" fmla="*/ 119 w 1077"/>
                <a:gd name="T29" fmla="*/ 85 h 1035"/>
                <a:gd name="T30" fmla="*/ 95 w 1077"/>
                <a:gd name="T31" fmla="*/ 98 h 1035"/>
                <a:gd name="T32" fmla="*/ 78 w 1077"/>
                <a:gd name="T33" fmla="*/ 117 h 1035"/>
                <a:gd name="T34" fmla="*/ 65 w 1077"/>
                <a:gd name="T35" fmla="*/ 139 h 1035"/>
                <a:gd name="T36" fmla="*/ 55 w 1077"/>
                <a:gd name="T37" fmla="*/ 167 h 1035"/>
                <a:gd name="T38" fmla="*/ 37 w 1077"/>
                <a:gd name="T39" fmla="*/ 233 h 1035"/>
                <a:gd name="T40" fmla="*/ 17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4 w 1077"/>
                <a:gd name="T47" fmla="*/ 167 h 1035"/>
                <a:gd name="T48" fmla="*/ 1014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60 w 1077"/>
                <a:gd name="T55" fmla="*/ 85 h 1035"/>
                <a:gd name="T56" fmla="*/ 927 w 1077"/>
                <a:gd name="T57" fmla="*/ 75 h 1035"/>
                <a:gd name="T58" fmla="*/ 886 w 1077"/>
                <a:gd name="T59" fmla="*/ 69 h 1035"/>
                <a:gd name="T60" fmla="*/ 833 w 1077"/>
                <a:gd name="T61" fmla="*/ 68 h 1035"/>
                <a:gd name="T62" fmla="*/ 608 w 1077"/>
                <a:gd name="T63" fmla="*/ 797 h 1035"/>
                <a:gd name="T64" fmla="*/ 609 w 1077"/>
                <a:gd name="T65" fmla="*/ 827 h 1035"/>
                <a:gd name="T66" fmla="*/ 611 w 1077"/>
                <a:gd name="T67" fmla="*/ 879 h 1035"/>
                <a:gd name="T68" fmla="*/ 618 w 1077"/>
                <a:gd name="T69" fmla="*/ 920 h 1035"/>
                <a:gd name="T70" fmla="*/ 629 w 1077"/>
                <a:gd name="T71" fmla="*/ 951 h 1035"/>
                <a:gd name="T72" fmla="*/ 637 w 1077"/>
                <a:gd name="T73" fmla="*/ 962 h 1035"/>
                <a:gd name="T74" fmla="*/ 647 w 1077"/>
                <a:gd name="T75" fmla="*/ 972 h 1035"/>
                <a:gd name="T76" fmla="*/ 658 w 1077"/>
                <a:gd name="T77" fmla="*/ 981 h 1035"/>
                <a:gd name="T78" fmla="*/ 688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30" y="998"/>
                  </a:lnTo>
                  <a:lnTo>
                    <a:pt x="353" y="997"/>
                  </a:lnTo>
                  <a:lnTo>
                    <a:pt x="373" y="995"/>
                  </a:lnTo>
                  <a:lnTo>
                    <a:pt x="391" y="991"/>
                  </a:lnTo>
                  <a:lnTo>
                    <a:pt x="406" y="987"/>
                  </a:lnTo>
                  <a:lnTo>
                    <a:pt x="420" y="981"/>
                  </a:lnTo>
                  <a:lnTo>
                    <a:pt x="426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9" y="951"/>
                  </a:lnTo>
                  <a:lnTo>
                    <a:pt x="455" y="937"/>
                  </a:lnTo>
                  <a:lnTo>
                    <a:pt x="461" y="920"/>
                  </a:lnTo>
                  <a:lnTo>
                    <a:pt x="465" y="901"/>
                  </a:lnTo>
                  <a:lnTo>
                    <a:pt x="467" y="879"/>
                  </a:lnTo>
                  <a:lnTo>
                    <a:pt x="469" y="855"/>
                  </a:lnTo>
                  <a:lnTo>
                    <a:pt x="470" y="827"/>
                  </a:lnTo>
                  <a:lnTo>
                    <a:pt x="470" y="797"/>
                  </a:lnTo>
                  <a:lnTo>
                    <a:pt x="470" y="68"/>
                  </a:lnTo>
                  <a:lnTo>
                    <a:pt x="246" y="68"/>
                  </a:lnTo>
                  <a:lnTo>
                    <a:pt x="246" y="68"/>
                  </a:lnTo>
                  <a:lnTo>
                    <a:pt x="217" y="68"/>
                  </a:lnTo>
                  <a:lnTo>
                    <a:pt x="193" y="69"/>
                  </a:lnTo>
                  <a:lnTo>
                    <a:pt x="170" y="72"/>
                  </a:lnTo>
                  <a:lnTo>
                    <a:pt x="151" y="75"/>
                  </a:lnTo>
                  <a:lnTo>
                    <a:pt x="134" y="79"/>
                  </a:lnTo>
                  <a:lnTo>
                    <a:pt x="119" y="85"/>
                  </a:lnTo>
                  <a:lnTo>
                    <a:pt x="107" y="91"/>
                  </a:lnTo>
                  <a:lnTo>
                    <a:pt x="95" y="98"/>
                  </a:lnTo>
                  <a:lnTo>
                    <a:pt x="86" y="106"/>
                  </a:lnTo>
                  <a:lnTo>
                    <a:pt x="78" y="117"/>
                  </a:lnTo>
                  <a:lnTo>
                    <a:pt x="71" y="127"/>
                  </a:lnTo>
                  <a:lnTo>
                    <a:pt x="65" y="139"/>
                  </a:lnTo>
                  <a:lnTo>
                    <a:pt x="60" y="152"/>
                  </a:lnTo>
                  <a:lnTo>
                    <a:pt x="55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7" y="0"/>
                  </a:lnTo>
                  <a:lnTo>
                    <a:pt x="1062" y="0"/>
                  </a:lnTo>
                  <a:lnTo>
                    <a:pt x="1077" y="233"/>
                  </a:lnTo>
                  <a:lnTo>
                    <a:pt x="1041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4" y="167"/>
                  </a:lnTo>
                  <a:lnTo>
                    <a:pt x="1019" y="152"/>
                  </a:lnTo>
                  <a:lnTo>
                    <a:pt x="1014" y="139"/>
                  </a:lnTo>
                  <a:lnTo>
                    <a:pt x="1008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2" y="91"/>
                  </a:lnTo>
                  <a:lnTo>
                    <a:pt x="960" y="85"/>
                  </a:lnTo>
                  <a:lnTo>
                    <a:pt x="944" y="79"/>
                  </a:lnTo>
                  <a:lnTo>
                    <a:pt x="927" y="75"/>
                  </a:lnTo>
                  <a:lnTo>
                    <a:pt x="907" y="72"/>
                  </a:lnTo>
                  <a:lnTo>
                    <a:pt x="886" y="69"/>
                  </a:lnTo>
                  <a:lnTo>
                    <a:pt x="860" y="68"/>
                  </a:lnTo>
                  <a:lnTo>
                    <a:pt x="833" y="68"/>
                  </a:lnTo>
                  <a:lnTo>
                    <a:pt x="608" y="68"/>
                  </a:lnTo>
                  <a:lnTo>
                    <a:pt x="608" y="797"/>
                  </a:lnTo>
                  <a:lnTo>
                    <a:pt x="608" y="797"/>
                  </a:lnTo>
                  <a:lnTo>
                    <a:pt x="609" y="827"/>
                  </a:lnTo>
                  <a:lnTo>
                    <a:pt x="609" y="855"/>
                  </a:lnTo>
                  <a:lnTo>
                    <a:pt x="611" y="879"/>
                  </a:lnTo>
                  <a:lnTo>
                    <a:pt x="614" y="901"/>
                  </a:lnTo>
                  <a:lnTo>
                    <a:pt x="618" y="920"/>
                  </a:lnTo>
                  <a:lnTo>
                    <a:pt x="623" y="937"/>
                  </a:lnTo>
                  <a:lnTo>
                    <a:pt x="629" y="951"/>
                  </a:lnTo>
                  <a:lnTo>
                    <a:pt x="633" y="957"/>
                  </a:lnTo>
                  <a:lnTo>
                    <a:pt x="637" y="962"/>
                  </a:lnTo>
                  <a:lnTo>
                    <a:pt x="642" y="967"/>
                  </a:lnTo>
                  <a:lnTo>
                    <a:pt x="647" y="972"/>
                  </a:lnTo>
                  <a:lnTo>
                    <a:pt x="653" y="977"/>
                  </a:lnTo>
                  <a:lnTo>
                    <a:pt x="658" y="981"/>
                  </a:lnTo>
                  <a:lnTo>
                    <a:pt x="672" y="987"/>
                  </a:lnTo>
                  <a:lnTo>
                    <a:pt x="688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8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5" name="Freeform 23"/>
            <p:cNvSpPr>
              <a:spLocks/>
            </p:cNvSpPr>
            <p:nvPr userDrawn="1"/>
          </p:nvSpPr>
          <p:spPr bwMode="auto">
            <a:xfrm>
              <a:off x="2141538" y="1154113"/>
              <a:ext cx="88900" cy="144463"/>
            </a:xfrm>
            <a:custGeom>
              <a:avLst/>
              <a:gdLst>
                <a:gd name="T0" fmla="*/ 39 w 683"/>
                <a:gd name="T1" fmla="*/ 752 h 1102"/>
                <a:gd name="T2" fmla="*/ 64 w 683"/>
                <a:gd name="T3" fmla="*/ 849 h 1102"/>
                <a:gd name="T4" fmla="*/ 104 w 683"/>
                <a:gd name="T5" fmla="*/ 921 h 1102"/>
                <a:gd name="T6" fmla="*/ 171 w 683"/>
                <a:gd name="T7" fmla="*/ 985 h 1102"/>
                <a:gd name="T8" fmla="*/ 273 w 683"/>
                <a:gd name="T9" fmla="*/ 1026 h 1102"/>
                <a:gd name="T10" fmla="*/ 377 w 683"/>
                <a:gd name="T11" fmla="*/ 1032 h 1102"/>
                <a:gd name="T12" fmla="*/ 476 w 683"/>
                <a:gd name="T13" fmla="*/ 1002 h 1102"/>
                <a:gd name="T14" fmla="*/ 544 w 683"/>
                <a:gd name="T15" fmla="*/ 937 h 1102"/>
                <a:gd name="T16" fmla="*/ 570 w 683"/>
                <a:gd name="T17" fmla="*/ 844 h 1102"/>
                <a:gd name="T18" fmla="*/ 555 w 683"/>
                <a:gd name="T19" fmla="*/ 787 h 1102"/>
                <a:gd name="T20" fmla="*/ 501 w 683"/>
                <a:gd name="T21" fmla="*/ 720 h 1102"/>
                <a:gd name="T22" fmla="*/ 413 w 683"/>
                <a:gd name="T23" fmla="*/ 659 h 1102"/>
                <a:gd name="T24" fmla="*/ 169 w 683"/>
                <a:gd name="T25" fmla="*/ 529 h 1102"/>
                <a:gd name="T26" fmla="*/ 86 w 683"/>
                <a:gd name="T27" fmla="*/ 455 h 1102"/>
                <a:gd name="T28" fmla="*/ 30 w 683"/>
                <a:gd name="T29" fmla="*/ 358 h 1102"/>
                <a:gd name="T30" fmla="*/ 14 w 683"/>
                <a:gd name="T31" fmla="*/ 265 h 1102"/>
                <a:gd name="T32" fmla="*/ 23 w 683"/>
                <a:gd name="T33" fmla="*/ 201 h 1102"/>
                <a:gd name="T34" fmla="*/ 46 w 683"/>
                <a:gd name="T35" fmla="*/ 142 h 1102"/>
                <a:gd name="T36" fmla="*/ 85 w 683"/>
                <a:gd name="T37" fmla="*/ 92 h 1102"/>
                <a:gd name="T38" fmla="*/ 136 w 683"/>
                <a:gd name="T39" fmla="*/ 52 h 1102"/>
                <a:gd name="T40" fmla="*/ 199 w 683"/>
                <a:gd name="T41" fmla="*/ 24 h 1102"/>
                <a:gd name="T42" fmla="*/ 269 w 683"/>
                <a:gd name="T43" fmla="*/ 9 h 1102"/>
                <a:gd name="T44" fmla="*/ 337 w 683"/>
                <a:gd name="T45" fmla="*/ 10 h 1102"/>
                <a:gd name="T46" fmla="*/ 411 w 683"/>
                <a:gd name="T47" fmla="*/ 25 h 1102"/>
                <a:gd name="T48" fmla="*/ 510 w 683"/>
                <a:gd name="T49" fmla="*/ 79 h 1102"/>
                <a:gd name="T50" fmla="*/ 540 w 683"/>
                <a:gd name="T51" fmla="*/ 46 h 1102"/>
                <a:gd name="T52" fmla="*/ 595 w 683"/>
                <a:gd name="T53" fmla="*/ 0 h 1102"/>
                <a:gd name="T54" fmla="*/ 552 w 683"/>
                <a:gd name="T55" fmla="*/ 326 h 1102"/>
                <a:gd name="T56" fmla="*/ 511 w 683"/>
                <a:gd name="T57" fmla="*/ 200 h 1102"/>
                <a:gd name="T58" fmla="*/ 473 w 683"/>
                <a:gd name="T59" fmla="*/ 145 h 1102"/>
                <a:gd name="T60" fmla="*/ 419 w 683"/>
                <a:gd name="T61" fmla="*/ 106 h 1102"/>
                <a:gd name="T62" fmla="*/ 348 w 683"/>
                <a:gd name="T63" fmla="*/ 82 h 1102"/>
                <a:gd name="T64" fmla="*/ 277 w 683"/>
                <a:gd name="T65" fmla="*/ 78 h 1102"/>
                <a:gd name="T66" fmla="*/ 200 w 683"/>
                <a:gd name="T67" fmla="*/ 104 h 1102"/>
                <a:gd name="T68" fmla="*/ 147 w 683"/>
                <a:gd name="T69" fmla="*/ 158 h 1102"/>
                <a:gd name="T70" fmla="*/ 128 w 683"/>
                <a:gd name="T71" fmla="*/ 231 h 1102"/>
                <a:gd name="T72" fmla="*/ 139 w 683"/>
                <a:gd name="T73" fmla="*/ 292 h 1102"/>
                <a:gd name="T74" fmla="*/ 190 w 683"/>
                <a:gd name="T75" fmla="*/ 355 h 1102"/>
                <a:gd name="T76" fmla="*/ 287 w 683"/>
                <a:gd name="T77" fmla="*/ 417 h 1102"/>
                <a:gd name="T78" fmla="*/ 548 w 683"/>
                <a:gd name="T79" fmla="*/ 556 h 1102"/>
                <a:gd name="T80" fmla="*/ 631 w 683"/>
                <a:gd name="T81" fmla="*/ 633 h 1102"/>
                <a:gd name="T82" fmla="*/ 674 w 683"/>
                <a:gd name="T83" fmla="*/ 720 h 1102"/>
                <a:gd name="T84" fmla="*/ 683 w 683"/>
                <a:gd name="T85" fmla="*/ 792 h 1102"/>
                <a:gd name="T86" fmla="*/ 673 w 683"/>
                <a:gd name="T87" fmla="*/ 874 h 1102"/>
                <a:gd name="T88" fmla="*/ 642 w 683"/>
                <a:gd name="T89" fmla="*/ 947 h 1102"/>
                <a:gd name="T90" fmla="*/ 596 w 683"/>
                <a:gd name="T91" fmla="*/ 1007 h 1102"/>
                <a:gd name="T92" fmla="*/ 536 w 683"/>
                <a:gd name="T93" fmla="*/ 1053 h 1102"/>
                <a:gd name="T94" fmla="*/ 465 w 683"/>
                <a:gd name="T95" fmla="*/ 1085 h 1102"/>
                <a:gd name="T96" fmla="*/ 387 w 683"/>
                <a:gd name="T97" fmla="*/ 1100 h 1102"/>
                <a:gd name="T98" fmla="*/ 307 w 683"/>
                <a:gd name="T99" fmla="*/ 1099 h 1102"/>
                <a:gd name="T100" fmla="*/ 208 w 683"/>
                <a:gd name="T101" fmla="*/ 1073 h 1102"/>
                <a:gd name="T102" fmla="*/ 95 w 683"/>
                <a:gd name="T103" fmla="*/ 1024 h 1102"/>
                <a:gd name="T104" fmla="*/ 62 w 683"/>
                <a:gd name="T105" fmla="*/ 1044 h 1102"/>
                <a:gd name="T106" fmla="*/ 35 w 683"/>
                <a:gd name="T107" fmla="*/ 110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3" h="1102">
                  <a:moveTo>
                    <a:pt x="0" y="723"/>
                  </a:moveTo>
                  <a:lnTo>
                    <a:pt x="36" y="723"/>
                  </a:lnTo>
                  <a:lnTo>
                    <a:pt x="36" y="723"/>
                  </a:lnTo>
                  <a:lnTo>
                    <a:pt x="37" y="736"/>
                  </a:lnTo>
                  <a:lnTo>
                    <a:pt x="39" y="752"/>
                  </a:lnTo>
                  <a:lnTo>
                    <a:pt x="41" y="771"/>
                  </a:lnTo>
                  <a:lnTo>
                    <a:pt x="46" y="795"/>
                  </a:lnTo>
                  <a:lnTo>
                    <a:pt x="53" y="821"/>
                  </a:lnTo>
                  <a:lnTo>
                    <a:pt x="59" y="835"/>
                  </a:lnTo>
                  <a:lnTo>
                    <a:pt x="64" y="849"/>
                  </a:lnTo>
                  <a:lnTo>
                    <a:pt x="70" y="863"/>
                  </a:lnTo>
                  <a:lnTo>
                    <a:pt x="77" y="878"/>
                  </a:lnTo>
                  <a:lnTo>
                    <a:pt x="85" y="893"/>
                  </a:lnTo>
                  <a:lnTo>
                    <a:pt x="93" y="907"/>
                  </a:lnTo>
                  <a:lnTo>
                    <a:pt x="104" y="921"/>
                  </a:lnTo>
                  <a:lnTo>
                    <a:pt x="115" y="935"/>
                  </a:lnTo>
                  <a:lnTo>
                    <a:pt x="127" y="948"/>
                  </a:lnTo>
                  <a:lnTo>
                    <a:pt x="140" y="961"/>
                  </a:lnTo>
                  <a:lnTo>
                    <a:pt x="155" y="974"/>
                  </a:lnTo>
                  <a:lnTo>
                    <a:pt x="171" y="985"/>
                  </a:lnTo>
                  <a:lnTo>
                    <a:pt x="188" y="995"/>
                  </a:lnTo>
                  <a:lnTo>
                    <a:pt x="207" y="1004"/>
                  </a:lnTo>
                  <a:lnTo>
                    <a:pt x="227" y="1012"/>
                  </a:lnTo>
                  <a:lnTo>
                    <a:pt x="250" y="1020"/>
                  </a:lnTo>
                  <a:lnTo>
                    <a:pt x="273" y="1026"/>
                  </a:lnTo>
                  <a:lnTo>
                    <a:pt x="298" y="1030"/>
                  </a:lnTo>
                  <a:lnTo>
                    <a:pt x="325" y="1032"/>
                  </a:lnTo>
                  <a:lnTo>
                    <a:pt x="354" y="1033"/>
                  </a:lnTo>
                  <a:lnTo>
                    <a:pt x="354" y="1033"/>
                  </a:lnTo>
                  <a:lnTo>
                    <a:pt x="377" y="1032"/>
                  </a:lnTo>
                  <a:lnTo>
                    <a:pt x="398" y="1030"/>
                  </a:lnTo>
                  <a:lnTo>
                    <a:pt x="419" y="1025"/>
                  </a:lnTo>
                  <a:lnTo>
                    <a:pt x="439" y="1019"/>
                  </a:lnTo>
                  <a:lnTo>
                    <a:pt x="458" y="1011"/>
                  </a:lnTo>
                  <a:lnTo>
                    <a:pt x="476" y="1002"/>
                  </a:lnTo>
                  <a:lnTo>
                    <a:pt x="492" y="992"/>
                  </a:lnTo>
                  <a:lnTo>
                    <a:pt x="507" y="980"/>
                  </a:lnTo>
                  <a:lnTo>
                    <a:pt x="522" y="966"/>
                  </a:lnTo>
                  <a:lnTo>
                    <a:pt x="534" y="952"/>
                  </a:lnTo>
                  <a:lnTo>
                    <a:pt x="544" y="937"/>
                  </a:lnTo>
                  <a:lnTo>
                    <a:pt x="553" y="919"/>
                  </a:lnTo>
                  <a:lnTo>
                    <a:pt x="560" y="902"/>
                  </a:lnTo>
                  <a:lnTo>
                    <a:pt x="566" y="884"/>
                  </a:lnTo>
                  <a:lnTo>
                    <a:pt x="569" y="864"/>
                  </a:lnTo>
                  <a:lnTo>
                    <a:pt x="570" y="844"/>
                  </a:lnTo>
                  <a:lnTo>
                    <a:pt x="570" y="844"/>
                  </a:lnTo>
                  <a:lnTo>
                    <a:pt x="569" y="828"/>
                  </a:lnTo>
                  <a:lnTo>
                    <a:pt x="566" y="814"/>
                  </a:lnTo>
                  <a:lnTo>
                    <a:pt x="562" y="800"/>
                  </a:lnTo>
                  <a:lnTo>
                    <a:pt x="555" y="787"/>
                  </a:lnTo>
                  <a:lnTo>
                    <a:pt x="547" y="772"/>
                  </a:lnTo>
                  <a:lnTo>
                    <a:pt x="538" y="759"/>
                  </a:lnTo>
                  <a:lnTo>
                    <a:pt x="527" y="746"/>
                  </a:lnTo>
                  <a:lnTo>
                    <a:pt x="515" y="732"/>
                  </a:lnTo>
                  <a:lnTo>
                    <a:pt x="501" y="720"/>
                  </a:lnTo>
                  <a:lnTo>
                    <a:pt x="486" y="707"/>
                  </a:lnTo>
                  <a:lnTo>
                    <a:pt x="470" y="695"/>
                  </a:lnTo>
                  <a:lnTo>
                    <a:pt x="452" y="682"/>
                  </a:lnTo>
                  <a:lnTo>
                    <a:pt x="434" y="670"/>
                  </a:lnTo>
                  <a:lnTo>
                    <a:pt x="413" y="659"/>
                  </a:lnTo>
                  <a:lnTo>
                    <a:pt x="371" y="634"/>
                  </a:lnTo>
                  <a:lnTo>
                    <a:pt x="206" y="550"/>
                  </a:lnTo>
                  <a:lnTo>
                    <a:pt x="206" y="550"/>
                  </a:lnTo>
                  <a:lnTo>
                    <a:pt x="186" y="540"/>
                  </a:lnTo>
                  <a:lnTo>
                    <a:pt x="169" y="529"/>
                  </a:lnTo>
                  <a:lnTo>
                    <a:pt x="151" y="516"/>
                  </a:lnTo>
                  <a:lnTo>
                    <a:pt x="133" y="502"/>
                  </a:lnTo>
                  <a:lnTo>
                    <a:pt x="117" y="488"/>
                  </a:lnTo>
                  <a:lnTo>
                    <a:pt x="100" y="472"/>
                  </a:lnTo>
                  <a:lnTo>
                    <a:pt x="86" y="455"/>
                  </a:lnTo>
                  <a:lnTo>
                    <a:pt x="72" y="438"/>
                  </a:lnTo>
                  <a:lnTo>
                    <a:pt x="60" y="419"/>
                  </a:lnTo>
                  <a:lnTo>
                    <a:pt x="48" y="400"/>
                  </a:lnTo>
                  <a:lnTo>
                    <a:pt x="38" y="380"/>
                  </a:lnTo>
                  <a:lnTo>
                    <a:pt x="30" y="358"/>
                  </a:lnTo>
                  <a:lnTo>
                    <a:pt x="23" y="336"/>
                  </a:lnTo>
                  <a:lnTo>
                    <a:pt x="18" y="313"/>
                  </a:lnTo>
                  <a:lnTo>
                    <a:pt x="15" y="290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5" y="252"/>
                  </a:lnTo>
                  <a:lnTo>
                    <a:pt x="16" y="240"/>
                  </a:lnTo>
                  <a:lnTo>
                    <a:pt x="17" y="226"/>
                  </a:lnTo>
                  <a:lnTo>
                    <a:pt x="20" y="213"/>
                  </a:lnTo>
                  <a:lnTo>
                    <a:pt x="23" y="201"/>
                  </a:lnTo>
                  <a:lnTo>
                    <a:pt x="26" y="188"/>
                  </a:lnTo>
                  <a:lnTo>
                    <a:pt x="30" y="177"/>
                  </a:lnTo>
                  <a:lnTo>
                    <a:pt x="35" y="165"/>
                  </a:lnTo>
                  <a:lnTo>
                    <a:pt x="41" y="154"/>
                  </a:lnTo>
                  <a:lnTo>
                    <a:pt x="46" y="142"/>
                  </a:lnTo>
                  <a:lnTo>
                    <a:pt x="53" y="132"/>
                  </a:lnTo>
                  <a:lnTo>
                    <a:pt x="61" y="121"/>
                  </a:lnTo>
                  <a:lnTo>
                    <a:pt x="68" y="112"/>
                  </a:lnTo>
                  <a:lnTo>
                    <a:pt x="76" y="101"/>
                  </a:lnTo>
                  <a:lnTo>
                    <a:pt x="85" y="92"/>
                  </a:lnTo>
                  <a:lnTo>
                    <a:pt x="94" y="83"/>
                  </a:lnTo>
                  <a:lnTo>
                    <a:pt x="105" y="75"/>
                  </a:lnTo>
                  <a:lnTo>
                    <a:pt x="115" y="67"/>
                  </a:lnTo>
                  <a:lnTo>
                    <a:pt x="125" y="60"/>
                  </a:lnTo>
                  <a:lnTo>
                    <a:pt x="136" y="52"/>
                  </a:lnTo>
                  <a:lnTo>
                    <a:pt x="147" y="45"/>
                  </a:lnTo>
                  <a:lnTo>
                    <a:pt x="160" y="39"/>
                  </a:lnTo>
                  <a:lnTo>
                    <a:pt x="172" y="34"/>
                  </a:lnTo>
                  <a:lnTo>
                    <a:pt x="185" y="29"/>
                  </a:lnTo>
                  <a:lnTo>
                    <a:pt x="199" y="24"/>
                  </a:lnTo>
                  <a:lnTo>
                    <a:pt x="212" y="20"/>
                  </a:lnTo>
                  <a:lnTo>
                    <a:pt x="226" y="17"/>
                  </a:lnTo>
                  <a:lnTo>
                    <a:pt x="239" y="14"/>
                  </a:lnTo>
                  <a:lnTo>
                    <a:pt x="255" y="12"/>
                  </a:lnTo>
                  <a:lnTo>
                    <a:pt x="269" y="9"/>
                  </a:lnTo>
                  <a:lnTo>
                    <a:pt x="284" y="8"/>
                  </a:lnTo>
                  <a:lnTo>
                    <a:pt x="300" y="8"/>
                  </a:lnTo>
                  <a:lnTo>
                    <a:pt x="300" y="8"/>
                  </a:lnTo>
                  <a:lnTo>
                    <a:pt x="319" y="8"/>
                  </a:lnTo>
                  <a:lnTo>
                    <a:pt x="337" y="10"/>
                  </a:lnTo>
                  <a:lnTo>
                    <a:pt x="353" y="12"/>
                  </a:lnTo>
                  <a:lnTo>
                    <a:pt x="369" y="15"/>
                  </a:lnTo>
                  <a:lnTo>
                    <a:pt x="384" y="18"/>
                  </a:lnTo>
                  <a:lnTo>
                    <a:pt x="398" y="21"/>
                  </a:lnTo>
                  <a:lnTo>
                    <a:pt x="411" y="25"/>
                  </a:lnTo>
                  <a:lnTo>
                    <a:pt x="425" y="30"/>
                  </a:lnTo>
                  <a:lnTo>
                    <a:pt x="448" y="40"/>
                  </a:lnTo>
                  <a:lnTo>
                    <a:pt x="471" y="52"/>
                  </a:lnTo>
                  <a:lnTo>
                    <a:pt x="491" y="66"/>
                  </a:lnTo>
                  <a:lnTo>
                    <a:pt x="510" y="79"/>
                  </a:lnTo>
                  <a:lnTo>
                    <a:pt x="510" y="79"/>
                  </a:lnTo>
                  <a:lnTo>
                    <a:pt x="519" y="73"/>
                  </a:lnTo>
                  <a:lnTo>
                    <a:pt x="526" y="65"/>
                  </a:lnTo>
                  <a:lnTo>
                    <a:pt x="533" y="57"/>
                  </a:lnTo>
                  <a:lnTo>
                    <a:pt x="540" y="46"/>
                  </a:lnTo>
                  <a:lnTo>
                    <a:pt x="546" y="36"/>
                  </a:lnTo>
                  <a:lnTo>
                    <a:pt x="552" y="25"/>
                  </a:lnTo>
                  <a:lnTo>
                    <a:pt x="557" y="13"/>
                  </a:lnTo>
                  <a:lnTo>
                    <a:pt x="561" y="0"/>
                  </a:lnTo>
                  <a:lnTo>
                    <a:pt x="595" y="0"/>
                  </a:lnTo>
                  <a:lnTo>
                    <a:pt x="595" y="380"/>
                  </a:lnTo>
                  <a:lnTo>
                    <a:pt x="560" y="380"/>
                  </a:lnTo>
                  <a:lnTo>
                    <a:pt x="560" y="380"/>
                  </a:lnTo>
                  <a:lnTo>
                    <a:pt x="556" y="353"/>
                  </a:lnTo>
                  <a:lnTo>
                    <a:pt x="552" y="326"/>
                  </a:lnTo>
                  <a:lnTo>
                    <a:pt x="547" y="300"/>
                  </a:lnTo>
                  <a:lnTo>
                    <a:pt x="541" y="274"/>
                  </a:lnTo>
                  <a:lnTo>
                    <a:pt x="533" y="249"/>
                  </a:lnTo>
                  <a:lnTo>
                    <a:pt x="523" y="223"/>
                  </a:lnTo>
                  <a:lnTo>
                    <a:pt x="511" y="200"/>
                  </a:lnTo>
                  <a:lnTo>
                    <a:pt x="504" y="187"/>
                  </a:lnTo>
                  <a:lnTo>
                    <a:pt x="497" y="177"/>
                  </a:lnTo>
                  <a:lnTo>
                    <a:pt x="490" y="166"/>
                  </a:lnTo>
                  <a:lnTo>
                    <a:pt x="482" y="156"/>
                  </a:lnTo>
                  <a:lnTo>
                    <a:pt x="473" y="145"/>
                  </a:lnTo>
                  <a:lnTo>
                    <a:pt x="463" y="136"/>
                  </a:lnTo>
                  <a:lnTo>
                    <a:pt x="453" y="128"/>
                  </a:lnTo>
                  <a:lnTo>
                    <a:pt x="443" y="120"/>
                  </a:lnTo>
                  <a:lnTo>
                    <a:pt x="431" y="112"/>
                  </a:lnTo>
                  <a:lnTo>
                    <a:pt x="419" y="106"/>
                  </a:lnTo>
                  <a:lnTo>
                    <a:pt x="406" y="99"/>
                  </a:lnTo>
                  <a:lnTo>
                    <a:pt x="393" y="93"/>
                  </a:lnTo>
                  <a:lnTo>
                    <a:pt x="379" y="89"/>
                  </a:lnTo>
                  <a:lnTo>
                    <a:pt x="363" y="85"/>
                  </a:lnTo>
                  <a:lnTo>
                    <a:pt x="348" y="82"/>
                  </a:lnTo>
                  <a:lnTo>
                    <a:pt x="331" y="79"/>
                  </a:lnTo>
                  <a:lnTo>
                    <a:pt x="313" y="78"/>
                  </a:lnTo>
                  <a:lnTo>
                    <a:pt x="295" y="78"/>
                  </a:lnTo>
                  <a:lnTo>
                    <a:pt x="295" y="78"/>
                  </a:lnTo>
                  <a:lnTo>
                    <a:pt x="277" y="78"/>
                  </a:lnTo>
                  <a:lnTo>
                    <a:pt x="260" y="81"/>
                  </a:lnTo>
                  <a:lnTo>
                    <a:pt x="244" y="84"/>
                  </a:lnTo>
                  <a:lnTo>
                    <a:pt x="228" y="89"/>
                  </a:lnTo>
                  <a:lnTo>
                    <a:pt x="214" y="95"/>
                  </a:lnTo>
                  <a:lnTo>
                    <a:pt x="200" y="104"/>
                  </a:lnTo>
                  <a:lnTo>
                    <a:pt x="187" y="112"/>
                  </a:lnTo>
                  <a:lnTo>
                    <a:pt x="175" y="122"/>
                  </a:lnTo>
                  <a:lnTo>
                    <a:pt x="165" y="133"/>
                  </a:lnTo>
                  <a:lnTo>
                    <a:pt x="156" y="144"/>
                  </a:lnTo>
                  <a:lnTo>
                    <a:pt x="147" y="158"/>
                  </a:lnTo>
                  <a:lnTo>
                    <a:pt x="140" y="171"/>
                  </a:lnTo>
                  <a:lnTo>
                    <a:pt x="135" y="185"/>
                  </a:lnTo>
                  <a:lnTo>
                    <a:pt x="131" y="200"/>
                  </a:lnTo>
                  <a:lnTo>
                    <a:pt x="129" y="215"/>
                  </a:lnTo>
                  <a:lnTo>
                    <a:pt x="128" y="231"/>
                  </a:lnTo>
                  <a:lnTo>
                    <a:pt x="128" y="231"/>
                  </a:lnTo>
                  <a:lnTo>
                    <a:pt x="128" y="248"/>
                  </a:lnTo>
                  <a:lnTo>
                    <a:pt x="131" y="263"/>
                  </a:lnTo>
                  <a:lnTo>
                    <a:pt x="134" y="277"/>
                  </a:lnTo>
                  <a:lnTo>
                    <a:pt x="139" y="292"/>
                  </a:lnTo>
                  <a:lnTo>
                    <a:pt x="146" y="305"/>
                  </a:lnTo>
                  <a:lnTo>
                    <a:pt x="155" y="317"/>
                  </a:lnTo>
                  <a:lnTo>
                    <a:pt x="165" y="331"/>
                  </a:lnTo>
                  <a:lnTo>
                    <a:pt x="177" y="343"/>
                  </a:lnTo>
                  <a:lnTo>
                    <a:pt x="190" y="355"/>
                  </a:lnTo>
                  <a:lnTo>
                    <a:pt x="206" y="366"/>
                  </a:lnTo>
                  <a:lnTo>
                    <a:pt x="223" y="379"/>
                  </a:lnTo>
                  <a:lnTo>
                    <a:pt x="243" y="392"/>
                  </a:lnTo>
                  <a:lnTo>
                    <a:pt x="263" y="404"/>
                  </a:lnTo>
                  <a:lnTo>
                    <a:pt x="287" y="417"/>
                  </a:lnTo>
                  <a:lnTo>
                    <a:pt x="339" y="445"/>
                  </a:lnTo>
                  <a:lnTo>
                    <a:pt x="502" y="530"/>
                  </a:lnTo>
                  <a:lnTo>
                    <a:pt x="502" y="530"/>
                  </a:lnTo>
                  <a:lnTo>
                    <a:pt x="526" y="542"/>
                  </a:lnTo>
                  <a:lnTo>
                    <a:pt x="548" y="556"/>
                  </a:lnTo>
                  <a:lnTo>
                    <a:pt x="568" y="571"/>
                  </a:lnTo>
                  <a:lnTo>
                    <a:pt x="586" y="585"/>
                  </a:lnTo>
                  <a:lnTo>
                    <a:pt x="604" y="601"/>
                  </a:lnTo>
                  <a:lnTo>
                    <a:pt x="618" y="617"/>
                  </a:lnTo>
                  <a:lnTo>
                    <a:pt x="631" y="633"/>
                  </a:lnTo>
                  <a:lnTo>
                    <a:pt x="642" y="651"/>
                  </a:lnTo>
                  <a:lnTo>
                    <a:pt x="653" y="667"/>
                  </a:lnTo>
                  <a:lnTo>
                    <a:pt x="661" y="684"/>
                  </a:lnTo>
                  <a:lnTo>
                    <a:pt x="668" y="703"/>
                  </a:lnTo>
                  <a:lnTo>
                    <a:pt x="674" y="720"/>
                  </a:lnTo>
                  <a:lnTo>
                    <a:pt x="678" y="738"/>
                  </a:lnTo>
                  <a:lnTo>
                    <a:pt x="681" y="756"/>
                  </a:lnTo>
                  <a:lnTo>
                    <a:pt x="682" y="774"/>
                  </a:lnTo>
                  <a:lnTo>
                    <a:pt x="683" y="792"/>
                  </a:lnTo>
                  <a:lnTo>
                    <a:pt x="683" y="792"/>
                  </a:lnTo>
                  <a:lnTo>
                    <a:pt x="683" y="809"/>
                  </a:lnTo>
                  <a:lnTo>
                    <a:pt x="681" y="826"/>
                  </a:lnTo>
                  <a:lnTo>
                    <a:pt x="679" y="843"/>
                  </a:lnTo>
                  <a:lnTo>
                    <a:pt x="676" y="859"/>
                  </a:lnTo>
                  <a:lnTo>
                    <a:pt x="673" y="874"/>
                  </a:lnTo>
                  <a:lnTo>
                    <a:pt x="668" y="890"/>
                  </a:lnTo>
                  <a:lnTo>
                    <a:pt x="663" y="905"/>
                  </a:lnTo>
                  <a:lnTo>
                    <a:pt x="657" y="919"/>
                  </a:lnTo>
                  <a:lnTo>
                    <a:pt x="651" y="934"/>
                  </a:lnTo>
                  <a:lnTo>
                    <a:pt x="642" y="947"/>
                  </a:lnTo>
                  <a:lnTo>
                    <a:pt x="634" y="960"/>
                  </a:lnTo>
                  <a:lnTo>
                    <a:pt x="626" y="973"/>
                  </a:lnTo>
                  <a:lnTo>
                    <a:pt x="617" y="985"/>
                  </a:lnTo>
                  <a:lnTo>
                    <a:pt x="607" y="996"/>
                  </a:lnTo>
                  <a:lnTo>
                    <a:pt x="596" y="1007"/>
                  </a:lnTo>
                  <a:lnTo>
                    <a:pt x="585" y="1018"/>
                  </a:lnTo>
                  <a:lnTo>
                    <a:pt x="574" y="1028"/>
                  </a:lnTo>
                  <a:lnTo>
                    <a:pt x="562" y="1037"/>
                  </a:lnTo>
                  <a:lnTo>
                    <a:pt x="549" y="1045"/>
                  </a:lnTo>
                  <a:lnTo>
                    <a:pt x="536" y="1053"/>
                  </a:lnTo>
                  <a:lnTo>
                    <a:pt x="523" y="1062"/>
                  </a:lnTo>
                  <a:lnTo>
                    <a:pt x="509" y="1068"/>
                  </a:lnTo>
                  <a:lnTo>
                    <a:pt x="495" y="1075"/>
                  </a:lnTo>
                  <a:lnTo>
                    <a:pt x="480" y="1080"/>
                  </a:lnTo>
                  <a:lnTo>
                    <a:pt x="465" y="1085"/>
                  </a:lnTo>
                  <a:lnTo>
                    <a:pt x="450" y="1089"/>
                  </a:lnTo>
                  <a:lnTo>
                    <a:pt x="435" y="1093"/>
                  </a:lnTo>
                  <a:lnTo>
                    <a:pt x="419" y="1096"/>
                  </a:lnTo>
                  <a:lnTo>
                    <a:pt x="403" y="1099"/>
                  </a:lnTo>
                  <a:lnTo>
                    <a:pt x="387" y="1100"/>
                  </a:lnTo>
                  <a:lnTo>
                    <a:pt x="370" y="1101"/>
                  </a:lnTo>
                  <a:lnTo>
                    <a:pt x="354" y="1102"/>
                  </a:lnTo>
                  <a:lnTo>
                    <a:pt x="354" y="1102"/>
                  </a:lnTo>
                  <a:lnTo>
                    <a:pt x="329" y="1101"/>
                  </a:lnTo>
                  <a:lnTo>
                    <a:pt x="307" y="1099"/>
                  </a:lnTo>
                  <a:lnTo>
                    <a:pt x="286" y="1095"/>
                  </a:lnTo>
                  <a:lnTo>
                    <a:pt x="264" y="1091"/>
                  </a:lnTo>
                  <a:lnTo>
                    <a:pt x="245" y="1086"/>
                  </a:lnTo>
                  <a:lnTo>
                    <a:pt x="225" y="1080"/>
                  </a:lnTo>
                  <a:lnTo>
                    <a:pt x="208" y="1073"/>
                  </a:lnTo>
                  <a:lnTo>
                    <a:pt x="190" y="1067"/>
                  </a:lnTo>
                  <a:lnTo>
                    <a:pt x="160" y="1052"/>
                  </a:lnTo>
                  <a:lnTo>
                    <a:pt x="131" y="1039"/>
                  </a:lnTo>
                  <a:lnTo>
                    <a:pt x="107" y="1028"/>
                  </a:lnTo>
                  <a:lnTo>
                    <a:pt x="95" y="1024"/>
                  </a:lnTo>
                  <a:lnTo>
                    <a:pt x="85" y="1021"/>
                  </a:lnTo>
                  <a:lnTo>
                    <a:pt x="85" y="1021"/>
                  </a:lnTo>
                  <a:lnTo>
                    <a:pt x="77" y="1028"/>
                  </a:lnTo>
                  <a:lnTo>
                    <a:pt x="70" y="1036"/>
                  </a:lnTo>
                  <a:lnTo>
                    <a:pt x="62" y="1044"/>
                  </a:lnTo>
                  <a:lnTo>
                    <a:pt x="55" y="1053"/>
                  </a:lnTo>
                  <a:lnTo>
                    <a:pt x="49" y="1065"/>
                  </a:lnTo>
                  <a:lnTo>
                    <a:pt x="43" y="1076"/>
                  </a:lnTo>
                  <a:lnTo>
                    <a:pt x="38" y="1088"/>
                  </a:lnTo>
                  <a:lnTo>
                    <a:pt x="35" y="1102"/>
                  </a:lnTo>
                  <a:lnTo>
                    <a:pt x="0" y="1102"/>
                  </a:lnTo>
                  <a:lnTo>
                    <a:pt x="0" y="7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6" name="Freeform 24"/>
            <p:cNvSpPr>
              <a:spLocks noEditPoints="1"/>
            </p:cNvSpPr>
            <p:nvPr userDrawn="1"/>
          </p:nvSpPr>
          <p:spPr bwMode="auto">
            <a:xfrm>
              <a:off x="2270126" y="1158876"/>
              <a:ext cx="133350" cy="136525"/>
            </a:xfrm>
            <a:custGeom>
              <a:avLst/>
              <a:gdLst>
                <a:gd name="T0" fmla="*/ 49 w 1009"/>
                <a:gd name="T1" fmla="*/ 997 h 1035"/>
                <a:gd name="T2" fmla="*/ 115 w 1009"/>
                <a:gd name="T3" fmla="*/ 981 h 1035"/>
                <a:gd name="T4" fmla="*/ 136 w 1009"/>
                <a:gd name="T5" fmla="*/ 962 h 1035"/>
                <a:gd name="T6" fmla="*/ 155 w 1009"/>
                <a:gd name="T7" fmla="*/ 920 h 1035"/>
                <a:gd name="T8" fmla="*/ 163 w 1009"/>
                <a:gd name="T9" fmla="*/ 827 h 1035"/>
                <a:gd name="T10" fmla="*/ 163 w 1009"/>
                <a:gd name="T11" fmla="*/ 206 h 1035"/>
                <a:gd name="T12" fmla="*/ 155 w 1009"/>
                <a:gd name="T13" fmla="*/ 114 h 1035"/>
                <a:gd name="T14" fmla="*/ 136 w 1009"/>
                <a:gd name="T15" fmla="*/ 72 h 1035"/>
                <a:gd name="T16" fmla="*/ 115 w 1009"/>
                <a:gd name="T17" fmla="*/ 54 h 1035"/>
                <a:gd name="T18" fmla="*/ 49 w 1009"/>
                <a:gd name="T19" fmla="*/ 38 h 1035"/>
                <a:gd name="T20" fmla="*/ 456 w 1009"/>
                <a:gd name="T21" fmla="*/ 0 h 1035"/>
                <a:gd name="T22" fmla="*/ 520 w 1009"/>
                <a:gd name="T23" fmla="*/ 3 h 1035"/>
                <a:gd name="T24" fmla="*/ 597 w 1009"/>
                <a:gd name="T25" fmla="*/ 17 h 1035"/>
                <a:gd name="T26" fmla="*/ 663 w 1009"/>
                <a:gd name="T27" fmla="*/ 42 h 1035"/>
                <a:gd name="T28" fmla="*/ 718 w 1009"/>
                <a:gd name="T29" fmla="*/ 76 h 1035"/>
                <a:gd name="T30" fmla="*/ 763 w 1009"/>
                <a:gd name="T31" fmla="*/ 118 h 1035"/>
                <a:gd name="T32" fmla="*/ 796 w 1009"/>
                <a:gd name="T33" fmla="*/ 166 h 1035"/>
                <a:gd name="T34" fmla="*/ 817 w 1009"/>
                <a:gd name="T35" fmla="*/ 219 h 1035"/>
                <a:gd name="T36" fmla="*/ 826 w 1009"/>
                <a:gd name="T37" fmla="*/ 276 h 1035"/>
                <a:gd name="T38" fmla="*/ 825 w 1009"/>
                <a:gd name="T39" fmla="*/ 319 h 1035"/>
                <a:gd name="T40" fmla="*/ 815 w 1009"/>
                <a:gd name="T41" fmla="*/ 372 h 1035"/>
                <a:gd name="T42" fmla="*/ 794 w 1009"/>
                <a:gd name="T43" fmla="*/ 421 h 1035"/>
                <a:gd name="T44" fmla="*/ 764 w 1009"/>
                <a:gd name="T45" fmla="*/ 465 h 1035"/>
                <a:gd name="T46" fmla="*/ 726 w 1009"/>
                <a:gd name="T47" fmla="*/ 503 h 1035"/>
                <a:gd name="T48" fmla="*/ 677 w 1009"/>
                <a:gd name="T49" fmla="*/ 535 h 1035"/>
                <a:gd name="T50" fmla="*/ 620 w 1009"/>
                <a:gd name="T51" fmla="*/ 559 h 1035"/>
                <a:gd name="T52" fmla="*/ 555 w 1009"/>
                <a:gd name="T53" fmla="*/ 576 h 1035"/>
                <a:gd name="T54" fmla="*/ 689 w 1009"/>
                <a:gd name="T55" fmla="*/ 779 h 1035"/>
                <a:gd name="T56" fmla="*/ 767 w 1009"/>
                <a:gd name="T57" fmla="*/ 863 h 1035"/>
                <a:gd name="T58" fmla="*/ 848 w 1009"/>
                <a:gd name="T59" fmla="*/ 929 h 1035"/>
                <a:gd name="T60" fmla="*/ 930 w 1009"/>
                <a:gd name="T61" fmla="*/ 977 h 1035"/>
                <a:gd name="T62" fmla="*/ 1009 w 1009"/>
                <a:gd name="T63" fmla="*/ 999 h 1035"/>
                <a:gd name="T64" fmla="*/ 302 w 1009"/>
                <a:gd name="T65" fmla="*/ 581 h 1035"/>
                <a:gd name="T66" fmla="*/ 303 w 1009"/>
                <a:gd name="T67" fmla="*/ 855 h 1035"/>
                <a:gd name="T68" fmla="*/ 316 w 1009"/>
                <a:gd name="T69" fmla="*/ 937 h 1035"/>
                <a:gd name="T70" fmla="*/ 335 w 1009"/>
                <a:gd name="T71" fmla="*/ 967 h 1035"/>
                <a:gd name="T72" fmla="*/ 365 w 1009"/>
                <a:gd name="T73" fmla="*/ 987 h 1035"/>
                <a:gd name="T74" fmla="*/ 440 w 1009"/>
                <a:gd name="T75" fmla="*/ 998 h 1035"/>
                <a:gd name="T76" fmla="*/ 0 w 1009"/>
                <a:gd name="T77" fmla="*/ 999 h 1035"/>
                <a:gd name="T78" fmla="*/ 494 w 1009"/>
                <a:gd name="T79" fmla="*/ 516 h 1035"/>
                <a:gd name="T80" fmla="*/ 541 w 1009"/>
                <a:gd name="T81" fmla="*/ 505 h 1035"/>
                <a:gd name="T82" fmla="*/ 580 w 1009"/>
                <a:gd name="T83" fmla="*/ 486 h 1035"/>
                <a:gd name="T84" fmla="*/ 633 w 1009"/>
                <a:gd name="T85" fmla="*/ 437 h 1035"/>
                <a:gd name="T86" fmla="*/ 665 w 1009"/>
                <a:gd name="T87" fmla="*/ 359 h 1035"/>
                <a:gd name="T88" fmla="*/ 672 w 1009"/>
                <a:gd name="T89" fmla="*/ 291 h 1035"/>
                <a:gd name="T90" fmla="*/ 660 w 1009"/>
                <a:gd name="T91" fmla="*/ 204 h 1035"/>
                <a:gd name="T92" fmla="*/ 619 w 1009"/>
                <a:gd name="T93" fmla="*/ 131 h 1035"/>
                <a:gd name="T94" fmla="*/ 571 w 1009"/>
                <a:gd name="T95" fmla="*/ 91 h 1035"/>
                <a:gd name="T96" fmla="*/ 529 w 1009"/>
                <a:gd name="T97" fmla="*/ 74 h 1035"/>
                <a:gd name="T98" fmla="*/ 481 w 1009"/>
                <a:gd name="T99" fmla="*/ 65 h 1035"/>
                <a:gd name="T100" fmla="*/ 302 w 1009"/>
                <a:gd name="T101" fmla="*/ 519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09" h="1035">
                  <a:moveTo>
                    <a:pt x="0" y="999"/>
                  </a:moveTo>
                  <a:lnTo>
                    <a:pt x="0" y="999"/>
                  </a:lnTo>
                  <a:lnTo>
                    <a:pt x="25" y="998"/>
                  </a:lnTo>
                  <a:lnTo>
                    <a:pt x="49" y="997"/>
                  </a:lnTo>
                  <a:lnTo>
                    <a:pt x="68" y="995"/>
                  </a:lnTo>
                  <a:lnTo>
                    <a:pt x="87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0" y="977"/>
                  </a:lnTo>
                  <a:lnTo>
                    <a:pt x="126" y="972"/>
                  </a:lnTo>
                  <a:lnTo>
                    <a:pt x="132" y="967"/>
                  </a:lnTo>
                  <a:lnTo>
                    <a:pt x="136" y="962"/>
                  </a:lnTo>
                  <a:lnTo>
                    <a:pt x="140" y="957"/>
                  </a:lnTo>
                  <a:lnTo>
                    <a:pt x="144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8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3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3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8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4" y="83"/>
                  </a:lnTo>
                  <a:lnTo>
                    <a:pt x="140" y="77"/>
                  </a:lnTo>
                  <a:lnTo>
                    <a:pt x="136" y="72"/>
                  </a:lnTo>
                  <a:lnTo>
                    <a:pt x="132" y="67"/>
                  </a:lnTo>
                  <a:lnTo>
                    <a:pt x="126" y="61"/>
                  </a:lnTo>
                  <a:lnTo>
                    <a:pt x="120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7" y="43"/>
                  </a:lnTo>
                  <a:lnTo>
                    <a:pt x="68" y="40"/>
                  </a:lnTo>
                  <a:lnTo>
                    <a:pt x="49" y="38"/>
                  </a:lnTo>
                  <a:lnTo>
                    <a:pt x="25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456" y="0"/>
                  </a:lnTo>
                  <a:lnTo>
                    <a:pt x="456" y="0"/>
                  </a:lnTo>
                  <a:lnTo>
                    <a:pt x="478" y="0"/>
                  </a:lnTo>
                  <a:lnTo>
                    <a:pt x="500" y="1"/>
                  </a:lnTo>
                  <a:lnTo>
                    <a:pt x="520" y="3"/>
                  </a:lnTo>
                  <a:lnTo>
                    <a:pt x="541" y="6"/>
                  </a:lnTo>
                  <a:lnTo>
                    <a:pt x="560" y="9"/>
                  </a:lnTo>
                  <a:lnTo>
                    <a:pt x="578" y="13"/>
                  </a:lnTo>
                  <a:lnTo>
                    <a:pt x="597" y="17"/>
                  </a:lnTo>
                  <a:lnTo>
                    <a:pt x="614" y="23"/>
                  </a:lnTo>
                  <a:lnTo>
                    <a:pt x="632" y="29"/>
                  </a:lnTo>
                  <a:lnTo>
                    <a:pt x="648" y="35"/>
                  </a:lnTo>
                  <a:lnTo>
                    <a:pt x="663" y="42"/>
                  </a:lnTo>
                  <a:lnTo>
                    <a:pt x="679" y="50"/>
                  </a:lnTo>
                  <a:lnTo>
                    <a:pt x="693" y="58"/>
                  </a:lnTo>
                  <a:lnTo>
                    <a:pt x="706" y="67"/>
                  </a:lnTo>
                  <a:lnTo>
                    <a:pt x="718" y="76"/>
                  </a:lnTo>
                  <a:lnTo>
                    <a:pt x="731" y="85"/>
                  </a:lnTo>
                  <a:lnTo>
                    <a:pt x="742" y="95"/>
                  </a:lnTo>
                  <a:lnTo>
                    <a:pt x="753" y="106"/>
                  </a:lnTo>
                  <a:lnTo>
                    <a:pt x="763" y="118"/>
                  </a:lnTo>
                  <a:lnTo>
                    <a:pt x="773" y="129"/>
                  </a:lnTo>
                  <a:lnTo>
                    <a:pt x="781" y="140"/>
                  </a:lnTo>
                  <a:lnTo>
                    <a:pt x="789" y="152"/>
                  </a:lnTo>
                  <a:lnTo>
                    <a:pt x="796" y="166"/>
                  </a:lnTo>
                  <a:lnTo>
                    <a:pt x="802" y="178"/>
                  </a:lnTo>
                  <a:lnTo>
                    <a:pt x="807" y="191"/>
                  </a:lnTo>
                  <a:lnTo>
                    <a:pt x="813" y="205"/>
                  </a:lnTo>
                  <a:lnTo>
                    <a:pt x="817" y="219"/>
                  </a:lnTo>
                  <a:lnTo>
                    <a:pt x="821" y="233"/>
                  </a:lnTo>
                  <a:lnTo>
                    <a:pt x="823" y="248"/>
                  </a:lnTo>
                  <a:lnTo>
                    <a:pt x="825" y="262"/>
                  </a:lnTo>
                  <a:lnTo>
                    <a:pt x="826" y="276"/>
                  </a:lnTo>
                  <a:lnTo>
                    <a:pt x="827" y="291"/>
                  </a:lnTo>
                  <a:lnTo>
                    <a:pt x="827" y="291"/>
                  </a:lnTo>
                  <a:lnTo>
                    <a:pt x="826" y="306"/>
                  </a:lnTo>
                  <a:lnTo>
                    <a:pt x="825" y="319"/>
                  </a:lnTo>
                  <a:lnTo>
                    <a:pt x="824" y="332"/>
                  </a:lnTo>
                  <a:lnTo>
                    <a:pt x="822" y="346"/>
                  </a:lnTo>
                  <a:lnTo>
                    <a:pt x="819" y="359"/>
                  </a:lnTo>
                  <a:lnTo>
                    <a:pt x="815" y="372"/>
                  </a:lnTo>
                  <a:lnTo>
                    <a:pt x="810" y="385"/>
                  </a:lnTo>
                  <a:lnTo>
                    <a:pt x="805" y="397"/>
                  </a:lnTo>
                  <a:lnTo>
                    <a:pt x="800" y="409"/>
                  </a:lnTo>
                  <a:lnTo>
                    <a:pt x="794" y="421"/>
                  </a:lnTo>
                  <a:lnTo>
                    <a:pt x="788" y="433"/>
                  </a:lnTo>
                  <a:lnTo>
                    <a:pt x="781" y="444"/>
                  </a:lnTo>
                  <a:lnTo>
                    <a:pt x="773" y="454"/>
                  </a:lnTo>
                  <a:lnTo>
                    <a:pt x="764" y="465"/>
                  </a:lnTo>
                  <a:lnTo>
                    <a:pt x="755" y="475"/>
                  </a:lnTo>
                  <a:lnTo>
                    <a:pt x="746" y="485"/>
                  </a:lnTo>
                  <a:lnTo>
                    <a:pt x="736" y="494"/>
                  </a:lnTo>
                  <a:lnTo>
                    <a:pt x="726" y="503"/>
                  </a:lnTo>
                  <a:lnTo>
                    <a:pt x="714" y="511"/>
                  </a:lnTo>
                  <a:lnTo>
                    <a:pt x="702" y="519"/>
                  </a:lnTo>
                  <a:lnTo>
                    <a:pt x="690" y="528"/>
                  </a:lnTo>
                  <a:lnTo>
                    <a:pt x="677" y="535"/>
                  </a:lnTo>
                  <a:lnTo>
                    <a:pt x="663" y="542"/>
                  </a:lnTo>
                  <a:lnTo>
                    <a:pt x="650" y="548"/>
                  </a:lnTo>
                  <a:lnTo>
                    <a:pt x="635" y="554"/>
                  </a:lnTo>
                  <a:lnTo>
                    <a:pt x="620" y="559"/>
                  </a:lnTo>
                  <a:lnTo>
                    <a:pt x="605" y="564"/>
                  </a:lnTo>
                  <a:lnTo>
                    <a:pt x="589" y="569"/>
                  </a:lnTo>
                  <a:lnTo>
                    <a:pt x="572" y="573"/>
                  </a:lnTo>
                  <a:lnTo>
                    <a:pt x="555" y="576"/>
                  </a:lnTo>
                  <a:lnTo>
                    <a:pt x="537" y="579"/>
                  </a:lnTo>
                  <a:lnTo>
                    <a:pt x="519" y="581"/>
                  </a:lnTo>
                  <a:lnTo>
                    <a:pt x="689" y="779"/>
                  </a:lnTo>
                  <a:lnTo>
                    <a:pt x="689" y="779"/>
                  </a:lnTo>
                  <a:lnTo>
                    <a:pt x="707" y="802"/>
                  </a:lnTo>
                  <a:lnTo>
                    <a:pt x="728" y="823"/>
                  </a:lnTo>
                  <a:lnTo>
                    <a:pt x="747" y="844"/>
                  </a:lnTo>
                  <a:lnTo>
                    <a:pt x="767" y="863"/>
                  </a:lnTo>
                  <a:lnTo>
                    <a:pt x="787" y="881"/>
                  </a:lnTo>
                  <a:lnTo>
                    <a:pt x="807" y="899"/>
                  </a:lnTo>
                  <a:lnTo>
                    <a:pt x="828" y="915"/>
                  </a:lnTo>
                  <a:lnTo>
                    <a:pt x="848" y="929"/>
                  </a:lnTo>
                  <a:lnTo>
                    <a:pt x="869" y="944"/>
                  </a:lnTo>
                  <a:lnTo>
                    <a:pt x="889" y="956"/>
                  </a:lnTo>
                  <a:lnTo>
                    <a:pt x="910" y="966"/>
                  </a:lnTo>
                  <a:lnTo>
                    <a:pt x="930" y="977"/>
                  </a:lnTo>
                  <a:lnTo>
                    <a:pt x="950" y="985"/>
                  </a:lnTo>
                  <a:lnTo>
                    <a:pt x="970" y="991"/>
                  </a:lnTo>
                  <a:lnTo>
                    <a:pt x="989" y="996"/>
                  </a:lnTo>
                  <a:lnTo>
                    <a:pt x="1009" y="999"/>
                  </a:lnTo>
                  <a:lnTo>
                    <a:pt x="1009" y="1035"/>
                  </a:lnTo>
                  <a:lnTo>
                    <a:pt x="725" y="1035"/>
                  </a:lnTo>
                  <a:lnTo>
                    <a:pt x="383" y="581"/>
                  </a:lnTo>
                  <a:lnTo>
                    <a:pt x="302" y="581"/>
                  </a:lnTo>
                  <a:lnTo>
                    <a:pt x="302" y="797"/>
                  </a:lnTo>
                  <a:lnTo>
                    <a:pt x="302" y="797"/>
                  </a:lnTo>
                  <a:lnTo>
                    <a:pt x="302" y="827"/>
                  </a:lnTo>
                  <a:lnTo>
                    <a:pt x="303" y="855"/>
                  </a:lnTo>
                  <a:lnTo>
                    <a:pt x="304" y="879"/>
                  </a:lnTo>
                  <a:lnTo>
                    <a:pt x="307" y="901"/>
                  </a:lnTo>
                  <a:lnTo>
                    <a:pt x="312" y="920"/>
                  </a:lnTo>
                  <a:lnTo>
                    <a:pt x="316" y="937"/>
                  </a:lnTo>
                  <a:lnTo>
                    <a:pt x="323" y="951"/>
                  </a:lnTo>
                  <a:lnTo>
                    <a:pt x="326" y="957"/>
                  </a:lnTo>
                  <a:lnTo>
                    <a:pt x="330" y="962"/>
                  </a:lnTo>
                  <a:lnTo>
                    <a:pt x="335" y="967"/>
                  </a:lnTo>
                  <a:lnTo>
                    <a:pt x="340" y="972"/>
                  </a:lnTo>
                  <a:lnTo>
                    <a:pt x="345" y="977"/>
                  </a:lnTo>
                  <a:lnTo>
                    <a:pt x="351" y="981"/>
                  </a:lnTo>
                  <a:lnTo>
                    <a:pt x="365" y="987"/>
                  </a:lnTo>
                  <a:lnTo>
                    <a:pt x="380" y="991"/>
                  </a:lnTo>
                  <a:lnTo>
                    <a:pt x="397" y="995"/>
                  </a:lnTo>
                  <a:lnTo>
                    <a:pt x="418" y="997"/>
                  </a:lnTo>
                  <a:lnTo>
                    <a:pt x="440" y="998"/>
                  </a:lnTo>
                  <a:lnTo>
                    <a:pt x="466" y="999"/>
                  </a:lnTo>
                  <a:lnTo>
                    <a:pt x="466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  <a:moveTo>
                    <a:pt x="454" y="519"/>
                  </a:moveTo>
                  <a:lnTo>
                    <a:pt x="454" y="519"/>
                  </a:lnTo>
                  <a:lnTo>
                    <a:pt x="481" y="517"/>
                  </a:lnTo>
                  <a:lnTo>
                    <a:pt x="494" y="516"/>
                  </a:lnTo>
                  <a:lnTo>
                    <a:pt x="507" y="514"/>
                  </a:lnTo>
                  <a:lnTo>
                    <a:pt x="518" y="512"/>
                  </a:lnTo>
                  <a:lnTo>
                    <a:pt x="529" y="509"/>
                  </a:lnTo>
                  <a:lnTo>
                    <a:pt x="541" y="505"/>
                  </a:lnTo>
                  <a:lnTo>
                    <a:pt x="552" y="501"/>
                  </a:lnTo>
                  <a:lnTo>
                    <a:pt x="561" y="497"/>
                  </a:lnTo>
                  <a:lnTo>
                    <a:pt x="571" y="492"/>
                  </a:lnTo>
                  <a:lnTo>
                    <a:pt x="580" y="486"/>
                  </a:lnTo>
                  <a:lnTo>
                    <a:pt x="589" y="481"/>
                  </a:lnTo>
                  <a:lnTo>
                    <a:pt x="605" y="467"/>
                  </a:lnTo>
                  <a:lnTo>
                    <a:pt x="619" y="452"/>
                  </a:lnTo>
                  <a:lnTo>
                    <a:pt x="633" y="437"/>
                  </a:lnTo>
                  <a:lnTo>
                    <a:pt x="643" y="418"/>
                  </a:lnTo>
                  <a:lnTo>
                    <a:pt x="652" y="400"/>
                  </a:lnTo>
                  <a:lnTo>
                    <a:pt x="660" y="380"/>
                  </a:lnTo>
                  <a:lnTo>
                    <a:pt x="665" y="359"/>
                  </a:lnTo>
                  <a:lnTo>
                    <a:pt x="669" y="338"/>
                  </a:lnTo>
                  <a:lnTo>
                    <a:pt x="672" y="315"/>
                  </a:lnTo>
                  <a:lnTo>
                    <a:pt x="672" y="291"/>
                  </a:lnTo>
                  <a:lnTo>
                    <a:pt x="672" y="291"/>
                  </a:lnTo>
                  <a:lnTo>
                    <a:pt x="672" y="268"/>
                  </a:lnTo>
                  <a:lnTo>
                    <a:pt x="669" y="245"/>
                  </a:lnTo>
                  <a:lnTo>
                    <a:pt x="665" y="224"/>
                  </a:lnTo>
                  <a:lnTo>
                    <a:pt x="660" y="204"/>
                  </a:lnTo>
                  <a:lnTo>
                    <a:pt x="652" y="183"/>
                  </a:lnTo>
                  <a:lnTo>
                    <a:pt x="643" y="165"/>
                  </a:lnTo>
                  <a:lnTo>
                    <a:pt x="633" y="147"/>
                  </a:lnTo>
                  <a:lnTo>
                    <a:pt x="619" y="131"/>
                  </a:lnTo>
                  <a:lnTo>
                    <a:pt x="605" y="117"/>
                  </a:lnTo>
                  <a:lnTo>
                    <a:pt x="589" y="103"/>
                  </a:lnTo>
                  <a:lnTo>
                    <a:pt x="580" y="97"/>
                  </a:lnTo>
                  <a:lnTo>
                    <a:pt x="571" y="91"/>
                  </a:lnTo>
                  <a:lnTo>
                    <a:pt x="561" y="86"/>
                  </a:lnTo>
                  <a:lnTo>
                    <a:pt x="552" y="82"/>
                  </a:lnTo>
                  <a:lnTo>
                    <a:pt x="541" y="78"/>
                  </a:lnTo>
                  <a:lnTo>
                    <a:pt x="529" y="74"/>
                  </a:lnTo>
                  <a:lnTo>
                    <a:pt x="518" y="71"/>
                  </a:lnTo>
                  <a:lnTo>
                    <a:pt x="507" y="69"/>
                  </a:lnTo>
                  <a:lnTo>
                    <a:pt x="494" y="67"/>
                  </a:lnTo>
                  <a:lnTo>
                    <a:pt x="481" y="65"/>
                  </a:lnTo>
                  <a:lnTo>
                    <a:pt x="468" y="63"/>
                  </a:lnTo>
                  <a:lnTo>
                    <a:pt x="454" y="63"/>
                  </a:lnTo>
                  <a:lnTo>
                    <a:pt x="302" y="63"/>
                  </a:lnTo>
                  <a:lnTo>
                    <a:pt x="302" y="519"/>
                  </a:lnTo>
                  <a:lnTo>
                    <a:pt x="454" y="5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7" name="Freeform 25"/>
            <p:cNvSpPr>
              <a:spLocks noEditPoints="1"/>
            </p:cNvSpPr>
            <p:nvPr userDrawn="1"/>
          </p:nvSpPr>
          <p:spPr bwMode="auto">
            <a:xfrm>
              <a:off x="2411413" y="1103313"/>
              <a:ext cx="157163" cy="192088"/>
            </a:xfrm>
            <a:custGeom>
              <a:avLst/>
              <a:gdLst>
                <a:gd name="T0" fmla="*/ 48 w 1195"/>
                <a:gd name="T1" fmla="*/ 1411 h 1449"/>
                <a:gd name="T2" fmla="*/ 115 w 1195"/>
                <a:gd name="T3" fmla="*/ 1397 h 1449"/>
                <a:gd name="T4" fmla="*/ 157 w 1195"/>
                <a:gd name="T5" fmla="*/ 1363 h 1449"/>
                <a:gd name="T6" fmla="*/ 188 w 1195"/>
                <a:gd name="T7" fmla="*/ 1304 h 1449"/>
                <a:gd name="T8" fmla="*/ 990 w 1195"/>
                <a:gd name="T9" fmla="*/ 1263 h 1449"/>
                <a:gd name="T10" fmla="*/ 1025 w 1195"/>
                <a:gd name="T11" fmla="*/ 1337 h 1449"/>
                <a:gd name="T12" fmla="*/ 1059 w 1195"/>
                <a:gd name="T13" fmla="*/ 1383 h 1449"/>
                <a:gd name="T14" fmla="*/ 1111 w 1195"/>
                <a:gd name="T15" fmla="*/ 1406 h 1449"/>
                <a:gd name="T16" fmla="*/ 1195 w 1195"/>
                <a:gd name="T17" fmla="*/ 1413 h 1449"/>
                <a:gd name="T18" fmla="*/ 718 w 1195"/>
                <a:gd name="T19" fmla="*/ 1413 h 1449"/>
                <a:gd name="T20" fmla="*/ 805 w 1195"/>
                <a:gd name="T21" fmla="*/ 1406 h 1449"/>
                <a:gd name="T22" fmla="*/ 854 w 1195"/>
                <a:gd name="T23" fmla="*/ 1382 h 1449"/>
                <a:gd name="T24" fmla="*/ 868 w 1195"/>
                <a:gd name="T25" fmla="*/ 1342 h 1449"/>
                <a:gd name="T26" fmla="*/ 852 w 1195"/>
                <a:gd name="T27" fmla="*/ 1281 h 1449"/>
                <a:gd name="T28" fmla="*/ 269 w 1195"/>
                <a:gd name="T29" fmla="*/ 1281 h 1449"/>
                <a:gd name="T30" fmla="*/ 253 w 1195"/>
                <a:gd name="T31" fmla="*/ 1341 h 1449"/>
                <a:gd name="T32" fmla="*/ 267 w 1195"/>
                <a:gd name="T33" fmla="*/ 1382 h 1449"/>
                <a:gd name="T34" fmla="*/ 316 w 1195"/>
                <a:gd name="T35" fmla="*/ 1405 h 1449"/>
                <a:gd name="T36" fmla="*/ 404 w 1195"/>
                <a:gd name="T37" fmla="*/ 1413 h 1449"/>
                <a:gd name="T38" fmla="*/ 740 w 1195"/>
                <a:gd name="T39" fmla="*/ 1027 h 1449"/>
                <a:gd name="T40" fmla="*/ 450 w 1195"/>
                <a:gd name="T41" fmla="*/ 141 h 1449"/>
                <a:gd name="T42" fmla="*/ 456 w 1195"/>
                <a:gd name="T43" fmla="*/ 99 h 1449"/>
                <a:gd name="T44" fmla="*/ 482 w 1195"/>
                <a:gd name="T45" fmla="*/ 51 h 1449"/>
                <a:gd name="T46" fmla="*/ 524 w 1195"/>
                <a:gd name="T47" fmla="*/ 17 h 1449"/>
                <a:gd name="T48" fmla="*/ 577 w 1195"/>
                <a:gd name="T49" fmla="*/ 1 h 1449"/>
                <a:gd name="T50" fmla="*/ 621 w 1195"/>
                <a:gd name="T51" fmla="*/ 3 h 1449"/>
                <a:gd name="T52" fmla="*/ 672 w 1195"/>
                <a:gd name="T53" fmla="*/ 25 h 1449"/>
                <a:gd name="T54" fmla="*/ 711 w 1195"/>
                <a:gd name="T55" fmla="*/ 62 h 1449"/>
                <a:gd name="T56" fmla="*/ 732 w 1195"/>
                <a:gd name="T57" fmla="*/ 112 h 1449"/>
                <a:gd name="T58" fmla="*/ 734 w 1195"/>
                <a:gd name="T59" fmla="*/ 156 h 1449"/>
                <a:gd name="T60" fmla="*/ 718 w 1195"/>
                <a:gd name="T61" fmla="*/ 210 h 1449"/>
                <a:gd name="T62" fmla="*/ 683 w 1195"/>
                <a:gd name="T63" fmla="*/ 252 h 1449"/>
                <a:gd name="T64" fmla="*/ 634 w 1195"/>
                <a:gd name="T65" fmla="*/ 278 h 1449"/>
                <a:gd name="T66" fmla="*/ 591 w 1195"/>
                <a:gd name="T67" fmla="*/ 284 h 1449"/>
                <a:gd name="T68" fmla="*/ 536 w 1195"/>
                <a:gd name="T69" fmla="*/ 273 h 1449"/>
                <a:gd name="T70" fmla="*/ 491 w 1195"/>
                <a:gd name="T71" fmla="*/ 242 h 1449"/>
                <a:gd name="T72" fmla="*/ 461 w 1195"/>
                <a:gd name="T73" fmla="*/ 197 h 1449"/>
                <a:gd name="T74" fmla="*/ 450 w 1195"/>
                <a:gd name="T75" fmla="*/ 141 h 1449"/>
                <a:gd name="T76" fmla="*/ 671 w 1195"/>
                <a:gd name="T77" fmla="*/ 133 h 1449"/>
                <a:gd name="T78" fmla="*/ 662 w 1195"/>
                <a:gd name="T79" fmla="*/ 104 h 1449"/>
                <a:gd name="T80" fmla="*/ 642 w 1195"/>
                <a:gd name="T81" fmla="*/ 82 h 1449"/>
                <a:gd name="T82" fmla="*/ 615 w 1195"/>
                <a:gd name="T83" fmla="*/ 67 h 1449"/>
                <a:gd name="T84" fmla="*/ 591 w 1195"/>
                <a:gd name="T85" fmla="*/ 63 h 1449"/>
                <a:gd name="T86" fmla="*/ 562 w 1195"/>
                <a:gd name="T87" fmla="*/ 70 h 1449"/>
                <a:gd name="T88" fmla="*/ 536 w 1195"/>
                <a:gd name="T89" fmla="*/ 86 h 1449"/>
                <a:gd name="T90" fmla="*/ 519 w 1195"/>
                <a:gd name="T91" fmla="*/ 111 h 1449"/>
                <a:gd name="T92" fmla="*/ 512 w 1195"/>
                <a:gd name="T93" fmla="*/ 141 h 1449"/>
                <a:gd name="T94" fmla="*/ 516 w 1195"/>
                <a:gd name="T95" fmla="*/ 165 h 1449"/>
                <a:gd name="T96" fmla="*/ 531 w 1195"/>
                <a:gd name="T97" fmla="*/ 191 h 1449"/>
                <a:gd name="T98" fmla="*/ 554 w 1195"/>
                <a:gd name="T99" fmla="*/ 211 h 1449"/>
                <a:gd name="T100" fmla="*/ 584 w 1195"/>
                <a:gd name="T101" fmla="*/ 220 h 1449"/>
                <a:gd name="T102" fmla="*/ 608 w 1195"/>
                <a:gd name="T103" fmla="*/ 219 h 1449"/>
                <a:gd name="T104" fmla="*/ 636 w 1195"/>
                <a:gd name="T105" fmla="*/ 207 h 1449"/>
                <a:gd name="T106" fmla="*/ 658 w 1195"/>
                <a:gd name="T107" fmla="*/ 185 h 1449"/>
                <a:gd name="T108" fmla="*/ 669 w 1195"/>
                <a:gd name="T109" fmla="*/ 157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95" h="1449">
                  <a:moveTo>
                    <a:pt x="0" y="1413"/>
                  </a:moveTo>
                  <a:lnTo>
                    <a:pt x="0" y="1413"/>
                  </a:lnTo>
                  <a:lnTo>
                    <a:pt x="26" y="1412"/>
                  </a:lnTo>
                  <a:lnTo>
                    <a:pt x="48" y="1411"/>
                  </a:lnTo>
                  <a:lnTo>
                    <a:pt x="69" y="1409"/>
                  </a:lnTo>
                  <a:lnTo>
                    <a:pt x="86" y="1406"/>
                  </a:lnTo>
                  <a:lnTo>
                    <a:pt x="101" y="1402"/>
                  </a:lnTo>
                  <a:lnTo>
                    <a:pt x="115" y="1397"/>
                  </a:lnTo>
                  <a:lnTo>
                    <a:pt x="127" y="1391"/>
                  </a:lnTo>
                  <a:lnTo>
                    <a:pt x="138" y="1383"/>
                  </a:lnTo>
                  <a:lnTo>
                    <a:pt x="147" y="1374"/>
                  </a:lnTo>
                  <a:lnTo>
                    <a:pt x="157" y="1363"/>
                  </a:lnTo>
                  <a:lnTo>
                    <a:pt x="165" y="1351"/>
                  </a:lnTo>
                  <a:lnTo>
                    <a:pt x="172" y="1337"/>
                  </a:lnTo>
                  <a:lnTo>
                    <a:pt x="180" y="1321"/>
                  </a:lnTo>
                  <a:lnTo>
                    <a:pt x="188" y="1304"/>
                  </a:lnTo>
                  <a:lnTo>
                    <a:pt x="207" y="1263"/>
                  </a:lnTo>
                  <a:lnTo>
                    <a:pt x="586" y="384"/>
                  </a:lnTo>
                  <a:lnTo>
                    <a:pt x="609" y="384"/>
                  </a:lnTo>
                  <a:lnTo>
                    <a:pt x="990" y="1263"/>
                  </a:lnTo>
                  <a:lnTo>
                    <a:pt x="990" y="1263"/>
                  </a:lnTo>
                  <a:lnTo>
                    <a:pt x="1008" y="1304"/>
                  </a:lnTo>
                  <a:lnTo>
                    <a:pt x="1017" y="1321"/>
                  </a:lnTo>
                  <a:lnTo>
                    <a:pt x="1025" y="1337"/>
                  </a:lnTo>
                  <a:lnTo>
                    <a:pt x="1033" y="1351"/>
                  </a:lnTo>
                  <a:lnTo>
                    <a:pt x="1041" y="1363"/>
                  </a:lnTo>
                  <a:lnTo>
                    <a:pt x="1049" y="1374"/>
                  </a:lnTo>
                  <a:lnTo>
                    <a:pt x="1059" y="1383"/>
                  </a:lnTo>
                  <a:lnTo>
                    <a:pt x="1070" y="1391"/>
                  </a:lnTo>
                  <a:lnTo>
                    <a:pt x="1082" y="1397"/>
                  </a:lnTo>
                  <a:lnTo>
                    <a:pt x="1095" y="1402"/>
                  </a:lnTo>
                  <a:lnTo>
                    <a:pt x="1111" y="1406"/>
                  </a:lnTo>
                  <a:lnTo>
                    <a:pt x="1128" y="1409"/>
                  </a:lnTo>
                  <a:lnTo>
                    <a:pt x="1147" y="1411"/>
                  </a:lnTo>
                  <a:lnTo>
                    <a:pt x="1170" y="1412"/>
                  </a:lnTo>
                  <a:lnTo>
                    <a:pt x="1195" y="1413"/>
                  </a:lnTo>
                  <a:lnTo>
                    <a:pt x="1195" y="1449"/>
                  </a:lnTo>
                  <a:lnTo>
                    <a:pt x="718" y="1449"/>
                  </a:lnTo>
                  <a:lnTo>
                    <a:pt x="718" y="1413"/>
                  </a:lnTo>
                  <a:lnTo>
                    <a:pt x="718" y="1413"/>
                  </a:lnTo>
                  <a:lnTo>
                    <a:pt x="744" y="1412"/>
                  </a:lnTo>
                  <a:lnTo>
                    <a:pt x="766" y="1411"/>
                  </a:lnTo>
                  <a:lnTo>
                    <a:pt x="786" y="1409"/>
                  </a:lnTo>
                  <a:lnTo>
                    <a:pt x="805" y="1406"/>
                  </a:lnTo>
                  <a:lnTo>
                    <a:pt x="820" y="1402"/>
                  </a:lnTo>
                  <a:lnTo>
                    <a:pt x="834" y="1397"/>
                  </a:lnTo>
                  <a:lnTo>
                    <a:pt x="845" y="1390"/>
                  </a:lnTo>
                  <a:lnTo>
                    <a:pt x="854" y="1382"/>
                  </a:lnTo>
                  <a:lnTo>
                    <a:pt x="861" y="1374"/>
                  </a:lnTo>
                  <a:lnTo>
                    <a:pt x="865" y="1365"/>
                  </a:lnTo>
                  <a:lnTo>
                    <a:pt x="868" y="1354"/>
                  </a:lnTo>
                  <a:lnTo>
                    <a:pt x="868" y="1342"/>
                  </a:lnTo>
                  <a:lnTo>
                    <a:pt x="867" y="1329"/>
                  </a:lnTo>
                  <a:lnTo>
                    <a:pt x="864" y="1315"/>
                  </a:lnTo>
                  <a:lnTo>
                    <a:pt x="859" y="1299"/>
                  </a:lnTo>
                  <a:lnTo>
                    <a:pt x="852" y="1281"/>
                  </a:lnTo>
                  <a:lnTo>
                    <a:pt x="769" y="1090"/>
                  </a:lnTo>
                  <a:lnTo>
                    <a:pt x="352" y="1090"/>
                  </a:lnTo>
                  <a:lnTo>
                    <a:pt x="269" y="1281"/>
                  </a:lnTo>
                  <a:lnTo>
                    <a:pt x="269" y="1281"/>
                  </a:lnTo>
                  <a:lnTo>
                    <a:pt x="262" y="1299"/>
                  </a:lnTo>
                  <a:lnTo>
                    <a:pt x="257" y="1314"/>
                  </a:lnTo>
                  <a:lnTo>
                    <a:pt x="254" y="1328"/>
                  </a:lnTo>
                  <a:lnTo>
                    <a:pt x="253" y="1341"/>
                  </a:lnTo>
                  <a:lnTo>
                    <a:pt x="253" y="1353"/>
                  </a:lnTo>
                  <a:lnTo>
                    <a:pt x="256" y="1364"/>
                  </a:lnTo>
                  <a:lnTo>
                    <a:pt x="260" y="1373"/>
                  </a:lnTo>
                  <a:lnTo>
                    <a:pt x="267" y="1382"/>
                  </a:lnTo>
                  <a:lnTo>
                    <a:pt x="276" y="1390"/>
                  </a:lnTo>
                  <a:lnTo>
                    <a:pt x="287" y="1396"/>
                  </a:lnTo>
                  <a:lnTo>
                    <a:pt x="301" y="1401"/>
                  </a:lnTo>
                  <a:lnTo>
                    <a:pt x="316" y="1405"/>
                  </a:lnTo>
                  <a:lnTo>
                    <a:pt x="335" y="1409"/>
                  </a:lnTo>
                  <a:lnTo>
                    <a:pt x="355" y="1411"/>
                  </a:lnTo>
                  <a:lnTo>
                    <a:pt x="378" y="1412"/>
                  </a:lnTo>
                  <a:lnTo>
                    <a:pt x="404" y="1413"/>
                  </a:lnTo>
                  <a:lnTo>
                    <a:pt x="404" y="1449"/>
                  </a:lnTo>
                  <a:lnTo>
                    <a:pt x="0" y="1449"/>
                  </a:lnTo>
                  <a:lnTo>
                    <a:pt x="0" y="1413"/>
                  </a:lnTo>
                  <a:close/>
                  <a:moveTo>
                    <a:pt x="740" y="1027"/>
                  </a:moveTo>
                  <a:lnTo>
                    <a:pt x="558" y="610"/>
                  </a:lnTo>
                  <a:lnTo>
                    <a:pt x="380" y="1027"/>
                  </a:lnTo>
                  <a:lnTo>
                    <a:pt x="740" y="1027"/>
                  </a:lnTo>
                  <a:close/>
                  <a:moveTo>
                    <a:pt x="450" y="141"/>
                  </a:moveTo>
                  <a:lnTo>
                    <a:pt x="450" y="141"/>
                  </a:lnTo>
                  <a:lnTo>
                    <a:pt x="451" y="127"/>
                  </a:lnTo>
                  <a:lnTo>
                    <a:pt x="453" y="112"/>
                  </a:lnTo>
                  <a:lnTo>
                    <a:pt x="456" y="99"/>
                  </a:lnTo>
                  <a:lnTo>
                    <a:pt x="461" y="87"/>
                  </a:lnTo>
                  <a:lnTo>
                    <a:pt x="467" y="74"/>
                  </a:lnTo>
                  <a:lnTo>
                    <a:pt x="474" y="62"/>
                  </a:lnTo>
                  <a:lnTo>
                    <a:pt x="482" y="51"/>
                  </a:lnTo>
                  <a:lnTo>
                    <a:pt x="491" y="42"/>
                  </a:lnTo>
                  <a:lnTo>
                    <a:pt x="501" y="33"/>
                  </a:lnTo>
                  <a:lnTo>
                    <a:pt x="512" y="25"/>
                  </a:lnTo>
                  <a:lnTo>
                    <a:pt x="524" y="17"/>
                  </a:lnTo>
                  <a:lnTo>
                    <a:pt x="536" y="11"/>
                  </a:lnTo>
                  <a:lnTo>
                    <a:pt x="549" y="6"/>
                  </a:lnTo>
                  <a:lnTo>
                    <a:pt x="563" y="3"/>
                  </a:lnTo>
                  <a:lnTo>
                    <a:pt x="577" y="1"/>
                  </a:lnTo>
                  <a:lnTo>
                    <a:pt x="591" y="0"/>
                  </a:lnTo>
                  <a:lnTo>
                    <a:pt x="591" y="0"/>
                  </a:lnTo>
                  <a:lnTo>
                    <a:pt x="607" y="1"/>
                  </a:lnTo>
                  <a:lnTo>
                    <a:pt x="621" y="3"/>
                  </a:lnTo>
                  <a:lnTo>
                    <a:pt x="634" y="6"/>
                  </a:lnTo>
                  <a:lnTo>
                    <a:pt x="647" y="11"/>
                  </a:lnTo>
                  <a:lnTo>
                    <a:pt x="660" y="17"/>
                  </a:lnTo>
                  <a:lnTo>
                    <a:pt x="672" y="25"/>
                  </a:lnTo>
                  <a:lnTo>
                    <a:pt x="683" y="33"/>
                  </a:lnTo>
                  <a:lnTo>
                    <a:pt x="693" y="42"/>
                  </a:lnTo>
                  <a:lnTo>
                    <a:pt x="703" y="51"/>
                  </a:lnTo>
                  <a:lnTo>
                    <a:pt x="711" y="62"/>
                  </a:lnTo>
                  <a:lnTo>
                    <a:pt x="718" y="74"/>
                  </a:lnTo>
                  <a:lnTo>
                    <a:pt x="724" y="87"/>
                  </a:lnTo>
                  <a:lnTo>
                    <a:pt x="728" y="99"/>
                  </a:lnTo>
                  <a:lnTo>
                    <a:pt x="732" y="112"/>
                  </a:lnTo>
                  <a:lnTo>
                    <a:pt x="734" y="127"/>
                  </a:lnTo>
                  <a:lnTo>
                    <a:pt x="735" y="141"/>
                  </a:lnTo>
                  <a:lnTo>
                    <a:pt x="735" y="141"/>
                  </a:lnTo>
                  <a:lnTo>
                    <a:pt x="734" y="156"/>
                  </a:lnTo>
                  <a:lnTo>
                    <a:pt x="732" y="170"/>
                  </a:lnTo>
                  <a:lnTo>
                    <a:pt x="728" y="184"/>
                  </a:lnTo>
                  <a:lnTo>
                    <a:pt x="724" y="197"/>
                  </a:lnTo>
                  <a:lnTo>
                    <a:pt x="718" y="210"/>
                  </a:lnTo>
                  <a:lnTo>
                    <a:pt x="711" y="222"/>
                  </a:lnTo>
                  <a:lnTo>
                    <a:pt x="703" y="232"/>
                  </a:lnTo>
                  <a:lnTo>
                    <a:pt x="693" y="242"/>
                  </a:lnTo>
                  <a:lnTo>
                    <a:pt x="683" y="252"/>
                  </a:lnTo>
                  <a:lnTo>
                    <a:pt x="672" y="260"/>
                  </a:lnTo>
                  <a:lnTo>
                    <a:pt x="660" y="267"/>
                  </a:lnTo>
                  <a:lnTo>
                    <a:pt x="647" y="273"/>
                  </a:lnTo>
                  <a:lnTo>
                    <a:pt x="634" y="278"/>
                  </a:lnTo>
                  <a:lnTo>
                    <a:pt x="621" y="281"/>
                  </a:lnTo>
                  <a:lnTo>
                    <a:pt x="607" y="284"/>
                  </a:lnTo>
                  <a:lnTo>
                    <a:pt x="591" y="284"/>
                  </a:lnTo>
                  <a:lnTo>
                    <a:pt x="591" y="284"/>
                  </a:lnTo>
                  <a:lnTo>
                    <a:pt x="577" y="284"/>
                  </a:lnTo>
                  <a:lnTo>
                    <a:pt x="563" y="281"/>
                  </a:lnTo>
                  <a:lnTo>
                    <a:pt x="549" y="278"/>
                  </a:lnTo>
                  <a:lnTo>
                    <a:pt x="536" y="273"/>
                  </a:lnTo>
                  <a:lnTo>
                    <a:pt x="524" y="267"/>
                  </a:lnTo>
                  <a:lnTo>
                    <a:pt x="512" y="260"/>
                  </a:lnTo>
                  <a:lnTo>
                    <a:pt x="501" y="252"/>
                  </a:lnTo>
                  <a:lnTo>
                    <a:pt x="491" y="242"/>
                  </a:lnTo>
                  <a:lnTo>
                    <a:pt x="482" y="232"/>
                  </a:lnTo>
                  <a:lnTo>
                    <a:pt x="474" y="222"/>
                  </a:lnTo>
                  <a:lnTo>
                    <a:pt x="467" y="210"/>
                  </a:lnTo>
                  <a:lnTo>
                    <a:pt x="461" y="197"/>
                  </a:lnTo>
                  <a:lnTo>
                    <a:pt x="456" y="184"/>
                  </a:lnTo>
                  <a:lnTo>
                    <a:pt x="453" y="170"/>
                  </a:lnTo>
                  <a:lnTo>
                    <a:pt x="451" y="156"/>
                  </a:lnTo>
                  <a:lnTo>
                    <a:pt x="450" y="141"/>
                  </a:lnTo>
                  <a:lnTo>
                    <a:pt x="450" y="141"/>
                  </a:lnTo>
                  <a:close/>
                  <a:moveTo>
                    <a:pt x="671" y="141"/>
                  </a:moveTo>
                  <a:lnTo>
                    <a:pt x="671" y="141"/>
                  </a:lnTo>
                  <a:lnTo>
                    <a:pt x="671" y="133"/>
                  </a:lnTo>
                  <a:lnTo>
                    <a:pt x="669" y="126"/>
                  </a:lnTo>
                  <a:lnTo>
                    <a:pt x="668" y="119"/>
                  </a:lnTo>
                  <a:lnTo>
                    <a:pt x="665" y="111"/>
                  </a:lnTo>
                  <a:lnTo>
                    <a:pt x="662" y="104"/>
                  </a:lnTo>
                  <a:lnTo>
                    <a:pt x="658" y="98"/>
                  </a:lnTo>
                  <a:lnTo>
                    <a:pt x="653" y="92"/>
                  </a:lnTo>
                  <a:lnTo>
                    <a:pt x="647" y="86"/>
                  </a:lnTo>
                  <a:lnTo>
                    <a:pt x="642" y="82"/>
                  </a:lnTo>
                  <a:lnTo>
                    <a:pt x="636" y="77"/>
                  </a:lnTo>
                  <a:lnTo>
                    <a:pt x="629" y="73"/>
                  </a:lnTo>
                  <a:lnTo>
                    <a:pt x="622" y="70"/>
                  </a:lnTo>
                  <a:lnTo>
                    <a:pt x="615" y="67"/>
                  </a:lnTo>
                  <a:lnTo>
                    <a:pt x="608" y="65"/>
                  </a:lnTo>
                  <a:lnTo>
                    <a:pt x="599" y="64"/>
                  </a:lnTo>
                  <a:lnTo>
                    <a:pt x="591" y="63"/>
                  </a:lnTo>
                  <a:lnTo>
                    <a:pt x="591" y="63"/>
                  </a:lnTo>
                  <a:lnTo>
                    <a:pt x="584" y="64"/>
                  </a:lnTo>
                  <a:lnTo>
                    <a:pt x="576" y="65"/>
                  </a:lnTo>
                  <a:lnTo>
                    <a:pt x="569" y="67"/>
                  </a:lnTo>
                  <a:lnTo>
                    <a:pt x="562" y="70"/>
                  </a:lnTo>
                  <a:lnTo>
                    <a:pt x="554" y="73"/>
                  </a:lnTo>
                  <a:lnTo>
                    <a:pt x="547" y="77"/>
                  </a:lnTo>
                  <a:lnTo>
                    <a:pt x="541" y="82"/>
                  </a:lnTo>
                  <a:lnTo>
                    <a:pt x="536" y="86"/>
                  </a:lnTo>
                  <a:lnTo>
                    <a:pt x="531" y="92"/>
                  </a:lnTo>
                  <a:lnTo>
                    <a:pt x="526" y="98"/>
                  </a:lnTo>
                  <a:lnTo>
                    <a:pt x="522" y="104"/>
                  </a:lnTo>
                  <a:lnTo>
                    <a:pt x="519" y="111"/>
                  </a:lnTo>
                  <a:lnTo>
                    <a:pt x="516" y="119"/>
                  </a:lnTo>
                  <a:lnTo>
                    <a:pt x="513" y="126"/>
                  </a:lnTo>
                  <a:lnTo>
                    <a:pt x="512" y="133"/>
                  </a:lnTo>
                  <a:lnTo>
                    <a:pt x="512" y="141"/>
                  </a:lnTo>
                  <a:lnTo>
                    <a:pt x="512" y="141"/>
                  </a:lnTo>
                  <a:lnTo>
                    <a:pt x="512" y="149"/>
                  </a:lnTo>
                  <a:lnTo>
                    <a:pt x="513" y="157"/>
                  </a:lnTo>
                  <a:lnTo>
                    <a:pt x="516" y="165"/>
                  </a:lnTo>
                  <a:lnTo>
                    <a:pt x="519" y="172"/>
                  </a:lnTo>
                  <a:lnTo>
                    <a:pt x="522" y="179"/>
                  </a:lnTo>
                  <a:lnTo>
                    <a:pt x="526" y="185"/>
                  </a:lnTo>
                  <a:lnTo>
                    <a:pt x="531" y="191"/>
                  </a:lnTo>
                  <a:lnTo>
                    <a:pt x="536" y="197"/>
                  </a:lnTo>
                  <a:lnTo>
                    <a:pt x="541" y="202"/>
                  </a:lnTo>
                  <a:lnTo>
                    <a:pt x="547" y="207"/>
                  </a:lnTo>
                  <a:lnTo>
                    <a:pt x="554" y="211"/>
                  </a:lnTo>
                  <a:lnTo>
                    <a:pt x="562" y="215"/>
                  </a:lnTo>
                  <a:lnTo>
                    <a:pt x="569" y="217"/>
                  </a:lnTo>
                  <a:lnTo>
                    <a:pt x="576" y="219"/>
                  </a:lnTo>
                  <a:lnTo>
                    <a:pt x="584" y="220"/>
                  </a:lnTo>
                  <a:lnTo>
                    <a:pt x="591" y="221"/>
                  </a:lnTo>
                  <a:lnTo>
                    <a:pt x="591" y="221"/>
                  </a:lnTo>
                  <a:lnTo>
                    <a:pt x="599" y="220"/>
                  </a:lnTo>
                  <a:lnTo>
                    <a:pt x="608" y="219"/>
                  </a:lnTo>
                  <a:lnTo>
                    <a:pt x="615" y="217"/>
                  </a:lnTo>
                  <a:lnTo>
                    <a:pt x="622" y="215"/>
                  </a:lnTo>
                  <a:lnTo>
                    <a:pt x="629" y="211"/>
                  </a:lnTo>
                  <a:lnTo>
                    <a:pt x="636" y="207"/>
                  </a:lnTo>
                  <a:lnTo>
                    <a:pt x="642" y="202"/>
                  </a:lnTo>
                  <a:lnTo>
                    <a:pt x="647" y="197"/>
                  </a:lnTo>
                  <a:lnTo>
                    <a:pt x="653" y="191"/>
                  </a:lnTo>
                  <a:lnTo>
                    <a:pt x="658" y="185"/>
                  </a:lnTo>
                  <a:lnTo>
                    <a:pt x="662" y="179"/>
                  </a:lnTo>
                  <a:lnTo>
                    <a:pt x="665" y="172"/>
                  </a:lnTo>
                  <a:lnTo>
                    <a:pt x="668" y="165"/>
                  </a:lnTo>
                  <a:lnTo>
                    <a:pt x="669" y="157"/>
                  </a:lnTo>
                  <a:lnTo>
                    <a:pt x="671" y="149"/>
                  </a:lnTo>
                  <a:lnTo>
                    <a:pt x="671" y="141"/>
                  </a:lnTo>
                  <a:lnTo>
                    <a:pt x="671" y="1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8" name="Freeform 26"/>
            <p:cNvSpPr>
              <a:spLocks noEditPoints="1"/>
            </p:cNvSpPr>
            <p:nvPr userDrawn="1"/>
          </p:nvSpPr>
          <p:spPr bwMode="auto">
            <a:xfrm>
              <a:off x="2586038" y="1158876"/>
              <a:ext cx="138113" cy="136525"/>
            </a:xfrm>
            <a:custGeom>
              <a:avLst/>
              <a:gdLst>
                <a:gd name="T0" fmla="*/ 48 w 1043"/>
                <a:gd name="T1" fmla="*/ 997 h 1035"/>
                <a:gd name="T2" fmla="*/ 115 w 1043"/>
                <a:gd name="T3" fmla="*/ 981 h 1035"/>
                <a:gd name="T4" fmla="*/ 135 w 1043"/>
                <a:gd name="T5" fmla="*/ 962 h 1035"/>
                <a:gd name="T6" fmla="*/ 155 w 1043"/>
                <a:gd name="T7" fmla="*/ 920 h 1035"/>
                <a:gd name="T8" fmla="*/ 164 w 1043"/>
                <a:gd name="T9" fmla="*/ 827 h 1035"/>
                <a:gd name="T10" fmla="*/ 164 w 1043"/>
                <a:gd name="T11" fmla="*/ 206 h 1035"/>
                <a:gd name="T12" fmla="*/ 155 w 1043"/>
                <a:gd name="T13" fmla="*/ 114 h 1035"/>
                <a:gd name="T14" fmla="*/ 135 w 1043"/>
                <a:gd name="T15" fmla="*/ 72 h 1035"/>
                <a:gd name="T16" fmla="*/ 115 w 1043"/>
                <a:gd name="T17" fmla="*/ 54 h 1035"/>
                <a:gd name="T18" fmla="*/ 48 w 1043"/>
                <a:gd name="T19" fmla="*/ 38 h 1035"/>
                <a:gd name="T20" fmla="*/ 468 w 1043"/>
                <a:gd name="T21" fmla="*/ 0 h 1035"/>
                <a:gd name="T22" fmla="*/ 574 w 1043"/>
                <a:gd name="T23" fmla="*/ 6 h 1035"/>
                <a:gd name="T24" fmla="*/ 699 w 1043"/>
                <a:gd name="T25" fmla="*/ 32 h 1035"/>
                <a:gd name="T26" fmla="*/ 803 w 1043"/>
                <a:gd name="T27" fmla="*/ 75 h 1035"/>
                <a:gd name="T28" fmla="*/ 888 w 1043"/>
                <a:gd name="T29" fmla="*/ 135 h 1035"/>
                <a:gd name="T30" fmla="*/ 953 w 1043"/>
                <a:gd name="T31" fmla="*/ 209 h 1035"/>
                <a:gd name="T32" fmla="*/ 1001 w 1043"/>
                <a:gd name="T33" fmla="*/ 294 h 1035"/>
                <a:gd name="T34" fmla="*/ 1031 w 1043"/>
                <a:gd name="T35" fmla="*/ 389 h 1035"/>
                <a:gd name="T36" fmla="*/ 1043 w 1043"/>
                <a:gd name="T37" fmla="*/ 491 h 1035"/>
                <a:gd name="T38" fmla="*/ 1041 w 1043"/>
                <a:gd name="T39" fmla="*/ 570 h 1035"/>
                <a:gd name="T40" fmla="*/ 1025 w 1043"/>
                <a:gd name="T41" fmla="*/ 671 h 1035"/>
                <a:gd name="T42" fmla="*/ 991 w 1043"/>
                <a:gd name="T43" fmla="*/ 764 h 1035"/>
                <a:gd name="T44" fmla="*/ 939 w 1043"/>
                <a:gd name="T45" fmla="*/ 846 h 1035"/>
                <a:gd name="T46" fmla="*/ 868 w 1043"/>
                <a:gd name="T47" fmla="*/ 916 h 1035"/>
                <a:gd name="T48" fmla="*/ 779 w 1043"/>
                <a:gd name="T49" fmla="*/ 972 h 1035"/>
                <a:gd name="T50" fmla="*/ 670 w 1043"/>
                <a:gd name="T51" fmla="*/ 1011 h 1035"/>
                <a:gd name="T52" fmla="*/ 540 w 1043"/>
                <a:gd name="T53" fmla="*/ 1032 h 1035"/>
                <a:gd name="T54" fmla="*/ 0 w 1043"/>
                <a:gd name="T55" fmla="*/ 999 h 1035"/>
                <a:gd name="T56" fmla="*/ 529 w 1043"/>
                <a:gd name="T57" fmla="*/ 968 h 1035"/>
                <a:gd name="T58" fmla="*/ 631 w 1043"/>
                <a:gd name="T59" fmla="*/ 947 h 1035"/>
                <a:gd name="T60" fmla="*/ 713 w 1043"/>
                <a:gd name="T61" fmla="*/ 906 h 1035"/>
                <a:gd name="T62" fmla="*/ 775 w 1043"/>
                <a:gd name="T63" fmla="*/ 852 h 1035"/>
                <a:gd name="T64" fmla="*/ 820 w 1043"/>
                <a:gd name="T65" fmla="*/ 785 h 1035"/>
                <a:gd name="T66" fmla="*/ 851 w 1043"/>
                <a:gd name="T67" fmla="*/ 712 h 1035"/>
                <a:gd name="T68" fmla="*/ 869 w 1043"/>
                <a:gd name="T69" fmla="*/ 634 h 1035"/>
                <a:gd name="T70" fmla="*/ 878 w 1043"/>
                <a:gd name="T71" fmla="*/ 517 h 1035"/>
                <a:gd name="T72" fmla="*/ 865 w 1043"/>
                <a:gd name="T73" fmla="*/ 380 h 1035"/>
                <a:gd name="T74" fmla="*/ 845 w 1043"/>
                <a:gd name="T75" fmla="*/ 304 h 1035"/>
                <a:gd name="T76" fmla="*/ 810 w 1043"/>
                <a:gd name="T77" fmla="*/ 231 h 1035"/>
                <a:gd name="T78" fmla="*/ 761 w 1043"/>
                <a:gd name="T79" fmla="*/ 168 h 1035"/>
                <a:gd name="T80" fmla="*/ 695 w 1043"/>
                <a:gd name="T81" fmla="*/ 117 h 1035"/>
                <a:gd name="T82" fmla="*/ 608 w 1043"/>
                <a:gd name="T83" fmla="*/ 81 h 1035"/>
                <a:gd name="T84" fmla="*/ 500 w 1043"/>
                <a:gd name="T85" fmla="*/ 65 h 1035"/>
                <a:gd name="T86" fmla="*/ 302 w 1043"/>
                <a:gd name="T87" fmla="*/ 771 h 1035"/>
                <a:gd name="T88" fmla="*/ 307 w 1043"/>
                <a:gd name="T89" fmla="*/ 875 h 1035"/>
                <a:gd name="T90" fmla="*/ 324 w 1043"/>
                <a:gd name="T91" fmla="*/ 931 h 1035"/>
                <a:gd name="T92" fmla="*/ 344 w 1043"/>
                <a:gd name="T93" fmla="*/ 950 h 1035"/>
                <a:gd name="T94" fmla="*/ 395 w 1043"/>
                <a:gd name="T95" fmla="*/ 967 h 1035"/>
                <a:gd name="T96" fmla="*/ 469 w 1043"/>
                <a:gd name="T97" fmla="*/ 971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43" h="1035">
                  <a:moveTo>
                    <a:pt x="0" y="999"/>
                  </a:moveTo>
                  <a:lnTo>
                    <a:pt x="0" y="999"/>
                  </a:lnTo>
                  <a:lnTo>
                    <a:pt x="25" y="998"/>
                  </a:lnTo>
                  <a:lnTo>
                    <a:pt x="48" y="997"/>
                  </a:lnTo>
                  <a:lnTo>
                    <a:pt x="68" y="995"/>
                  </a:lnTo>
                  <a:lnTo>
                    <a:pt x="86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1" y="977"/>
                  </a:lnTo>
                  <a:lnTo>
                    <a:pt x="126" y="972"/>
                  </a:lnTo>
                  <a:lnTo>
                    <a:pt x="131" y="967"/>
                  </a:lnTo>
                  <a:lnTo>
                    <a:pt x="135" y="962"/>
                  </a:lnTo>
                  <a:lnTo>
                    <a:pt x="139" y="957"/>
                  </a:lnTo>
                  <a:lnTo>
                    <a:pt x="143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8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4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4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8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3" y="83"/>
                  </a:lnTo>
                  <a:lnTo>
                    <a:pt x="139" y="77"/>
                  </a:lnTo>
                  <a:lnTo>
                    <a:pt x="135" y="72"/>
                  </a:lnTo>
                  <a:lnTo>
                    <a:pt x="131" y="67"/>
                  </a:lnTo>
                  <a:lnTo>
                    <a:pt x="126" y="61"/>
                  </a:lnTo>
                  <a:lnTo>
                    <a:pt x="121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6" y="43"/>
                  </a:lnTo>
                  <a:lnTo>
                    <a:pt x="68" y="40"/>
                  </a:lnTo>
                  <a:lnTo>
                    <a:pt x="48" y="38"/>
                  </a:lnTo>
                  <a:lnTo>
                    <a:pt x="25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468" y="0"/>
                  </a:lnTo>
                  <a:lnTo>
                    <a:pt x="468" y="0"/>
                  </a:lnTo>
                  <a:lnTo>
                    <a:pt x="504" y="0"/>
                  </a:lnTo>
                  <a:lnTo>
                    <a:pt x="540" y="2"/>
                  </a:lnTo>
                  <a:lnTo>
                    <a:pt x="574" y="6"/>
                  </a:lnTo>
                  <a:lnTo>
                    <a:pt x="608" y="10"/>
                  </a:lnTo>
                  <a:lnTo>
                    <a:pt x="639" y="16"/>
                  </a:lnTo>
                  <a:lnTo>
                    <a:pt x="670" y="24"/>
                  </a:lnTo>
                  <a:lnTo>
                    <a:pt x="699" y="32"/>
                  </a:lnTo>
                  <a:lnTo>
                    <a:pt x="727" y="41"/>
                  </a:lnTo>
                  <a:lnTo>
                    <a:pt x="754" y="51"/>
                  </a:lnTo>
                  <a:lnTo>
                    <a:pt x="779" y="62"/>
                  </a:lnTo>
                  <a:lnTo>
                    <a:pt x="803" y="75"/>
                  </a:lnTo>
                  <a:lnTo>
                    <a:pt x="827" y="88"/>
                  </a:lnTo>
                  <a:lnTo>
                    <a:pt x="848" y="103"/>
                  </a:lnTo>
                  <a:lnTo>
                    <a:pt x="868" y="119"/>
                  </a:lnTo>
                  <a:lnTo>
                    <a:pt x="888" y="135"/>
                  </a:lnTo>
                  <a:lnTo>
                    <a:pt x="906" y="151"/>
                  </a:lnTo>
                  <a:lnTo>
                    <a:pt x="924" y="170"/>
                  </a:lnTo>
                  <a:lnTo>
                    <a:pt x="939" y="188"/>
                  </a:lnTo>
                  <a:lnTo>
                    <a:pt x="953" y="209"/>
                  </a:lnTo>
                  <a:lnTo>
                    <a:pt x="968" y="228"/>
                  </a:lnTo>
                  <a:lnTo>
                    <a:pt x="980" y="250"/>
                  </a:lnTo>
                  <a:lnTo>
                    <a:pt x="991" y="271"/>
                  </a:lnTo>
                  <a:lnTo>
                    <a:pt x="1001" y="294"/>
                  </a:lnTo>
                  <a:lnTo>
                    <a:pt x="1010" y="316"/>
                  </a:lnTo>
                  <a:lnTo>
                    <a:pt x="1018" y="340"/>
                  </a:lnTo>
                  <a:lnTo>
                    <a:pt x="1025" y="364"/>
                  </a:lnTo>
                  <a:lnTo>
                    <a:pt x="1031" y="389"/>
                  </a:lnTo>
                  <a:lnTo>
                    <a:pt x="1035" y="413"/>
                  </a:lnTo>
                  <a:lnTo>
                    <a:pt x="1039" y="439"/>
                  </a:lnTo>
                  <a:lnTo>
                    <a:pt x="1041" y="464"/>
                  </a:lnTo>
                  <a:lnTo>
                    <a:pt x="1043" y="491"/>
                  </a:lnTo>
                  <a:lnTo>
                    <a:pt x="1043" y="517"/>
                  </a:lnTo>
                  <a:lnTo>
                    <a:pt x="1043" y="517"/>
                  </a:lnTo>
                  <a:lnTo>
                    <a:pt x="1043" y="544"/>
                  </a:lnTo>
                  <a:lnTo>
                    <a:pt x="1041" y="570"/>
                  </a:lnTo>
                  <a:lnTo>
                    <a:pt x="1039" y="596"/>
                  </a:lnTo>
                  <a:lnTo>
                    <a:pt x="1035" y="622"/>
                  </a:lnTo>
                  <a:lnTo>
                    <a:pt x="1031" y="646"/>
                  </a:lnTo>
                  <a:lnTo>
                    <a:pt x="1025" y="671"/>
                  </a:lnTo>
                  <a:lnTo>
                    <a:pt x="1018" y="694"/>
                  </a:lnTo>
                  <a:lnTo>
                    <a:pt x="1010" y="718"/>
                  </a:lnTo>
                  <a:lnTo>
                    <a:pt x="1001" y="741"/>
                  </a:lnTo>
                  <a:lnTo>
                    <a:pt x="991" y="764"/>
                  </a:lnTo>
                  <a:lnTo>
                    <a:pt x="980" y="785"/>
                  </a:lnTo>
                  <a:lnTo>
                    <a:pt x="968" y="806"/>
                  </a:lnTo>
                  <a:lnTo>
                    <a:pt x="953" y="826"/>
                  </a:lnTo>
                  <a:lnTo>
                    <a:pt x="939" y="846"/>
                  </a:lnTo>
                  <a:lnTo>
                    <a:pt x="924" y="865"/>
                  </a:lnTo>
                  <a:lnTo>
                    <a:pt x="906" y="882"/>
                  </a:lnTo>
                  <a:lnTo>
                    <a:pt x="888" y="900"/>
                  </a:lnTo>
                  <a:lnTo>
                    <a:pt x="868" y="916"/>
                  </a:lnTo>
                  <a:lnTo>
                    <a:pt x="848" y="932"/>
                  </a:lnTo>
                  <a:lnTo>
                    <a:pt x="827" y="946"/>
                  </a:lnTo>
                  <a:lnTo>
                    <a:pt x="803" y="959"/>
                  </a:lnTo>
                  <a:lnTo>
                    <a:pt x="779" y="972"/>
                  </a:lnTo>
                  <a:lnTo>
                    <a:pt x="754" y="984"/>
                  </a:lnTo>
                  <a:lnTo>
                    <a:pt x="727" y="994"/>
                  </a:lnTo>
                  <a:lnTo>
                    <a:pt x="699" y="1003"/>
                  </a:lnTo>
                  <a:lnTo>
                    <a:pt x="670" y="1011"/>
                  </a:lnTo>
                  <a:lnTo>
                    <a:pt x="639" y="1018"/>
                  </a:lnTo>
                  <a:lnTo>
                    <a:pt x="608" y="1025"/>
                  </a:lnTo>
                  <a:lnTo>
                    <a:pt x="574" y="1029"/>
                  </a:lnTo>
                  <a:lnTo>
                    <a:pt x="540" y="1032"/>
                  </a:lnTo>
                  <a:lnTo>
                    <a:pt x="504" y="1034"/>
                  </a:lnTo>
                  <a:lnTo>
                    <a:pt x="468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  <a:moveTo>
                    <a:pt x="469" y="971"/>
                  </a:moveTo>
                  <a:lnTo>
                    <a:pt x="469" y="971"/>
                  </a:lnTo>
                  <a:lnTo>
                    <a:pt x="500" y="970"/>
                  </a:lnTo>
                  <a:lnTo>
                    <a:pt x="529" y="968"/>
                  </a:lnTo>
                  <a:lnTo>
                    <a:pt x="557" y="964"/>
                  </a:lnTo>
                  <a:lnTo>
                    <a:pt x="583" y="960"/>
                  </a:lnTo>
                  <a:lnTo>
                    <a:pt x="608" y="954"/>
                  </a:lnTo>
                  <a:lnTo>
                    <a:pt x="631" y="947"/>
                  </a:lnTo>
                  <a:lnTo>
                    <a:pt x="654" y="938"/>
                  </a:lnTo>
                  <a:lnTo>
                    <a:pt x="675" y="928"/>
                  </a:lnTo>
                  <a:lnTo>
                    <a:pt x="695" y="918"/>
                  </a:lnTo>
                  <a:lnTo>
                    <a:pt x="713" y="906"/>
                  </a:lnTo>
                  <a:lnTo>
                    <a:pt x="730" y="894"/>
                  </a:lnTo>
                  <a:lnTo>
                    <a:pt x="747" y="880"/>
                  </a:lnTo>
                  <a:lnTo>
                    <a:pt x="761" y="866"/>
                  </a:lnTo>
                  <a:lnTo>
                    <a:pt x="775" y="852"/>
                  </a:lnTo>
                  <a:lnTo>
                    <a:pt x="788" y="836"/>
                  </a:lnTo>
                  <a:lnTo>
                    <a:pt x="800" y="820"/>
                  </a:lnTo>
                  <a:lnTo>
                    <a:pt x="810" y="803"/>
                  </a:lnTo>
                  <a:lnTo>
                    <a:pt x="820" y="785"/>
                  </a:lnTo>
                  <a:lnTo>
                    <a:pt x="830" y="768"/>
                  </a:lnTo>
                  <a:lnTo>
                    <a:pt x="838" y="750"/>
                  </a:lnTo>
                  <a:lnTo>
                    <a:pt x="845" y="731"/>
                  </a:lnTo>
                  <a:lnTo>
                    <a:pt x="851" y="712"/>
                  </a:lnTo>
                  <a:lnTo>
                    <a:pt x="856" y="692"/>
                  </a:lnTo>
                  <a:lnTo>
                    <a:pt x="861" y="673"/>
                  </a:lnTo>
                  <a:lnTo>
                    <a:pt x="865" y="653"/>
                  </a:lnTo>
                  <a:lnTo>
                    <a:pt x="869" y="634"/>
                  </a:lnTo>
                  <a:lnTo>
                    <a:pt x="875" y="595"/>
                  </a:lnTo>
                  <a:lnTo>
                    <a:pt x="877" y="555"/>
                  </a:lnTo>
                  <a:lnTo>
                    <a:pt x="878" y="517"/>
                  </a:lnTo>
                  <a:lnTo>
                    <a:pt x="878" y="517"/>
                  </a:lnTo>
                  <a:lnTo>
                    <a:pt x="877" y="479"/>
                  </a:lnTo>
                  <a:lnTo>
                    <a:pt x="875" y="440"/>
                  </a:lnTo>
                  <a:lnTo>
                    <a:pt x="869" y="401"/>
                  </a:lnTo>
                  <a:lnTo>
                    <a:pt x="865" y="380"/>
                  </a:lnTo>
                  <a:lnTo>
                    <a:pt x="861" y="361"/>
                  </a:lnTo>
                  <a:lnTo>
                    <a:pt x="856" y="342"/>
                  </a:lnTo>
                  <a:lnTo>
                    <a:pt x="851" y="323"/>
                  </a:lnTo>
                  <a:lnTo>
                    <a:pt x="845" y="304"/>
                  </a:lnTo>
                  <a:lnTo>
                    <a:pt x="838" y="285"/>
                  </a:lnTo>
                  <a:lnTo>
                    <a:pt x="830" y="267"/>
                  </a:lnTo>
                  <a:lnTo>
                    <a:pt x="820" y="249"/>
                  </a:lnTo>
                  <a:lnTo>
                    <a:pt x="810" y="231"/>
                  </a:lnTo>
                  <a:lnTo>
                    <a:pt x="800" y="215"/>
                  </a:lnTo>
                  <a:lnTo>
                    <a:pt x="788" y="198"/>
                  </a:lnTo>
                  <a:lnTo>
                    <a:pt x="775" y="183"/>
                  </a:lnTo>
                  <a:lnTo>
                    <a:pt x="761" y="168"/>
                  </a:lnTo>
                  <a:lnTo>
                    <a:pt x="747" y="154"/>
                  </a:lnTo>
                  <a:lnTo>
                    <a:pt x="730" y="140"/>
                  </a:lnTo>
                  <a:lnTo>
                    <a:pt x="713" y="128"/>
                  </a:lnTo>
                  <a:lnTo>
                    <a:pt x="695" y="117"/>
                  </a:lnTo>
                  <a:lnTo>
                    <a:pt x="675" y="106"/>
                  </a:lnTo>
                  <a:lnTo>
                    <a:pt x="654" y="96"/>
                  </a:lnTo>
                  <a:lnTo>
                    <a:pt x="631" y="88"/>
                  </a:lnTo>
                  <a:lnTo>
                    <a:pt x="608" y="81"/>
                  </a:lnTo>
                  <a:lnTo>
                    <a:pt x="583" y="75"/>
                  </a:lnTo>
                  <a:lnTo>
                    <a:pt x="557" y="70"/>
                  </a:lnTo>
                  <a:lnTo>
                    <a:pt x="529" y="67"/>
                  </a:lnTo>
                  <a:lnTo>
                    <a:pt x="500" y="65"/>
                  </a:lnTo>
                  <a:lnTo>
                    <a:pt x="469" y="63"/>
                  </a:lnTo>
                  <a:lnTo>
                    <a:pt x="302" y="63"/>
                  </a:lnTo>
                  <a:lnTo>
                    <a:pt x="302" y="771"/>
                  </a:lnTo>
                  <a:lnTo>
                    <a:pt x="302" y="771"/>
                  </a:lnTo>
                  <a:lnTo>
                    <a:pt x="302" y="802"/>
                  </a:lnTo>
                  <a:lnTo>
                    <a:pt x="303" y="829"/>
                  </a:lnTo>
                  <a:lnTo>
                    <a:pt x="304" y="854"/>
                  </a:lnTo>
                  <a:lnTo>
                    <a:pt x="307" y="875"/>
                  </a:lnTo>
                  <a:lnTo>
                    <a:pt x="310" y="894"/>
                  </a:lnTo>
                  <a:lnTo>
                    <a:pt x="315" y="910"/>
                  </a:lnTo>
                  <a:lnTo>
                    <a:pt x="321" y="924"/>
                  </a:lnTo>
                  <a:lnTo>
                    <a:pt x="324" y="931"/>
                  </a:lnTo>
                  <a:lnTo>
                    <a:pt x="329" y="936"/>
                  </a:lnTo>
                  <a:lnTo>
                    <a:pt x="334" y="941"/>
                  </a:lnTo>
                  <a:lnTo>
                    <a:pt x="338" y="946"/>
                  </a:lnTo>
                  <a:lnTo>
                    <a:pt x="344" y="950"/>
                  </a:lnTo>
                  <a:lnTo>
                    <a:pt x="349" y="953"/>
                  </a:lnTo>
                  <a:lnTo>
                    <a:pt x="362" y="959"/>
                  </a:lnTo>
                  <a:lnTo>
                    <a:pt x="378" y="964"/>
                  </a:lnTo>
                  <a:lnTo>
                    <a:pt x="395" y="967"/>
                  </a:lnTo>
                  <a:lnTo>
                    <a:pt x="414" y="969"/>
                  </a:lnTo>
                  <a:lnTo>
                    <a:pt x="437" y="970"/>
                  </a:lnTo>
                  <a:lnTo>
                    <a:pt x="463" y="971"/>
                  </a:lnTo>
                  <a:lnTo>
                    <a:pt x="469" y="9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9" name="Freeform 27"/>
            <p:cNvSpPr>
              <a:spLocks/>
            </p:cNvSpPr>
            <p:nvPr userDrawn="1"/>
          </p:nvSpPr>
          <p:spPr bwMode="auto">
            <a:xfrm>
              <a:off x="2760663" y="1158876"/>
              <a:ext cx="112713" cy="136525"/>
            </a:xfrm>
            <a:custGeom>
              <a:avLst/>
              <a:gdLst>
                <a:gd name="T0" fmla="*/ 26 w 859"/>
                <a:gd name="T1" fmla="*/ 998 h 1035"/>
                <a:gd name="T2" fmla="*/ 86 w 859"/>
                <a:gd name="T3" fmla="*/ 991 h 1035"/>
                <a:gd name="T4" fmla="*/ 121 w 859"/>
                <a:gd name="T5" fmla="*/ 977 h 1035"/>
                <a:gd name="T6" fmla="*/ 135 w 859"/>
                <a:gd name="T7" fmla="*/ 962 h 1035"/>
                <a:gd name="T8" fmla="*/ 150 w 859"/>
                <a:gd name="T9" fmla="*/ 937 h 1035"/>
                <a:gd name="T10" fmla="*/ 161 w 859"/>
                <a:gd name="T11" fmla="*/ 879 h 1035"/>
                <a:gd name="T12" fmla="*/ 164 w 859"/>
                <a:gd name="T13" fmla="*/ 797 h 1035"/>
                <a:gd name="T14" fmla="*/ 164 w 859"/>
                <a:gd name="T15" fmla="*/ 206 h 1035"/>
                <a:gd name="T16" fmla="*/ 159 w 859"/>
                <a:gd name="T17" fmla="*/ 132 h 1035"/>
                <a:gd name="T18" fmla="*/ 143 w 859"/>
                <a:gd name="T19" fmla="*/ 83 h 1035"/>
                <a:gd name="T20" fmla="*/ 131 w 859"/>
                <a:gd name="T21" fmla="*/ 67 h 1035"/>
                <a:gd name="T22" fmla="*/ 115 w 859"/>
                <a:gd name="T23" fmla="*/ 54 h 1035"/>
                <a:gd name="T24" fmla="*/ 69 w 859"/>
                <a:gd name="T25" fmla="*/ 40 h 1035"/>
                <a:gd name="T26" fmla="*/ 0 w 859"/>
                <a:gd name="T27" fmla="*/ 36 h 1035"/>
                <a:gd name="T28" fmla="*/ 802 w 859"/>
                <a:gd name="T29" fmla="*/ 227 h 1035"/>
                <a:gd name="T30" fmla="*/ 757 w 859"/>
                <a:gd name="T31" fmla="*/ 193 h 1035"/>
                <a:gd name="T32" fmla="*/ 739 w 859"/>
                <a:gd name="T33" fmla="*/ 135 h 1035"/>
                <a:gd name="T34" fmla="*/ 717 w 859"/>
                <a:gd name="T35" fmla="*/ 103 h 1035"/>
                <a:gd name="T36" fmla="*/ 684 w 859"/>
                <a:gd name="T37" fmla="*/ 81 h 1035"/>
                <a:gd name="T38" fmla="*/ 632 w 859"/>
                <a:gd name="T39" fmla="*/ 68 h 1035"/>
                <a:gd name="T40" fmla="*/ 558 w 859"/>
                <a:gd name="T41" fmla="*/ 63 h 1035"/>
                <a:gd name="T42" fmla="*/ 388 w 859"/>
                <a:gd name="T43" fmla="*/ 455 h 1035"/>
                <a:gd name="T44" fmla="*/ 446 w 859"/>
                <a:gd name="T45" fmla="*/ 454 h 1035"/>
                <a:gd name="T46" fmla="*/ 512 w 859"/>
                <a:gd name="T47" fmla="*/ 446 h 1035"/>
                <a:gd name="T48" fmla="*/ 547 w 859"/>
                <a:gd name="T49" fmla="*/ 431 h 1035"/>
                <a:gd name="T50" fmla="*/ 563 w 859"/>
                <a:gd name="T51" fmla="*/ 417 h 1035"/>
                <a:gd name="T52" fmla="*/ 577 w 859"/>
                <a:gd name="T53" fmla="*/ 393 h 1035"/>
                <a:gd name="T54" fmla="*/ 587 w 859"/>
                <a:gd name="T55" fmla="*/ 339 h 1035"/>
                <a:gd name="T56" fmla="*/ 625 w 859"/>
                <a:gd name="T57" fmla="*/ 289 h 1035"/>
                <a:gd name="T58" fmla="*/ 588 w 859"/>
                <a:gd name="T59" fmla="*/ 685 h 1035"/>
                <a:gd name="T60" fmla="*/ 585 w 859"/>
                <a:gd name="T61" fmla="*/ 616 h 1035"/>
                <a:gd name="T62" fmla="*/ 571 w 859"/>
                <a:gd name="T63" fmla="*/ 569 h 1035"/>
                <a:gd name="T64" fmla="*/ 559 w 859"/>
                <a:gd name="T65" fmla="*/ 552 h 1035"/>
                <a:gd name="T66" fmla="*/ 541 w 859"/>
                <a:gd name="T67" fmla="*/ 540 h 1035"/>
                <a:gd name="T68" fmla="*/ 492 w 859"/>
                <a:gd name="T69" fmla="*/ 525 h 1035"/>
                <a:gd name="T70" fmla="*/ 419 w 859"/>
                <a:gd name="T71" fmla="*/ 519 h 1035"/>
                <a:gd name="T72" fmla="*/ 302 w 859"/>
                <a:gd name="T73" fmla="*/ 771 h 1035"/>
                <a:gd name="T74" fmla="*/ 303 w 859"/>
                <a:gd name="T75" fmla="*/ 829 h 1035"/>
                <a:gd name="T76" fmla="*/ 311 w 859"/>
                <a:gd name="T77" fmla="*/ 894 h 1035"/>
                <a:gd name="T78" fmla="*/ 326 w 859"/>
                <a:gd name="T79" fmla="*/ 931 h 1035"/>
                <a:gd name="T80" fmla="*/ 340 w 859"/>
                <a:gd name="T81" fmla="*/ 946 h 1035"/>
                <a:gd name="T82" fmla="*/ 364 w 859"/>
                <a:gd name="T83" fmla="*/ 959 h 1035"/>
                <a:gd name="T84" fmla="*/ 417 w 859"/>
                <a:gd name="T85" fmla="*/ 969 h 1035"/>
                <a:gd name="T86" fmla="*/ 614 w 859"/>
                <a:gd name="T87" fmla="*/ 971 h 1035"/>
                <a:gd name="T88" fmla="*/ 668 w 859"/>
                <a:gd name="T89" fmla="*/ 969 h 1035"/>
                <a:gd name="T90" fmla="*/ 726 w 859"/>
                <a:gd name="T91" fmla="*/ 959 h 1035"/>
                <a:gd name="T92" fmla="*/ 765 w 859"/>
                <a:gd name="T93" fmla="*/ 940 h 1035"/>
                <a:gd name="T94" fmla="*/ 790 w 859"/>
                <a:gd name="T95" fmla="*/ 911 h 1035"/>
                <a:gd name="T96" fmla="*/ 806 w 859"/>
                <a:gd name="T97" fmla="*/ 872 h 1035"/>
                <a:gd name="T98" fmla="*/ 859 w 859"/>
                <a:gd name="T99" fmla="*/ 806 h 1035"/>
                <a:gd name="T100" fmla="*/ 0 w 859"/>
                <a:gd name="T101" fmla="*/ 999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59" h="1035">
                  <a:moveTo>
                    <a:pt x="0" y="999"/>
                  </a:moveTo>
                  <a:lnTo>
                    <a:pt x="0" y="999"/>
                  </a:lnTo>
                  <a:lnTo>
                    <a:pt x="26" y="998"/>
                  </a:lnTo>
                  <a:lnTo>
                    <a:pt x="48" y="997"/>
                  </a:lnTo>
                  <a:lnTo>
                    <a:pt x="69" y="995"/>
                  </a:lnTo>
                  <a:lnTo>
                    <a:pt x="86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1" y="977"/>
                  </a:lnTo>
                  <a:lnTo>
                    <a:pt x="126" y="972"/>
                  </a:lnTo>
                  <a:lnTo>
                    <a:pt x="131" y="967"/>
                  </a:lnTo>
                  <a:lnTo>
                    <a:pt x="135" y="962"/>
                  </a:lnTo>
                  <a:lnTo>
                    <a:pt x="140" y="957"/>
                  </a:lnTo>
                  <a:lnTo>
                    <a:pt x="143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9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4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4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9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3" y="83"/>
                  </a:lnTo>
                  <a:lnTo>
                    <a:pt x="140" y="77"/>
                  </a:lnTo>
                  <a:lnTo>
                    <a:pt x="135" y="72"/>
                  </a:lnTo>
                  <a:lnTo>
                    <a:pt x="131" y="67"/>
                  </a:lnTo>
                  <a:lnTo>
                    <a:pt x="126" y="61"/>
                  </a:lnTo>
                  <a:lnTo>
                    <a:pt x="121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6" y="43"/>
                  </a:lnTo>
                  <a:lnTo>
                    <a:pt x="69" y="40"/>
                  </a:lnTo>
                  <a:lnTo>
                    <a:pt x="48" y="38"/>
                  </a:lnTo>
                  <a:lnTo>
                    <a:pt x="26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787" y="0"/>
                  </a:lnTo>
                  <a:lnTo>
                    <a:pt x="802" y="227"/>
                  </a:lnTo>
                  <a:lnTo>
                    <a:pt x="766" y="227"/>
                  </a:lnTo>
                  <a:lnTo>
                    <a:pt x="757" y="193"/>
                  </a:lnTo>
                  <a:lnTo>
                    <a:pt x="757" y="193"/>
                  </a:lnTo>
                  <a:lnTo>
                    <a:pt x="749" y="162"/>
                  </a:lnTo>
                  <a:lnTo>
                    <a:pt x="744" y="147"/>
                  </a:lnTo>
                  <a:lnTo>
                    <a:pt x="739" y="135"/>
                  </a:lnTo>
                  <a:lnTo>
                    <a:pt x="732" y="123"/>
                  </a:lnTo>
                  <a:lnTo>
                    <a:pt x="725" y="113"/>
                  </a:lnTo>
                  <a:lnTo>
                    <a:pt x="717" y="103"/>
                  </a:lnTo>
                  <a:lnTo>
                    <a:pt x="708" y="95"/>
                  </a:lnTo>
                  <a:lnTo>
                    <a:pt x="697" y="87"/>
                  </a:lnTo>
                  <a:lnTo>
                    <a:pt x="684" y="81"/>
                  </a:lnTo>
                  <a:lnTo>
                    <a:pt x="669" y="76"/>
                  </a:lnTo>
                  <a:lnTo>
                    <a:pt x="653" y="72"/>
                  </a:lnTo>
                  <a:lnTo>
                    <a:pt x="632" y="68"/>
                  </a:lnTo>
                  <a:lnTo>
                    <a:pt x="611" y="66"/>
                  </a:lnTo>
                  <a:lnTo>
                    <a:pt x="585" y="65"/>
                  </a:lnTo>
                  <a:lnTo>
                    <a:pt x="558" y="63"/>
                  </a:lnTo>
                  <a:lnTo>
                    <a:pt x="302" y="63"/>
                  </a:lnTo>
                  <a:lnTo>
                    <a:pt x="302" y="455"/>
                  </a:lnTo>
                  <a:lnTo>
                    <a:pt x="388" y="455"/>
                  </a:lnTo>
                  <a:lnTo>
                    <a:pt x="388" y="455"/>
                  </a:lnTo>
                  <a:lnTo>
                    <a:pt x="419" y="455"/>
                  </a:lnTo>
                  <a:lnTo>
                    <a:pt x="446" y="454"/>
                  </a:lnTo>
                  <a:lnTo>
                    <a:pt x="471" y="452"/>
                  </a:lnTo>
                  <a:lnTo>
                    <a:pt x="492" y="450"/>
                  </a:lnTo>
                  <a:lnTo>
                    <a:pt x="512" y="446"/>
                  </a:lnTo>
                  <a:lnTo>
                    <a:pt x="527" y="441"/>
                  </a:lnTo>
                  <a:lnTo>
                    <a:pt x="541" y="435"/>
                  </a:lnTo>
                  <a:lnTo>
                    <a:pt x="547" y="431"/>
                  </a:lnTo>
                  <a:lnTo>
                    <a:pt x="553" y="426"/>
                  </a:lnTo>
                  <a:lnTo>
                    <a:pt x="559" y="422"/>
                  </a:lnTo>
                  <a:lnTo>
                    <a:pt x="563" y="417"/>
                  </a:lnTo>
                  <a:lnTo>
                    <a:pt x="567" y="412"/>
                  </a:lnTo>
                  <a:lnTo>
                    <a:pt x="571" y="406"/>
                  </a:lnTo>
                  <a:lnTo>
                    <a:pt x="577" y="393"/>
                  </a:lnTo>
                  <a:lnTo>
                    <a:pt x="581" y="376"/>
                  </a:lnTo>
                  <a:lnTo>
                    <a:pt x="585" y="359"/>
                  </a:lnTo>
                  <a:lnTo>
                    <a:pt x="587" y="339"/>
                  </a:lnTo>
                  <a:lnTo>
                    <a:pt x="588" y="315"/>
                  </a:lnTo>
                  <a:lnTo>
                    <a:pt x="588" y="289"/>
                  </a:lnTo>
                  <a:lnTo>
                    <a:pt x="625" y="289"/>
                  </a:lnTo>
                  <a:lnTo>
                    <a:pt x="625" y="685"/>
                  </a:lnTo>
                  <a:lnTo>
                    <a:pt x="588" y="685"/>
                  </a:lnTo>
                  <a:lnTo>
                    <a:pt x="588" y="685"/>
                  </a:lnTo>
                  <a:lnTo>
                    <a:pt x="588" y="659"/>
                  </a:lnTo>
                  <a:lnTo>
                    <a:pt x="587" y="636"/>
                  </a:lnTo>
                  <a:lnTo>
                    <a:pt x="585" y="616"/>
                  </a:lnTo>
                  <a:lnTo>
                    <a:pt x="581" y="597"/>
                  </a:lnTo>
                  <a:lnTo>
                    <a:pt x="577" y="582"/>
                  </a:lnTo>
                  <a:lnTo>
                    <a:pt x="571" y="569"/>
                  </a:lnTo>
                  <a:lnTo>
                    <a:pt x="567" y="562"/>
                  </a:lnTo>
                  <a:lnTo>
                    <a:pt x="563" y="557"/>
                  </a:lnTo>
                  <a:lnTo>
                    <a:pt x="559" y="552"/>
                  </a:lnTo>
                  <a:lnTo>
                    <a:pt x="553" y="547"/>
                  </a:lnTo>
                  <a:lnTo>
                    <a:pt x="547" y="543"/>
                  </a:lnTo>
                  <a:lnTo>
                    <a:pt x="541" y="540"/>
                  </a:lnTo>
                  <a:lnTo>
                    <a:pt x="527" y="533"/>
                  </a:lnTo>
                  <a:lnTo>
                    <a:pt x="512" y="529"/>
                  </a:lnTo>
                  <a:lnTo>
                    <a:pt x="492" y="525"/>
                  </a:lnTo>
                  <a:lnTo>
                    <a:pt x="471" y="522"/>
                  </a:lnTo>
                  <a:lnTo>
                    <a:pt x="446" y="521"/>
                  </a:lnTo>
                  <a:lnTo>
                    <a:pt x="419" y="519"/>
                  </a:lnTo>
                  <a:lnTo>
                    <a:pt x="388" y="519"/>
                  </a:lnTo>
                  <a:lnTo>
                    <a:pt x="302" y="519"/>
                  </a:lnTo>
                  <a:lnTo>
                    <a:pt x="302" y="771"/>
                  </a:lnTo>
                  <a:lnTo>
                    <a:pt x="302" y="771"/>
                  </a:lnTo>
                  <a:lnTo>
                    <a:pt x="302" y="802"/>
                  </a:lnTo>
                  <a:lnTo>
                    <a:pt x="303" y="829"/>
                  </a:lnTo>
                  <a:lnTo>
                    <a:pt x="305" y="854"/>
                  </a:lnTo>
                  <a:lnTo>
                    <a:pt x="307" y="875"/>
                  </a:lnTo>
                  <a:lnTo>
                    <a:pt x="311" y="894"/>
                  </a:lnTo>
                  <a:lnTo>
                    <a:pt x="316" y="910"/>
                  </a:lnTo>
                  <a:lnTo>
                    <a:pt x="322" y="924"/>
                  </a:lnTo>
                  <a:lnTo>
                    <a:pt x="326" y="931"/>
                  </a:lnTo>
                  <a:lnTo>
                    <a:pt x="331" y="936"/>
                  </a:lnTo>
                  <a:lnTo>
                    <a:pt x="335" y="941"/>
                  </a:lnTo>
                  <a:lnTo>
                    <a:pt x="340" y="946"/>
                  </a:lnTo>
                  <a:lnTo>
                    <a:pt x="345" y="950"/>
                  </a:lnTo>
                  <a:lnTo>
                    <a:pt x="351" y="953"/>
                  </a:lnTo>
                  <a:lnTo>
                    <a:pt x="364" y="959"/>
                  </a:lnTo>
                  <a:lnTo>
                    <a:pt x="380" y="964"/>
                  </a:lnTo>
                  <a:lnTo>
                    <a:pt x="398" y="967"/>
                  </a:lnTo>
                  <a:lnTo>
                    <a:pt x="417" y="969"/>
                  </a:lnTo>
                  <a:lnTo>
                    <a:pt x="440" y="970"/>
                  </a:lnTo>
                  <a:lnTo>
                    <a:pt x="466" y="971"/>
                  </a:lnTo>
                  <a:lnTo>
                    <a:pt x="614" y="971"/>
                  </a:lnTo>
                  <a:lnTo>
                    <a:pt x="614" y="971"/>
                  </a:lnTo>
                  <a:lnTo>
                    <a:pt x="642" y="970"/>
                  </a:lnTo>
                  <a:lnTo>
                    <a:pt x="668" y="969"/>
                  </a:lnTo>
                  <a:lnTo>
                    <a:pt x="689" y="966"/>
                  </a:lnTo>
                  <a:lnTo>
                    <a:pt x="709" y="963"/>
                  </a:lnTo>
                  <a:lnTo>
                    <a:pt x="726" y="959"/>
                  </a:lnTo>
                  <a:lnTo>
                    <a:pt x="742" y="954"/>
                  </a:lnTo>
                  <a:lnTo>
                    <a:pt x="754" y="947"/>
                  </a:lnTo>
                  <a:lnTo>
                    <a:pt x="765" y="940"/>
                  </a:lnTo>
                  <a:lnTo>
                    <a:pt x="775" y="932"/>
                  </a:lnTo>
                  <a:lnTo>
                    <a:pt x="784" y="921"/>
                  </a:lnTo>
                  <a:lnTo>
                    <a:pt x="790" y="911"/>
                  </a:lnTo>
                  <a:lnTo>
                    <a:pt x="796" y="899"/>
                  </a:lnTo>
                  <a:lnTo>
                    <a:pt x="801" y="886"/>
                  </a:lnTo>
                  <a:lnTo>
                    <a:pt x="806" y="872"/>
                  </a:lnTo>
                  <a:lnTo>
                    <a:pt x="814" y="840"/>
                  </a:lnTo>
                  <a:lnTo>
                    <a:pt x="823" y="806"/>
                  </a:lnTo>
                  <a:lnTo>
                    <a:pt x="859" y="806"/>
                  </a:lnTo>
                  <a:lnTo>
                    <a:pt x="846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30" name="Freeform 28"/>
            <p:cNvSpPr>
              <a:spLocks/>
            </p:cNvSpPr>
            <p:nvPr userDrawn="1"/>
          </p:nvSpPr>
          <p:spPr bwMode="auto">
            <a:xfrm>
              <a:off x="2903538" y="1158876"/>
              <a:ext cx="142875" cy="136525"/>
            </a:xfrm>
            <a:custGeom>
              <a:avLst/>
              <a:gdLst>
                <a:gd name="T0" fmla="*/ 304 w 1077"/>
                <a:gd name="T1" fmla="*/ 999 h 1035"/>
                <a:gd name="T2" fmla="*/ 352 w 1077"/>
                <a:gd name="T3" fmla="*/ 997 h 1035"/>
                <a:gd name="T4" fmla="*/ 391 w 1077"/>
                <a:gd name="T5" fmla="*/ 991 h 1035"/>
                <a:gd name="T6" fmla="*/ 419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9 w 1077"/>
                <a:gd name="T13" fmla="*/ 951 h 1035"/>
                <a:gd name="T14" fmla="*/ 460 w 1077"/>
                <a:gd name="T15" fmla="*/ 920 h 1035"/>
                <a:gd name="T16" fmla="*/ 466 w 1077"/>
                <a:gd name="T17" fmla="*/ 879 h 1035"/>
                <a:gd name="T18" fmla="*/ 469 w 1077"/>
                <a:gd name="T19" fmla="*/ 827 h 1035"/>
                <a:gd name="T20" fmla="*/ 469 w 1077"/>
                <a:gd name="T21" fmla="*/ 68 h 1035"/>
                <a:gd name="T22" fmla="*/ 246 w 1077"/>
                <a:gd name="T23" fmla="*/ 68 h 1035"/>
                <a:gd name="T24" fmla="*/ 192 w 1077"/>
                <a:gd name="T25" fmla="*/ 69 h 1035"/>
                <a:gd name="T26" fmla="*/ 150 w 1077"/>
                <a:gd name="T27" fmla="*/ 75 h 1035"/>
                <a:gd name="T28" fmla="*/ 119 w 1077"/>
                <a:gd name="T29" fmla="*/ 85 h 1035"/>
                <a:gd name="T30" fmla="*/ 95 w 1077"/>
                <a:gd name="T31" fmla="*/ 98 h 1035"/>
                <a:gd name="T32" fmla="*/ 78 w 1077"/>
                <a:gd name="T33" fmla="*/ 117 h 1035"/>
                <a:gd name="T34" fmla="*/ 65 w 1077"/>
                <a:gd name="T35" fmla="*/ 139 h 1035"/>
                <a:gd name="T36" fmla="*/ 54 w 1077"/>
                <a:gd name="T37" fmla="*/ 167 h 1035"/>
                <a:gd name="T38" fmla="*/ 37 w 1077"/>
                <a:gd name="T39" fmla="*/ 233 h 1035"/>
                <a:gd name="T40" fmla="*/ 15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3 w 1077"/>
                <a:gd name="T47" fmla="*/ 167 h 1035"/>
                <a:gd name="T48" fmla="*/ 1013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58 w 1077"/>
                <a:gd name="T55" fmla="*/ 85 h 1035"/>
                <a:gd name="T56" fmla="*/ 927 w 1077"/>
                <a:gd name="T57" fmla="*/ 75 h 1035"/>
                <a:gd name="T58" fmla="*/ 886 w 1077"/>
                <a:gd name="T59" fmla="*/ 69 h 1035"/>
                <a:gd name="T60" fmla="*/ 832 w 1077"/>
                <a:gd name="T61" fmla="*/ 68 h 1035"/>
                <a:gd name="T62" fmla="*/ 608 w 1077"/>
                <a:gd name="T63" fmla="*/ 797 h 1035"/>
                <a:gd name="T64" fmla="*/ 608 w 1077"/>
                <a:gd name="T65" fmla="*/ 827 h 1035"/>
                <a:gd name="T66" fmla="*/ 611 w 1077"/>
                <a:gd name="T67" fmla="*/ 879 h 1035"/>
                <a:gd name="T68" fmla="*/ 618 w 1077"/>
                <a:gd name="T69" fmla="*/ 920 h 1035"/>
                <a:gd name="T70" fmla="*/ 629 w 1077"/>
                <a:gd name="T71" fmla="*/ 951 h 1035"/>
                <a:gd name="T72" fmla="*/ 637 w 1077"/>
                <a:gd name="T73" fmla="*/ 962 h 1035"/>
                <a:gd name="T74" fmla="*/ 646 w 1077"/>
                <a:gd name="T75" fmla="*/ 972 h 1035"/>
                <a:gd name="T76" fmla="*/ 658 w 1077"/>
                <a:gd name="T77" fmla="*/ 981 h 1035"/>
                <a:gd name="T78" fmla="*/ 687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29" y="998"/>
                  </a:lnTo>
                  <a:lnTo>
                    <a:pt x="352" y="997"/>
                  </a:lnTo>
                  <a:lnTo>
                    <a:pt x="372" y="995"/>
                  </a:lnTo>
                  <a:lnTo>
                    <a:pt x="391" y="991"/>
                  </a:lnTo>
                  <a:lnTo>
                    <a:pt x="406" y="987"/>
                  </a:lnTo>
                  <a:lnTo>
                    <a:pt x="419" y="981"/>
                  </a:lnTo>
                  <a:lnTo>
                    <a:pt x="426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9" y="951"/>
                  </a:lnTo>
                  <a:lnTo>
                    <a:pt x="455" y="937"/>
                  </a:lnTo>
                  <a:lnTo>
                    <a:pt x="460" y="920"/>
                  </a:lnTo>
                  <a:lnTo>
                    <a:pt x="464" y="901"/>
                  </a:lnTo>
                  <a:lnTo>
                    <a:pt x="466" y="879"/>
                  </a:lnTo>
                  <a:lnTo>
                    <a:pt x="468" y="855"/>
                  </a:lnTo>
                  <a:lnTo>
                    <a:pt x="469" y="827"/>
                  </a:lnTo>
                  <a:lnTo>
                    <a:pt x="469" y="797"/>
                  </a:lnTo>
                  <a:lnTo>
                    <a:pt x="469" y="68"/>
                  </a:lnTo>
                  <a:lnTo>
                    <a:pt x="246" y="68"/>
                  </a:lnTo>
                  <a:lnTo>
                    <a:pt x="246" y="68"/>
                  </a:lnTo>
                  <a:lnTo>
                    <a:pt x="217" y="68"/>
                  </a:lnTo>
                  <a:lnTo>
                    <a:pt x="192" y="69"/>
                  </a:lnTo>
                  <a:lnTo>
                    <a:pt x="170" y="72"/>
                  </a:lnTo>
                  <a:lnTo>
                    <a:pt x="150" y="75"/>
                  </a:lnTo>
                  <a:lnTo>
                    <a:pt x="133" y="79"/>
                  </a:lnTo>
                  <a:lnTo>
                    <a:pt x="119" y="85"/>
                  </a:lnTo>
                  <a:lnTo>
                    <a:pt x="105" y="91"/>
                  </a:lnTo>
                  <a:lnTo>
                    <a:pt x="95" y="98"/>
                  </a:lnTo>
                  <a:lnTo>
                    <a:pt x="85" y="106"/>
                  </a:lnTo>
                  <a:lnTo>
                    <a:pt x="78" y="117"/>
                  </a:lnTo>
                  <a:lnTo>
                    <a:pt x="71" y="127"/>
                  </a:lnTo>
                  <a:lnTo>
                    <a:pt x="65" y="139"/>
                  </a:lnTo>
                  <a:lnTo>
                    <a:pt x="59" y="152"/>
                  </a:lnTo>
                  <a:lnTo>
                    <a:pt x="54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5" y="0"/>
                  </a:lnTo>
                  <a:lnTo>
                    <a:pt x="1062" y="0"/>
                  </a:lnTo>
                  <a:lnTo>
                    <a:pt x="1077" y="233"/>
                  </a:lnTo>
                  <a:lnTo>
                    <a:pt x="1041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3" y="167"/>
                  </a:lnTo>
                  <a:lnTo>
                    <a:pt x="1019" y="152"/>
                  </a:lnTo>
                  <a:lnTo>
                    <a:pt x="1013" y="139"/>
                  </a:lnTo>
                  <a:lnTo>
                    <a:pt x="1007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2" y="91"/>
                  </a:lnTo>
                  <a:lnTo>
                    <a:pt x="958" y="85"/>
                  </a:lnTo>
                  <a:lnTo>
                    <a:pt x="944" y="79"/>
                  </a:lnTo>
                  <a:lnTo>
                    <a:pt x="927" y="75"/>
                  </a:lnTo>
                  <a:lnTo>
                    <a:pt x="907" y="72"/>
                  </a:lnTo>
                  <a:lnTo>
                    <a:pt x="886" y="69"/>
                  </a:lnTo>
                  <a:lnTo>
                    <a:pt x="860" y="68"/>
                  </a:lnTo>
                  <a:lnTo>
                    <a:pt x="832" y="68"/>
                  </a:lnTo>
                  <a:lnTo>
                    <a:pt x="608" y="68"/>
                  </a:lnTo>
                  <a:lnTo>
                    <a:pt x="608" y="797"/>
                  </a:lnTo>
                  <a:lnTo>
                    <a:pt x="608" y="797"/>
                  </a:lnTo>
                  <a:lnTo>
                    <a:pt x="608" y="827"/>
                  </a:lnTo>
                  <a:lnTo>
                    <a:pt x="609" y="855"/>
                  </a:lnTo>
                  <a:lnTo>
                    <a:pt x="611" y="879"/>
                  </a:lnTo>
                  <a:lnTo>
                    <a:pt x="614" y="901"/>
                  </a:lnTo>
                  <a:lnTo>
                    <a:pt x="618" y="920"/>
                  </a:lnTo>
                  <a:lnTo>
                    <a:pt x="622" y="937"/>
                  </a:lnTo>
                  <a:lnTo>
                    <a:pt x="629" y="951"/>
                  </a:lnTo>
                  <a:lnTo>
                    <a:pt x="633" y="957"/>
                  </a:lnTo>
                  <a:lnTo>
                    <a:pt x="637" y="962"/>
                  </a:lnTo>
                  <a:lnTo>
                    <a:pt x="641" y="967"/>
                  </a:lnTo>
                  <a:lnTo>
                    <a:pt x="646" y="972"/>
                  </a:lnTo>
                  <a:lnTo>
                    <a:pt x="651" y="977"/>
                  </a:lnTo>
                  <a:lnTo>
                    <a:pt x="658" y="981"/>
                  </a:lnTo>
                  <a:lnTo>
                    <a:pt x="672" y="987"/>
                  </a:lnTo>
                  <a:lnTo>
                    <a:pt x="687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8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31" name="Freeform 29"/>
            <p:cNvSpPr>
              <a:spLocks noEditPoints="1"/>
            </p:cNvSpPr>
            <p:nvPr userDrawn="1"/>
          </p:nvSpPr>
          <p:spPr bwMode="auto">
            <a:xfrm>
              <a:off x="703263" y="627063"/>
              <a:ext cx="657225" cy="898525"/>
            </a:xfrm>
            <a:custGeom>
              <a:avLst/>
              <a:gdLst>
                <a:gd name="T0" fmla="*/ 3944 w 4973"/>
                <a:gd name="T1" fmla="*/ 6352 h 6792"/>
                <a:gd name="T2" fmla="*/ 1694 w 4973"/>
                <a:gd name="T3" fmla="*/ 6143 h 6792"/>
                <a:gd name="T4" fmla="*/ 2984 w 4973"/>
                <a:gd name="T5" fmla="*/ 3784 h 6792"/>
                <a:gd name="T6" fmla="*/ 2316 w 4973"/>
                <a:gd name="T7" fmla="*/ 4454 h 6792"/>
                <a:gd name="T8" fmla="*/ 1155 w 4973"/>
                <a:gd name="T9" fmla="*/ 4705 h 6792"/>
                <a:gd name="T10" fmla="*/ 1077 w 4973"/>
                <a:gd name="T11" fmla="*/ 4988 h 6792"/>
                <a:gd name="T12" fmla="*/ 910 w 4973"/>
                <a:gd name="T13" fmla="*/ 5245 h 6792"/>
                <a:gd name="T14" fmla="*/ 961 w 4973"/>
                <a:gd name="T15" fmla="*/ 5618 h 6792"/>
                <a:gd name="T16" fmla="*/ 1600 w 4973"/>
                <a:gd name="T17" fmla="*/ 5369 h 6792"/>
                <a:gd name="T18" fmla="*/ 1886 w 4973"/>
                <a:gd name="T19" fmla="*/ 5421 h 6792"/>
                <a:gd name="T20" fmla="*/ 2617 w 4973"/>
                <a:gd name="T21" fmla="*/ 5123 h 6792"/>
                <a:gd name="T22" fmla="*/ 2857 w 4973"/>
                <a:gd name="T23" fmla="*/ 4678 h 6792"/>
                <a:gd name="T24" fmla="*/ 489 w 4973"/>
                <a:gd name="T25" fmla="*/ 5877 h 6792"/>
                <a:gd name="T26" fmla="*/ 1233 w 4973"/>
                <a:gd name="T27" fmla="*/ 6668 h 6792"/>
                <a:gd name="T28" fmla="*/ 1527 w 4973"/>
                <a:gd name="T29" fmla="*/ 5749 h 6792"/>
                <a:gd name="T30" fmla="*/ 927 w 4973"/>
                <a:gd name="T31" fmla="*/ 5758 h 6792"/>
                <a:gd name="T32" fmla="*/ 429 w 4973"/>
                <a:gd name="T33" fmla="*/ 621 h 6792"/>
                <a:gd name="T34" fmla="*/ 914 w 4973"/>
                <a:gd name="T35" fmla="*/ 547 h 6792"/>
                <a:gd name="T36" fmla="*/ 829 w 4973"/>
                <a:gd name="T37" fmla="*/ 957 h 6792"/>
                <a:gd name="T38" fmla="*/ 1232 w 4973"/>
                <a:gd name="T39" fmla="*/ 762 h 6792"/>
                <a:gd name="T40" fmla="*/ 780 w 4973"/>
                <a:gd name="T41" fmla="*/ 1976 h 6792"/>
                <a:gd name="T42" fmla="*/ 1297 w 4973"/>
                <a:gd name="T43" fmla="*/ 319 h 6792"/>
                <a:gd name="T44" fmla="*/ 1481 w 4973"/>
                <a:gd name="T45" fmla="*/ 731 h 6792"/>
                <a:gd name="T46" fmla="*/ 3458 w 4973"/>
                <a:gd name="T47" fmla="*/ 480 h 6792"/>
                <a:gd name="T48" fmla="*/ 3084 w 4973"/>
                <a:gd name="T49" fmla="*/ 643 h 6792"/>
                <a:gd name="T50" fmla="*/ 2947 w 4973"/>
                <a:gd name="T51" fmla="*/ 214 h 6792"/>
                <a:gd name="T52" fmla="*/ 2541 w 4973"/>
                <a:gd name="T53" fmla="*/ 417 h 6792"/>
                <a:gd name="T54" fmla="*/ 2413 w 4973"/>
                <a:gd name="T55" fmla="*/ 28 h 6792"/>
                <a:gd name="T56" fmla="*/ 3900 w 4973"/>
                <a:gd name="T57" fmla="*/ 1991 h 6792"/>
                <a:gd name="T58" fmla="*/ 4172 w 4973"/>
                <a:gd name="T59" fmla="*/ 1335 h 6792"/>
                <a:gd name="T60" fmla="*/ 3970 w 4973"/>
                <a:gd name="T61" fmla="*/ 3382 h 6792"/>
                <a:gd name="T62" fmla="*/ 4830 w 4973"/>
                <a:gd name="T63" fmla="*/ 2682 h 6792"/>
                <a:gd name="T64" fmla="*/ 4551 w 4973"/>
                <a:gd name="T65" fmla="*/ 1246 h 6792"/>
                <a:gd name="T66" fmla="*/ 3641 w 4973"/>
                <a:gd name="T67" fmla="*/ 1994 h 6792"/>
                <a:gd name="T68" fmla="*/ 3910 w 4973"/>
                <a:gd name="T69" fmla="*/ 2958 h 6792"/>
                <a:gd name="T70" fmla="*/ 4286 w 4973"/>
                <a:gd name="T71" fmla="*/ 2402 h 6792"/>
                <a:gd name="T72" fmla="*/ 3965 w 4973"/>
                <a:gd name="T73" fmla="*/ 3379 h 6792"/>
                <a:gd name="T74" fmla="*/ 3169 w 4973"/>
                <a:gd name="T75" fmla="*/ 2142 h 6792"/>
                <a:gd name="T76" fmla="*/ 3399 w 4973"/>
                <a:gd name="T77" fmla="*/ 1285 h 6792"/>
                <a:gd name="T78" fmla="*/ 2604 w 4973"/>
                <a:gd name="T79" fmla="*/ 769 h 6792"/>
                <a:gd name="T80" fmla="*/ 2052 w 4973"/>
                <a:gd name="T81" fmla="*/ 1359 h 6792"/>
                <a:gd name="T82" fmla="*/ 1664 w 4973"/>
                <a:gd name="T83" fmla="*/ 1597 h 6792"/>
                <a:gd name="T84" fmla="*/ 2105 w 4973"/>
                <a:gd name="T85" fmla="*/ 1550 h 6792"/>
                <a:gd name="T86" fmla="*/ 1945 w 4973"/>
                <a:gd name="T87" fmla="*/ 1849 h 6792"/>
                <a:gd name="T88" fmla="*/ 1151 w 4973"/>
                <a:gd name="T89" fmla="*/ 2851 h 6792"/>
                <a:gd name="T90" fmla="*/ 331 w 4973"/>
                <a:gd name="T91" fmla="*/ 2774 h 6792"/>
                <a:gd name="T92" fmla="*/ 150 w 4973"/>
                <a:gd name="T93" fmla="*/ 2974 h 6792"/>
                <a:gd name="T94" fmla="*/ 554 w 4973"/>
                <a:gd name="T95" fmla="*/ 3191 h 6792"/>
                <a:gd name="T96" fmla="*/ 489 w 4973"/>
                <a:gd name="T97" fmla="*/ 3468 h 6792"/>
                <a:gd name="T98" fmla="*/ 935 w 4973"/>
                <a:gd name="T99" fmla="*/ 3451 h 6792"/>
                <a:gd name="T100" fmla="*/ 1725 w 4973"/>
                <a:gd name="T101" fmla="*/ 2972 h 6792"/>
                <a:gd name="T102" fmla="*/ 3397 w 4973"/>
                <a:gd name="T103" fmla="*/ 3673 h 6792"/>
                <a:gd name="T104" fmla="*/ 3711 w 4973"/>
                <a:gd name="T105" fmla="*/ 4812 h 6792"/>
                <a:gd name="T106" fmla="*/ 4356 w 4973"/>
                <a:gd name="T107" fmla="*/ 5526 h 6792"/>
                <a:gd name="T108" fmla="*/ 3835 w 4973"/>
                <a:gd name="T109" fmla="*/ 5815 h 6792"/>
                <a:gd name="T110" fmla="*/ 3750 w 4973"/>
                <a:gd name="T111" fmla="*/ 6147 h 6792"/>
                <a:gd name="T112" fmla="*/ 4262 w 4973"/>
                <a:gd name="T113" fmla="*/ 6036 h 6792"/>
                <a:gd name="T114" fmla="*/ 4324 w 4973"/>
                <a:gd name="T115" fmla="*/ 6374 h 6792"/>
                <a:gd name="T116" fmla="*/ 4692 w 4973"/>
                <a:gd name="T117" fmla="*/ 6210 h 6792"/>
                <a:gd name="T118" fmla="*/ 4659 w 4973"/>
                <a:gd name="T119" fmla="*/ 5487 h 6792"/>
                <a:gd name="T120" fmla="*/ 4786 w 4973"/>
                <a:gd name="T121" fmla="*/ 4785 h 6792"/>
                <a:gd name="T122" fmla="*/ 4362 w 4973"/>
                <a:gd name="T123" fmla="*/ 4115 h 6792"/>
                <a:gd name="T124" fmla="*/ 4803 w 4973"/>
                <a:gd name="T125" fmla="*/ 3237 h 6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3" h="6792">
                  <a:moveTo>
                    <a:pt x="1358" y="6333"/>
                  </a:moveTo>
                  <a:lnTo>
                    <a:pt x="1358" y="6333"/>
                  </a:lnTo>
                  <a:lnTo>
                    <a:pt x="1445" y="6392"/>
                  </a:lnTo>
                  <a:lnTo>
                    <a:pt x="1485" y="6418"/>
                  </a:lnTo>
                  <a:lnTo>
                    <a:pt x="1524" y="6443"/>
                  </a:lnTo>
                  <a:lnTo>
                    <a:pt x="1561" y="6466"/>
                  </a:lnTo>
                  <a:lnTo>
                    <a:pt x="1599" y="6487"/>
                  </a:lnTo>
                  <a:lnTo>
                    <a:pt x="1638" y="6509"/>
                  </a:lnTo>
                  <a:lnTo>
                    <a:pt x="1677" y="6528"/>
                  </a:lnTo>
                  <a:lnTo>
                    <a:pt x="1677" y="6528"/>
                  </a:lnTo>
                  <a:lnTo>
                    <a:pt x="1730" y="6553"/>
                  </a:lnTo>
                  <a:lnTo>
                    <a:pt x="1788" y="6578"/>
                  </a:lnTo>
                  <a:lnTo>
                    <a:pt x="1853" y="6605"/>
                  </a:lnTo>
                  <a:lnTo>
                    <a:pt x="1923" y="6630"/>
                  </a:lnTo>
                  <a:lnTo>
                    <a:pt x="1961" y="6644"/>
                  </a:lnTo>
                  <a:lnTo>
                    <a:pt x="2000" y="6656"/>
                  </a:lnTo>
                  <a:lnTo>
                    <a:pt x="2040" y="6669"/>
                  </a:lnTo>
                  <a:lnTo>
                    <a:pt x="2082" y="6682"/>
                  </a:lnTo>
                  <a:lnTo>
                    <a:pt x="2125" y="6693"/>
                  </a:lnTo>
                  <a:lnTo>
                    <a:pt x="2169" y="6704"/>
                  </a:lnTo>
                  <a:lnTo>
                    <a:pt x="2215" y="6715"/>
                  </a:lnTo>
                  <a:lnTo>
                    <a:pt x="2261" y="6726"/>
                  </a:lnTo>
                  <a:lnTo>
                    <a:pt x="2310" y="6736"/>
                  </a:lnTo>
                  <a:lnTo>
                    <a:pt x="2359" y="6745"/>
                  </a:lnTo>
                  <a:lnTo>
                    <a:pt x="2410" y="6754"/>
                  </a:lnTo>
                  <a:lnTo>
                    <a:pt x="2462" y="6762"/>
                  </a:lnTo>
                  <a:lnTo>
                    <a:pt x="2515" y="6768"/>
                  </a:lnTo>
                  <a:lnTo>
                    <a:pt x="2570" y="6776"/>
                  </a:lnTo>
                  <a:lnTo>
                    <a:pt x="2625" y="6781"/>
                  </a:lnTo>
                  <a:lnTo>
                    <a:pt x="2682" y="6785"/>
                  </a:lnTo>
                  <a:lnTo>
                    <a:pt x="2740" y="6788"/>
                  </a:lnTo>
                  <a:lnTo>
                    <a:pt x="2800" y="6790"/>
                  </a:lnTo>
                  <a:lnTo>
                    <a:pt x="2860" y="6792"/>
                  </a:lnTo>
                  <a:lnTo>
                    <a:pt x="2921" y="6791"/>
                  </a:lnTo>
                  <a:lnTo>
                    <a:pt x="2984" y="6790"/>
                  </a:lnTo>
                  <a:lnTo>
                    <a:pt x="3047" y="6787"/>
                  </a:lnTo>
                  <a:lnTo>
                    <a:pt x="3112" y="6783"/>
                  </a:lnTo>
                  <a:lnTo>
                    <a:pt x="3177" y="6778"/>
                  </a:lnTo>
                  <a:lnTo>
                    <a:pt x="3177" y="6778"/>
                  </a:lnTo>
                  <a:lnTo>
                    <a:pt x="3239" y="6772"/>
                  </a:lnTo>
                  <a:lnTo>
                    <a:pt x="3299" y="6763"/>
                  </a:lnTo>
                  <a:lnTo>
                    <a:pt x="3357" y="6755"/>
                  </a:lnTo>
                  <a:lnTo>
                    <a:pt x="3412" y="6746"/>
                  </a:lnTo>
                  <a:lnTo>
                    <a:pt x="3466" y="6737"/>
                  </a:lnTo>
                  <a:lnTo>
                    <a:pt x="3517" y="6727"/>
                  </a:lnTo>
                  <a:lnTo>
                    <a:pt x="3567" y="6715"/>
                  </a:lnTo>
                  <a:lnTo>
                    <a:pt x="3615" y="6704"/>
                  </a:lnTo>
                  <a:lnTo>
                    <a:pt x="3660" y="6692"/>
                  </a:lnTo>
                  <a:lnTo>
                    <a:pt x="3704" y="6680"/>
                  </a:lnTo>
                  <a:lnTo>
                    <a:pt x="3745" y="6667"/>
                  </a:lnTo>
                  <a:lnTo>
                    <a:pt x="3784" y="6654"/>
                  </a:lnTo>
                  <a:lnTo>
                    <a:pt x="3822" y="6642"/>
                  </a:lnTo>
                  <a:lnTo>
                    <a:pt x="3858" y="6628"/>
                  </a:lnTo>
                  <a:lnTo>
                    <a:pt x="3891" y="6615"/>
                  </a:lnTo>
                  <a:lnTo>
                    <a:pt x="3922" y="6603"/>
                  </a:lnTo>
                  <a:lnTo>
                    <a:pt x="3980" y="6577"/>
                  </a:lnTo>
                  <a:lnTo>
                    <a:pt x="4030" y="6554"/>
                  </a:lnTo>
                  <a:lnTo>
                    <a:pt x="4071" y="6532"/>
                  </a:lnTo>
                  <a:lnTo>
                    <a:pt x="4105" y="6514"/>
                  </a:lnTo>
                  <a:lnTo>
                    <a:pt x="4131" y="6498"/>
                  </a:lnTo>
                  <a:lnTo>
                    <a:pt x="4150" y="6485"/>
                  </a:lnTo>
                  <a:lnTo>
                    <a:pt x="4165" y="6475"/>
                  </a:lnTo>
                  <a:lnTo>
                    <a:pt x="4165" y="6475"/>
                  </a:lnTo>
                  <a:lnTo>
                    <a:pt x="4144" y="6468"/>
                  </a:lnTo>
                  <a:lnTo>
                    <a:pt x="4124" y="6459"/>
                  </a:lnTo>
                  <a:lnTo>
                    <a:pt x="4103" y="6451"/>
                  </a:lnTo>
                  <a:lnTo>
                    <a:pt x="4084" y="6440"/>
                  </a:lnTo>
                  <a:lnTo>
                    <a:pt x="4064" y="6431"/>
                  </a:lnTo>
                  <a:lnTo>
                    <a:pt x="4046" y="6421"/>
                  </a:lnTo>
                  <a:lnTo>
                    <a:pt x="4009" y="6398"/>
                  </a:lnTo>
                  <a:lnTo>
                    <a:pt x="3976" y="6376"/>
                  </a:lnTo>
                  <a:lnTo>
                    <a:pt x="3944" y="6352"/>
                  </a:lnTo>
                  <a:lnTo>
                    <a:pt x="3914" y="6329"/>
                  </a:lnTo>
                  <a:lnTo>
                    <a:pt x="3887" y="6305"/>
                  </a:lnTo>
                  <a:lnTo>
                    <a:pt x="3887" y="6305"/>
                  </a:lnTo>
                  <a:lnTo>
                    <a:pt x="3882" y="6315"/>
                  </a:lnTo>
                  <a:lnTo>
                    <a:pt x="3879" y="6328"/>
                  </a:lnTo>
                  <a:lnTo>
                    <a:pt x="3876" y="6343"/>
                  </a:lnTo>
                  <a:lnTo>
                    <a:pt x="3873" y="6361"/>
                  </a:lnTo>
                  <a:lnTo>
                    <a:pt x="3873" y="6361"/>
                  </a:lnTo>
                  <a:lnTo>
                    <a:pt x="3865" y="6430"/>
                  </a:lnTo>
                  <a:lnTo>
                    <a:pt x="3861" y="6463"/>
                  </a:lnTo>
                  <a:lnTo>
                    <a:pt x="3861" y="6463"/>
                  </a:lnTo>
                  <a:lnTo>
                    <a:pt x="3857" y="6462"/>
                  </a:lnTo>
                  <a:lnTo>
                    <a:pt x="3847" y="6459"/>
                  </a:lnTo>
                  <a:lnTo>
                    <a:pt x="3828" y="6452"/>
                  </a:lnTo>
                  <a:lnTo>
                    <a:pt x="3801" y="6440"/>
                  </a:lnTo>
                  <a:lnTo>
                    <a:pt x="3801" y="6440"/>
                  </a:lnTo>
                  <a:lnTo>
                    <a:pt x="3791" y="6436"/>
                  </a:lnTo>
                  <a:lnTo>
                    <a:pt x="3781" y="6430"/>
                  </a:lnTo>
                  <a:lnTo>
                    <a:pt x="3771" y="6423"/>
                  </a:lnTo>
                  <a:lnTo>
                    <a:pt x="3761" y="6415"/>
                  </a:lnTo>
                  <a:lnTo>
                    <a:pt x="3750" y="6406"/>
                  </a:lnTo>
                  <a:lnTo>
                    <a:pt x="3739" y="6396"/>
                  </a:lnTo>
                  <a:lnTo>
                    <a:pt x="3729" y="6385"/>
                  </a:lnTo>
                  <a:lnTo>
                    <a:pt x="3719" y="6373"/>
                  </a:lnTo>
                  <a:lnTo>
                    <a:pt x="3709" y="6361"/>
                  </a:lnTo>
                  <a:lnTo>
                    <a:pt x="3700" y="6346"/>
                  </a:lnTo>
                  <a:lnTo>
                    <a:pt x="3692" y="6332"/>
                  </a:lnTo>
                  <a:lnTo>
                    <a:pt x="3684" y="6317"/>
                  </a:lnTo>
                  <a:lnTo>
                    <a:pt x="3678" y="6300"/>
                  </a:lnTo>
                  <a:lnTo>
                    <a:pt x="3674" y="6284"/>
                  </a:lnTo>
                  <a:lnTo>
                    <a:pt x="3670" y="6265"/>
                  </a:lnTo>
                  <a:lnTo>
                    <a:pt x="3668" y="6248"/>
                  </a:lnTo>
                  <a:lnTo>
                    <a:pt x="3668" y="6248"/>
                  </a:lnTo>
                  <a:lnTo>
                    <a:pt x="3667" y="6223"/>
                  </a:lnTo>
                  <a:lnTo>
                    <a:pt x="3667" y="6223"/>
                  </a:lnTo>
                  <a:lnTo>
                    <a:pt x="3610" y="6244"/>
                  </a:lnTo>
                  <a:lnTo>
                    <a:pt x="3544" y="6267"/>
                  </a:lnTo>
                  <a:lnTo>
                    <a:pt x="3507" y="6280"/>
                  </a:lnTo>
                  <a:lnTo>
                    <a:pt x="3468" y="6292"/>
                  </a:lnTo>
                  <a:lnTo>
                    <a:pt x="3427" y="6303"/>
                  </a:lnTo>
                  <a:lnTo>
                    <a:pt x="3386" y="6315"/>
                  </a:lnTo>
                  <a:lnTo>
                    <a:pt x="3342" y="6326"/>
                  </a:lnTo>
                  <a:lnTo>
                    <a:pt x="3296" y="6335"/>
                  </a:lnTo>
                  <a:lnTo>
                    <a:pt x="3250" y="6344"/>
                  </a:lnTo>
                  <a:lnTo>
                    <a:pt x="3201" y="6352"/>
                  </a:lnTo>
                  <a:lnTo>
                    <a:pt x="3153" y="6360"/>
                  </a:lnTo>
                  <a:lnTo>
                    <a:pt x="3104" y="6365"/>
                  </a:lnTo>
                  <a:lnTo>
                    <a:pt x="3055" y="6368"/>
                  </a:lnTo>
                  <a:lnTo>
                    <a:pt x="3005" y="6370"/>
                  </a:lnTo>
                  <a:lnTo>
                    <a:pt x="3005" y="6370"/>
                  </a:lnTo>
                  <a:lnTo>
                    <a:pt x="2916" y="6371"/>
                  </a:lnTo>
                  <a:lnTo>
                    <a:pt x="2828" y="6370"/>
                  </a:lnTo>
                  <a:lnTo>
                    <a:pt x="2740" y="6366"/>
                  </a:lnTo>
                  <a:lnTo>
                    <a:pt x="2651" y="6361"/>
                  </a:lnTo>
                  <a:lnTo>
                    <a:pt x="2563" y="6353"/>
                  </a:lnTo>
                  <a:lnTo>
                    <a:pt x="2476" y="6343"/>
                  </a:lnTo>
                  <a:lnTo>
                    <a:pt x="2388" y="6331"/>
                  </a:lnTo>
                  <a:lnTo>
                    <a:pt x="2301" y="6317"/>
                  </a:lnTo>
                  <a:lnTo>
                    <a:pt x="2257" y="6308"/>
                  </a:lnTo>
                  <a:lnTo>
                    <a:pt x="2213" y="6300"/>
                  </a:lnTo>
                  <a:lnTo>
                    <a:pt x="2170" y="6290"/>
                  </a:lnTo>
                  <a:lnTo>
                    <a:pt x="2126" y="6280"/>
                  </a:lnTo>
                  <a:lnTo>
                    <a:pt x="2083" y="6270"/>
                  </a:lnTo>
                  <a:lnTo>
                    <a:pt x="2039" y="6258"/>
                  </a:lnTo>
                  <a:lnTo>
                    <a:pt x="1996" y="6246"/>
                  </a:lnTo>
                  <a:lnTo>
                    <a:pt x="1952" y="6234"/>
                  </a:lnTo>
                  <a:lnTo>
                    <a:pt x="1909" y="6220"/>
                  </a:lnTo>
                  <a:lnTo>
                    <a:pt x="1866" y="6206"/>
                  </a:lnTo>
                  <a:lnTo>
                    <a:pt x="1823" y="6192"/>
                  </a:lnTo>
                  <a:lnTo>
                    <a:pt x="1780" y="6176"/>
                  </a:lnTo>
                  <a:lnTo>
                    <a:pt x="1737" y="6160"/>
                  </a:lnTo>
                  <a:lnTo>
                    <a:pt x="1694" y="6143"/>
                  </a:lnTo>
                  <a:lnTo>
                    <a:pt x="1652" y="6125"/>
                  </a:lnTo>
                  <a:lnTo>
                    <a:pt x="1609" y="6107"/>
                  </a:lnTo>
                  <a:lnTo>
                    <a:pt x="1609" y="6107"/>
                  </a:lnTo>
                  <a:lnTo>
                    <a:pt x="1523" y="6068"/>
                  </a:lnTo>
                  <a:lnTo>
                    <a:pt x="1480" y="6049"/>
                  </a:lnTo>
                  <a:lnTo>
                    <a:pt x="1480" y="6049"/>
                  </a:lnTo>
                  <a:lnTo>
                    <a:pt x="1479" y="6052"/>
                  </a:lnTo>
                  <a:lnTo>
                    <a:pt x="1477" y="6061"/>
                  </a:lnTo>
                  <a:lnTo>
                    <a:pt x="1477" y="6068"/>
                  </a:lnTo>
                  <a:lnTo>
                    <a:pt x="1477" y="6077"/>
                  </a:lnTo>
                  <a:lnTo>
                    <a:pt x="1477" y="6088"/>
                  </a:lnTo>
                  <a:lnTo>
                    <a:pt x="1479" y="6100"/>
                  </a:lnTo>
                  <a:lnTo>
                    <a:pt x="1483" y="6113"/>
                  </a:lnTo>
                  <a:lnTo>
                    <a:pt x="1487" y="6128"/>
                  </a:lnTo>
                  <a:lnTo>
                    <a:pt x="1494" y="6145"/>
                  </a:lnTo>
                  <a:lnTo>
                    <a:pt x="1503" y="6163"/>
                  </a:lnTo>
                  <a:lnTo>
                    <a:pt x="1514" y="6184"/>
                  </a:lnTo>
                  <a:lnTo>
                    <a:pt x="1529" y="6205"/>
                  </a:lnTo>
                  <a:lnTo>
                    <a:pt x="1545" y="6229"/>
                  </a:lnTo>
                  <a:lnTo>
                    <a:pt x="1565" y="6253"/>
                  </a:lnTo>
                  <a:lnTo>
                    <a:pt x="1565" y="6253"/>
                  </a:lnTo>
                  <a:lnTo>
                    <a:pt x="1547" y="6250"/>
                  </a:lnTo>
                  <a:lnTo>
                    <a:pt x="1528" y="6248"/>
                  </a:lnTo>
                  <a:lnTo>
                    <a:pt x="1509" y="6248"/>
                  </a:lnTo>
                  <a:lnTo>
                    <a:pt x="1490" y="6248"/>
                  </a:lnTo>
                  <a:lnTo>
                    <a:pt x="1472" y="6250"/>
                  </a:lnTo>
                  <a:lnTo>
                    <a:pt x="1456" y="6253"/>
                  </a:lnTo>
                  <a:lnTo>
                    <a:pt x="1441" y="6258"/>
                  </a:lnTo>
                  <a:lnTo>
                    <a:pt x="1427" y="6264"/>
                  </a:lnTo>
                  <a:lnTo>
                    <a:pt x="1427" y="6264"/>
                  </a:lnTo>
                  <a:lnTo>
                    <a:pt x="1413" y="6273"/>
                  </a:lnTo>
                  <a:lnTo>
                    <a:pt x="1400" y="6283"/>
                  </a:lnTo>
                  <a:lnTo>
                    <a:pt x="1390" y="6293"/>
                  </a:lnTo>
                  <a:lnTo>
                    <a:pt x="1379" y="6302"/>
                  </a:lnTo>
                  <a:lnTo>
                    <a:pt x="1371" y="6311"/>
                  </a:lnTo>
                  <a:lnTo>
                    <a:pt x="1365" y="6321"/>
                  </a:lnTo>
                  <a:lnTo>
                    <a:pt x="1358" y="6333"/>
                  </a:lnTo>
                  <a:close/>
                  <a:moveTo>
                    <a:pt x="3487" y="3933"/>
                  </a:moveTo>
                  <a:lnTo>
                    <a:pt x="3487" y="3933"/>
                  </a:lnTo>
                  <a:lnTo>
                    <a:pt x="3470" y="3920"/>
                  </a:lnTo>
                  <a:lnTo>
                    <a:pt x="3453" y="3908"/>
                  </a:lnTo>
                  <a:lnTo>
                    <a:pt x="3436" y="3895"/>
                  </a:lnTo>
                  <a:lnTo>
                    <a:pt x="3418" y="3884"/>
                  </a:lnTo>
                  <a:lnTo>
                    <a:pt x="3383" y="3865"/>
                  </a:lnTo>
                  <a:lnTo>
                    <a:pt x="3349" y="3846"/>
                  </a:lnTo>
                  <a:lnTo>
                    <a:pt x="3314" y="3829"/>
                  </a:lnTo>
                  <a:lnTo>
                    <a:pt x="3281" y="3814"/>
                  </a:lnTo>
                  <a:lnTo>
                    <a:pt x="3250" y="3799"/>
                  </a:lnTo>
                  <a:lnTo>
                    <a:pt x="3219" y="3784"/>
                  </a:lnTo>
                  <a:lnTo>
                    <a:pt x="3219" y="3784"/>
                  </a:lnTo>
                  <a:lnTo>
                    <a:pt x="3235" y="3774"/>
                  </a:lnTo>
                  <a:lnTo>
                    <a:pt x="3251" y="3763"/>
                  </a:lnTo>
                  <a:lnTo>
                    <a:pt x="3268" y="3749"/>
                  </a:lnTo>
                  <a:lnTo>
                    <a:pt x="3284" y="3735"/>
                  </a:lnTo>
                  <a:lnTo>
                    <a:pt x="3298" y="3722"/>
                  </a:lnTo>
                  <a:lnTo>
                    <a:pt x="3302" y="3716"/>
                  </a:lnTo>
                  <a:lnTo>
                    <a:pt x="3305" y="3711"/>
                  </a:lnTo>
                  <a:lnTo>
                    <a:pt x="3305" y="3707"/>
                  </a:lnTo>
                  <a:lnTo>
                    <a:pt x="3305" y="3705"/>
                  </a:lnTo>
                  <a:lnTo>
                    <a:pt x="3303" y="3704"/>
                  </a:lnTo>
                  <a:lnTo>
                    <a:pt x="3303" y="3704"/>
                  </a:lnTo>
                  <a:lnTo>
                    <a:pt x="3290" y="3697"/>
                  </a:lnTo>
                  <a:lnTo>
                    <a:pt x="3278" y="3691"/>
                  </a:lnTo>
                  <a:lnTo>
                    <a:pt x="3266" y="3687"/>
                  </a:lnTo>
                  <a:lnTo>
                    <a:pt x="3255" y="3685"/>
                  </a:lnTo>
                  <a:lnTo>
                    <a:pt x="3236" y="3682"/>
                  </a:lnTo>
                  <a:lnTo>
                    <a:pt x="3229" y="3681"/>
                  </a:lnTo>
                  <a:lnTo>
                    <a:pt x="3229" y="3681"/>
                  </a:lnTo>
                  <a:lnTo>
                    <a:pt x="3168" y="3705"/>
                  </a:lnTo>
                  <a:lnTo>
                    <a:pt x="3105" y="3731"/>
                  </a:lnTo>
                  <a:lnTo>
                    <a:pt x="3045" y="3757"/>
                  </a:lnTo>
                  <a:lnTo>
                    <a:pt x="2984" y="3784"/>
                  </a:lnTo>
                  <a:lnTo>
                    <a:pt x="2924" y="3813"/>
                  </a:lnTo>
                  <a:lnTo>
                    <a:pt x="2866" y="3841"/>
                  </a:lnTo>
                  <a:lnTo>
                    <a:pt x="2809" y="3870"/>
                  </a:lnTo>
                  <a:lnTo>
                    <a:pt x="2754" y="3900"/>
                  </a:lnTo>
                  <a:lnTo>
                    <a:pt x="2700" y="3928"/>
                  </a:lnTo>
                  <a:lnTo>
                    <a:pt x="2649" y="3957"/>
                  </a:lnTo>
                  <a:lnTo>
                    <a:pt x="2600" y="3984"/>
                  </a:lnTo>
                  <a:lnTo>
                    <a:pt x="2553" y="4012"/>
                  </a:lnTo>
                  <a:lnTo>
                    <a:pt x="2510" y="4039"/>
                  </a:lnTo>
                  <a:lnTo>
                    <a:pt x="2469" y="4064"/>
                  </a:lnTo>
                  <a:lnTo>
                    <a:pt x="2433" y="4088"/>
                  </a:lnTo>
                  <a:lnTo>
                    <a:pt x="2399" y="4110"/>
                  </a:lnTo>
                  <a:lnTo>
                    <a:pt x="2399" y="4110"/>
                  </a:lnTo>
                  <a:lnTo>
                    <a:pt x="2394" y="4113"/>
                  </a:lnTo>
                  <a:lnTo>
                    <a:pt x="2394" y="4113"/>
                  </a:lnTo>
                  <a:lnTo>
                    <a:pt x="2382" y="4120"/>
                  </a:lnTo>
                  <a:lnTo>
                    <a:pt x="2371" y="4127"/>
                  </a:lnTo>
                  <a:lnTo>
                    <a:pt x="2360" y="4132"/>
                  </a:lnTo>
                  <a:lnTo>
                    <a:pt x="2348" y="4136"/>
                  </a:lnTo>
                  <a:lnTo>
                    <a:pt x="2336" y="4139"/>
                  </a:lnTo>
                  <a:lnTo>
                    <a:pt x="2325" y="4142"/>
                  </a:lnTo>
                  <a:lnTo>
                    <a:pt x="2313" y="4143"/>
                  </a:lnTo>
                  <a:lnTo>
                    <a:pt x="2302" y="4144"/>
                  </a:lnTo>
                  <a:lnTo>
                    <a:pt x="2278" y="4145"/>
                  </a:lnTo>
                  <a:lnTo>
                    <a:pt x="2256" y="4143"/>
                  </a:lnTo>
                  <a:lnTo>
                    <a:pt x="2233" y="4140"/>
                  </a:lnTo>
                  <a:lnTo>
                    <a:pt x="2213" y="4135"/>
                  </a:lnTo>
                  <a:lnTo>
                    <a:pt x="2193" y="4130"/>
                  </a:lnTo>
                  <a:lnTo>
                    <a:pt x="2176" y="4123"/>
                  </a:lnTo>
                  <a:lnTo>
                    <a:pt x="2161" y="4117"/>
                  </a:lnTo>
                  <a:lnTo>
                    <a:pt x="2146" y="4111"/>
                  </a:lnTo>
                  <a:lnTo>
                    <a:pt x="2127" y="4101"/>
                  </a:lnTo>
                  <a:lnTo>
                    <a:pt x="2121" y="4097"/>
                  </a:lnTo>
                  <a:lnTo>
                    <a:pt x="2100" y="4225"/>
                  </a:lnTo>
                  <a:lnTo>
                    <a:pt x="2100" y="4225"/>
                  </a:lnTo>
                  <a:lnTo>
                    <a:pt x="2123" y="4238"/>
                  </a:lnTo>
                  <a:lnTo>
                    <a:pt x="2144" y="4249"/>
                  </a:lnTo>
                  <a:lnTo>
                    <a:pt x="2165" y="4258"/>
                  </a:lnTo>
                  <a:lnTo>
                    <a:pt x="2182" y="4267"/>
                  </a:lnTo>
                  <a:lnTo>
                    <a:pt x="2198" y="4273"/>
                  </a:lnTo>
                  <a:lnTo>
                    <a:pt x="2214" y="4277"/>
                  </a:lnTo>
                  <a:lnTo>
                    <a:pt x="2227" y="4281"/>
                  </a:lnTo>
                  <a:lnTo>
                    <a:pt x="2238" y="4283"/>
                  </a:lnTo>
                  <a:lnTo>
                    <a:pt x="2238" y="4283"/>
                  </a:lnTo>
                  <a:lnTo>
                    <a:pt x="2219" y="4287"/>
                  </a:lnTo>
                  <a:lnTo>
                    <a:pt x="2198" y="4292"/>
                  </a:lnTo>
                  <a:lnTo>
                    <a:pt x="2178" y="4298"/>
                  </a:lnTo>
                  <a:lnTo>
                    <a:pt x="2156" y="4306"/>
                  </a:lnTo>
                  <a:lnTo>
                    <a:pt x="2137" y="4315"/>
                  </a:lnTo>
                  <a:lnTo>
                    <a:pt x="2119" y="4326"/>
                  </a:lnTo>
                  <a:lnTo>
                    <a:pt x="2109" y="4331"/>
                  </a:lnTo>
                  <a:lnTo>
                    <a:pt x="2101" y="4337"/>
                  </a:lnTo>
                  <a:lnTo>
                    <a:pt x="2094" y="4344"/>
                  </a:lnTo>
                  <a:lnTo>
                    <a:pt x="2088" y="4351"/>
                  </a:lnTo>
                  <a:lnTo>
                    <a:pt x="2132" y="4469"/>
                  </a:lnTo>
                  <a:lnTo>
                    <a:pt x="2132" y="4469"/>
                  </a:lnTo>
                  <a:lnTo>
                    <a:pt x="2144" y="4460"/>
                  </a:lnTo>
                  <a:lnTo>
                    <a:pt x="2160" y="4451"/>
                  </a:lnTo>
                  <a:lnTo>
                    <a:pt x="2181" y="4439"/>
                  </a:lnTo>
                  <a:lnTo>
                    <a:pt x="2193" y="4434"/>
                  </a:lnTo>
                  <a:lnTo>
                    <a:pt x="2207" y="4429"/>
                  </a:lnTo>
                  <a:lnTo>
                    <a:pt x="2222" y="4424"/>
                  </a:lnTo>
                  <a:lnTo>
                    <a:pt x="2237" y="4419"/>
                  </a:lnTo>
                  <a:lnTo>
                    <a:pt x="2255" y="4415"/>
                  </a:lnTo>
                  <a:lnTo>
                    <a:pt x="2273" y="4412"/>
                  </a:lnTo>
                  <a:lnTo>
                    <a:pt x="2292" y="4410"/>
                  </a:lnTo>
                  <a:lnTo>
                    <a:pt x="2313" y="4409"/>
                  </a:lnTo>
                  <a:lnTo>
                    <a:pt x="2313" y="4409"/>
                  </a:lnTo>
                  <a:lnTo>
                    <a:pt x="2316" y="4425"/>
                  </a:lnTo>
                  <a:lnTo>
                    <a:pt x="2316" y="4425"/>
                  </a:lnTo>
                  <a:lnTo>
                    <a:pt x="2316" y="4439"/>
                  </a:lnTo>
                  <a:lnTo>
                    <a:pt x="2316" y="4454"/>
                  </a:lnTo>
                  <a:lnTo>
                    <a:pt x="2314" y="4468"/>
                  </a:lnTo>
                  <a:lnTo>
                    <a:pt x="2311" y="4483"/>
                  </a:lnTo>
                  <a:lnTo>
                    <a:pt x="2306" y="4499"/>
                  </a:lnTo>
                  <a:lnTo>
                    <a:pt x="2301" y="4514"/>
                  </a:lnTo>
                  <a:lnTo>
                    <a:pt x="2293" y="4529"/>
                  </a:lnTo>
                  <a:lnTo>
                    <a:pt x="2285" y="4545"/>
                  </a:lnTo>
                  <a:lnTo>
                    <a:pt x="2277" y="4561"/>
                  </a:lnTo>
                  <a:lnTo>
                    <a:pt x="2267" y="4576"/>
                  </a:lnTo>
                  <a:lnTo>
                    <a:pt x="2256" y="4593"/>
                  </a:lnTo>
                  <a:lnTo>
                    <a:pt x="2244" y="4608"/>
                  </a:lnTo>
                  <a:lnTo>
                    <a:pt x="2231" y="4624"/>
                  </a:lnTo>
                  <a:lnTo>
                    <a:pt x="2218" y="4640"/>
                  </a:lnTo>
                  <a:lnTo>
                    <a:pt x="2204" y="4655"/>
                  </a:lnTo>
                  <a:lnTo>
                    <a:pt x="2189" y="4670"/>
                  </a:lnTo>
                  <a:lnTo>
                    <a:pt x="2157" y="4701"/>
                  </a:lnTo>
                  <a:lnTo>
                    <a:pt x="2124" y="4730"/>
                  </a:lnTo>
                  <a:lnTo>
                    <a:pt x="2088" y="4757"/>
                  </a:lnTo>
                  <a:lnTo>
                    <a:pt x="2051" y="4783"/>
                  </a:lnTo>
                  <a:lnTo>
                    <a:pt x="2013" y="4807"/>
                  </a:lnTo>
                  <a:lnTo>
                    <a:pt x="1975" y="4829"/>
                  </a:lnTo>
                  <a:lnTo>
                    <a:pt x="1937" y="4848"/>
                  </a:lnTo>
                  <a:lnTo>
                    <a:pt x="1917" y="4858"/>
                  </a:lnTo>
                  <a:lnTo>
                    <a:pt x="1899" y="4866"/>
                  </a:lnTo>
                  <a:lnTo>
                    <a:pt x="1899" y="4866"/>
                  </a:lnTo>
                  <a:lnTo>
                    <a:pt x="1861" y="4880"/>
                  </a:lnTo>
                  <a:lnTo>
                    <a:pt x="1823" y="4892"/>
                  </a:lnTo>
                  <a:lnTo>
                    <a:pt x="1788" y="4904"/>
                  </a:lnTo>
                  <a:lnTo>
                    <a:pt x="1754" y="4913"/>
                  </a:lnTo>
                  <a:lnTo>
                    <a:pt x="1721" y="4921"/>
                  </a:lnTo>
                  <a:lnTo>
                    <a:pt x="1690" y="4927"/>
                  </a:lnTo>
                  <a:lnTo>
                    <a:pt x="1661" y="4931"/>
                  </a:lnTo>
                  <a:lnTo>
                    <a:pt x="1633" y="4935"/>
                  </a:lnTo>
                  <a:lnTo>
                    <a:pt x="1607" y="4937"/>
                  </a:lnTo>
                  <a:lnTo>
                    <a:pt x="1584" y="4938"/>
                  </a:lnTo>
                  <a:lnTo>
                    <a:pt x="1562" y="4938"/>
                  </a:lnTo>
                  <a:lnTo>
                    <a:pt x="1543" y="4937"/>
                  </a:lnTo>
                  <a:lnTo>
                    <a:pt x="1527" y="4935"/>
                  </a:lnTo>
                  <a:lnTo>
                    <a:pt x="1513" y="4932"/>
                  </a:lnTo>
                  <a:lnTo>
                    <a:pt x="1502" y="4928"/>
                  </a:lnTo>
                  <a:lnTo>
                    <a:pt x="1493" y="4924"/>
                  </a:lnTo>
                  <a:lnTo>
                    <a:pt x="1493" y="4924"/>
                  </a:lnTo>
                  <a:lnTo>
                    <a:pt x="1469" y="4908"/>
                  </a:lnTo>
                  <a:lnTo>
                    <a:pt x="1448" y="4890"/>
                  </a:lnTo>
                  <a:lnTo>
                    <a:pt x="1429" y="4872"/>
                  </a:lnTo>
                  <a:lnTo>
                    <a:pt x="1413" y="4853"/>
                  </a:lnTo>
                  <a:lnTo>
                    <a:pt x="1398" y="4836"/>
                  </a:lnTo>
                  <a:lnTo>
                    <a:pt x="1384" y="4818"/>
                  </a:lnTo>
                  <a:lnTo>
                    <a:pt x="1373" y="4800"/>
                  </a:lnTo>
                  <a:lnTo>
                    <a:pt x="1362" y="4783"/>
                  </a:lnTo>
                  <a:lnTo>
                    <a:pt x="1343" y="4752"/>
                  </a:lnTo>
                  <a:lnTo>
                    <a:pt x="1333" y="4738"/>
                  </a:lnTo>
                  <a:lnTo>
                    <a:pt x="1324" y="4726"/>
                  </a:lnTo>
                  <a:lnTo>
                    <a:pt x="1315" y="4714"/>
                  </a:lnTo>
                  <a:lnTo>
                    <a:pt x="1305" y="4706"/>
                  </a:lnTo>
                  <a:lnTo>
                    <a:pt x="1293" y="4699"/>
                  </a:lnTo>
                  <a:lnTo>
                    <a:pt x="1287" y="4696"/>
                  </a:lnTo>
                  <a:lnTo>
                    <a:pt x="1281" y="4694"/>
                  </a:lnTo>
                  <a:lnTo>
                    <a:pt x="1281" y="4694"/>
                  </a:lnTo>
                  <a:lnTo>
                    <a:pt x="1277" y="4694"/>
                  </a:lnTo>
                  <a:lnTo>
                    <a:pt x="1274" y="4694"/>
                  </a:lnTo>
                  <a:lnTo>
                    <a:pt x="1267" y="4696"/>
                  </a:lnTo>
                  <a:lnTo>
                    <a:pt x="1260" y="4699"/>
                  </a:lnTo>
                  <a:lnTo>
                    <a:pt x="1252" y="4703"/>
                  </a:lnTo>
                  <a:lnTo>
                    <a:pt x="1244" y="4707"/>
                  </a:lnTo>
                  <a:lnTo>
                    <a:pt x="1235" y="4710"/>
                  </a:lnTo>
                  <a:lnTo>
                    <a:pt x="1227" y="4712"/>
                  </a:lnTo>
                  <a:lnTo>
                    <a:pt x="1222" y="4712"/>
                  </a:lnTo>
                  <a:lnTo>
                    <a:pt x="1217" y="4712"/>
                  </a:lnTo>
                  <a:lnTo>
                    <a:pt x="1217" y="4712"/>
                  </a:lnTo>
                  <a:lnTo>
                    <a:pt x="1196" y="4709"/>
                  </a:lnTo>
                  <a:lnTo>
                    <a:pt x="1176" y="4706"/>
                  </a:lnTo>
                  <a:lnTo>
                    <a:pt x="1155" y="4705"/>
                  </a:lnTo>
                  <a:lnTo>
                    <a:pt x="1134" y="4704"/>
                  </a:lnTo>
                  <a:lnTo>
                    <a:pt x="1114" y="4704"/>
                  </a:lnTo>
                  <a:lnTo>
                    <a:pt x="1094" y="4706"/>
                  </a:lnTo>
                  <a:lnTo>
                    <a:pt x="1075" y="4708"/>
                  </a:lnTo>
                  <a:lnTo>
                    <a:pt x="1055" y="4712"/>
                  </a:lnTo>
                  <a:lnTo>
                    <a:pt x="1037" y="4716"/>
                  </a:lnTo>
                  <a:lnTo>
                    <a:pt x="1020" y="4724"/>
                  </a:lnTo>
                  <a:lnTo>
                    <a:pt x="1004" y="4731"/>
                  </a:lnTo>
                  <a:lnTo>
                    <a:pt x="990" y="4740"/>
                  </a:lnTo>
                  <a:lnTo>
                    <a:pt x="976" y="4751"/>
                  </a:lnTo>
                  <a:lnTo>
                    <a:pt x="970" y="4757"/>
                  </a:lnTo>
                  <a:lnTo>
                    <a:pt x="964" y="4763"/>
                  </a:lnTo>
                  <a:lnTo>
                    <a:pt x="959" y="4771"/>
                  </a:lnTo>
                  <a:lnTo>
                    <a:pt x="955" y="4779"/>
                  </a:lnTo>
                  <a:lnTo>
                    <a:pt x="951" y="4786"/>
                  </a:lnTo>
                  <a:lnTo>
                    <a:pt x="947" y="4795"/>
                  </a:lnTo>
                  <a:lnTo>
                    <a:pt x="947" y="4795"/>
                  </a:lnTo>
                  <a:lnTo>
                    <a:pt x="985" y="4793"/>
                  </a:lnTo>
                  <a:lnTo>
                    <a:pt x="1020" y="4792"/>
                  </a:lnTo>
                  <a:lnTo>
                    <a:pt x="1040" y="4792"/>
                  </a:lnTo>
                  <a:lnTo>
                    <a:pt x="1059" y="4793"/>
                  </a:lnTo>
                  <a:lnTo>
                    <a:pt x="1077" y="4794"/>
                  </a:lnTo>
                  <a:lnTo>
                    <a:pt x="1092" y="4797"/>
                  </a:lnTo>
                  <a:lnTo>
                    <a:pt x="1105" y="4800"/>
                  </a:lnTo>
                  <a:lnTo>
                    <a:pt x="1110" y="4802"/>
                  </a:lnTo>
                  <a:lnTo>
                    <a:pt x="1115" y="4804"/>
                  </a:lnTo>
                  <a:lnTo>
                    <a:pt x="1117" y="4807"/>
                  </a:lnTo>
                  <a:lnTo>
                    <a:pt x="1119" y="4811"/>
                  </a:lnTo>
                  <a:lnTo>
                    <a:pt x="1119" y="4814"/>
                  </a:lnTo>
                  <a:lnTo>
                    <a:pt x="1117" y="4818"/>
                  </a:lnTo>
                  <a:lnTo>
                    <a:pt x="1114" y="4822"/>
                  </a:lnTo>
                  <a:lnTo>
                    <a:pt x="1109" y="4827"/>
                  </a:lnTo>
                  <a:lnTo>
                    <a:pt x="1102" y="4832"/>
                  </a:lnTo>
                  <a:lnTo>
                    <a:pt x="1094" y="4837"/>
                  </a:lnTo>
                  <a:lnTo>
                    <a:pt x="1094" y="4837"/>
                  </a:lnTo>
                  <a:lnTo>
                    <a:pt x="1085" y="4843"/>
                  </a:lnTo>
                  <a:lnTo>
                    <a:pt x="1079" y="4849"/>
                  </a:lnTo>
                  <a:lnTo>
                    <a:pt x="1074" y="4856"/>
                  </a:lnTo>
                  <a:lnTo>
                    <a:pt x="1072" y="4863"/>
                  </a:lnTo>
                  <a:lnTo>
                    <a:pt x="1071" y="4870"/>
                  </a:lnTo>
                  <a:lnTo>
                    <a:pt x="1072" y="4876"/>
                  </a:lnTo>
                  <a:lnTo>
                    <a:pt x="1074" y="4883"/>
                  </a:lnTo>
                  <a:lnTo>
                    <a:pt x="1077" y="4890"/>
                  </a:lnTo>
                  <a:lnTo>
                    <a:pt x="1082" y="4898"/>
                  </a:lnTo>
                  <a:lnTo>
                    <a:pt x="1088" y="4906"/>
                  </a:lnTo>
                  <a:lnTo>
                    <a:pt x="1096" y="4913"/>
                  </a:lnTo>
                  <a:lnTo>
                    <a:pt x="1104" y="4920"/>
                  </a:lnTo>
                  <a:lnTo>
                    <a:pt x="1124" y="4935"/>
                  </a:lnTo>
                  <a:lnTo>
                    <a:pt x="1146" y="4951"/>
                  </a:lnTo>
                  <a:lnTo>
                    <a:pt x="1170" y="4966"/>
                  </a:lnTo>
                  <a:lnTo>
                    <a:pt x="1195" y="4980"/>
                  </a:lnTo>
                  <a:lnTo>
                    <a:pt x="1247" y="5008"/>
                  </a:lnTo>
                  <a:lnTo>
                    <a:pt x="1293" y="5031"/>
                  </a:lnTo>
                  <a:lnTo>
                    <a:pt x="1313" y="5042"/>
                  </a:lnTo>
                  <a:lnTo>
                    <a:pt x="1329" y="5051"/>
                  </a:lnTo>
                  <a:lnTo>
                    <a:pt x="1329" y="5051"/>
                  </a:lnTo>
                  <a:lnTo>
                    <a:pt x="1336" y="5056"/>
                  </a:lnTo>
                  <a:lnTo>
                    <a:pt x="1339" y="5060"/>
                  </a:lnTo>
                  <a:lnTo>
                    <a:pt x="1341" y="5063"/>
                  </a:lnTo>
                  <a:lnTo>
                    <a:pt x="1339" y="5066"/>
                  </a:lnTo>
                  <a:lnTo>
                    <a:pt x="1336" y="5068"/>
                  </a:lnTo>
                  <a:lnTo>
                    <a:pt x="1332" y="5070"/>
                  </a:lnTo>
                  <a:lnTo>
                    <a:pt x="1326" y="5071"/>
                  </a:lnTo>
                  <a:lnTo>
                    <a:pt x="1326" y="5071"/>
                  </a:lnTo>
                  <a:lnTo>
                    <a:pt x="1316" y="5071"/>
                  </a:lnTo>
                  <a:lnTo>
                    <a:pt x="1304" y="5069"/>
                  </a:lnTo>
                  <a:lnTo>
                    <a:pt x="1289" y="5066"/>
                  </a:lnTo>
                  <a:lnTo>
                    <a:pt x="1273" y="5061"/>
                  </a:lnTo>
                  <a:lnTo>
                    <a:pt x="1237" y="5050"/>
                  </a:lnTo>
                  <a:lnTo>
                    <a:pt x="1197" y="5035"/>
                  </a:lnTo>
                  <a:lnTo>
                    <a:pt x="1115" y="5004"/>
                  </a:lnTo>
                  <a:lnTo>
                    <a:pt x="1077" y="4988"/>
                  </a:lnTo>
                  <a:lnTo>
                    <a:pt x="1042" y="4977"/>
                  </a:lnTo>
                  <a:lnTo>
                    <a:pt x="1042" y="4977"/>
                  </a:lnTo>
                  <a:lnTo>
                    <a:pt x="1031" y="4974"/>
                  </a:lnTo>
                  <a:lnTo>
                    <a:pt x="1020" y="4972"/>
                  </a:lnTo>
                  <a:lnTo>
                    <a:pt x="1011" y="4972"/>
                  </a:lnTo>
                  <a:lnTo>
                    <a:pt x="1003" y="4973"/>
                  </a:lnTo>
                  <a:lnTo>
                    <a:pt x="996" y="4975"/>
                  </a:lnTo>
                  <a:lnTo>
                    <a:pt x="990" y="4978"/>
                  </a:lnTo>
                  <a:lnTo>
                    <a:pt x="985" y="4981"/>
                  </a:lnTo>
                  <a:lnTo>
                    <a:pt x="981" y="4984"/>
                  </a:lnTo>
                  <a:lnTo>
                    <a:pt x="972" y="4993"/>
                  </a:lnTo>
                  <a:lnTo>
                    <a:pt x="966" y="5000"/>
                  </a:lnTo>
                  <a:lnTo>
                    <a:pt x="962" y="5005"/>
                  </a:lnTo>
                  <a:lnTo>
                    <a:pt x="959" y="5006"/>
                  </a:lnTo>
                  <a:lnTo>
                    <a:pt x="957" y="5007"/>
                  </a:lnTo>
                  <a:lnTo>
                    <a:pt x="957" y="5007"/>
                  </a:lnTo>
                  <a:lnTo>
                    <a:pt x="948" y="5006"/>
                  </a:lnTo>
                  <a:lnTo>
                    <a:pt x="938" y="5005"/>
                  </a:lnTo>
                  <a:lnTo>
                    <a:pt x="926" y="5006"/>
                  </a:lnTo>
                  <a:lnTo>
                    <a:pt x="916" y="5006"/>
                  </a:lnTo>
                  <a:lnTo>
                    <a:pt x="894" y="5010"/>
                  </a:lnTo>
                  <a:lnTo>
                    <a:pt x="871" y="5016"/>
                  </a:lnTo>
                  <a:lnTo>
                    <a:pt x="849" y="5024"/>
                  </a:lnTo>
                  <a:lnTo>
                    <a:pt x="826" y="5034"/>
                  </a:lnTo>
                  <a:lnTo>
                    <a:pt x="805" y="5048"/>
                  </a:lnTo>
                  <a:lnTo>
                    <a:pt x="794" y="5055"/>
                  </a:lnTo>
                  <a:lnTo>
                    <a:pt x="785" y="5062"/>
                  </a:lnTo>
                  <a:lnTo>
                    <a:pt x="776" y="5070"/>
                  </a:lnTo>
                  <a:lnTo>
                    <a:pt x="768" y="5078"/>
                  </a:lnTo>
                  <a:lnTo>
                    <a:pt x="760" y="5088"/>
                  </a:lnTo>
                  <a:lnTo>
                    <a:pt x="753" y="5097"/>
                  </a:lnTo>
                  <a:lnTo>
                    <a:pt x="746" y="5107"/>
                  </a:lnTo>
                  <a:lnTo>
                    <a:pt x="740" y="5116"/>
                  </a:lnTo>
                  <a:lnTo>
                    <a:pt x="736" y="5127"/>
                  </a:lnTo>
                  <a:lnTo>
                    <a:pt x="732" y="5139"/>
                  </a:lnTo>
                  <a:lnTo>
                    <a:pt x="730" y="5150"/>
                  </a:lnTo>
                  <a:lnTo>
                    <a:pt x="728" y="5161"/>
                  </a:lnTo>
                  <a:lnTo>
                    <a:pt x="728" y="5173"/>
                  </a:lnTo>
                  <a:lnTo>
                    <a:pt x="728" y="5186"/>
                  </a:lnTo>
                  <a:lnTo>
                    <a:pt x="731" y="5199"/>
                  </a:lnTo>
                  <a:lnTo>
                    <a:pt x="734" y="5211"/>
                  </a:lnTo>
                  <a:lnTo>
                    <a:pt x="739" y="5225"/>
                  </a:lnTo>
                  <a:lnTo>
                    <a:pt x="745" y="5239"/>
                  </a:lnTo>
                  <a:lnTo>
                    <a:pt x="745" y="5239"/>
                  </a:lnTo>
                  <a:lnTo>
                    <a:pt x="748" y="5234"/>
                  </a:lnTo>
                  <a:lnTo>
                    <a:pt x="758" y="5221"/>
                  </a:lnTo>
                  <a:lnTo>
                    <a:pt x="773" y="5202"/>
                  </a:lnTo>
                  <a:lnTo>
                    <a:pt x="781" y="5192"/>
                  </a:lnTo>
                  <a:lnTo>
                    <a:pt x="791" y="5182"/>
                  </a:lnTo>
                  <a:lnTo>
                    <a:pt x="803" y="5171"/>
                  </a:lnTo>
                  <a:lnTo>
                    <a:pt x="814" y="5162"/>
                  </a:lnTo>
                  <a:lnTo>
                    <a:pt x="826" y="5154"/>
                  </a:lnTo>
                  <a:lnTo>
                    <a:pt x="839" y="5147"/>
                  </a:lnTo>
                  <a:lnTo>
                    <a:pt x="853" y="5142"/>
                  </a:lnTo>
                  <a:lnTo>
                    <a:pt x="859" y="5140"/>
                  </a:lnTo>
                  <a:lnTo>
                    <a:pt x="866" y="5139"/>
                  </a:lnTo>
                  <a:lnTo>
                    <a:pt x="873" y="5139"/>
                  </a:lnTo>
                  <a:lnTo>
                    <a:pt x="879" y="5139"/>
                  </a:lnTo>
                  <a:lnTo>
                    <a:pt x="887" y="5140"/>
                  </a:lnTo>
                  <a:lnTo>
                    <a:pt x="894" y="5142"/>
                  </a:lnTo>
                  <a:lnTo>
                    <a:pt x="894" y="5142"/>
                  </a:lnTo>
                  <a:lnTo>
                    <a:pt x="899" y="5144"/>
                  </a:lnTo>
                  <a:lnTo>
                    <a:pt x="902" y="5148"/>
                  </a:lnTo>
                  <a:lnTo>
                    <a:pt x="903" y="5154"/>
                  </a:lnTo>
                  <a:lnTo>
                    <a:pt x="904" y="5160"/>
                  </a:lnTo>
                  <a:lnTo>
                    <a:pt x="904" y="5177"/>
                  </a:lnTo>
                  <a:lnTo>
                    <a:pt x="902" y="5195"/>
                  </a:lnTo>
                  <a:lnTo>
                    <a:pt x="902" y="5205"/>
                  </a:lnTo>
                  <a:lnTo>
                    <a:pt x="902" y="5215"/>
                  </a:lnTo>
                  <a:lnTo>
                    <a:pt x="904" y="5226"/>
                  </a:lnTo>
                  <a:lnTo>
                    <a:pt x="906" y="5235"/>
                  </a:lnTo>
                  <a:lnTo>
                    <a:pt x="910" y="5245"/>
                  </a:lnTo>
                  <a:lnTo>
                    <a:pt x="915" y="5254"/>
                  </a:lnTo>
                  <a:lnTo>
                    <a:pt x="923" y="5262"/>
                  </a:lnTo>
                  <a:lnTo>
                    <a:pt x="933" y="5270"/>
                  </a:lnTo>
                  <a:lnTo>
                    <a:pt x="933" y="5270"/>
                  </a:lnTo>
                  <a:lnTo>
                    <a:pt x="941" y="5274"/>
                  </a:lnTo>
                  <a:lnTo>
                    <a:pt x="949" y="5277"/>
                  </a:lnTo>
                  <a:lnTo>
                    <a:pt x="959" y="5280"/>
                  </a:lnTo>
                  <a:lnTo>
                    <a:pt x="970" y="5281"/>
                  </a:lnTo>
                  <a:lnTo>
                    <a:pt x="982" y="5283"/>
                  </a:lnTo>
                  <a:lnTo>
                    <a:pt x="995" y="5283"/>
                  </a:lnTo>
                  <a:lnTo>
                    <a:pt x="1021" y="5283"/>
                  </a:lnTo>
                  <a:lnTo>
                    <a:pt x="1051" y="5281"/>
                  </a:lnTo>
                  <a:lnTo>
                    <a:pt x="1082" y="5278"/>
                  </a:lnTo>
                  <a:lnTo>
                    <a:pt x="1146" y="5270"/>
                  </a:lnTo>
                  <a:lnTo>
                    <a:pt x="1209" y="5261"/>
                  </a:lnTo>
                  <a:lnTo>
                    <a:pt x="1238" y="5257"/>
                  </a:lnTo>
                  <a:lnTo>
                    <a:pt x="1266" y="5255"/>
                  </a:lnTo>
                  <a:lnTo>
                    <a:pt x="1290" y="5254"/>
                  </a:lnTo>
                  <a:lnTo>
                    <a:pt x="1311" y="5255"/>
                  </a:lnTo>
                  <a:lnTo>
                    <a:pt x="1320" y="5256"/>
                  </a:lnTo>
                  <a:lnTo>
                    <a:pt x="1328" y="5258"/>
                  </a:lnTo>
                  <a:lnTo>
                    <a:pt x="1335" y="5261"/>
                  </a:lnTo>
                  <a:lnTo>
                    <a:pt x="1341" y="5266"/>
                  </a:lnTo>
                  <a:lnTo>
                    <a:pt x="1341" y="5266"/>
                  </a:lnTo>
                  <a:lnTo>
                    <a:pt x="1344" y="5269"/>
                  </a:lnTo>
                  <a:lnTo>
                    <a:pt x="1345" y="5272"/>
                  </a:lnTo>
                  <a:lnTo>
                    <a:pt x="1344" y="5274"/>
                  </a:lnTo>
                  <a:lnTo>
                    <a:pt x="1339" y="5277"/>
                  </a:lnTo>
                  <a:lnTo>
                    <a:pt x="1335" y="5279"/>
                  </a:lnTo>
                  <a:lnTo>
                    <a:pt x="1328" y="5282"/>
                  </a:lnTo>
                  <a:lnTo>
                    <a:pt x="1311" y="5286"/>
                  </a:lnTo>
                  <a:lnTo>
                    <a:pt x="1288" y="5290"/>
                  </a:lnTo>
                  <a:lnTo>
                    <a:pt x="1263" y="5293"/>
                  </a:lnTo>
                  <a:lnTo>
                    <a:pt x="1202" y="5301"/>
                  </a:lnTo>
                  <a:lnTo>
                    <a:pt x="1171" y="5305"/>
                  </a:lnTo>
                  <a:lnTo>
                    <a:pt x="1140" y="5310"/>
                  </a:lnTo>
                  <a:lnTo>
                    <a:pt x="1110" y="5317"/>
                  </a:lnTo>
                  <a:lnTo>
                    <a:pt x="1084" y="5323"/>
                  </a:lnTo>
                  <a:lnTo>
                    <a:pt x="1072" y="5327"/>
                  </a:lnTo>
                  <a:lnTo>
                    <a:pt x="1060" y="5331"/>
                  </a:lnTo>
                  <a:lnTo>
                    <a:pt x="1050" y="5335"/>
                  </a:lnTo>
                  <a:lnTo>
                    <a:pt x="1042" y="5340"/>
                  </a:lnTo>
                  <a:lnTo>
                    <a:pt x="1035" y="5345"/>
                  </a:lnTo>
                  <a:lnTo>
                    <a:pt x="1030" y="5350"/>
                  </a:lnTo>
                  <a:lnTo>
                    <a:pt x="1026" y="5357"/>
                  </a:lnTo>
                  <a:lnTo>
                    <a:pt x="1024" y="5363"/>
                  </a:lnTo>
                  <a:lnTo>
                    <a:pt x="1024" y="5363"/>
                  </a:lnTo>
                  <a:lnTo>
                    <a:pt x="1023" y="5368"/>
                  </a:lnTo>
                  <a:lnTo>
                    <a:pt x="1023" y="5377"/>
                  </a:lnTo>
                  <a:lnTo>
                    <a:pt x="1024" y="5388"/>
                  </a:lnTo>
                  <a:lnTo>
                    <a:pt x="1026" y="5394"/>
                  </a:lnTo>
                  <a:lnTo>
                    <a:pt x="1028" y="5399"/>
                  </a:lnTo>
                  <a:lnTo>
                    <a:pt x="1028" y="5399"/>
                  </a:lnTo>
                  <a:lnTo>
                    <a:pt x="1029" y="5406"/>
                  </a:lnTo>
                  <a:lnTo>
                    <a:pt x="1029" y="5412"/>
                  </a:lnTo>
                  <a:lnTo>
                    <a:pt x="1026" y="5418"/>
                  </a:lnTo>
                  <a:lnTo>
                    <a:pt x="1021" y="5424"/>
                  </a:lnTo>
                  <a:lnTo>
                    <a:pt x="1011" y="5438"/>
                  </a:lnTo>
                  <a:lnTo>
                    <a:pt x="997" y="5456"/>
                  </a:lnTo>
                  <a:lnTo>
                    <a:pt x="989" y="5466"/>
                  </a:lnTo>
                  <a:lnTo>
                    <a:pt x="982" y="5476"/>
                  </a:lnTo>
                  <a:lnTo>
                    <a:pt x="974" y="5488"/>
                  </a:lnTo>
                  <a:lnTo>
                    <a:pt x="968" y="5501"/>
                  </a:lnTo>
                  <a:lnTo>
                    <a:pt x="962" y="5515"/>
                  </a:lnTo>
                  <a:lnTo>
                    <a:pt x="958" y="5530"/>
                  </a:lnTo>
                  <a:lnTo>
                    <a:pt x="954" y="5547"/>
                  </a:lnTo>
                  <a:lnTo>
                    <a:pt x="953" y="5565"/>
                  </a:lnTo>
                  <a:lnTo>
                    <a:pt x="953" y="5565"/>
                  </a:lnTo>
                  <a:lnTo>
                    <a:pt x="953" y="5574"/>
                  </a:lnTo>
                  <a:lnTo>
                    <a:pt x="953" y="5583"/>
                  </a:lnTo>
                  <a:lnTo>
                    <a:pt x="956" y="5601"/>
                  </a:lnTo>
                  <a:lnTo>
                    <a:pt x="961" y="5618"/>
                  </a:lnTo>
                  <a:lnTo>
                    <a:pt x="967" y="5634"/>
                  </a:lnTo>
                  <a:lnTo>
                    <a:pt x="975" y="5649"/>
                  </a:lnTo>
                  <a:lnTo>
                    <a:pt x="985" y="5663"/>
                  </a:lnTo>
                  <a:lnTo>
                    <a:pt x="995" y="5676"/>
                  </a:lnTo>
                  <a:lnTo>
                    <a:pt x="1005" y="5688"/>
                  </a:lnTo>
                  <a:lnTo>
                    <a:pt x="1015" y="5698"/>
                  </a:lnTo>
                  <a:lnTo>
                    <a:pt x="1026" y="5707"/>
                  </a:lnTo>
                  <a:lnTo>
                    <a:pt x="1043" y="5723"/>
                  </a:lnTo>
                  <a:lnTo>
                    <a:pt x="1055" y="5731"/>
                  </a:lnTo>
                  <a:lnTo>
                    <a:pt x="1060" y="5735"/>
                  </a:lnTo>
                  <a:lnTo>
                    <a:pt x="1060" y="5735"/>
                  </a:lnTo>
                  <a:lnTo>
                    <a:pt x="1062" y="5731"/>
                  </a:lnTo>
                  <a:lnTo>
                    <a:pt x="1063" y="5726"/>
                  </a:lnTo>
                  <a:lnTo>
                    <a:pt x="1063" y="5717"/>
                  </a:lnTo>
                  <a:lnTo>
                    <a:pt x="1062" y="5708"/>
                  </a:lnTo>
                  <a:lnTo>
                    <a:pt x="1059" y="5687"/>
                  </a:lnTo>
                  <a:lnTo>
                    <a:pt x="1056" y="5661"/>
                  </a:lnTo>
                  <a:lnTo>
                    <a:pt x="1055" y="5649"/>
                  </a:lnTo>
                  <a:lnTo>
                    <a:pt x="1054" y="5636"/>
                  </a:lnTo>
                  <a:lnTo>
                    <a:pt x="1054" y="5624"/>
                  </a:lnTo>
                  <a:lnTo>
                    <a:pt x="1056" y="5613"/>
                  </a:lnTo>
                  <a:lnTo>
                    <a:pt x="1058" y="5603"/>
                  </a:lnTo>
                  <a:lnTo>
                    <a:pt x="1062" y="5594"/>
                  </a:lnTo>
                  <a:lnTo>
                    <a:pt x="1065" y="5591"/>
                  </a:lnTo>
                  <a:lnTo>
                    <a:pt x="1069" y="5587"/>
                  </a:lnTo>
                  <a:lnTo>
                    <a:pt x="1072" y="5585"/>
                  </a:lnTo>
                  <a:lnTo>
                    <a:pt x="1076" y="5582"/>
                  </a:lnTo>
                  <a:lnTo>
                    <a:pt x="1076" y="5582"/>
                  </a:lnTo>
                  <a:lnTo>
                    <a:pt x="1081" y="5581"/>
                  </a:lnTo>
                  <a:lnTo>
                    <a:pt x="1085" y="5581"/>
                  </a:lnTo>
                  <a:lnTo>
                    <a:pt x="1090" y="5582"/>
                  </a:lnTo>
                  <a:lnTo>
                    <a:pt x="1094" y="5586"/>
                  </a:lnTo>
                  <a:lnTo>
                    <a:pt x="1103" y="5593"/>
                  </a:lnTo>
                  <a:lnTo>
                    <a:pt x="1114" y="5602"/>
                  </a:lnTo>
                  <a:lnTo>
                    <a:pt x="1125" y="5613"/>
                  </a:lnTo>
                  <a:lnTo>
                    <a:pt x="1138" y="5622"/>
                  </a:lnTo>
                  <a:lnTo>
                    <a:pt x="1145" y="5627"/>
                  </a:lnTo>
                  <a:lnTo>
                    <a:pt x="1152" y="5631"/>
                  </a:lnTo>
                  <a:lnTo>
                    <a:pt x="1162" y="5634"/>
                  </a:lnTo>
                  <a:lnTo>
                    <a:pt x="1170" y="5636"/>
                  </a:lnTo>
                  <a:lnTo>
                    <a:pt x="1170" y="5636"/>
                  </a:lnTo>
                  <a:lnTo>
                    <a:pt x="1179" y="5636"/>
                  </a:lnTo>
                  <a:lnTo>
                    <a:pt x="1188" y="5636"/>
                  </a:lnTo>
                  <a:lnTo>
                    <a:pt x="1196" y="5635"/>
                  </a:lnTo>
                  <a:lnTo>
                    <a:pt x="1206" y="5633"/>
                  </a:lnTo>
                  <a:lnTo>
                    <a:pt x="1214" y="5629"/>
                  </a:lnTo>
                  <a:lnTo>
                    <a:pt x="1222" y="5625"/>
                  </a:lnTo>
                  <a:lnTo>
                    <a:pt x="1229" y="5621"/>
                  </a:lnTo>
                  <a:lnTo>
                    <a:pt x="1237" y="5616"/>
                  </a:lnTo>
                  <a:lnTo>
                    <a:pt x="1253" y="5604"/>
                  </a:lnTo>
                  <a:lnTo>
                    <a:pt x="1267" y="5590"/>
                  </a:lnTo>
                  <a:lnTo>
                    <a:pt x="1282" y="5573"/>
                  </a:lnTo>
                  <a:lnTo>
                    <a:pt x="1299" y="5556"/>
                  </a:lnTo>
                  <a:lnTo>
                    <a:pt x="1332" y="5517"/>
                  </a:lnTo>
                  <a:lnTo>
                    <a:pt x="1352" y="5498"/>
                  </a:lnTo>
                  <a:lnTo>
                    <a:pt x="1372" y="5478"/>
                  </a:lnTo>
                  <a:lnTo>
                    <a:pt x="1395" y="5458"/>
                  </a:lnTo>
                  <a:lnTo>
                    <a:pt x="1419" y="5439"/>
                  </a:lnTo>
                  <a:lnTo>
                    <a:pt x="1433" y="5430"/>
                  </a:lnTo>
                  <a:lnTo>
                    <a:pt x="1446" y="5422"/>
                  </a:lnTo>
                  <a:lnTo>
                    <a:pt x="1460" y="5414"/>
                  </a:lnTo>
                  <a:lnTo>
                    <a:pt x="1475" y="5406"/>
                  </a:lnTo>
                  <a:lnTo>
                    <a:pt x="1475" y="5406"/>
                  </a:lnTo>
                  <a:lnTo>
                    <a:pt x="1515" y="5387"/>
                  </a:lnTo>
                  <a:lnTo>
                    <a:pt x="1547" y="5375"/>
                  </a:lnTo>
                  <a:lnTo>
                    <a:pt x="1559" y="5370"/>
                  </a:lnTo>
                  <a:lnTo>
                    <a:pt x="1571" y="5367"/>
                  </a:lnTo>
                  <a:lnTo>
                    <a:pt x="1580" y="5366"/>
                  </a:lnTo>
                  <a:lnTo>
                    <a:pt x="1587" y="5365"/>
                  </a:lnTo>
                  <a:lnTo>
                    <a:pt x="1593" y="5365"/>
                  </a:lnTo>
                  <a:lnTo>
                    <a:pt x="1597" y="5367"/>
                  </a:lnTo>
                  <a:lnTo>
                    <a:pt x="1600" y="5369"/>
                  </a:lnTo>
                  <a:lnTo>
                    <a:pt x="1602" y="5372"/>
                  </a:lnTo>
                  <a:lnTo>
                    <a:pt x="1604" y="5375"/>
                  </a:lnTo>
                  <a:lnTo>
                    <a:pt x="1604" y="5379"/>
                  </a:lnTo>
                  <a:lnTo>
                    <a:pt x="1603" y="5389"/>
                  </a:lnTo>
                  <a:lnTo>
                    <a:pt x="1600" y="5401"/>
                  </a:lnTo>
                  <a:lnTo>
                    <a:pt x="1596" y="5415"/>
                  </a:lnTo>
                  <a:lnTo>
                    <a:pt x="1593" y="5428"/>
                  </a:lnTo>
                  <a:lnTo>
                    <a:pt x="1591" y="5440"/>
                  </a:lnTo>
                  <a:lnTo>
                    <a:pt x="1591" y="5446"/>
                  </a:lnTo>
                  <a:lnTo>
                    <a:pt x="1591" y="5453"/>
                  </a:lnTo>
                  <a:lnTo>
                    <a:pt x="1593" y="5458"/>
                  </a:lnTo>
                  <a:lnTo>
                    <a:pt x="1595" y="5463"/>
                  </a:lnTo>
                  <a:lnTo>
                    <a:pt x="1598" y="5467"/>
                  </a:lnTo>
                  <a:lnTo>
                    <a:pt x="1603" y="5471"/>
                  </a:lnTo>
                  <a:lnTo>
                    <a:pt x="1609" y="5474"/>
                  </a:lnTo>
                  <a:lnTo>
                    <a:pt x="1617" y="5476"/>
                  </a:lnTo>
                  <a:lnTo>
                    <a:pt x="1617" y="5476"/>
                  </a:lnTo>
                  <a:lnTo>
                    <a:pt x="1629" y="5480"/>
                  </a:lnTo>
                  <a:lnTo>
                    <a:pt x="1640" y="5483"/>
                  </a:lnTo>
                  <a:lnTo>
                    <a:pt x="1649" y="5488"/>
                  </a:lnTo>
                  <a:lnTo>
                    <a:pt x="1656" y="5492"/>
                  </a:lnTo>
                  <a:lnTo>
                    <a:pt x="1663" y="5498"/>
                  </a:lnTo>
                  <a:lnTo>
                    <a:pt x="1668" y="5503"/>
                  </a:lnTo>
                  <a:lnTo>
                    <a:pt x="1671" y="5509"/>
                  </a:lnTo>
                  <a:lnTo>
                    <a:pt x="1673" y="5515"/>
                  </a:lnTo>
                  <a:lnTo>
                    <a:pt x="1675" y="5521"/>
                  </a:lnTo>
                  <a:lnTo>
                    <a:pt x="1675" y="5527"/>
                  </a:lnTo>
                  <a:lnTo>
                    <a:pt x="1674" y="5534"/>
                  </a:lnTo>
                  <a:lnTo>
                    <a:pt x="1673" y="5541"/>
                  </a:lnTo>
                  <a:lnTo>
                    <a:pt x="1671" y="5548"/>
                  </a:lnTo>
                  <a:lnTo>
                    <a:pt x="1668" y="5555"/>
                  </a:lnTo>
                  <a:lnTo>
                    <a:pt x="1660" y="5568"/>
                  </a:lnTo>
                  <a:lnTo>
                    <a:pt x="1650" y="5581"/>
                  </a:lnTo>
                  <a:lnTo>
                    <a:pt x="1640" y="5594"/>
                  </a:lnTo>
                  <a:lnTo>
                    <a:pt x="1630" y="5605"/>
                  </a:lnTo>
                  <a:lnTo>
                    <a:pt x="1620" y="5615"/>
                  </a:lnTo>
                  <a:lnTo>
                    <a:pt x="1603" y="5629"/>
                  </a:lnTo>
                  <a:lnTo>
                    <a:pt x="1597" y="5636"/>
                  </a:lnTo>
                  <a:lnTo>
                    <a:pt x="1597" y="5636"/>
                  </a:lnTo>
                  <a:lnTo>
                    <a:pt x="1605" y="5640"/>
                  </a:lnTo>
                  <a:lnTo>
                    <a:pt x="1616" y="5642"/>
                  </a:lnTo>
                  <a:lnTo>
                    <a:pt x="1627" y="5643"/>
                  </a:lnTo>
                  <a:lnTo>
                    <a:pt x="1640" y="5642"/>
                  </a:lnTo>
                  <a:lnTo>
                    <a:pt x="1654" y="5639"/>
                  </a:lnTo>
                  <a:lnTo>
                    <a:pt x="1669" y="5635"/>
                  </a:lnTo>
                  <a:lnTo>
                    <a:pt x="1685" y="5628"/>
                  </a:lnTo>
                  <a:lnTo>
                    <a:pt x="1700" y="5620"/>
                  </a:lnTo>
                  <a:lnTo>
                    <a:pt x="1717" y="5611"/>
                  </a:lnTo>
                  <a:lnTo>
                    <a:pt x="1732" y="5600"/>
                  </a:lnTo>
                  <a:lnTo>
                    <a:pt x="1747" y="5587"/>
                  </a:lnTo>
                  <a:lnTo>
                    <a:pt x="1763" y="5572"/>
                  </a:lnTo>
                  <a:lnTo>
                    <a:pt x="1776" y="5555"/>
                  </a:lnTo>
                  <a:lnTo>
                    <a:pt x="1789" y="5536"/>
                  </a:lnTo>
                  <a:lnTo>
                    <a:pt x="1801" y="5516"/>
                  </a:lnTo>
                  <a:lnTo>
                    <a:pt x="1811" y="5495"/>
                  </a:lnTo>
                  <a:lnTo>
                    <a:pt x="1811" y="5495"/>
                  </a:lnTo>
                  <a:lnTo>
                    <a:pt x="1814" y="5486"/>
                  </a:lnTo>
                  <a:lnTo>
                    <a:pt x="1817" y="5480"/>
                  </a:lnTo>
                  <a:lnTo>
                    <a:pt x="1820" y="5475"/>
                  </a:lnTo>
                  <a:lnTo>
                    <a:pt x="1824" y="5471"/>
                  </a:lnTo>
                  <a:lnTo>
                    <a:pt x="1828" y="5468"/>
                  </a:lnTo>
                  <a:lnTo>
                    <a:pt x="1831" y="5465"/>
                  </a:lnTo>
                  <a:lnTo>
                    <a:pt x="1839" y="5462"/>
                  </a:lnTo>
                  <a:lnTo>
                    <a:pt x="1848" y="5459"/>
                  </a:lnTo>
                  <a:lnTo>
                    <a:pt x="1857" y="5455"/>
                  </a:lnTo>
                  <a:lnTo>
                    <a:pt x="1866" y="5449"/>
                  </a:lnTo>
                  <a:lnTo>
                    <a:pt x="1871" y="5444"/>
                  </a:lnTo>
                  <a:lnTo>
                    <a:pt x="1876" y="5439"/>
                  </a:lnTo>
                  <a:lnTo>
                    <a:pt x="1876" y="5439"/>
                  </a:lnTo>
                  <a:lnTo>
                    <a:pt x="1879" y="5433"/>
                  </a:lnTo>
                  <a:lnTo>
                    <a:pt x="1882" y="5427"/>
                  </a:lnTo>
                  <a:lnTo>
                    <a:pt x="1886" y="5421"/>
                  </a:lnTo>
                  <a:lnTo>
                    <a:pt x="1887" y="5415"/>
                  </a:lnTo>
                  <a:lnTo>
                    <a:pt x="1888" y="5400"/>
                  </a:lnTo>
                  <a:lnTo>
                    <a:pt x="1888" y="5386"/>
                  </a:lnTo>
                  <a:lnTo>
                    <a:pt x="1888" y="5371"/>
                  </a:lnTo>
                  <a:lnTo>
                    <a:pt x="1888" y="5357"/>
                  </a:lnTo>
                  <a:lnTo>
                    <a:pt x="1890" y="5342"/>
                  </a:lnTo>
                  <a:lnTo>
                    <a:pt x="1892" y="5336"/>
                  </a:lnTo>
                  <a:lnTo>
                    <a:pt x="1894" y="5330"/>
                  </a:lnTo>
                  <a:lnTo>
                    <a:pt x="1894" y="5330"/>
                  </a:lnTo>
                  <a:lnTo>
                    <a:pt x="1898" y="5324"/>
                  </a:lnTo>
                  <a:lnTo>
                    <a:pt x="1902" y="5319"/>
                  </a:lnTo>
                  <a:lnTo>
                    <a:pt x="1906" y="5314"/>
                  </a:lnTo>
                  <a:lnTo>
                    <a:pt x="1911" y="5309"/>
                  </a:lnTo>
                  <a:lnTo>
                    <a:pt x="1923" y="5301"/>
                  </a:lnTo>
                  <a:lnTo>
                    <a:pt x="1937" y="5295"/>
                  </a:lnTo>
                  <a:lnTo>
                    <a:pt x="1951" y="5290"/>
                  </a:lnTo>
                  <a:lnTo>
                    <a:pt x="1965" y="5286"/>
                  </a:lnTo>
                  <a:lnTo>
                    <a:pt x="1996" y="5278"/>
                  </a:lnTo>
                  <a:lnTo>
                    <a:pt x="2026" y="5272"/>
                  </a:lnTo>
                  <a:lnTo>
                    <a:pt x="2038" y="5268"/>
                  </a:lnTo>
                  <a:lnTo>
                    <a:pt x="2049" y="5262"/>
                  </a:lnTo>
                  <a:lnTo>
                    <a:pt x="2057" y="5256"/>
                  </a:lnTo>
                  <a:lnTo>
                    <a:pt x="2061" y="5253"/>
                  </a:lnTo>
                  <a:lnTo>
                    <a:pt x="2063" y="5249"/>
                  </a:lnTo>
                  <a:lnTo>
                    <a:pt x="2066" y="5245"/>
                  </a:lnTo>
                  <a:lnTo>
                    <a:pt x="2068" y="5240"/>
                  </a:lnTo>
                  <a:lnTo>
                    <a:pt x="2068" y="5235"/>
                  </a:lnTo>
                  <a:lnTo>
                    <a:pt x="2068" y="5230"/>
                  </a:lnTo>
                  <a:lnTo>
                    <a:pt x="2068" y="5230"/>
                  </a:lnTo>
                  <a:lnTo>
                    <a:pt x="2066" y="5215"/>
                  </a:lnTo>
                  <a:lnTo>
                    <a:pt x="2066" y="5202"/>
                  </a:lnTo>
                  <a:lnTo>
                    <a:pt x="2069" y="5190"/>
                  </a:lnTo>
                  <a:lnTo>
                    <a:pt x="2073" y="5180"/>
                  </a:lnTo>
                  <a:lnTo>
                    <a:pt x="2078" y="5169"/>
                  </a:lnTo>
                  <a:lnTo>
                    <a:pt x="2083" y="5161"/>
                  </a:lnTo>
                  <a:lnTo>
                    <a:pt x="2090" y="5153"/>
                  </a:lnTo>
                  <a:lnTo>
                    <a:pt x="2098" y="5146"/>
                  </a:lnTo>
                  <a:lnTo>
                    <a:pt x="2106" y="5140"/>
                  </a:lnTo>
                  <a:lnTo>
                    <a:pt x="2116" y="5134"/>
                  </a:lnTo>
                  <a:lnTo>
                    <a:pt x="2134" y="5124"/>
                  </a:lnTo>
                  <a:lnTo>
                    <a:pt x="2152" y="5116"/>
                  </a:lnTo>
                  <a:lnTo>
                    <a:pt x="2169" y="5109"/>
                  </a:lnTo>
                  <a:lnTo>
                    <a:pt x="2169" y="5109"/>
                  </a:lnTo>
                  <a:lnTo>
                    <a:pt x="2171" y="5109"/>
                  </a:lnTo>
                  <a:lnTo>
                    <a:pt x="2172" y="5110"/>
                  </a:lnTo>
                  <a:lnTo>
                    <a:pt x="2175" y="5112"/>
                  </a:lnTo>
                  <a:lnTo>
                    <a:pt x="2177" y="5117"/>
                  </a:lnTo>
                  <a:lnTo>
                    <a:pt x="2181" y="5124"/>
                  </a:lnTo>
                  <a:lnTo>
                    <a:pt x="2189" y="5143"/>
                  </a:lnTo>
                  <a:lnTo>
                    <a:pt x="2195" y="5154"/>
                  </a:lnTo>
                  <a:lnTo>
                    <a:pt x="2202" y="5166"/>
                  </a:lnTo>
                  <a:lnTo>
                    <a:pt x="2212" y="5179"/>
                  </a:lnTo>
                  <a:lnTo>
                    <a:pt x="2222" y="5192"/>
                  </a:lnTo>
                  <a:lnTo>
                    <a:pt x="2234" y="5206"/>
                  </a:lnTo>
                  <a:lnTo>
                    <a:pt x="2250" y="5220"/>
                  </a:lnTo>
                  <a:lnTo>
                    <a:pt x="2267" y="5233"/>
                  </a:lnTo>
                  <a:lnTo>
                    <a:pt x="2287" y="5245"/>
                  </a:lnTo>
                  <a:lnTo>
                    <a:pt x="2311" y="5257"/>
                  </a:lnTo>
                  <a:lnTo>
                    <a:pt x="2337" y="5268"/>
                  </a:lnTo>
                  <a:lnTo>
                    <a:pt x="2337" y="5268"/>
                  </a:lnTo>
                  <a:lnTo>
                    <a:pt x="2412" y="5237"/>
                  </a:lnTo>
                  <a:lnTo>
                    <a:pt x="2458" y="5215"/>
                  </a:lnTo>
                  <a:lnTo>
                    <a:pt x="2485" y="5202"/>
                  </a:lnTo>
                  <a:lnTo>
                    <a:pt x="2514" y="5187"/>
                  </a:lnTo>
                  <a:lnTo>
                    <a:pt x="2514" y="5187"/>
                  </a:lnTo>
                  <a:lnTo>
                    <a:pt x="2546" y="5170"/>
                  </a:lnTo>
                  <a:lnTo>
                    <a:pt x="2576" y="5153"/>
                  </a:lnTo>
                  <a:lnTo>
                    <a:pt x="2588" y="5145"/>
                  </a:lnTo>
                  <a:lnTo>
                    <a:pt x="2599" y="5138"/>
                  </a:lnTo>
                  <a:lnTo>
                    <a:pt x="2609" y="5130"/>
                  </a:lnTo>
                  <a:lnTo>
                    <a:pt x="2617" y="5123"/>
                  </a:lnTo>
                  <a:lnTo>
                    <a:pt x="2617" y="5123"/>
                  </a:lnTo>
                  <a:lnTo>
                    <a:pt x="2616" y="5121"/>
                  </a:lnTo>
                  <a:lnTo>
                    <a:pt x="2615" y="5119"/>
                  </a:lnTo>
                  <a:lnTo>
                    <a:pt x="2607" y="5112"/>
                  </a:lnTo>
                  <a:lnTo>
                    <a:pt x="2596" y="5101"/>
                  </a:lnTo>
                  <a:lnTo>
                    <a:pt x="2583" y="5087"/>
                  </a:lnTo>
                  <a:lnTo>
                    <a:pt x="2568" y="5069"/>
                  </a:lnTo>
                  <a:lnTo>
                    <a:pt x="2553" y="5050"/>
                  </a:lnTo>
                  <a:lnTo>
                    <a:pt x="2546" y="5039"/>
                  </a:lnTo>
                  <a:lnTo>
                    <a:pt x="2540" y="5026"/>
                  </a:lnTo>
                  <a:lnTo>
                    <a:pt x="2535" y="5015"/>
                  </a:lnTo>
                  <a:lnTo>
                    <a:pt x="2530" y="5002"/>
                  </a:lnTo>
                  <a:lnTo>
                    <a:pt x="2530" y="5002"/>
                  </a:lnTo>
                  <a:lnTo>
                    <a:pt x="2527" y="4989"/>
                  </a:lnTo>
                  <a:lnTo>
                    <a:pt x="2524" y="4978"/>
                  </a:lnTo>
                  <a:lnTo>
                    <a:pt x="2522" y="4969"/>
                  </a:lnTo>
                  <a:lnTo>
                    <a:pt x="2522" y="4960"/>
                  </a:lnTo>
                  <a:lnTo>
                    <a:pt x="2522" y="4953"/>
                  </a:lnTo>
                  <a:lnTo>
                    <a:pt x="2522" y="4948"/>
                  </a:lnTo>
                  <a:lnTo>
                    <a:pt x="2523" y="4944"/>
                  </a:lnTo>
                  <a:lnTo>
                    <a:pt x="2524" y="4942"/>
                  </a:lnTo>
                  <a:lnTo>
                    <a:pt x="2524" y="4942"/>
                  </a:lnTo>
                  <a:lnTo>
                    <a:pt x="2537" y="4959"/>
                  </a:lnTo>
                  <a:lnTo>
                    <a:pt x="2552" y="4976"/>
                  </a:lnTo>
                  <a:lnTo>
                    <a:pt x="2573" y="4997"/>
                  </a:lnTo>
                  <a:lnTo>
                    <a:pt x="2585" y="5008"/>
                  </a:lnTo>
                  <a:lnTo>
                    <a:pt x="2597" y="5019"/>
                  </a:lnTo>
                  <a:lnTo>
                    <a:pt x="2611" y="5030"/>
                  </a:lnTo>
                  <a:lnTo>
                    <a:pt x="2627" y="5042"/>
                  </a:lnTo>
                  <a:lnTo>
                    <a:pt x="2643" y="5053"/>
                  </a:lnTo>
                  <a:lnTo>
                    <a:pt x="2660" y="5062"/>
                  </a:lnTo>
                  <a:lnTo>
                    <a:pt x="2677" y="5071"/>
                  </a:lnTo>
                  <a:lnTo>
                    <a:pt x="2695" y="5079"/>
                  </a:lnTo>
                  <a:lnTo>
                    <a:pt x="2695" y="5079"/>
                  </a:lnTo>
                  <a:lnTo>
                    <a:pt x="2749" y="5051"/>
                  </a:lnTo>
                  <a:lnTo>
                    <a:pt x="2803" y="5021"/>
                  </a:lnTo>
                  <a:lnTo>
                    <a:pt x="2857" y="4988"/>
                  </a:lnTo>
                  <a:lnTo>
                    <a:pt x="2911" y="4954"/>
                  </a:lnTo>
                  <a:lnTo>
                    <a:pt x="2911" y="4954"/>
                  </a:lnTo>
                  <a:lnTo>
                    <a:pt x="2946" y="4930"/>
                  </a:lnTo>
                  <a:lnTo>
                    <a:pt x="2946" y="4930"/>
                  </a:lnTo>
                  <a:lnTo>
                    <a:pt x="2947" y="4929"/>
                  </a:lnTo>
                  <a:lnTo>
                    <a:pt x="2947" y="4929"/>
                  </a:lnTo>
                  <a:lnTo>
                    <a:pt x="2948" y="4927"/>
                  </a:lnTo>
                  <a:lnTo>
                    <a:pt x="2947" y="4925"/>
                  </a:lnTo>
                  <a:lnTo>
                    <a:pt x="2943" y="4918"/>
                  </a:lnTo>
                  <a:lnTo>
                    <a:pt x="2935" y="4909"/>
                  </a:lnTo>
                  <a:lnTo>
                    <a:pt x="2924" y="4898"/>
                  </a:lnTo>
                  <a:lnTo>
                    <a:pt x="2899" y="4874"/>
                  </a:lnTo>
                  <a:lnTo>
                    <a:pt x="2870" y="4845"/>
                  </a:lnTo>
                  <a:lnTo>
                    <a:pt x="2857" y="4831"/>
                  </a:lnTo>
                  <a:lnTo>
                    <a:pt x="2846" y="4817"/>
                  </a:lnTo>
                  <a:lnTo>
                    <a:pt x="2836" y="4802"/>
                  </a:lnTo>
                  <a:lnTo>
                    <a:pt x="2832" y="4795"/>
                  </a:lnTo>
                  <a:lnTo>
                    <a:pt x="2829" y="4789"/>
                  </a:lnTo>
                  <a:lnTo>
                    <a:pt x="2828" y="4782"/>
                  </a:lnTo>
                  <a:lnTo>
                    <a:pt x="2827" y="4776"/>
                  </a:lnTo>
                  <a:lnTo>
                    <a:pt x="2827" y="4770"/>
                  </a:lnTo>
                  <a:lnTo>
                    <a:pt x="2828" y="4765"/>
                  </a:lnTo>
                  <a:lnTo>
                    <a:pt x="2830" y="4759"/>
                  </a:lnTo>
                  <a:lnTo>
                    <a:pt x="2834" y="4754"/>
                  </a:lnTo>
                  <a:lnTo>
                    <a:pt x="2840" y="4750"/>
                  </a:lnTo>
                  <a:lnTo>
                    <a:pt x="2847" y="4746"/>
                  </a:lnTo>
                  <a:lnTo>
                    <a:pt x="2847" y="4746"/>
                  </a:lnTo>
                  <a:lnTo>
                    <a:pt x="2853" y="4742"/>
                  </a:lnTo>
                  <a:lnTo>
                    <a:pt x="2858" y="4737"/>
                  </a:lnTo>
                  <a:lnTo>
                    <a:pt x="2861" y="4732"/>
                  </a:lnTo>
                  <a:lnTo>
                    <a:pt x="2863" y="4726"/>
                  </a:lnTo>
                  <a:lnTo>
                    <a:pt x="2864" y="4720"/>
                  </a:lnTo>
                  <a:lnTo>
                    <a:pt x="2864" y="4711"/>
                  </a:lnTo>
                  <a:lnTo>
                    <a:pt x="2864" y="4704"/>
                  </a:lnTo>
                  <a:lnTo>
                    <a:pt x="2862" y="4695"/>
                  </a:lnTo>
                  <a:lnTo>
                    <a:pt x="2857" y="4678"/>
                  </a:lnTo>
                  <a:lnTo>
                    <a:pt x="2849" y="4658"/>
                  </a:lnTo>
                  <a:lnTo>
                    <a:pt x="2830" y="4616"/>
                  </a:lnTo>
                  <a:lnTo>
                    <a:pt x="2821" y="4595"/>
                  </a:lnTo>
                  <a:lnTo>
                    <a:pt x="2813" y="4574"/>
                  </a:lnTo>
                  <a:lnTo>
                    <a:pt x="2806" y="4554"/>
                  </a:lnTo>
                  <a:lnTo>
                    <a:pt x="2804" y="4544"/>
                  </a:lnTo>
                  <a:lnTo>
                    <a:pt x="2802" y="4534"/>
                  </a:lnTo>
                  <a:lnTo>
                    <a:pt x="2802" y="4525"/>
                  </a:lnTo>
                  <a:lnTo>
                    <a:pt x="2802" y="4517"/>
                  </a:lnTo>
                  <a:lnTo>
                    <a:pt x="2803" y="4509"/>
                  </a:lnTo>
                  <a:lnTo>
                    <a:pt x="2805" y="4502"/>
                  </a:lnTo>
                  <a:lnTo>
                    <a:pt x="2808" y="4495"/>
                  </a:lnTo>
                  <a:lnTo>
                    <a:pt x="2813" y="4488"/>
                  </a:lnTo>
                  <a:lnTo>
                    <a:pt x="2819" y="4482"/>
                  </a:lnTo>
                  <a:lnTo>
                    <a:pt x="2827" y="4478"/>
                  </a:lnTo>
                  <a:lnTo>
                    <a:pt x="2827" y="4478"/>
                  </a:lnTo>
                  <a:lnTo>
                    <a:pt x="2928" y="4425"/>
                  </a:lnTo>
                  <a:lnTo>
                    <a:pt x="3034" y="4374"/>
                  </a:lnTo>
                  <a:lnTo>
                    <a:pt x="3138" y="4323"/>
                  </a:lnTo>
                  <a:lnTo>
                    <a:pt x="3241" y="4273"/>
                  </a:lnTo>
                  <a:lnTo>
                    <a:pt x="3433" y="4182"/>
                  </a:lnTo>
                  <a:lnTo>
                    <a:pt x="3516" y="4142"/>
                  </a:lnTo>
                  <a:lnTo>
                    <a:pt x="3591" y="4105"/>
                  </a:lnTo>
                  <a:lnTo>
                    <a:pt x="3591" y="4105"/>
                  </a:lnTo>
                  <a:lnTo>
                    <a:pt x="3587" y="4089"/>
                  </a:lnTo>
                  <a:lnTo>
                    <a:pt x="3581" y="4070"/>
                  </a:lnTo>
                  <a:lnTo>
                    <a:pt x="3571" y="4047"/>
                  </a:lnTo>
                  <a:lnTo>
                    <a:pt x="3564" y="4035"/>
                  </a:lnTo>
                  <a:lnTo>
                    <a:pt x="3557" y="4020"/>
                  </a:lnTo>
                  <a:lnTo>
                    <a:pt x="3549" y="4006"/>
                  </a:lnTo>
                  <a:lnTo>
                    <a:pt x="3540" y="3992"/>
                  </a:lnTo>
                  <a:lnTo>
                    <a:pt x="3529" y="3977"/>
                  </a:lnTo>
                  <a:lnTo>
                    <a:pt x="3516" y="3962"/>
                  </a:lnTo>
                  <a:lnTo>
                    <a:pt x="3502" y="3948"/>
                  </a:lnTo>
                  <a:lnTo>
                    <a:pt x="3487" y="3933"/>
                  </a:lnTo>
                  <a:close/>
                  <a:moveTo>
                    <a:pt x="322" y="5867"/>
                  </a:moveTo>
                  <a:lnTo>
                    <a:pt x="322" y="5867"/>
                  </a:lnTo>
                  <a:lnTo>
                    <a:pt x="321" y="5881"/>
                  </a:lnTo>
                  <a:lnTo>
                    <a:pt x="321" y="5892"/>
                  </a:lnTo>
                  <a:lnTo>
                    <a:pt x="323" y="5908"/>
                  </a:lnTo>
                  <a:lnTo>
                    <a:pt x="326" y="5923"/>
                  </a:lnTo>
                  <a:lnTo>
                    <a:pt x="329" y="5931"/>
                  </a:lnTo>
                  <a:lnTo>
                    <a:pt x="332" y="5939"/>
                  </a:lnTo>
                  <a:lnTo>
                    <a:pt x="337" y="5947"/>
                  </a:lnTo>
                  <a:lnTo>
                    <a:pt x="343" y="5956"/>
                  </a:lnTo>
                  <a:lnTo>
                    <a:pt x="349" y="5964"/>
                  </a:lnTo>
                  <a:lnTo>
                    <a:pt x="357" y="5971"/>
                  </a:lnTo>
                  <a:lnTo>
                    <a:pt x="357" y="5971"/>
                  </a:lnTo>
                  <a:lnTo>
                    <a:pt x="369" y="5980"/>
                  </a:lnTo>
                  <a:lnTo>
                    <a:pt x="382" y="5988"/>
                  </a:lnTo>
                  <a:lnTo>
                    <a:pt x="397" y="5995"/>
                  </a:lnTo>
                  <a:lnTo>
                    <a:pt x="412" y="6000"/>
                  </a:lnTo>
                  <a:lnTo>
                    <a:pt x="426" y="6002"/>
                  </a:lnTo>
                  <a:lnTo>
                    <a:pt x="434" y="6002"/>
                  </a:lnTo>
                  <a:lnTo>
                    <a:pt x="441" y="6001"/>
                  </a:lnTo>
                  <a:lnTo>
                    <a:pt x="447" y="6000"/>
                  </a:lnTo>
                  <a:lnTo>
                    <a:pt x="453" y="5998"/>
                  </a:lnTo>
                  <a:lnTo>
                    <a:pt x="458" y="5995"/>
                  </a:lnTo>
                  <a:lnTo>
                    <a:pt x="463" y="5991"/>
                  </a:lnTo>
                  <a:lnTo>
                    <a:pt x="463" y="5991"/>
                  </a:lnTo>
                  <a:lnTo>
                    <a:pt x="468" y="5986"/>
                  </a:lnTo>
                  <a:lnTo>
                    <a:pt x="473" y="5979"/>
                  </a:lnTo>
                  <a:lnTo>
                    <a:pt x="476" y="5973"/>
                  </a:lnTo>
                  <a:lnTo>
                    <a:pt x="479" y="5966"/>
                  </a:lnTo>
                  <a:lnTo>
                    <a:pt x="481" y="5958"/>
                  </a:lnTo>
                  <a:lnTo>
                    <a:pt x="482" y="5950"/>
                  </a:lnTo>
                  <a:lnTo>
                    <a:pt x="483" y="5933"/>
                  </a:lnTo>
                  <a:lnTo>
                    <a:pt x="483" y="5917"/>
                  </a:lnTo>
                  <a:lnTo>
                    <a:pt x="484" y="5900"/>
                  </a:lnTo>
                  <a:lnTo>
                    <a:pt x="485" y="5892"/>
                  </a:lnTo>
                  <a:lnTo>
                    <a:pt x="487" y="5884"/>
                  </a:lnTo>
                  <a:lnTo>
                    <a:pt x="489" y="5877"/>
                  </a:lnTo>
                  <a:lnTo>
                    <a:pt x="493" y="5869"/>
                  </a:lnTo>
                  <a:lnTo>
                    <a:pt x="493" y="5869"/>
                  </a:lnTo>
                  <a:lnTo>
                    <a:pt x="495" y="5866"/>
                  </a:lnTo>
                  <a:lnTo>
                    <a:pt x="499" y="5863"/>
                  </a:lnTo>
                  <a:lnTo>
                    <a:pt x="508" y="5857"/>
                  </a:lnTo>
                  <a:lnTo>
                    <a:pt x="516" y="5854"/>
                  </a:lnTo>
                  <a:lnTo>
                    <a:pt x="519" y="5853"/>
                  </a:lnTo>
                  <a:lnTo>
                    <a:pt x="519" y="5853"/>
                  </a:lnTo>
                  <a:lnTo>
                    <a:pt x="526" y="5851"/>
                  </a:lnTo>
                  <a:lnTo>
                    <a:pt x="532" y="5848"/>
                  </a:lnTo>
                  <a:lnTo>
                    <a:pt x="538" y="5845"/>
                  </a:lnTo>
                  <a:lnTo>
                    <a:pt x="544" y="5840"/>
                  </a:lnTo>
                  <a:lnTo>
                    <a:pt x="544" y="5840"/>
                  </a:lnTo>
                  <a:lnTo>
                    <a:pt x="585" y="5859"/>
                  </a:lnTo>
                  <a:lnTo>
                    <a:pt x="626" y="5877"/>
                  </a:lnTo>
                  <a:lnTo>
                    <a:pt x="668" y="5896"/>
                  </a:lnTo>
                  <a:lnTo>
                    <a:pt x="709" y="5917"/>
                  </a:lnTo>
                  <a:lnTo>
                    <a:pt x="748" y="5938"/>
                  </a:lnTo>
                  <a:lnTo>
                    <a:pt x="789" y="5961"/>
                  </a:lnTo>
                  <a:lnTo>
                    <a:pt x="830" y="5983"/>
                  </a:lnTo>
                  <a:lnTo>
                    <a:pt x="870" y="6007"/>
                  </a:lnTo>
                  <a:lnTo>
                    <a:pt x="910" y="6031"/>
                  </a:lnTo>
                  <a:lnTo>
                    <a:pt x="949" y="6056"/>
                  </a:lnTo>
                  <a:lnTo>
                    <a:pt x="1027" y="6106"/>
                  </a:lnTo>
                  <a:lnTo>
                    <a:pt x="1103" y="6158"/>
                  </a:lnTo>
                  <a:lnTo>
                    <a:pt x="1178" y="6211"/>
                  </a:lnTo>
                  <a:lnTo>
                    <a:pt x="1178" y="6211"/>
                  </a:lnTo>
                  <a:lnTo>
                    <a:pt x="1197" y="6225"/>
                  </a:lnTo>
                  <a:lnTo>
                    <a:pt x="1215" y="6236"/>
                  </a:lnTo>
                  <a:lnTo>
                    <a:pt x="1215" y="6236"/>
                  </a:lnTo>
                  <a:lnTo>
                    <a:pt x="1208" y="6258"/>
                  </a:lnTo>
                  <a:lnTo>
                    <a:pt x="1199" y="6281"/>
                  </a:lnTo>
                  <a:lnTo>
                    <a:pt x="1189" y="6305"/>
                  </a:lnTo>
                  <a:lnTo>
                    <a:pt x="1177" y="6331"/>
                  </a:lnTo>
                  <a:lnTo>
                    <a:pt x="1177" y="6331"/>
                  </a:lnTo>
                  <a:lnTo>
                    <a:pt x="1137" y="6407"/>
                  </a:lnTo>
                  <a:lnTo>
                    <a:pt x="1118" y="6443"/>
                  </a:lnTo>
                  <a:lnTo>
                    <a:pt x="1100" y="6479"/>
                  </a:lnTo>
                  <a:lnTo>
                    <a:pt x="1093" y="6497"/>
                  </a:lnTo>
                  <a:lnTo>
                    <a:pt x="1087" y="6514"/>
                  </a:lnTo>
                  <a:lnTo>
                    <a:pt x="1081" y="6530"/>
                  </a:lnTo>
                  <a:lnTo>
                    <a:pt x="1077" y="6547"/>
                  </a:lnTo>
                  <a:lnTo>
                    <a:pt x="1074" y="6562"/>
                  </a:lnTo>
                  <a:lnTo>
                    <a:pt x="1072" y="6576"/>
                  </a:lnTo>
                  <a:lnTo>
                    <a:pt x="1072" y="6591"/>
                  </a:lnTo>
                  <a:lnTo>
                    <a:pt x="1073" y="6603"/>
                  </a:lnTo>
                  <a:lnTo>
                    <a:pt x="1073" y="6603"/>
                  </a:lnTo>
                  <a:lnTo>
                    <a:pt x="1075" y="6612"/>
                  </a:lnTo>
                  <a:lnTo>
                    <a:pt x="1077" y="6621"/>
                  </a:lnTo>
                  <a:lnTo>
                    <a:pt x="1080" y="6629"/>
                  </a:lnTo>
                  <a:lnTo>
                    <a:pt x="1083" y="6638"/>
                  </a:lnTo>
                  <a:lnTo>
                    <a:pt x="1087" y="6645"/>
                  </a:lnTo>
                  <a:lnTo>
                    <a:pt x="1092" y="6652"/>
                  </a:lnTo>
                  <a:lnTo>
                    <a:pt x="1097" y="6658"/>
                  </a:lnTo>
                  <a:lnTo>
                    <a:pt x="1102" y="6664"/>
                  </a:lnTo>
                  <a:lnTo>
                    <a:pt x="1108" y="6669"/>
                  </a:lnTo>
                  <a:lnTo>
                    <a:pt x="1115" y="6674"/>
                  </a:lnTo>
                  <a:lnTo>
                    <a:pt x="1122" y="6679"/>
                  </a:lnTo>
                  <a:lnTo>
                    <a:pt x="1129" y="6682"/>
                  </a:lnTo>
                  <a:lnTo>
                    <a:pt x="1137" y="6685"/>
                  </a:lnTo>
                  <a:lnTo>
                    <a:pt x="1145" y="6687"/>
                  </a:lnTo>
                  <a:lnTo>
                    <a:pt x="1154" y="6689"/>
                  </a:lnTo>
                  <a:lnTo>
                    <a:pt x="1163" y="6690"/>
                  </a:lnTo>
                  <a:lnTo>
                    <a:pt x="1163" y="6690"/>
                  </a:lnTo>
                  <a:lnTo>
                    <a:pt x="1173" y="6690"/>
                  </a:lnTo>
                  <a:lnTo>
                    <a:pt x="1183" y="6689"/>
                  </a:lnTo>
                  <a:lnTo>
                    <a:pt x="1192" y="6687"/>
                  </a:lnTo>
                  <a:lnTo>
                    <a:pt x="1201" y="6685"/>
                  </a:lnTo>
                  <a:lnTo>
                    <a:pt x="1210" y="6682"/>
                  </a:lnTo>
                  <a:lnTo>
                    <a:pt x="1218" y="6677"/>
                  </a:lnTo>
                  <a:lnTo>
                    <a:pt x="1226" y="6673"/>
                  </a:lnTo>
                  <a:lnTo>
                    <a:pt x="1233" y="6668"/>
                  </a:lnTo>
                  <a:lnTo>
                    <a:pt x="1240" y="6662"/>
                  </a:lnTo>
                  <a:lnTo>
                    <a:pt x="1246" y="6657"/>
                  </a:lnTo>
                  <a:lnTo>
                    <a:pt x="1252" y="6651"/>
                  </a:lnTo>
                  <a:lnTo>
                    <a:pt x="1257" y="6644"/>
                  </a:lnTo>
                  <a:lnTo>
                    <a:pt x="1261" y="6637"/>
                  </a:lnTo>
                  <a:lnTo>
                    <a:pt x="1265" y="6629"/>
                  </a:lnTo>
                  <a:lnTo>
                    <a:pt x="1268" y="6622"/>
                  </a:lnTo>
                  <a:lnTo>
                    <a:pt x="1270" y="6614"/>
                  </a:lnTo>
                  <a:lnTo>
                    <a:pt x="1270" y="6614"/>
                  </a:lnTo>
                  <a:lnTo>
                    <a:pt x="1272" y="6598"/>
                  </a:lnTo>
                  <a:lnTo>
                    <a:pt x="1273" y="6582"/>
                  </a:lnTo>
                  <a:lnTo>
                    <a:pt x="1271" y="6570"/>
                  </a:lnTo>
                  <a:lnTo>
                    <a:pt x="1268" y="6558"/>
                  </a:lnTo>
                  <a:lnTo>
                    <a:pt x="1263" y="6549"/>
                  </a:lnTo>
                  <a:lnTo>
                    <a:pt x="1258" y="6539"/>
                  </a:lnTo>
                  <a:lnTo>
                    <a:pt x="1251" y="6532"/>
                  </a:lnTo>
                  <a:lnTo>
                    <a:pt x="1243" y="6527"/>
                  </a:lnTo>
                  <a:lnTo>
                    <a:pt x="1236" y="6522"/>
                  </a:lnTo>
                  <a:lnTo>
                    <a:pt x="1229" y="6518"/>
                  </a:lnTo>
                  <a:lnTo>
                    <a:pt x="1215" y="6513"/>
                  </a:lnTo>
                  <a:lnTo>
                    <a:pt x="1206" y="6511"/>
                  </a:lnTo>
                  <a:lnTo>
                    <a:pt x="1201" y="6511"/>
                  </a:lnTo>
                  <a:lnTo>
                    <a:pt x="1201" y="6511"/>
                  </a:lnTo>
                  <a:lnTo>
                    <a:pt x="1217" y="6466"/>
                  </a:lnTo>
                  <a:lnTo>
                    <a:pt x="1229" y="6430"/>
                  </a:lnTo>
                  <a:lnTo>
                    <a:pt x="1240" y="6401"/>
                  </a:lnTo>
                  <a:lnTo>
                    <a:pt x="1240" y="6401"/>
                  </a:lnTo>
                  <a:lnTo>
                    <a:pt x="1248" y="6381"/>
                  </a:lnTo>
                  <a:lnTo>
                    <a:pt x="1258" y="6363"/>
                  </a:lnTo>
                  <a:lnTo>
                    <a:pt x="1266" y="6345"/>
                  </a:lnTo>
                  <a:lnTo>
                    <a:pt x="1275" y="6329"/>
                  </a:lnTo>
                  <a:lnTo>
                    <a:pt x="1283" y="6314"/>
                  </a:lnTo>
                  <a:lnTo>
                    <a:pt x="1292" y="6299"/>
                  </a:lnTo>
                  <a:lnTo>
                    <a:pt x="1310" y="6275"/>
                  </a:lnTo>
                  <a:lnTo>
                    <a:pt x="1327" y="6254"/>
                  </a:lnTo>
                  <a:lnTo>
                    <a:pt x="1345" y="6237"/>
                  </a:lnTo>
                  <a:lnTo>
                    <a:pt x="1361" y="6224"/>
                  </a:lnTo>
                  <a:lnTo>
                    <a:pt x="1376" y="6212"/>
                  </a:lnTo>
                  <a:lnTo>
                    <a:pt x="1391" y="6205"/>
                  </a:lnTo>
                  <a:lnTo>
                    <a:pt x="1404" y="6199"/>
                  </a:lnTo>
                  <a:lnTo>
                    <a:pt x="1416" y="6195"/>
                  </a:lnTo>
                  <a:lnTo>
                    <a:pt x="1426" y="6193"/>
                  </a:lnTo>
                  <a:lnTo>
                    <a:pt x="1435" y="6192"/>
                  </a:lnTo>
                  <a:lnTo>
                    <a:pt x="1441" y="6192"/>
                  </a:lnTo>
                  <a:lnTo>
                    <a:pt x="1446" y="6192"/>
                  </a:lnTo>
                  <a:lnTo>
                    <a:pt x="1446" y="6192"/>
                  </a:lnTo>
                  <a:lnTo>
                    <a:pt x="1442" y="6188"/>
                  </a:lnTo>
                  <a:lnTo>
                    <a:pt x="1437" y="6183"/>
                  </a:lnTo>
                  <a:lnTo>
                    <a:pt x="1432" y="6175"/>
                  </a:lnTo>
                  <a:lnTo>
                    <a:pt x="1425" y="6166"/>
                  </a:lnTo>
                  <a:lnTo>
                    <a:pt x="1420" y="6155"/>
                  </a:lnTo>
                  <a:lnTo>
                    <a:pt x="1414" y="6142"/>
                  </a:lnTo>
                  <a:lnTo>
                    <a:pt x="1409" y="6125"/>
                  </a:lnTo>
                  <a:lnTo>
                    <a:pt x="1406" y="6108"/>
                  </a:lnTo>
                  <a:lnTo>
                    <a:pt x="1404" y="6088"/>
                  </a:lnTo>
                  <a:lnTo>
                    <a:pt x="1404" y="6065"/>
                  </a:lnTo>
                  <a:lnTo>
                    <a:pt x="1405" y="6053"/>
                  </a:lnTo>
                  <a:lnTo>
                    <a:pt x="1407" y="6041"/>
                  </a:lnTo>
                  <a:lnTo>
                    <a:pt x="1409" y="6027"/>
                  </a:lnTo>
                  <a:lnTo>
                    <a:pt x="1413" y="6013"/>
                  </a:lnTo>
                  <a:lnTo>
                    <a:pt x="1417" y="5999"/>
                  </a:lnTo>
                  <a:lnTo>
                    <a:pt x="1422" y="5983"/>
                  </a:lnTo>
                  <a:lnTo>
                    <a:pt x="1428" y="5968"/>
                  </a:lnTo>
                  <a:lnTo>
                    <a:pt x="1436" y="5952"/>
                  </a:lnTo>
                  <a:lnTo>
                    <a:pt x="1444" y="5934"/>
                  </a:lnTo>
                  <a:lnTo>
                    <a:pt x="1453" y="5917"/>
                  </a:lnTo>
                  <a:lnTo>
                    <a:pt x="1453" y="5917"/>
                  </a:lnTo>
                  <a:lnTo>
                    <a:pt x="1473" y="5880"/>
                  </a:lnTo>
                  <a:lnTo>
                    <a:pt x="1490" y="5844"/>
                  </a:lnTo>
                  <a:lnTo>
                    <a:pt x="1505" y="5811"/>
                  </a:lnTo>
                  <a:lnTo>
                    <a:pt x="1516" y="5780"/>
                  </a:lnTo>
                  <a:lnTo>
                    <a:pt x="1527" y="5749"/>
                  </a:lnTo>
                  <a:lnTo>
                    <a:pt x="1535" y="5719"/>
                  </a:lnTo>
                  <a:lnTo>
                    <a:pt x="1541" y="5691"/>
                  </a:lnTo>
                  <a:lnTo>
                    <a:pt x="1546" y="5663"/>
                  </a:lnTo>
                  <a:lnTo>
                    <a:pt x="1546" y="5663"/>
                  </a:lnTo>
                  <a:lnTo>
                    <a:pt x="1547" y="5654"/>
                  </a:lnTo>
                  <a:lnTo>
                    <a:pt x="1546" y="5645"/>
                  </a:lnTo>
                  <a:lnTo>
                    <a:pt x="1545" y="5636"/>
                  </a:lnTo>
                  <a:lnTo>
                    <a:pt x="1542" y="5626"/>
                  </a:lnTo>
                  <a:lnTo>
                    <a:pt x="1538" y="5617"/>
                  </a:lnTo>
                  <a:lnTo>
                    <a:pt x="1534" y="5609"/>
                  </a:lnTo>
                  <a:lnTo>
                    <a:pt x="1529" y="5600"/>
                  </a:lnTo>
                  <a:lnTo>
                    <a:pt x="1523" y="5592"/>
                  </a:lnTo>
                  <a:lnTo>
                    <a:pt x="1515" y="5585"/>
                  </a:lnTo>
                  <a:lnTo>
                    <a:pt x="1508" y="5577"/>
                  </a:lnTo>
                  <a:lnTo>
                    <a:pt x="1500" y="5571"/>
                  </a:lnTo>
                  <a:lnTo>
                    <a:pt x="1492" y="5566"/>
                  </a:lnTo>
                  <a:lnTo>
                    <a:pt x="1484" y="5561"/>
                  </a:lnTo>
                  <a:lnTo>
                    <a:pt x="1474" y="5558"/>
                  </a:lnTo>
                  <a:lnTo>
                    <a:pt x="1465" y="5556"/>
                  </a:lnTo>
                  <a:lnTo>
                    <a:pt x="1455" y="5554"/>
                  </a:lnTo>
                  <a:lnTo>
                    <a:pt x="1455" y="5554"/>
                  </a:lnTo>
                  <a:lnTo>
                    <a:pt x="1445" y="5554"/>
                  </a:lnTo>
                  <a:lnTo>
                    <a:pt x="1436" y="5555"/>
                  </a:lnTo>
                  <a:lnTo>
                    <a:pt x="1425" y="5557"/>
                  </a:lnTo>
                  <a:lnTo>
                    <a:pt x="1416" y="5560"/>
                  </a:lnTo>
                  <a:lnTo>
                    <a:pt x="1407" y="5564"/>
                  </a:lnTo>
                  <a:lnTo>
                    <a:pt x="1399" y="5568"/>
                  </a:lnTo>
                  <a:lnTo>
                    <a:pt x="1391" y="5574"/>
                  </a:lnTo>
                  <a:lnTo>
                    <a:pt x="1382" y="5579"/>
                  </a:lnTo>
                  <a:lnTo>
                    <a:pt x="1375" y="5587"/>
                  </a:lnTo>
                  <a:lnTo>
                    <a:pt x="1369" y="5593"/>
                  </a:lnTo>
                  <a:lnTo>
                    <a:pt x="1363" y="5600"/>
                  </a:lnTo>
                  <a:lnTo>
                    <a:pt x="1358" y="5608"/>
                  </a:lnTo>
                  <a:lnTo>
                    <a:pt x="1354" y="5616"/>
                  </a:lnTo>
                  <a:lnTo>
                    <a:pt x="1350" y="5624"/>
                  </a:lnTo>
                  <a:lnTo>
                    <a:pt x="1348" y="5633"/>
                  </a:lnTo>
                  <a:lnTo>
                    <a:pt x="1347" y="5641"/>
                  </a:lnTo>
                  <a:lnTo>
                    <a:pt x="1347" y="5641"/>
                  </a:lnTo>
                  <a:lnTo>
                    <a:pt x="1346" y="5661"/>
                  </a:lnTo>
                  <a:lnTo>
                    <a:pt x="1347" y="5680"/>
                  </a:lnTo>
                  <a:lnTo>
                    <a:pt x="1351" y="5695"/>
                  </a:lnTo>
                  <a:lnTo>
                    <a:pt x="1356" y="5707"/>
                  </a:lnTo>
                  <a:lnTo>
                    <a:pt x="1362" y="5717"/>
                  </a:lnTo>
                  <a:lnTo>
                    <a:pt x="1369" y="5727"/>
                  </a:lnTo>
                  <a:lnTo>
                    <a:pt x="1377" y="5734"/>
                  </a:lnTo>
                  <a:lnTo>
                    <a:pt x="1386" y="5739"/>
                  </a:lnTo>
                  <a:lnTo>
                    <a:pt x="1394" y="5743"/>
                  </a:lnTo>
                  <a:lnTo>
                    <a:pt x="1402" y="5747"/>
                  </a:lnTo>
                  <a:lnTo>
                    <a:pt x="1416" y="5752"/>
                  </a:lnTo>
                  <a:lnTo>
                    <a:pt x="1422" y="5754"/>
                  </a:lnTo>
                  <a:lnTo>
                    <a:pt x="1425" y="5756"/>
                  </a:lnTo>
                  <a:lnTo>
                    <a:pt x="1428" y="5759"/>
                  </a:lnTo>
                  <a:lnTo>
                    <a:pt x="1428" y="5762"/>
                  </a:lnTo>
                  <a:lnTo>
                    <a:pt x="1428" y="5762"/>
                  </a:lnTo>
                  <a:lnTo>
                    <a:pt x="1417" y="5798"/>
                  </a:lnTo>
                  <a:lnTo>
                    <a:pt x="1405" y="5831"/>
                  </a:lnTo>
                  <a:lnTo>
                    <a:pt x="1392" y="5861"/>
                  </a:lnTo>
                  <a:lnTo>
                    <a:pt x="1378" y="5887"/>
                  </a:lnTo>
                  <a:lnTo>
                    <a:pt x="1365" y="5912"/>
                  </a:lnTo>
                  <a:lnTo>
                    <a:pt x="1352" y="5933"/>
                  </a:lnTo>
                  <a:lnTo>
                    <a:pt x="1337" y="5953"/>
                  </a:lnTo>
                  <a:lnTo>
                    <a:pt x="1323" y="5969"/>
                  </a:lnTo>
                  <a:lnTo>
                    <a:pt x="1323" y="5969"/>
                  </a:lnTo>
                  <a:lnTo>
                    <a:pt x="1296" y="5953"/>
                  </a:lnTo>
                  <a:lnTo>
                    <a:pt x="1263" y="5933"/>
                  </a:lnTo>
                  <a:lnTo>
                    <a:pt x="1263" y="5933"/>
                  </a:lnTo>
                  <a:lnTo>
                    <a:pt x="1186" y="5891"/>
                  </a:lnTo>
                  <a:lnTo>
                    <a:pt x="1111" y="5850"/>
                  </a:lnTo>
                  <a:lnTo>
                    <a:pt x="1038" y="5811"/>
                  </a:lnTo>
                  <a:lnTo>
                    <a:pt x="1001" y="5793"/>
                  </a:lnTo>
                  <a:lnTo>
                    <a:pt x="964" y="5776"/>
                  </a:lnTo>
                  <a:lnTo>
                    <a:pt x="927" y="5758"/>
                  </a:lnTo>
                  <a:lnTo>
                    <a:pt x="889" y="5743"/>
                  </a:lnTo>
                  <a:lnTo>
                    <a:pt x="850" y="5727"/>
                  </a:lnTo>
                  <a:lnTo>
                    <a:pt x="810" y="5712"/>
                  </a:lnTo>
                  <a:lnTo>
                    <a:pt x="769" y="5698"/>
                  </a:lnTo>
                  <a:lnTo>
                    <a:pt x="727" y="5686"/>
                  </a:lnTo>
                  <a:lnTo>
                    <a:pt x="683" y="5673"/>
                  </a:lnTo>
                  <a:lnTo>
                    <a:pt x="638" y="5662"/>
                  </a:lnTo>
                  <a:lnTo>
                    <a:pt x="638" y="5662"/>
                  </a:lnTo>
                  <a:lnTo>
                    <a:pt x="655" y="5629"/>
                  </a:lnTo>
                  <a:lnTo>
                    <a:pt x="655" y="5629"/>
                  </a:lnTo>
                  <a:lnTo>
                    <a:pt x="681" y="5585"/>
                  </a:lnTo>
                  <a:lnTo>
                    <a:pt x="699" y="5553"/>
                  </a:lnTo>
                  <a:lnTo>
                    <a:pt x="706" y="5542"/>
                  </a:lnTo>
                  <a:lnTo>
                    <a:pt x="710" y="5532"/>
                  </a:lnTo>
                  <a:lnTo>
                    <a:pt x="712" y="5526"/>
                  </a:lnTo>
                  <a:lnTo>
                    <a:pt x="711" y="5524"/>
                  </a:lnTo>
                  <a:lnTo>
                    <a:pt x="710" y="5522"/>
                  </a:lnTo>
                  <a:lnTo>
                    <a:pt x="710" y="5522"/>
                  </a:lnTo>
                  <a:lnTo>
                    <a:pt x="709" y="5522"/>
                  </a:lnTo>
                  <a:lnTo>
                    <a:pt x="708" y="5522"/>
                  </a:lnTo>
                  <a:lnTo>
                    <a:pt x="702" y="5523"/>
                  </a:lnTo>
                  <a:lnTo>
                    <a:pt x="688" y="5532"/>
                  </a:lnTo>
                  <a:lnTo>
                    <a:pt x="664" y="5548"/>
                  </a:lnTo>
                  <a:lnTo>
                    <a:pt x="647" y="5557"/>
                  </a:lnTo>
                  <a:lnTo>
                    <a:pt x="628" y="5568"/>
                  </a:lnTo>
                  <a:lnTo>
                    <a:pt x="628" y="5568"/>
                  </a:lnTo>
                  <a:lnTo>
                    <a:pt x="606" y="5579"/>
                  </a:lnTo>
                  <a:lnTo>
                    <a:pt x="588" y="5589"/>
                  </a:lnTo>
                  <a:lnTo>
                    <a:pt x="573" y="5595"/>
                  </a:lnTo>
                  <a:lnTo>
                    <a:pt x="558" y="5600"/>
                  </a:lnTo>
                  <a:lnTo>
                    <a:pt x="545" y="5604"/>
                  </a:lnTo>
                  <a:lnTo>
                    <a:pt x="532" y="5607"/>
                  </a:lnTo>
                  <a:lnTo>
                    <a:pt x="504" y="5611"/>
                  </a:lnTo>
                  <a:lnTo>
                    <a:pt x="504" y="5611"/>
                  </a:lnTo>
                  <a:lnTo>
                    <a:pt x="495" y="5611"/>
                  </a:lnTo>
                  <a:lnTo>
                    <a:pt x="486" y="5610"/>
                  </a:lnTo>
                  <a:lnTo>
                    <a:pt x="468" y="5607"/>
                  </a:lnTo>
                  <a:lnTo>
                    <a:pt x="453" y="5603"/>
                  </a:lnTo>
                  <a:lnTo>
                    <a:pt x="446" y="5603"/>
                  </a:lnTo>
                  <a:lnTo>
                    <a:pt x="441" y="5604"/>
                  </a:lnTo>
                  <a:lnTo>
                    <a:pt x="441" y="5604"/>
                  </a:lnTo>
                  <a:lnTo>
                    <a:pt x="435" y="5607"/>
                  </a:lnTo>
                  <a:lnTo>
                    <a:pt x="428" y="5613"/>
                  </a:lnTo>
                  <a:lnTo>
                    <a:pt x="423" y="5620"/>
                  </a:lnTo>
                  <a:lnTo>
                    <a:pt x="418" y="5629"/>
                  </a:lnTo>
                  <a:lnTo>
                    <a:pt x="413" y="5642"/>
                  </a:lnTo>
                  <a:lnTo>
                    <a:pt x="408" y="5656"/>
                  </a:lnTo>
                  <a:lnTo>
                    <a:pt x="395" y="5693"/>
                  </a:lnTo>
                  <a:lnTo>
                    <a:pt x="395" y="5693"/>
                  </a:lnTo>
                  <a:lnTo>
                    <a:pt x="370" y="5764"/>
                  </a:lnTo>
                  <a:lnTo>
                    <a:pt x="363" y="5783"/>
                  </a:lnTo>
                  <a:lnTo>
                    <a:pt x="363" y="5783"/>
                  </a:lnTo>
                  <a:lnTo>
                    <a:pt x="355" y="5801"/>
                  </a:lnTo>
                  <a:lnTo>
                    <a:pt x="348" y="5815"/>
                  </a:lnTo>
                  <a:lnTo>
                    <a:pt x="335" y="5834"/>
                  </a:lnTo>
                  <a:lnTo>
                    <a:pt x="331" y="5842"/>
                  </a:lnTo>
                  <a:lnTo>
                    <a:pt x="327" y="5849"/>
                  </a:lnTo>
                  <a:lnTo>
                    <a:pt x="324" y="5857"/>
                  </a:lnTo>
                  <a:lnTo>
                    <a:pt x="322" y="5867"/>
                  </a:lnTo>
                  <a:close/>
                  <a:moveTo>
                    <a:pt x="390" y="969"/>
                  </a:moveTo>
                  <a:lnTo>
                    <a:pt x="390" y="969"/>
                  </a:lnTo>
                  <a:lnTo>
                    <a:pt x="419" y="968"/>
                  </a:lnTo>
                  <a:lnTo>
                    <a:pt x="451" y="965"/>
                  </a:lnTo>
                  <a:lnTo>
                    <a:pt x="483" y="962"/>
                  </a:lnTo>
                  <a:lnTo>
                    <a:pt x="513" y="958"/>
                  </a:lnTo>
                  <a:lnTo>
                    <a:pt x="563" y="952"/>
                  </a:lnTo>
                  <a:lnTo>
                    <a:pt x="583" y="948"/>
                  </a:lnTo>
                  <a:lnTo>
                    <a:pt x="580" y="644"/>
                  </a:lnTo>
                  <a:lnTo>
                    <a:pt x="580" y="644"/>
                  </a:lnTo>
                  <a:lnTo>
                    <a:pt x="531" y="637"/>
                  </a:lnTo>
                  <a:lnTo>
                    <a:pt x="429" y="621"/>
                  </a:lnTo>
                  <a:lnTo>
                    <a:pt x="429" y="621"/>
                  </a:lnTo>
                  <a:lnTo>
                    <a:pt x="416" y="620"/>
                  </a:lnTo>
                  <a:lnTo>
                    <a:pt x="404" y="619"/>
                  </a:lnTo>
                  <a:lnTo>
                    <a:pt x="392" y="619"/>
                  </a:lnTo>
                  <a:lnTo>
                    <a:pt x="381" y="620"/>
                  </a:lnTo>
                  <a:lnTo>
                    <a:pt x="371" y="622"/>
                  </a:lnTo>
                  <a:lnTo>
                    <a:pt x="362" y="625"/>
                  </a:lnTo>
                  <a:lnTo>
                    <a:pt x="353" y="628"/>
                  </a:lnTo>
                  <a:lnTo>
                    <a:pt x="346" y="632"/>
                  </a:lnTo>
                  <a:lnTo>
                    <a:pt x="338" y="636"/>
                  </a:lnTo>
                  <a:lnTo>
                    <a:pt x="331" y="641"/>
                  </a:lnTo>
                  <a:lnTo>
                    <a:pt x="325" y="646"/>
                  </a:lnTo>
                  <a:lnTo>
                    <a:pt x="320" y="651"/>
                  </a:lnTo>
                  <a:lnTo>
                    <a:pt x="311" y="664"/>
                  </a:lnTo>
                  <a:lnTo>
                    <a:pt x="304" y="676"/>
                  </a:lnTo>
                  <a:lnTo>
                    <a:pt x="298" y="689"/>
                  </a:lnTo>
                  <a:lnTo>
                    <a:pt x="293" y="702"/>
                  </a:lnTo>
                  <a:lnTo>
                    <a:pt x="290" y="715"/>
                  </a:lnTo>
                  <a:lnTo>
                    <a:pt x="288" y="725"/>
                  </a:lnTo>
                  <a:lnTo>
                    <a:pt x="287" y="742"/>
                  </a:lnTo>
                  <a:lnTo>
                    <a:pt x="287" y="748"/>
                  </a:lnTo>
                  <a:lnTo>
                    <a:pt x="291" y="832"/>
                  </a:lnTo>
                  <a:lnTo>
                    <a:pt x="291" y="832"/>
                  </a:lnTo>
                  <a:lnTo>
                    <a:pt x="291" y="838"/>
                  </a:lnTo>
                  <a:lnTo>
                    <a:pt x="293" y="854"/>
                  </a:lnTo>
                  <a:lnTo>
                    <a:pt x="298" y="875"/>
                  </a:lnTo>
                  <a:lnTo>
                    <a:pt x="302" y="887"/>
                  </a:lnTo>
                  <a:lnTo>
                    <a:pt x="306" y="901"/>
                  </a:lnTo>
                  <a:lnTo>
                    <a:pt x="311" y="913"/>
                  </a:lnTo>
                  <a:lnTo>
                    <a:pt x="318" y="925"/>
                  </a:lnTo>
                  <a:lnTo>
                    <a:pt x="326" y="938"/>
                  </a:lnTo>
                  <a:lnTo>
                    <a:pt x="335" y="948"/>
                  </a:lnTo>
                  <a:lnTo>
                    <a:pt x="340" y="952"/>
                  </a:lnTo>
                  <a:lnTo>
                    <a:pt x="347" y="956"/>
                  </a:lnTo>
                  <a:lnTo>
                    <a:pt x="353" y="960"/>
                  </a:lnTo>
                  <a:lnTo>
                    <a:pt x="359" y="963"/>
                  </a:lnTo>
                  <a:lnTo>
                    <a:pt x="366" y="965"/>
                  </a:lnTo>
                  <a:lnTo>
                    <a:pt x="373" y="967"/>
                  </a:lnTo>
                  <a:lnTo>
                    <a:pt x="381" y="968"/>
                  </a:lnTo>
                  <a:lnTo>
                    <a:pt x="390" y="969"/>
                  </a:lnTo>
                  <a:close/>
                  <a:moveTo>
                    <a:pt x="1101" y="856"/>
                  </a:moveTo>
                  <a:lnTo>
                    <a:pt x="1101" y="856"/>
                  </a:lnTo>
                  <a:lnTo>
                    <a:pt x="1103" y="835"/>
                  </a:lnTo>
                  <a:lnTo>
                    <a:pt x="1103" y="813"/>
                  </a:lnTo>
                  <a:lnTo>
                    <a:pt x="1103" y="770"/>
                  </a:lnTo>
                  <a:lnTo>
                    <a:pt x="1103" y="770"/>
                  </a:lnTo>
                  <a:lnTo>
                    <a:pt x="1102" y="609"/>
                  </a:lnTo>
                  <a:lnTo>
                    <a:pt x="1102" y="609"/>
                  </a:lnTo>
                  <a:lnTo>
                    <a:pt x="1102" y="599"/>
                  </a:lnTo>
                  <a:lnTo>
                    <a:pt x="1101" y="589"/>
                  </a:lnTo>
                  <a:lnTo>
                    <a:pt x="1100" y="578"/>
                  </a:lnTo>
                  <a:lnTo>
                    <a:pt x="1097" y="565"/>
                  </a:lnTo>
                  <a:lnTo>
                    <a:pt x="1094" y="555"/>
                  </a:lnTo>
                  <a:lnTo>
                    <a:pt x="1092" y="551"/>
                  </a:lnTo>
                  <a:lnTo>
                    <a:pt x="1089" y="548"/>
                  </a:lnTo>
                  <a:lnTo>
                    <a:pt x="1086" y="546"/>
                  </a:lnTo>
                  <a:lnTo>
                    <a:pt x="1082" y="545"/>
                  </a:lnTo>
                  <a:lnTo>
                    <a:pt x="1082" y="545"/>
                  </a:lnTo>
                  <a:lnTo>
                    <a:pt x="1049" y="545"/>
                  </a:lnTo>
                  <a:lnTo>
                    <a:pt x="1031" y="546"/>
                  </a:lnTo>
                  <a:lnTo>
                    <a:pt x="1020" y="547"/>
                  </a:lnTo>
                  <a:lnTo>
                    <a:pt x="1020" y="547"/>
                  </a:lnTo>
                  <a:lnTo>
                    <a:pt x="1017" y="552"/>
                  </a:lnTo>
                  <a:lnTo>
                    <a:pt x="1015" y="559"/>
                  </a:lnTo>
                  <a:lnTo>
                    <a:pt x="1009" y="578"/>
                  </a:lnTo>
                  <a:lnTo>
                    <a:pt x="1003" y="597"/>
                  </a:lnTo>
                  <a:lnTo>
                    <a:pt x="1000" y="604"/>
                  </a:lnTo>
                  <a:lnTo>
                    <a:pt x="998" y="609"/>
                  </a:lnTo>
                  <a:lnTo>
                    <a:pt x="978" y="547"/>
                  </a:lnTo>
                  <a:lnTo>
                    <a:pt x="978" y="547"/>
                  </a:lnTo>
                  <a:lnTo>
                    <a:pt x="962" y="546"/>
                  </a:lnTo>
                  <a:lnTo>
                    <a:pt x="939" y="546"/>
                  </a:lnTo>
                  <a:lnTo>
                    <a:pt x="914" y="547"/>
                  </a:lnTo>
                  <a:lnTo>
                    <a:pt x="900" y="549"/>
                  </a:lnTo>
                  <a:lnTo>
                    <a:pt x="900" y="549"/>
                  </a:lnTo>
                  <a:lnTo>
                    <a:pt x="895" y="561"/>
                  </a:lnTo>
                  <a:lnTo>
                    <a:pt x="889" y="579"/>
                  </a:lnTo>
                  <a:lnTo>
                    <a:pt x="882" y="597"/>
                  </a:lnTo>
                  <a:lnTo>
                    <a:pt x="877" y="609"/>
                  </a:lnTo>
                  <a:lnTo>
                    <a:pt x="858" y="550"/>
                  </a:lnTo>
                  <a:lnTo>
                    <a:pt x="858" y="550"/>
                  </a:lnTo>
                  <a:lnTo>
                    <a:pt x="845" y="549"/>
                  </a:lnTo>
                  <a:lnTo>
                    <a:pt x="821" y="549"/>
                  </a:lnTo>
                  <a:lnTo>
                    <a:pt x="797" y="550"/>
                  </a:lnTo>
                  <a:lnTo>
                    <a:pt x="788" y="551"/>
                  </a:lnTo>
                  <a:lnTo>
                    <a:pt x="784" y="551"/>
                  </a:lnTo>
                  <a:lnTo>
                    <a:pt x="784" y="551"/>
                  </a:lnTo>
                  <a:lnTo>
                    <a:pt x="780" y="556"/>
                  </a:lnTo>
                  <a:lnTo>
                    <a:pt x="777" y="563"/>
                  </a:lnTo>
                  <a:lnTo>
                    <a:pt x="770" y="581"/>
                  </a:lnTo>
                  <a:lnTo>
                    <a:pt x="763" y="598"/>
                  </a:lnTo>
                  <a:lnTo>
                    <a:pt x="758" y="609"/>
                  </a:lnTo>
                  <a:lnTo>
                    <a:pt x="739" y="551"/>
                  </a:lnTo>
                  <a:lnTo>
                    <a:pt x="739" y="551"/>
                  </a:lnTo>
                  <a:lnTo>
                    <a:pt x="722" y="551"/>
                  </a:lnTo>
                  <a:lnTo>
                    <a:pt x="691" y="551"/>
                  </a:lnTo>
                  <a:lnTo>
                    <a:pt x="691" y="551"/>
                  </a:lnTo>
                  <a:lnTo>
                    <a:pt x="686" y="552"/>
                  </a:lnTo>
                  <a:lnTo>
                    <a:pt x="682" y="553"/>
                  </a:lnTo>
                  <a:lnTo>
                    <a:pt x="678" y="555"/>
                  </a:lnTo>
                  <a:lnTo>
                    <a:pt x="674" y="557"/>
                  </a:lnTo>
                  <a:lnTo>
                    <a:pt x="668" y="564"/>
                  </a:lnTo>
                  <a:lnTo>
                    <a:pt x="663" y="573"/>
                  </a:lnTo>
                  <a:lnTo>
                    <a:pt x="658" y="581"/>
                  </a:lnTo>
                  <a:lnTo>
                    <a:pt x="655" y="591"/>
                  </a:lnTo>
                  <a:lnTo>
                    <a:pt x="654" y="600"/>
                  </a:lnTo>
                  <a:lnTo>
                    <a:pt x="653" y="608"/>
                  </a:lnTo>
                  <a:lnTo>
                    <a:pt x="653" y="608"/>
                  </a:lnTo>
                  <a:lnTo>
                    <a:pt x="654" y="686"/>
                  </a:lnTo>
                  <a:lnTo>
                    <a:pt x="655" y="765"/>
                  </a:lnTo>
                  <a:lnTo>
                    <a:pt x="655" y="765"/>
                  </a:lnTo>
                  <a:lnTo>
                    <a:pt x="658" y="869"/>
                  </a:lnTo>
                  <a:lnTo>
                    <a:pt x="661" y="947"/>
                  </a:lnTo>
                  <a:lnTo>
                    <a:pt x="661" y="947"/>
                  </a:lnTo>
                  <a:lnTo>
                    <a:pt x="680" y="946"/>
                  </a:lnTo>
                  <a:lnTo>
                    <a:pt x="690" y="944"/>
                  </a:lnTo>
                  <a:lnTo>
                    <a:pt x="698" y="943"/>
                  </a:lnTo>
                  <a:lnTo>
                    <a:pt x="707" y="941"/>
                  </a:lnTo>
                  <a:lnTo>
                    <a:pt x="715" y="938"/>
                  </a:lnTo>
                  <a:lnTo>
                    <a:pt x="721" y="933"/>
                  </a:lnTo>
                  <a:lnTo>
                    <a:pt x="727" y="929"/>
                  </a:lnTo>
                  <a:lnTo>
                    <a:pt x="727" y="929"/>
                  </a:lnTo>
                  <a:lnTo>
                    <a:pt x="732" y="924"/>
                  </a:lnTo>
                  <a:lnTo>
                    <a:pt x="736" y="919"/>
                  </a:lnTo>
                  <a:lnTo>
                    <a:pt x="743" y="908"/>
                  </a:lnTo>
                  <a:lnTo>
                    <a:pt x="748" y="897"/>
                  </a:lnTo>
                  <a:lnTo>
                    <a:pt x="753" y="886"/>
                  </a:lnTo>
                  <a:lnTo>
                    <a:pt x="756" y="876"/>
                  </a:lnTo>
                  <a:lnTo>
                    <a:pt x="757" y="869"/>
                  </a:lnTo>
                  <a:lnTo>
                    <a:pt x="758" y="862"/>
                  </a:lnTo>
                  <a:lnTo>
                    <a:pt x="758" y="862"/>
                  </a:lnTo>
                  <a:lnTo>
                    <a:pt x="758" y="882"/>
                  </a:lnTo>
                  <a:lnTo>
                    <a:pt x="758" y="912"/>
                  </a:lnTo>
                  <a:lnTo>
                    <a:pt x="759" y="942"/>
                  </a:lnTo>
                  <a:lnTo>
                    <a:pt x="761" y="965"/>
                  </a:lnTo>
                  <a:lnTo>
                    <a:pt x="761" y="965"/>
                  </a:lnTo>
                  <a:lnTo>
                    <a:pt x="761" y="966"/>
                  </a:lnTo>
                  <a:lnTo>
                    <a:pt x="763" y="967"/>
                  </a:lnTo>
                  <a:lnTo>
                    <a:pt x="769" y="969"/>
                  </a:lnTo>
                  <a:lnTo>
                    <a:pt x="778" y="970"/>
                  </a:lnTo>
                  <a:lnTo>
                    <a:pt x="789" y="970"/>
                  </a:lnTo>
                  <a:lnTo>
                    <a:pt x="803" y="968"/>
                  </a:lnTo>
                  <a:lnTo>
                    <a:pt x="816" y="963"/>
                  </a:lnTo>
                  <a:lnTo>
                    <a:pt x="822" y="960"/>
                  </a:lnTo>
                  <a:lnTo>
                    <a:pt x="829" y="957"/>
                  </a:lnTo>
                  <a:lnTo>
                    <a:pt x="835" y="952"/>
                  </a:lnTo>
                  <a:lnTo>
                    <a:pt x="842" y="947"/>
                  </a:lnTo>
                  <a:lnTo>
                    <a:pt x="842" y="947"/>
                  </a:lnTo>
                  <a:lnTo>
                    <a:pt x="850" y="937"/>
                  </a:lnTo>
                  <a:lnTo>
                    <a:pt x="857" y="925"/>
                  </a:lnTo>
                  <a:lnTo>
                    <a:pt x="862" y="913"/>
                  </a:lnTo>
                  <a:lnTo>
                    <a:pt x="866" y="901"/>
                  </a:lnTo>
                  <a:lnTo>
                    <a:pt x="873" y="878"/>
                  </a:lnTo>
                  <a:lnTo>
                    <a:pt x="877" y="862"/>
                  </a:lnTo>
                  <a:lnTo>
                    <a:pt x="877" y="862"/>
                  </a:lnTo>
                  <a:lnTo>
                    <a:pt x="877" y="893"/>
                  </a:lnTo>
                  <a:lnTo>
                    <a:pt x="878" y="926"/>
                  </a:lnTo>
                  <a:lnTo>
                    <a:pt x="880" y="953"/>
                  </a:lnTo>
                  <a:lnTo>
                    <a:pt x="881" y="962"/>
                  </a:lnTo>
                  <a:lnTo>
                    <a:pt x="882" y="964"/>
                  </a:lnTo>
                  <a:lnTo>
                    <a:pt x="883" y="965"/>
                  </a:lnTo>
                  <a:lnTo>
                    <a:pt x="883" y="965"/>
                  </a:lnTo>
                  <a:lnTo>
                    <a:pt x="890" y="966"/>
                  </a:lnTo>
                  <a:lnTo>
                    <a:pt x="898" y="966"/>
                  </a:lnTo>
                  <a:lnTo>
                    <a:pt x="908" y="965"/>
                  </a:lnTo>
                  <a:lnTo>
                    <a:pt x="919" y="963"/>
                  </a:lnTo>
                  <a:lnTo>
                    <a:pt x="930" y="960"/>
                  </a:lnTo>
                  <a:lnTo>
                    <a:pt x="942" y="956"/>
                  </a:lnTo>
                  <a:lnTo>
                    <a:pt x="953" y="950"/>
                  </a:lnTo>
                  <a:lnTo>
                    <a:pt x="958" y="946"/>
                  </a:lnTo>
                  <a:lnTo>
                    <a:pt x="962" y="942"/>
                  </a:lnTo>
                  <a:lnTo>
                    <a:pt x="962" y="942"/>
                  </a:lnTo>
                  <a:lnTo>
                    <a:pt x="970" y="932"/>
                  </a:lnTo>
                  <a:lnTo>
                    <a:pt x="978" y="922"/>
                  </a:lnTo>
                  <a:lnTo>
                    <a:pt x="984" y="912"/>
                  </a:lnTo>
                  <a:lnTo>
                    <a:pt x="989" y="901"/>
                  </a:lnTo>
                  <a:lnTo>
                    <a:pt x="992" y="890"/>
                  </a:lnTo>
                  <a:lnTo>
                    <a:pt x="995" y="879"/>
                  </a:lnTo>
                  <a:lnTo>
                    <a:pt x="998" y="862"/>
                  </a:lnTo>
                  <a:lnTo>
                    <a:pt x="998" y="862"/>
                  </a:lnTo>
                  <a:lnTo>
                    <a:pt x="998" y="891"/>
                  </a:lnTo>
                  <a:lnTo>
                    <a:pt x="999" y="915"/>
                  </a:lnTo>
                  <a:lnTo>
                    <a:pt x="1001" y="936"/>
                  </a:lnTo>
                  <a:lnTo>
                    <a:pt x="1001" y="936"/>
                  </a:lnTo>
                  <a:lnTo>
                    <a:pt x="1015" y="935"/>
                  </a:lnTo>
                  <a:lnTo>
                    <a:pt x="1024" y="933"/>
                  </a:lnTo>
                  <a:lnTo>
                    <a:pt x="1032" y="931"/>
                  </a:lnTo>
                  <a:lnTo>
                    <a:pt x="1032" y="931"/>
                  </a:lnTo>
                  <a:lnTo>
                    <a:pt x="1046" y="925"/>
                  </a:lnTo>
                  <a:lnTo>
                    <a:pt x="1057" y="920"/>
                  </a:lnTo>
                  <a:lnTo>
                    <a:pt x="1068" y="913"/>
                  </a:lnTo>
                  <a:lnTo>
                    <a:pt x="1068" y="913"/>
                  </a:lnTo>
                  <a:lnTo>
                    <a:pt x="1078" y="905"/>
                  </a:lnTo>
                  <a:lnTo>
                    <a:pt x="1083" y="900"/>
                  </a:lnTo>
                  <a:lnTo>
                    <a:pt x="1088" y="894"/>
                  </a:lnTo>
                  <a:lnTo>
                    <a:pt x="1092" y="887"/>
                  </a:lnTo>
                  <a:lnTo>
                    <a:pt x="1096" y="878"/>
                  </a:lnTo>
                  <a:lnTo>
                    <a:pt x="1099" y="868"/>
                  </a:lnTo>
                  <a:lnTo>
                    <a:pt x="1101" y="856"/>
                  </a:lnTo>
                  <a:close/>
                  <a:moveTo>
                    <a:pt x="1266" y="1010"/>
                  </a:moveTo>
                  <a:lnTo>
                    <a:pt x="1266" y="916"/>
                  </a:lnTo>
                  <a:lnTo>
                    <a:pt x="1266" y="916"/>
                  </a:lnTo>
                  <a:lnTo>
                    <a:pt x="1261" y="910"/>
                  </a:lnTo>
                  <a:lnTo>
                    <a:pt x="1255" y="902"/>
                  </a:lnTo>
                  <a:lnTo>
                    <a:pt x="1247" y="891"/>
                  </a:lnTo>
                  <a:lnTo>
                    <a:pt x="1240" y="875"/>
                  </a:lnTo>
                  <a:lnTo>
                    <a:pt x="1237" y="866"/>
                  </a:lnTo>
                  <a:lnTo>
                    <a:pt x="1234" y="856"/>
                  </a:lnTo>
                  <a:lnTo>
                    <a:pt x="1232" y="845"/>
                  </a:lnTo>
                  <a:lnTo>
                    <a:pt x="1229" y="831"/>
                  </a:lnTo>
                  <a:lnTo>
                    <a:pt x="1228" y="818"/>
                  </a:lnTo>
                  <a:lnTo>
                    <a:pt x="1227" y="803"/>
                  </a:lnTo>
                  <a:lnTo>
                    <a:pt x="1227" y="803"/>
                  </a:lnTo>
                  <a:lnTo>
                    <a:pt x="1227" y="792"/>
                  </a:lnTo>
                  <a:lnTo>
                    <a:pt x="1228" y="782"/>
                  </a:lnTo>
                  <a:lnTo>
                    <a:pt x="1229" y="772"/>
                  </a:lnTo>
                  <a:lnTo>
                    <a:pt x="1232" y="762"/>
                  </a:lnTo>
                  <a:lnTo>
                    <a:pt x="1238" y="743"/>
                  </a:lnTo>
                  <a:lnTo>
                    <a:pt x="1244" y="727"/>
                  </a:lnTo>
                  <a:lnTo>
                    <a:pt x="1252" y="714"/>
                  </a:lnTo>
                  <a:lnTo>
                    <a:pt x="1258" y="702"/>
                  </a:lnTo>
                  <a:lnTo>
                    <a:pt x="1264" y="693"/>
                  </a:lnTo>
                  <a:lnTo>
                    <a:pt x="1263" y="603"/>
                  </a:lnTo>
                  <a:lnTo>
                    <a:pt x="1263" y="603"/>
                  </a:lnTo>
                  <a:lnTo>
                    <a:pt x="1254" y="596"/>
                  </a:lnTo>
                  <a:lnTo>
                    <a:pt x="1230" y="581"/>
                  </a:lnTo>
                  <a:lnTo>
                    <a:pt x="1216" y="573"/>
                  </a:lnTo>
                  <a:lnTo>
                    <a:pt x="1201" y="565"/>
                  </a:lnTo>
                  <a:lnTo>
                    <a:pt x="1194" y="562"/>
                  </a:lnTo>
                  <a:lnTo>
                    <a:pt x="1188" y="561"/>
                  </a:lnTo>
                  <a:lnTo>
                    <a:pt x="1182" y="560"/>
                  </a:lnTo>
                  <a:lnTo>
                    <a:pt x="1176" y="560"/>
                  </a:lnTo>
                  <a:lnTo>
                    <a:pt x="1177" y="887"/>
                  </a:lnTo>
                  <a:lnTo>
                    <a:pt x="1177" y="887"/>
                  </a:lnTo>
                  <a:lnTo>
                    <a:pt x="1177" y="899"/>
                  </a:lnTo>
                  <a:lnTo>
                    <a:pt x="1174" y="909"/>
                  </a:lnTo>
                  <a:lnTo>
                    <a:pt x="1170" y="920"/>
                  </a:lnTo>
                  <a:lnTo>
                    <a:pt x="1164" y="930"/>
                  </a:lnTo>
                  <a:lnTo>
                    <a:pt x="1156" y="942"/>
                  </a:lnTo>
                  <a:lnTo>
                    <a:pt x="1148" y="952"/>
                  </a:lnTo>
                  <a:lnTo>
                    <a:pt x="1138" y="962"/>
                  </a:lnTo>
                  <a:lnTo>
                    <a:pt x="1128" y="971"/>
                  </a:lnTo>
                  <a:lnTo>
                    <a:pt x="1117" y="981"/>
                  </a:lnTo>
                  <a:lnTo>
                    <a:pt x="1104" y="989"/>
                  </a:lnTo>
                  <a:lnTo>
                    <a:pt x="1092" y="997"/>
                  </a:lnTo>
                  <a:lnTo>
                    <a:pt x="1079" y="1003"/>
                  </a:lnTo>
                  <a:lnTo>
                    <a:pt x="1065" y="1009"/>
                  </a:lnTo>
                  <a:lnTo>
                    <a:pt x="1052" y="1014"/>
                  </a:lnTo>
                  <a:lnTo>
                    <a:pt x="1039" y="1018"/>
                  </a:lnTo>
                  <a:lnTo>
                    <a:pt x="1026" y="1021"/>
                  </a:lnTo>
                  <a:lnTo>
                    <a:pt x="1026" y="1021"/>
                  </a:lnTo>
                  <a:lnTo>
                    <a:pt x="996" y="1027"/>
                  </a:lnTo>
                  <a:lnTo>
                    <a:pt x="967" y="1031"/>
                  </a:lnTo>
                  <a:lnTo>
                    <a:pt x="939" y="1034"/>
                  </a:lnTo>
                  <a:lnTo>
                    <a:pt x="911" y="1037"/>
                  </a:lnTo>
                  <a:lnTo>
                    <a:pt x="858" y="1040"/>
                  </a:lnTo>
                  <a:lnTo>
                    <a:pt x="810" y="1042"/>
                  </a:lnTo>
                  <a:lnTo>
                    <a:pt x="770" y="1042"/>
                  </a:lnTo>
                  <a:lnTo>
                    <a:pt x="739" y="1042"/>
                  </a:lnTo>
                  <a:lnTo>
                    <a:pt x="712" y="1041"/>
                  </a:lnTo>
                  <a:lnTo>
                    <a:pt x="712" y="1041"/>
                  </a:lnTo>
                  <a:lnTo>
                    <a:pt x="713" y="1048"/>
                  </a:lnTo>
                  <a:lnTo>
                    <a:pt x="716" y="1068"/>
                  </a:lnTo>
                  <a:lnTo>
                    <a:pt x="722" y="1095"/>
                  </a:lnTo>
                  <a:lnTo>
                    <a:pt x="725" y="1110"/>
                  </a:lnTo>
                  <a:lnTo>
                    <a:pt x="730" y="1126"/>
                  </a:lnTo>
                  <a:lnTo>
                    <a:pt x="730" y="1126"/>
                  </a:lnTo>
                  <a:lnTo>
                    <a:pt x="735" y="1136"/>
                  </a:lnTo>
                  <a:lnTo>
                    <a:pt x="741" y="1146"/>
                  </a:lnTo>
                  <a:lnTo>
                    <a:pt x="748" y="1155"/>
                  </a:lnTo>
                  <a:lnTo>
                    <a:pt x="756" y="1164"/>
                  </a:lnTo>
                  <a:lnTo>
                    <a:pt x="769" y="1176"/>
                  </a:lnTo>
                  <a:lnTo>
                    <a:pt x="774" y="1180"/>
                  </a:lnTo>
                  <a:lnTo>
                    <a:pt x="1163" y="1180"/>
                  </a:lnTo>
                  <a:lnTo>
                    <a:pt x="1266" y="1010"/>
                  </a:lnTo>
                  <a:close/>
                  <a:moveTo>
                    <a:pt x="773" y="1398"/>
                  </a:moveTo>
                  <a:lnTo>
                    <a:pt x="1164" y="1398"/>
                  </a:lnTo>
                  <a:lnTo>
                    <a:pt x="1164" y="1398"/>
                  </a:lnTo>
                  <a:lnTo>
                    <a:pt x="1175" y="1365"/>
                  </a:lnTo>
                  <a:lnTo>
                    <a:pt x="1183" y="1339"/>
                  </a:lnTo>
                  <a:lnTo>
                    <a:pt x="1186" y="1328"/>
                  </a:lnTo>
                  <a:lnTo>
                    <a:pt x="1188" y="1319"/>
                  </a:lnTo>
                  <a:lnTo>
                    <a:pt x="1170" y="1256"/>
                  </a:lnTo>
                  <a:lnTo>
                    <a:pt x="775" y="1256"/>
                  </a:lnTo>
                  <a:lnTo>
                    <a:pt x="753" y="1321"/>
                  </a:lnTo>
                  <a:lnTo>
                    <a:pt x="773" y="1398"/>
                  </a:lnTo>
                  <a:close/>
                  <a:moveTo>
                    <a:pt x="1164" y="1471"/>
                  </a:moveTo>
                  <a:lnTo>
                    <a:pt x="782" y="1471"/>
                  </a:lnTo>
                  <a:lnTo>
                    <a:pt x="780" y="1976"/>
                  </a:lnTo>
                  <a:lnTo>
                    <a:pt x="1111" y="1985"/>
                  </a:lnTo>
                  <a:lnTo>
                    <a:pt x="1216" y="1902"/>
                  </a:lnTo>
                  <a:lnTo>
                    <a:pt x="1164" y="1471"/>
                  </a:lnTo>
                  <a:close/>
                  <a:moveTo>
                    <a:pt x="1343" y="2103"/>
                  </a:moveTo>
                  <a:lnTo>
                    <a:pt x="1343" y="2103"/>
                  </a:lnTo>
                  <a:lnTo>
                    <a:pt x="1309" y="2079"/>
                  </a:lnTo>
                  <a:lnTo>
                    <a:pt x="1284" y="2061"/>
                  </a:lnTo>
                  <a:lnTo>
                    <a:pt x="1276" y="2054"/>
                  </a:lnTo>
                  <a:lnTo>
                    <a:pt x="1271" y="2049"/>
                  </a:lnTo>
                  <a:lnTo>
                    <a:pt x="1271" y="2049"/>
                  </a:lnTo>
                  <a:lnTo>
                    <a:pt x="1269" y="2043"/>
                  </a:lnTo>
                  <a:lnTo>
                    <a:pt x="1267" y="2033"/>
                  </a:lnTo>
                  <a:lnTo>
                    <a:pt x="1263" y="2004"/>
                  </a:lnTo>
                  <a:lnTo>
                    <a:pt x="1260" y="1964"/>
                  </a:lnTo>
                  <a:lnTo>
                    <a:pt x="1138" y="2062"/>
                  </a:lnTo>
                  <a:lnTo>
                    <a:pt x="765" y="2061"/>
                  </a:lnTo>
                  <a:lnTo>
                    <a:pt x="765" y="2061"/>
                  </a:lnTo>
                  <a:lnTo>
                    <a:pt x="765" y="2062"/>
                  </a:lnTo>
                  <a:lnTo>
                    <a:pt x="764" y="2064"/>
                  </a:lnTo>
                  <a:lnTo>
                    <a:pt x="762" y="2072"/>
                  </a:lnTo>
                  <a:lnTo>
                    <a:pt x="760" y="2103"/>
                  </a:lnTo>
                  <a:lnTo>
                    <a:pt x="759" y="2147"/>
                  </a:lnTo>
                  <a:lnTo>
                    <a:pt x="758" y="2197"/>
                  </a:lnTo>
                  <a:lnTo>
                    <a:pt x="757" y="2291"/>
                  </a:lnTo>
                  <a:lnTo>
                    <a:pt x="757" y="2333"/>
                  </a:lnTo>
                  <a:lnTo>
                    <a:pt x="757" y="2333"/>
                  </a:lnTo>
                  <a:lnTo>
                    <a:pt x="786" y="2359"/>
                  </a:lnTo>
                  <a:lnTo>
                    <a:pt x="852" y="2412"/>
                  </a:lnTo>
                  <a:lnTo>
                    <a:pt x="888" y="2441"/>
                  </a:lnTo>
                  <a:lnTo>
                    <a:pt x="919" y="2465"/>
                  </a:lnTo>
                  <a:lnTo>
                    <a:pt x="943" y="2481"/>
                  </a:lnTo>
                  <a:lnTo>
                    <a:pt x="950" y="2486"/>
                  </a:lnTo>
                  <a:lnTo>
                    <a:pt x="952" y="2487"/>
                  </a:lnTo>
                  <a:lnTo>
                    <a:pt x="954" y="2487"/>
                  </a:lnTo>
                  <a:lnTo>
                    <a:pt x="1205" y="2170"/>
                  </a:lnTo>
                  <a:lnTo>
                    <a:pt x="1343" y="2103"/>
                  </a:lnTo>
                  <a:close/>
                  <a:moveTo>
                    <a:pt x="1259" y="2225"/>
                  </a:moveTo>
                  <a:lnTo>
                    <a:pt x="1033" y="2515"/>
                  </a:lnTo>
                  <a:lnTo>
                    <a:pt x="1402" y="2669"/>
                  </a:lnTo>
                  <a:lnTo>
                    <a:pt x="1402" y="2669"/>
                  </a:lnTo>
                  <a:lnTo>
                    <a:pt x="1442" y="2647"/>
                  </a:lnTo>
                  <a:lnTo>
                    <a:pt x="1485" y="2624"/>
                  </a:lnTo>
                  <a:lnTo>
                    <a:pt x="1528" y="2599"/>
                  </a:lnTo>
                  <a:lnTo>
                    <a:pt x="1571" y="2573"/>
                  </a:lnTo>
                  <a:lnTo>
                    <a:pt x="1656" y="2521"/>
                  </a:lnTo>
                  <a:lnTo>
                    <a:pt x="1736" y="2471"/>
                  </a:lnTo>
                  <a:lnTo>
                    <a:pt x="1806" y="2426"/>
                  </a:lnTo>
                  <a:lnTo>
                    <a:pt x="1862" y="2389"/>
                  </a:lnTo>
                  <a:lnTo>
                    <a:pt x="1912" y="2356"/>
                  </a:lnTo>
                  <a:lnTo>
                    <a:pt x="1392" y="2160"/>
                  </a:lnTo>
                  <a:lnTo>
                    <a:pt x="1259" y="2225"/>
                  </a:lnTo>
                  <a:close/>
                  <a:moveTo>
                    <a:pt x="1462" y="703"/>
                  </a:moveTo>
                  <a:lnTo>
                    <a:pt x="1462" y="703"/>
                  </a:lnTo>
                  <a:lnTo>
                    <a:pt x="1461" y="553"/>
                  </a:lnTo>
                  <a:lnTo>
                    <a:pt x="1461" y="448"/>
                  </a:lnTo>
                  <a:lnTo>
                    <a:pt x="1462" y="411"/>
                  </a:lnTo>
                  <a:lnTo>
                    <a:pt x="1463" y="399"/>
                  </a:lnTo>
                  <a:lnTo>
                    <a:pt x="1464" y="394"/>
                  </a:lnTo>
                  <a:lnTo>
                    <a:pt x="1464" y="394"/>
                  </a:lnTo>
                  <a:lnTo>
                    <a:pt x="1469" y="386"/>
                  </a:lnTo>
                  <a:lnTo>
                    <a:pt x="1474" y="379"/>
                  </a:lnTo>
                  <a:lnTo>
                    <a:pt x="1480" y="368"/>
                  </a:lnTo>
                  <a:lnTo>
                    <a:pt x="1480" y="368"/>
                  </a:lnTo>
                  <a:lnTo>
                    <a:pt x="1483" y="360"/>
                  </a:lnTo>
                  <a:lnTo>
                    <a:pt x="1484" y="351"/>
                  </a:lnTo>
                  <a:lnTo>
                    <a:pt x="1484" y="343"/>
                  </a:lnTo>
                  <a:lnTo>
                    <a:pt x="1483" y="333"/>
                  </a:lnTo>
                  <a:lnTo>
                    <a:pt x="1481" y="320"/>
                  </a:lnTo>
                  <a:lnTo>
                    <a:pt x="1480" y="315"/>
                  </a:lnTo>
                  <a:lnTo>
                    <a:pt x="1298" y="315"/>
                  </a:lnTo>
                  <a:lnTo>
                    <a:pt x="1298" y="315"/>
                  </a:lnTo>
                  <a:lnTo>
                    <a:pt x="1297" y="319"/>
                  </a:lnTo>
                  <a:lnTo>
                    <a:pt x="1296" y="323"/>
                  </a:lnTo>
                  <a:lnTo>
                    <a:pt x="1296" y="335"/>
                  </a:lnTo>
                  <a:lnTo>
                    <a:pt x="1297" y="348"/>
                  </a:lnTo>
                  <a:lnTo>
                    <a:pt x="1299" y="358"/>
                  </a:lnTo>
                  <a:lnTo>
                    <a:pt x="1299" y="358"/>
                  </a:lnTo>
                  <a:lnTo>
                    <a:pt x="1303" y="369"/>
                  </a:lnTo>
                  <a:lnTo>
                    <a:pt x="1309" y="380"/>
                  </a:lnTo>
                  <a:lnTo>
                    <a:pt x="1316" y="391"/>
                  </a:lnTo>
                  <a:lnTo>
                    <a:pt x="1320" y="395"/>
                  </a:lnTo>
                  <a:lnTo>
                    <a:pt x="1325" y="398"/>
                  </a:lnTo>
                  <a:lnTo>
                    <a:pt x="1325" y="703"/>
                  </a:lnTo>
                  <a:lnTo>
                    <a:pt x="1325" y="703"/>
                  </a:lnTo>
                  <a:lnTo>
                    <a:pt x="1321" y="710"/>
                  </a:lnTo>
                  <a:lnTo>
                    <a:pt x="1316" y="717"/>
                  </a:lnTo>
                  <a:lnTo>
                    <a:pt x="1311" y="727"/>
                  </a:lnTo>
                  <a:lnTo>
                    <a:pt x="1306" y="741"/>
                  </a:lnTo>
                  <a:lnTo>
                    <a:pt x="1301" y="758"/>
                  </a:lnTo>
                  <a:lnTo>
                    <a:pt x="1296" y="778"/>
                  </a:lnTo>
                  <a:lnTo>
                    <a:pt x="1292" y="802"/>
                  </a:lnTo>
                  <a:lnTo>
                    <a:pt x="1292" y="802"/>
                  </a:lnTo>
                  <a:lnTo>
                    <a:pt x="1292" y="813"/>
                  </a:lnTo>
                  <a:lnTo>
                    <a:pt x="1292" y="823"/>
                  </a:lnTo>
                  <a:lnTo>
                    <a:pt x="1293" y="833"/>
                  </a:lnTo>
                  <a:lnTo>
                    <a:pt x="1296" y="844"/>
                  </a:lnTo>
                  <a:lnTo>
                    <a:pt x="1302" y="861"/>
                  </a:lnTo>
                  <a:lnTo>
                    <a:pt x="1308" y="877"/>
                  </a:lnTo>
                  <a:lnTo>
                    <a:pt x="1315" y="891"/>
                  </a:lnTo>
                  <a:lnTo>
                    <a:pt x="1321" y="900"/>
                  </a:lnTo>
                  <a:lnTo>
                    <a:pt x="1327" y="909"/>
                  </a:lnTo>
                  <a:lnTo>
                    <a:pt x="1323" y="1165"/>
                  </a:lnTo>
                  <a:lnTo>
                    <a:pt x="1323" y="1165"/>
                  </a:lnTo>
                  <a:lnTo>
                    <a:pt x="1321" y="1167"/>
                  </a:lnTo>
                  <a:lnTo>
                    <a:pt x="1315" y="1174"/>
                  </a:lnTo>
                  <a:lnTo>
                    <a:pt x="1312" y="1179"/>
                  </a:lnTo>
                  <a:lnTo>
                    <a:pt x="1310" y="1186"/>
                  </a:lnTo>
                  <a:lnTo>
                    <a:pt x="1307" y="1194"/>
                  </a:lnTo>
                  <a:lnTo>
                    <a:pt x="1306" y="1203"/>
                  </a:lnTo>
                  <a:lnTo>
                    <a:pt x="1306" y="1203"/>
                  </a:lnTo>
                  <a:lnTo>
                    <a:pt x="1306" y="1213"/>
                  </a:lnTo>
                  <a:lnTo>
                    <a:pt x="1306" y="1221"/>
                  </a:lnTo>
                  <a:lnTo>
                    <a:pt x="1307" y="1234"/>
                  </a:lnTo>
                  <a:lnTo>
                    <a:pt x="1309" y="1241"/>
                  </a:lnTo>
                  <a:lnTo>
                    <a:pt x="1310" y="1243"/>
                  </a:lnTo>
                  <a:lnTo>
                    <a:pt x="1480" y="1243"/>
                  </a:lnTo>
                  <a:lnTo>
                    <a:pt x="1480" y="1243"/>
                  </a:lnTo>
                  <a:lnTo>
                    <a:pt x="1482" y="1235"/>
                  </a:lnTo>
                  <a:lnTo>
                    <a:pt x="1483" y="1221"/>
                  </a:lnTo>
                  <a:lnTo>
                    <a:pt x="1482" y="1204"/>
                  </a:lnTo>
                  <a:lnTo>
                    <a:pt x="1482" y="1196"/>
                  </a:lnTo>
                  <a:lnTo>
                    <a:pt x="1480" y="1188"/>
                  </a:lnTo>
                  <a:lnTo>
                    <a:pt x="1480" y="1188"/>
                  </a:lnTo>
                  <a:lnTo>
                    <a:pt x="1477" y="1179"/>
                  </a:lnTo>
                  <a:lnTo>
                    <a:pt x="1471" y="1172"/>
                  </a:lnTo>
                  <a:lnTo>
                    <a:pt x="1466" y="1166"/>
                  </a:lnTo>
                  <a:lnTo>
                    <a:pt x="1461" y="1161"/>
                  </a:lnTo>
                  <a:lnTo>
                    <a:pt x="1460" y="909"/>
                  </a:lnTo>
                  <a:lnTo>
                    <a:pt x="1460" y="909"/>
                  </a:lnTo>
                  <a:lnTo>
                    <a:pt x="1473" y="888"/>
                  </a:lnTo>
                  <a:lnTo>
                    <a:pt x="1482" y="876"/>
                  </a:lnTo>
                  <a:lnTo>
                    <a:pt x="1488" y="865"/>
                  </a:lnTo>
                  <a:lnTo>
                    <a:pt x="1494" y="852"/>
                  </a:lnTo>
                  <a:lnTo>
                    <a:pt x="1499" y="837"/>
                  </a:lnTo>
                  <a:lnTo>
                    <a:pt x="1502" y="822"/>
                  </a:lnTo>
                  <a:lnTo>
                    <a:pt x="1503" y="814"/>
                  </a:lnTo>
                  <a:lnTo>
                    <a:pt x="1503" y="806"/>
                  </a:lnTo>
                  <a:lnTo>
                    <a:pt x="1503" y="806"/>
                  </a:lnTo>
                  <a:lnTo>
                    <a:pt x="1503" y="797"/>
                  </a:lnTo>
                  <a:lnTo>
                    <a:pt x="1502" y="788"/>
                  </a:lnTo>
                  <a:lnTo>
                    <a:pt x="1498" y="773"/>
                  </a:lnTo>
                  <a:lnTo>
                    <a:pt x="1493" y="758"/>
                  </a:lnTo>
                  <a:lnTo>
                    <a:pt x="1487" y="743"/>
                  </a:lnTo>
                  <a:lnTo>
                    <a:pt x="1481" y="731"/>
                  </a:lnTo>
                  <a:lnTo>
                    <a:pt x="1473" y="720"/>
                  </a:lnTo>
                  <a:lnTo>
                    <a:pt x="1462" y="703"/>
                  </a:lnTo>
                  <a:close/>
                  <a:moveTo>
                    <a:pt x="1843" y="953"/>
                  </a:moveTo>
                  <a:lnTo>
                    <a:pt x="2130" y="663"/>
                  </a:lnTo>
                  <a:lnTo>
                    <a:pt x="2130" y="663"/>
                  </a:lnTo>
                  <a:lnTo>
                    <a:pt x="1946" y="660"/>
                  </a:lnTo>
                  <a:lnTo>
                    <a:pt x="1837" y="659"/>
                  </a:lnTo>
                  <a:lnTo>
                    <a:pt x="1715" y="658"/>
                  </a:lnTo>
                  <a:lnTo>
                    <a:pt x="1715" y="658"/>
                  </a:lnTo>
                  <a:lnTo>
                    <a:pt x="1708" y="657"/>
                  </a:lnTo>
                  <a:lnTo>
                    <a:pt x="1698" y="655"/>
                  </a:lnTo>
                  <a:lnTo>
                    <a:pt x="1687" y="651"/>
                  </a:lnTo>
                  <a:lnTo>
                    <a:pt x="1676" y="646"/>
                  </a:lnTo>
                  <a:lnTo>
                    <a:pt x="1650" y="634"/>
                  </a:lnTo>
                  <a:lnTo>
                    <a:pt x="1623" y="620"/>
                  </a:lnTo>
                  <a:lnTo>
                    <a:pt x="1597" y="606"/>
                  </a:lnTo>
                  <a:lnTo>
                    <a:pt x="1576" y="596"/>
                  </a:lnTo>
                  <a:lnTo>
                    <a:pt x="1566" y="592"/>
                  </a:lnTo>
                  <a:lnTo>
                    <a:pt x="1558" y="591"/>
                  </a:lnTo>
                  <a:lnTo>
                    <a:pt x="1553" y="590"/>
                  </a:lnTo>
                  <a:lnTo>
                    <a:pt x="1551" y="591"/>
                  </a:lnTo>
                  <a:lnTo>
                    <a:pt x="1550" y="592"/>
                  </a:lnTo>
                  <a:lnTo>
                    <a:pt x="1550" y="592"/>
                  </a:lnTo>
                  <a:lnTo>
                    <a:pt x="1535" y="628"/>
                  </a:lnTo>
                  <a:lnTo>
                    <a:pt x="1514" y="681"/>
                  </a:lnTo>
                  <a:lnTo>
                    <a:pt x="1514" y="681"/>
                  </a:lnTo>
                  <a:lnTo>
                    <a:pt x="1523" y="691"/>
                  </a:lnTo>
                  <a:lnTo>
                    <a:pt x="1532" y="703"/>
                  </a:lnTo>
                  <a:lnTo>
                    <a:pt x="1542" y="719"/>
                  </a:lnTo>
                  <a:lnTo>
                    <a:pt x="1551" y="737"/>
                  </a:lnTo>
                  <a:lnTo>
                    <a:pt x="1556" y="747"/>
                  </a:lnTo>
                  <a:lnTo>
                    <a:pt x="1560" y="759"/>
                  </a:lnTo>
                  <a:lnTo>
                    <a:pt x="1563" y="770"/>
                  </a:lnTo>
                  <a:lnTo>
                    <a:pt x="1565" y="781"/>
                  </a:lnTo>
                  <a:lnTo>
                    <a:pt x="1568" y="793"/>
                  </a:lnTo>
                  <a:lnTo>
                    <a:pt x="1568" y="806"/>
                  </a:lnTo>
                  <a:lnTo>
                    <a:pt x="1568" y="806"/>
                  </a:lnTo>
                  <a:lnTo>
                    <a:pt x="1566" y="825"/>
                  </a:lnTo>
                  <a:lnTo>
                    <a:pt x="1564" y="838"/>
                  </a:lnTo>
                  <a:lnTo>
                    <a:pt x="1561" y="855"/>
                  </a:lnTo>
                  <a:lnTo>
                    <a:pt x="1558" y="864"/>
                  </a:lnTo>
                  <a:lnTo>
                    <a:pt x="1555" y="873"/>
                  </a:lnTo>
                  <a:lnTo>
                    <a:pt x="1551" y="883"/>
                  </a:lnTo>
                  <a:lnTo>
                    <a:pt x="1545" y="894"/>
                  </a:lnTo>
                  <a:lnTo>
                    <a:pt x="1539" y="903"/>
                  </a:lnTo>
                  <a:lnTo>
                    <a:pt x="1532" y="914"/>
                  </a:lnTo>
                  <a:lnTo>
                    <a:pt x="1524" y="924"/>
                  </a:lnTo>
                  <a:lnTo>
                    <a:pt x="1513" y="935"/>
                  </a:lnTo>
                  <a:lnTo>
                    <a:pt x="1513" y="935"/>
                  </a:lnTo>
                  <a:lnTo>
                    <a:pt x="1536" y="981"/>
                  </a:lnTo>
                  <a:lnTo>
                    <a:pt x="1553" y="1013"/>
                  </a:lnTo>
                  <a:lnTo>
                    <a:pt x="1560" y="1025"/>
                  </a:lnTo>
                  <a:lnTo>
                    <a:pt x="1565" y="1032"/>
                  </a:lnTo>
                  <a:lnTo>
                    <a:pt x="1565" y="1032"/>
                  </a:lnTo>
                  <a:lnTo>
                    <a:pt x="1580" y="1023"/>
                  </a:lnTo>
                  <a:lnTo>
                    <a:pt x="1597" y="1013"/>
                  </a:lnTo>
                  <a:lnTo>
                    <a:pt x="1618" y="1002"/>
                  </a:lnTo>
                  <a:lnTo>
                    <a:pt x="1642" y="990"/>
                  </a:lnTo>
                  <a:lnTo>
                    <a:pt x="1669" y="978"/>
                  </a:lnTo>
                  <a:lnTo>
                    <a:pt x="1696" y="968"/>
                  </a:lnTo>
                  <a:lnTo>
                    <a:pt x="1711" y="964"/>
                  </a:lnTo>
                  <a:lnTo>
                    <a:pt x="1724" y="961"/>
                  </a:lnTo>
                  <a:lnTo>
                    <a:pt x="1724" y="961"/>
                  </a:lnTo>
                  <a:lnTo>
                    <a:pt x="1737" y="959"/>
                  </a:lnTo>
                  <a:lnTo>
                    <a:pt x="1761" y="957"/>
                  </a:lnTo>
                  <a:lnTo>
                    <a:pt x="1843" y="953"/>
                  </a:lnTo>
                  <a:close/>
                  <a:moveTo>
                    <a:pt x="3120" y="962"/>
                  </a:moveTo>
                  <a:lnTo>
                    <a:pt x="3486" y="484"/>
                  </a:lnTo>
                  <a:lnTo>
                    <a:pt x="3486" y="484"/>
                  </a:lnTo>
                  <a:lnTo>
                    <a:pt x="3479" y="482"/>
                  </a:lnTo>
                  <a:lnTo>
                    <a:pt x="3469" y="481"/>
                  </a:lnTo>
                  <a:lnTo>
                    <a:pt x="3458" y="480"/>
                  </a:lnTo>
                  <a:lnTo>
                    <a:pt x="3445" y="480"/>
                  </a:lnTo>
                  <a:lnTo>
                    <a:pt x="3428" y="483"/>
                  </a:lnTo>
                  <a:lnTo>
                    <a:pt x="3420" y="485"/>
                  </a:lnTo>
                  <a:lnTo>
                    <a:pt x="3412" y="488"/>
                  </a:lnTo>
                  <a:lnTo>
                    <a:pt x="3403" y="492"/>
                  </a:lnTo>
                  <a:lnTo>
                    <a:pt x="3394" y="496"/>
                  </a:lnTo>
                  <a:lnTo>
                    <a:pt x="3394" y="496"/>
                  </a:lnTo>
                  <a:lnTo>
                    <a:pt x="3385" y="502"/>
                  </a:lnTo>
                  <a:lnTo>
                    <a:pt x="3376" y="508"/>
                  </a:lnTo>
                  <a:lnTo>
                    <a:pt x="3369" y="515"/>
                  </a:lnTo>
                  <a:lnTo>
                    <a:pt x="3363" y="523"/>
                  </a:lnTo>
                  <a:lnTo>
                    <a:pt x="3358" y="532"/>
                  </a:lnTo>
                  <a:lnTo>
                    <a:pt x="3353" y="540"/>
                  </a:lnTo>
                  <a:lnTo>
                    <a:pt x="3349" y="548"/>
                  </a:lnTo>
                  <a:lnTo>
                    <a:pt x="3346" y="557"/>
                  </a:lnTo>
                  <a:lnTo>
                    <a:pt x="3341" y="574"/>
                  </a:lnTo>
                  <a:lnTo>
                    <a:pt x="3337" y="589"/>
                  </a:lnTo>
                  <a:lnTo>
                    <a:pt x="3336" y="600"/>
                  </a:lnTo>
                  <a:lnTo>
                    <a:pt x="3337" y="605"/>
                  </a:lnTo>
                  <a:lnTo>
                    <a:pt x="3338" y="608"/>
                  </a:lnTo>
                  <a:lnTo>
                    <a:pt x="3338" y="608"/>
                  </a:lnTo>
                  <a:lnTo>
                    <a:pt x="3334" y="599"/>
                  </a:lnTo>
                  <a:lnTo>
                    <a:pt x="3330" y="592"/>
                  </a:lnTo>
                  <a:lnTo>
                    <a:pt x="3325" y="585"/>
                  </a:lnTo>
                  <a:lnTo>
                    <a:pt x="3320" y="579"/>
                  </a:lnTo>
                  <a:lnTo>
                    <a:pt x="3315" y="574"/>
                  </a:lnTo>
                  <a:lnTo>
                    <a:pt x="3310" y="568"/>
                  </a:lnTo>
                  <a:lnTo>
                    <a:pt x="3304" y="564"/>
                  </a:lnTo>
                  <a:lnTo>
                    <a:pt x="3299" y="561"/>
                  </a:lnTo>
                  <a:lnTo>
                    <a:pt x="3286" y="556"/>
                  </a:lnTo>
                  <a:lnTo>
                    <a:pt x="3273" y="554"/>
                  </a:lnTo>
                  <a:lnTo>
                    <a:pt x="3261" y="553"/>
                  </a:lnTo>
                  <a:lnTo>
                    <a:pt x="3249" y="554"/>
                  </a:lnTo>
                  <a:lnTo>
                    <a:pt x="3236" y="556"/>
                  </a:lnTo>
                  <a:lnTo>
                    <a:pt x="3225" y="558"/>
                  </a:lnTo>
                  <a:lnTo>
                    <a:pt x="3214" y="562"/>
                  </a:lnTo>
                  <a:lnTo>
                    <a:pt x="3206" y="565"/>
                  </a:lnTo>
                  <a:lnTo>
                    <a:pt x="3192" y="572"/>
                  </a:lnTo>
                  <a:lnTo>
                    <a:pt x="3187" y="574"/>
                  </a:lnTo>
                  <a:lnTo>
                    <a:pt x="3187" y="574"/>
                  </a:lnTo>
                  <a:lnTo>
                    <a:pt x="3199" y="594"/>
                  </a:lnTo>
                  <a:lnTo>
                    <a:pt x="3209" y="613"/>
                  </a:lnTo>
                  <a:lnTo>
                    <a:pt x="3215" y="632"/>
                  </a:lnTo>
                  <a:lnTo>
                    <a:pt x="3219" y="647"/>
                  </a:lnTo>
                  <a:lnTo>
                    <a:pt x="3220" y="663"/>
                  </a:lnTo>
                  <a:lnTo>
                    <a:pt x="3220" y="675"/>
                  </a:lnTo>
                  <a:lnTo>
                    <a:pt x="3218" y="687"/>
                  </a:lnTo>
                  <a:lnTo>
                    <a:pt x="3214" y="696"/>
                  </a:lnTo>
                  <a:lnTo>
                    <a:pt x="3209" y="705"/>
                  </a:lnTo>
                  <a:lnTo>
                    <a:pt x="3203" y="712"/>
                  </a:lnTo>
                  <a:lnTo>
                    <a:pt x="3194" y="718"/>
                  </a:lnTo>
                  <a:lnTo>
                    <a:pt x="3186" y="722"/>
                  </a:lnTo>
                  <a:lnTo>
                    <a:pt x="3178" y="724"/>
                  </a:lnTo>
                  <a:lnTo>
                    <a:pt x="3169" y="725"/>
                  </a:lnTo>
                  <a:lnTo>
                    <a:pt x="3160" y="725"/>
                  </a:lnTo>
                  <a:lnTo>
                    <a:pt x="3150" y="724"/>
                  </a:lnTo>
                  <a:lnTo>
                    <a:pt x="3150" y="724"/>
                  </a:lnTo>
                  <a:lnTo>
                    <a:pt x="3138" y="720"/>
                  </a:lnTo>
                  <a:lnTo>
                    <a:pt x="3129" y="715"/>
                  </a:lnTo>
                  <a:lnTo>
                    <a:pt x="3121" y="709"/>
                  </a:lnTo>
                  <a:lnTo>
                    <a:pt x="3114" y="702"/>
                  </a:lnTo>
                  <a:lnTo>
                    <a:pt x="3108" y="695"/>
                  </a:lnTo>
                  <a:lnTo>
                    <a:pt x="3104" y="688"/>
                  </a:lnTo>
                  <a:lnTo>
                    <a:pt x="3100" y="680"/>
                  </a:lnTo>
                  <a:lnTo>
                    <a:pt x="3098" y="673"/>
                  </a:lnTo>
                  <a:lnTo>
                    <a:pt x="3095" y="658"/>
                  </a:lnTo>
                  <a:lnTo>
                    <a:pt x="3095" y="646"/>
                  </a:lnTo>
                  <a:lnTo>
                    <a:pt x="3095" y="638"/>
                  </a:lnTo>
                  <a:lnTo>
                    <a:pt x="3095" y="635"/>
                  </a:lnTo>
                  <a:lnTo>
                    <a:pt x="3095" y="635"/>
                  </a:lnTo>
                  <a:lnTo>
                    <a:pt x="3092" y="637"/>
                  </a:lnTo>
                  <a:lnTo>
                    <a:pt x="3084" y="643"/>
                  </a:lnTo>
                  <a:lnTo>
                    <a:pt x="3072" y="650"/>
                  </a:lnTo>
                  <a:lnTo>
                    <a:pt x="3064" y="653"/>
                  </a:lnTo>
                  <a:lnTo>
                    <a:pt x="3056" y="656"/>
                  </a:lnTo>
                  <a:lnTo>
                    <a:pt x="3047" y="658"/>
                  </a:lnTo>
                  <a:lnTo>
                    <a:pt x="3038" y="659"/>
                  </a:lnTo>
                  <a:lnTo>
                    <a:pt x="3028" y="659"/>
                  </a:lnTo>
                  <a:lnTo>
                    <a:pt x="3018" y="658"/>
                  </a:lnTo>
                  <a:lnTo>
                    <a:pt x="3008" y="655"/>
                  </a:lnTo>
                  <a:lnTo>
                    <a:pt x="2999" y="650"/>
                  </a:lnTo>
                  <a:lnTo>
                    <a:pt x="2989" y="643"/>
                  </a:lnTo>
                  <a:lnTo>
                    <a:pt x="2980" y="634"/>
                  </a:lnTo>
                  <a:lnTo>
                    <a:pt x="2980" y="634"/>
                  </a:lnTo>
                  <a:lnTo>
                    <a:pt x="2973" y="625"/>
                  </a:lnTo>
                  <a:lnTo>
                    <a:pt x="2969" y="616"/>
                  </a:lnTo>
                  <a:lnTo>
                    <a:pt x="2967" y="607"/>
                  </a:lnTo>
                  <a:lnTo>
                    <a:pt x="2968" y="598"/>
                  </a:lnTo>
                  <a:lnTo>
                    <a:pt x="2969" y="589"/>
                  </a:lnTo>
                  <a:lnTo>
                    <a:pt x="2973" y="581"/>
                  </a:lnTo>
                  <a:lnTo>
                    <a:pt x="2980" y="572"/>
                  </a:lnTo>
                  <a:lnTo>
                    <a:pt x="2987" y="564"/>
                  </a:lnTo>
                  <a:lnTo>
                    <a:pt x="2996" y="557"/>
                  </a:lnTo>
                  <a:lnTo>
                    <a:pt x="3006" y="550"/>
                  </a:lnTo>
                  <a:lnTo>
                    <a:pt x="3019" y="544"/>
                  </a:lnTo>
                  <a:lnTo>
                    <a:pt x="3033" y="540"/>
                  </a:lnTo>
                  <a:lnTo>
                    <a:pt x="3048" y="536"/>
                  </a:lnTo>
                  <a:lnTo>
                    <a:pt x="3065" y="533"/>
                  </a:lnTo>
                  <a:lnTo>
                    <a:pt x="3083" y="532"/>
                  </a:lnTo>
                  <a:lnTo>
                    <a:pt x="3102" y="531"/>
                  </a:lnTo>
                  <a:lnTo>
                    <a:pt x="3102" y="531"/>
                  </a:lnTo>
                  <a:lnTo>
                    <a:pt x="3103" y="520"/>
                  </a:lnTo>
                  <a:lnTo>
                    <a:pt x="3102" y="509"/>
                  </a:lnTo>
                  <a:lnTo>
                    <a:pt x="3099" y="494"/>
                  </a:lnTo>
                  <a:lnTo>
                    <a:pt x="3096" y="486"/>
                  </a:lnTo>
                  <a:lnTo>
                    <a:pt x="3093" y="477"/>
                  </a:lnTo>
                  <a:lnTo>
                    <a:pt x="3089" y="469"/>
                  </a:lnTo>
                  <a:lnTo>
                    <a:pt x="3084" y="460"/>
                  </a:lnTo>
                  <a:lnTo>
                    <a:pt x="3078" y="451"/>
                  </a:lnTo>
                  <a:lnTo>
                    <a:pt x="3071" y="443"/>
                  </a:lnTo>
                  <a:lnTo>
                    <a:pt x="3061" y="435"/>
                  </a:lnTo>
                  <a:lnTo>
                    <a:pt x="3051" y="426"/>
                  </a:lnTo>
                  <a:lnTo>
                    <a:pt x="3051" y="426"/>
                  </a:lnTo>
                  <a:lnTo>
                    <a:pt x="3043" y="421"/>
                  </a:lnTo>
                  <a:lnTo>
                    <a:pt x="3034" y="417"/>
                  </a:lnTo>
                  <a:lnTo>
                    <a:pt x="3024" y="415"/>
                  </a:lnTo>
                  <a:lnTo>
                    <a:pt x="3014" y="413"/>
                  </a:lnTo>
                  <a:lnTo>
                    <a:pt x="3004" y="412"/>
                  </a:lnTo>
                  <a:lnTo>
                    <a:pt x="2995" y="412"/>
                  </a:lnTo>
                  <a:lnTo>
                    <a:pt x="2977" y="414"/>
                  </a:lnTo>
                  <a:lnTo>
                    <a:pt x="2960" y="418"/>
                  </a:lnTo>
                  <a:lnTo>
                    <a:pt x="2947" y="421"/>
                  </a:lnTo>
                  <a:lnTo>
                    <a:pt x="2936" y="425"/>
                  </a:lnTo>
                  <a:lnTo>
                    <a:pt x="2936" y="425"/>
                  </a:lnTo>
                  <a:lnTo>
                    <a:pt x="2943" y="421"/>
                  </a:lnTo>
                  <a:lnTo>
                    <a:pt x="2951" y="415"/>
                  </a:lnTo>
                  <a:lnTo>
                    <a:pt x="2960" y="408"/>
                  </a:lnTo>
                  <a:lnTo>
                    <a:pt x="2970" y="397"/>
                  </a:lnTo>
                  <a:lnTo>
                    <a:pt x="2980" y="384"/>
                  </a:lnTo>
                  <a:lnTo>
                    <a:pt x="2984" y="376"/>
                  </a:lnTo>
                  <a:lnTo>
                    <a:pt x="2988" y="369"/>
                  </a:lnTo>
                  <a:lnTo>
                    <a:pt x="2991" y="360"/>
                  </a:lnTo>
                  <a:lnTo>
                    <a:pt x="2993" y="351"/>
                  </a:lnTo>
                  <a:lnTo>
                    <a:pt x="2993" y="351"/>
                  </a:lnTo>
                  <a:lnTo>
                    <a:pt x="2995" y="336"/>
                  </a:lnTo>
                  <a:lnTo>
                    <a:pt x="2994" y="320"/>
                  </a:lnTo>
                  <a:lnTo>
                    <a:pt x="2992" y="303"/>
                  </a:lnTo>
                  <a:lnTo>
                    <a:pt x="2988" y="285"/>
                  </a:lnTo>
                  <a:lnTo>
                    <a:pt x="2981" y="267"/>
                  </a:lnTo>
                  <a:lnTo>
                    <a:pt x="2972" y="249"/>
                  </a:lnTo>
                  <a:lnTo>
                    <a:pt x="2961" y="232"/>
                  </a:lnTo>
                  <a:lnTo>
                    <a:pt x="2955" y="223"/>
                  </a:lnTo>
                  <a:lnTo>
                    <a:pt x="2948" y="216"/>
                  </a:lnTo>
                  <a:lnTo>
                    <a:pt x="2947" y="214"/>
                  </a:lnTo>
                  <a:lnTo>
                    <a:pt x="2944" y="214"/>
                  </a:lnTo>
                  <a:lnTo>
                    <a:pt x="2944" y="214"/>
                  </a:lnTo>
                  <a:lnTo>
                    <a:pt x="2934" y="214"/>
                  </a:lnTo>
                  <a:lnTo>
                    <a:pt x="2923" y="215"/>
                  </a:lnTo>
                  <a:lnTo>
                    <a:pt x="2903" y="219"/>
                  </a:lnTo>
                  <a:lnTo>
                    <a:pt x="2885" y="224"/>
                  </a:lnTo>
                  <a:lnTo>
                    <a:pt x="2866" y="232"/>
                  </a:lnTo>
                  <a:lnTo>
                    <a:pt x="2851" y="240"/>
                  </a:lnTo>
                  <a:lnTo>
                    <a:pt x="2836" y="250"/>
                  </a:lnTo>
                  <a:lnTo>
                    <a:pt x="2824" y="261"/>
                  </a:lnTo>
                  <a:lnTo>
                    <a:pt x="2814" y="272"/>
                  </a:lnTo>
                  <a:lnTo>
                    <a:pt x="2814" y="272"/>
                  </a:lnTo>
                  <a:lnTo>
                    <a:pt x="2809" y="280"/>
                  </a:lnTo>
                  <a:lnTo>
                    <a:pt x="2805" y="288"/>
                  </a:lnTo>
                  <a:lnTo>
                    <a:pt x="2802" y="297"/>
                  </a:lnTo>
                  <a:lnTo>
                    <a:pt x="2799" y="305"/>
                  </a:lnTo>
                  <a:lnTo>
                    <a:pt x="2796" y="320"/>
                  </a:lnTo>
                  <a:lnTo>
                    <a:pt x="2795" y="334"/>
                  </a:lnTo>
                  <a:lnTo>
                    <a:pt x="2795" y="347"/>
                  </a:lnTo>
                  <a:lnTo>
                    <a:pt x="2796" y="357"/>
                  </a:lnTo>
                  <a:lnTo>
                    <a:pt x="2798" y="365"/>
                  </a:lnTo>
                  <a:lnTo>
                    <a:pt x="2798" y="365"/>
                  </a:lnTo>
                  <a:lnTo>
                    <a:pt x="2792" y="354"/>
                  </a:lnTo>
                  <a:lnTo>
                    <a:pt x="2787" y="341"/>
                  </a:lnTo>
                  <a:lnTo>
                    <a:pt x="2778" y="327"/>
                  </a:lnTo>
                  <a:lnTo>
                    <a:pt x="2767" y="313"/>
                  </a:lnTo>
                  <a:lnTo>
                    <a:pt x="2761" y="306"/>
                  </a:lnTo>
                  <a:lnTo>
                    <a:pt x="2754" y="299"/>
                  </a:lnTo>
                  <a:lnTo>
                    <a:pt x="2746" y="292"/>
                  </a:lnTo>
                  <a:lnTo>
                    <a:pt x="2737" y="287"/>
                  </a:lnTo>
                  <a:lnTo>
                    <a:pt x="2729" y="283"/>
                  </a:lnTo>
                  <a:lnTo>
                    <a:pt x="2719" y="281"/>
                  </a:lnTo>
                  <a:lnTo>
                    <a:pt x="2719" y="281"/>
                  </a:lnTo>
                  <a:lnTo>
                    <a:pt x="2707" y="278"/>
                  </a:lnTo>
                  <a:lnTo>
                    <a:pt x="2694" y="278"/>
                  </a:lnTo>
                  <a:lnTo>
                    <a:pt x="2683" y="278"/>
                  </a:lnTo>
                  <a:lnTo>
                    <a:pt x="2672" y="279"/>
                  </a:lnTo>
                  <a:lnTo>
                    <a:pt x="2663" y="281"/>
                  </a:lnTo>
                  <a:lnTo>
                    <a:pt x="2653" y="284"/>
                  </a:lnTo>
                  <a:lnTo>
                    <a:pt x="2644" y="287"/>
                  </a:lnTo>
                  <a:lnTo>
                    <a:pt x="2637" y="291"/>
                  </a:lnTo>
                  <a:lnTo>
                    <a:pt x="2624" y="300"/>
                  </a:lnTo>
                  <a:lnTo>
                    <a:pt x="2615" y="307"/>
                  </a:lnTo>
                  <a:lnTo>
                    <a:pt x="2607" y="314"/>
                  </a:lnTo>
                  <a:lnTo>
                    <a:pt x="2607" y="314"/>
                  </a:lnTo>
                  <a:lnTo>
                    <a:pt x="2621" y="328"/>
                  </a:lnTo>
                  <a:lnTo>
                    <a:pt x="2632" y="343"/>
                  </a:lnTo>
                  <a:lnTo>
                    <a:pt x="2641" y="357"/>
                  </a:lnTo>
                  <a:lnTo>
                    <a:pt x="2648" y="371"/>
                  </a:lnTo>
                  <a:lnTo>
                    <a:pt x="2654" y="384"/>
                  </a:lnTo>
                  <a:lnTo>
                    <a:pt x="2659" y="398"/>
                  </a:lnTo>
                  <a:lnTo>
                    <a:pt x="2661" y="410"/>
                  </a:lnTo>
                  <a:lnTo>
                    <a:pt x="2662" y="421"/>
                  </a:lnTo>
                  <a:lnTo>
                    <a:pt x="2661" y="432"/>
                  </a:lnTo>
                  <a:lnTo>
                    <a:pt x="2659" y="442"/>
                  </a:lnTo>
                  <a:lnTo>
                    <a:pt x="2654" y="451"/>
                  </a:lnTo>
                  <a:lnTo>
                    <a:pt x="2649" y="458"/>
                  </a:lnTo>
                  <a:lnTo>
                    <a:pt x="2642" y="464"/>
                  </a:lnTo>
                  <a:lnTo>
                    <a:pt x="2635" y="469"/>
                  </a:lnTo>
                  <a:lnTo>
                    <a:pt x="2626" y="472"/>
                  </a:lnTo>
                  <a:lnTo>
                    <a:pt x="2616" y="473"/>
                  </a:lnTo>
                  <a:lnTo>
                    <a:pt x="2616" y="473"/>
                  </a:lnTo>
                  <a:lnTo>
                    <a:pt x="2601" y="473"/>
                  </a:lnTo>
                  <a:lnTo>
                    <a:pt x="2590" y="471"/>
                  </a:lnTo>
                  <a:lnTo>
                    <a:pt x="2580" y="467"/>
                  </a:lnTo>
                  <a:lnTo>
                    <a:pt x="2571" y="462"/>
                  </a:lnTo>
                  <a:lnTo>
                    <a:pt x="2562" y="456"/>
                  </a:lnTo>
                  <a:lnTo>
                    <a:pt x="2556" y="449"/>
                  </a:lnTo>
                  <a:lnTo>
                    <a:pt x="2551" y="441"/>
                  </a:lnTo>
                  <a:lnTo>
                    <a:pt x="2547" y="432"/>
                  </a:lnTo>
                  <a:lnTo>
                    <a:pt x="2543" y="424"/>
                  </a:lnTo>
                  <a:lnTo>
                    <a:pt x="2541" y="417"/>
                  </a:lnTo>
                  <a:lnTo>
                    <a:pt x="2538" y="403"/>
                  </a:lnTo>
                  <a:lnTo>
                    <a:pt x="2536" y="393"/>
                  </a:lnTo>
                  <a:lnTo>
                    <a:pt x="2536" y="390"/>
                  </a:lnTo>
                  <a:lnTo>
                    <a:pt x="2536" y="390"/>
                  </a:lnTo>
                  <a:lnTo>
                    <a:pt x="2534" y="392"/>
                  </a:lnTo>
                  <a:lnTo>
                    <a:pt x="2528" y="398"/>
                  </a:lnTo>
                  <a:lnTo>
                    <a:pt x="2518" y="405"/>
                  </a:lnTo>
                  <a:lnTo>
                    <a:pt x="2506" y="413"/>
                  </a:lnTo>
                  <a:lnTo>
                    <a:pt x="2499" y="416"/>
                  </a:lnTo>
                  <a:lnTo>
                    <a:pt x="2491" y="419"/>
                  </a:lnTo>
                  <a:lnTo>
                    <a:pt x="2483" y="420"/>
                  </a:lnTo>
                  <a:lnTo>
                    <a:pt x="2473" y="421"/>
                  </a:lnTo>
                  <a:lnTo>
                    <a:pt x="2464" y="421"/>
                  </a:lnTo>
                  <a:lnTo>
                    <a:pt x="2454" y="419"/>
                  </a:lnTo>
                  <a:lnTo>
                    <a:pt x="2444" y="415"/>
                  </a:lnTo>
                  <a:lnTo>
                    <a:pt x="2434" y="409"/>
                  </a:lnTo>
                  <a:lnTo>
                    <a:pt x="2434" y="409"/>
                  </a:lnTo>
                  <a:lnTo>
                    <a:pt x="2426" y="404"/>
                  </a:lnTo>
                  <a:lnTo>
                    <a:pt x="2419" y="397"/>
                  </a:lnTo>
                  <a:lnTo>
                    <a:pt x="2414" y="390"/>
                  </a:lnTo>
                  <a:lnTo>
                    <a:pt x="2410" y="381"/>
                  </a:lnTo>
                  <a:lnTo>
                    <a:pt x="2408" y="372"/>
                  </a:lnTo>
                  <a:lnTo>
                    <a:pt x="2407" y="363"/>
                  </a:lnTo>
                  <a:lnTo>
                    <a:pt x="2407" y="354"/>
                  </a:lnTo>
                  <a:lnTo>
                    <a:pt x="2410" y="345"/>
                  </a:lnTo>
                  <a:lnTo>
                    <a:pt x="2415" y="334"/>
                  </a:lnTo>
                  <a:lnTo>
                    <a:pt x="2421" y="325"/>
                  </a:lnTo>
                  <a:lnTo>
                    <a:pt x="2432" y="316"/>
                  </a:lnTo>
                  <a:lnTo>
                    <a:pt x="2443" y="308"/>
                  </a:lnTo>
                  <a:lnTo>
                    <a:pt x="2457" y="300"/>
                  </a:lnTo>
                  <a:lnTo>
                    <a:pt x="2474" y="292"/>
                  </a:lnTo>
                  <a:lnTo>
                    <a:pt x="2495" y="286"/>
                  </a:lnTo>
                  <a:lnTo>
                    <a:pt x="2518" y="280"/>
                  </a:lnTo>
                  <a:lnTo>
                    <a:pt x="2518" y="280"/>
                  </a:lnTo>
                  <a:lnTo>
                    <a:pt x="2517" y="275"/>
                  </a:lnTo>
                  <a:lnTo>
                    <a:pt x="2512" y="262"/>
                  </a:lnTo>
                  <a:lnTo>
                    <a:pt x="2509" y="253"/>
                  </a:lnTo>
                  <a:lnTo>
                    <a:pt x="2504" y="242"/>
                  </a:lnTo>
                  <a:lnTo>
                    <a:pt x="2499" y="232"/>
                  </a:lnTo>
                  <a:lnTo>
                    <a:pt x="2492" y="222"/>
                  </a:lnTo>
                  <a:lnTo>
                    <a:pt x="2484" y="213"/>
                  </a:lnTo>
                  <a:lnTo>
                    <a:pt x="2474" y="203"/>
                  </a:lnTo>
                  <a:lnTo>
                    <a:pt x="2464" y="196"/>
                  </a:lnTo>
                  <a:lnTo>
                    <a:pt x="2452" y="190"/>
                  </a:lnTo>
                  <a:lnTo>
                    <a:pt x="2446" y="188"/>
                  </a:lnTo>
                  <a:lnTo>
                    <a:pt x="2440" y="187"/>
                  </a:lnTo>
                  <a:lnTo>
                    <a:pt x="2433" y="186"/>
                  </a:lnTo>
                  <a:lnTo>
                    <a:pt x="2424" y="185"/>
                  </a:lnTo>
                  <a:lnTo>
                    <a:pt x="2417" y="186"/>
                  </a:lnTo>
                  <a:lnTo>
                    <a:pt x="2408" y="187"/>
                  </a:lnTo>
                  <a:lnTo>
                    <a:pt x="2400" y="190"/>
                  </a:lnTo>
                  <a:lnTo>
                    <a:pt x="2391" y="193"/>
                  </a:lnTo>
                  <a:lnTo>
                    <a:pt x="2391" y="193"/>
                  </a:lnTo>
                  <a:lnTo>
                    <a:pt x="2394" y="191"/>
                  </a:lnTo>
                  <a:lnTo>
                    <a:pt x="2398" y="188"/>
                  </a:lnTo>
                  <a:lnTo>
                    <a:pt x="2406" y="180"/>
                  </a:lnTo>
                  <a:lnTo>
                    <a:pt x="2415" y="168"/>
                  </a:lnTo>
                  <a:lnTo>
                    <a:pt x="2423" y="153"/>
                  </a:lnTo>
                  <a:lnTo>
                    <a:pt x="2427" y="144"/>
                  </a:lnTo>
                  <a:lnTo>
                    <a:pt x="2432" y="136"/>
                  </a:lnTo>
                  <a:lnTo>
                    <a:pt x="2435" y="127"/>
                  </a:lnTo>
                  <a:lnTo>
                    <a:pt x="2437" y="117"/>
                  </a:lnTo>
                  <a:lnTo>
                    <a:pt x="2438" y="106"/>
                  </a:lnTo>
                  <a:lnTo>
                    <a:pt x="2439" y="97"/>
                  </a:lnTo>
                  <a:lnTo>
                    <a:pt x="2438" y="86"/>
                  </a:lnTo>
                  <a:lnTo>
                    <a:pt x="2436" y="76"/>
                  </a:lnTo>
                  <a:lnTo>
                    <a:pt x="2436" y="76"/>
                  </a:lnTo>
                  <a:lnTo>
                    <a:pt x="2434" y="66"/>
                  </a:lnTo>
                  <a:lnTo>
                    <a:pt x="2429" y="57"/>
                  </a:lnTo>
                  <a:lnTo>
                    <a:pt x="2426" y="49"/>
                  </a:lnTo>
                  <a:lnTo>
                    <a:pt x="2422" y="41"/>
                  </a:lnTo>
                  <a:lnTo>
                    <a:pt x="2413" y="28"/>
                  </a:lnTo>
                  <a:lnTo>
                    <a:pt x="2404" y="17"/>
                  </a:lnTo>
                  <a:lnTo>
                    <a:pt x="2396" y="9"/>
                  </a:lnTo>
                  <a:lnTo>
                    <a:pt x="2389" y="4"/>
                  </a:lnTo>
                  <a:lnTo>
                    <a:pt x="2382" y="0"/>
                  </a:lnTo>
                  <a:lnTo>
                    <a:pt x="2279" y="593"/>
                  </a:lnTo>
                  <a:lnTo>
                    <a:pt x="2548" y="712"/>
                  </a:lnTo>
                  <a:lnTo>
                    <a:pt x="2548" y="712"/>
                  </a:lnTo>
                  <a:lnTo>
                    <a:pt x="2572" y="693"/>
                  </a:lnTo>
                  <a:lnTo>
                    <a:pt x="2594" y="677"/>
                  </a:lnTo>
                  <a:lnTo>
                    <a:pt x="2615" y="665"/>
                  </a:lnTo>
                  <a:lnTo>
                    <a:pt x="2633" y="656"/>
                  </a:lnTo>
                  <a:lnTo>
                    <a:pt x="2633" y="656"/>
                  </a:lnTo>
                  <a:lnTo>
                    <a:pt x="2646" y="650"/>
                  </a:lnTo>
                  <a:lnTo>
                    <a:pt x="2661" y="646"/>
                  </a:lnTo>
                  <a:lnTo>
                    <a:pt x="2675" y="642"/>
                  </a:lnTo>
                  <a:lnTo>
                    <a:pt x="2688" y="639"/>
                  </a:lnTo>
                  <a:lnTo>
                    <a:pt x="2702" y="637"/>
                  </a:lnTo>
                  <a:lnTo>
                    <a:pt x="2716" y="636"/>
                  </a:lnTo>
                  <a:lnTo>
                    <a:pt x="2729" y="635"/>
                  </a:lnTo>
                  <a:lnTo>
                    <a:pt x="2743" y="635"/>
                  </a:lnTo>
                  <a:lnTo>
                    <a:pt x="2757" y="636"/>
                  </a:lnTo>
                  <a:lnTo>
                    <a:pt x="2770" y="638"/>
                  </a:lnTo>
                  <a:lnTo>
                    <a:pt x="2783" y="640"/>
                  </a:lnTo>
                  <a:lnTo>
                    <a:pt x="2796" y="643"/>
                  </a:lnTo>
                  <a:lnTo>
                    <a:pt x="2821" y="650"/>
                  </a:lnTo>
                  <a:lnTo>
                    <a:pt x="2845" y="658"/>
                  </a:lnTo>
                  <a:lnTo>
                    <a:pt x="2845" y="658"/>
                  </a:lnTo>
                  <a:lnTo>
                    <a:pt x="2861" y="667"/>
                  </a:lnTo>
                  <a:lnTo>
                    <a:pt x="2875" y="675"/>
                  </a:lnTo>
                  <a:lnTo>
                    <a:pt x="2889" y="683"/>
                  </a:lnTo>
                  <a:lnTo>
                    <a:pt x="2900" y="691"/>
                  </a:lnTo>
                  <a:lnTo>
                    <a:pt x="2910" y="699"/>
                  </a:lnTo>
                  <a:lnTo>
                    <a:pt x="2918" y="709"/>
                  </a:lnTo>
                  <a:lnTo>
                    <a:pt x="2925" y="717"/>
                  </a:lnTo>
                  <a:lnTo>
                    <a:pt x="2932" y="726"/>
                  </a:lnTo>
                  <a:lnTo>
                    <a:pt x="2937" y="735"/>
                  </a:lnTo>
                  <a:lnTo>
                    <a:pt x="2941" y="743"/>
                  </a:lnTo>
                  <a:lnTo>
                    <a:pt x="2944" y="753"/>
                  </a:lnTo>
                  <a:lnTo>
                    <a:pt x="2947" y="761"/>
                  </a:lnTo>
                  <a:lnTo>
                    <a:pt x="2950" y="778"/>
                  </a:lnTo>
                  <a:lnTo>
                    <a:pt x="2952" y="793"/>
                  </a:lnTo>
                  <a:lnTo>
                    <a:pt x="2952" y="793"/>
                  </a:lnTo>
                  <a:lnTo>
                    <a:pt x="2951" y="804"/>
                  </a:lnTo>
                  <a:lnTo>
                    <a:pt x="2949" y="815"/>
                  </a:lnTo>
                  <a:lnTo>
                    <a:pt x="2946" y="827"/>
                  </a:lnTo>
                  <a:lnTo>
                    <a:pt x="2942" y="839"/>
                  </a:lnTo>
                  <a:lnTo>
                    <a:pt x="2933" y="863"/>
                  </a:lnTo>
                  <a:lnTo>
                    <a:pt x="2925" y="877"/>
                  </a:lnTo>
                  <a:lnTo>
                    <a:pt x="3120" y="962"/>
                  </a:lnTo>
                  <a:close/>
                  <a:moveTo>
                    <a:pt x="4480" y="887"/>
                  </a:moveTo>
                  <a:lnTo>
                    <a:pt x="4715" y="773"/>
                  </a:lnTo>
                  <a:lnTo>
                    <a:pt x="4477" y="674"/>
                  </a:lnTo>
                  <a:lnTo>
                    <a:pt x="4477" y="674"/>
                  </a:lnTo>
                  <a:lnTo>
                    <a:pt x="4404" y="675"/>
                  </a:lnTo>
                  <a:lnTo>
                    <a:pt x="4312" y="676"/>
                  </a:lnTo>
                  <a:lnTo>
                    <a:pt x="4201" y="675"/>
                  </a:lnTo>
                  <a:lnTo>
                    <a:pt x="4076" y="673"/>
                  </a:lnTo>
                  <a:lnTo>
                    <a:pt x="3783" y="667"/>
                  </a:lnTo>
                  <a:lnTo>
                    <a:pt x="3449" y="660"/>
                  </a:lnTo>
                  <a:lnTo>
                    <a:pt x="3252" y="916"/>
                  </a:lnTo>
                  <a:lnTo>
                    <a:pt x="3252" y="916"/>
                  </a:lnTo>
                  <a:lnTo>
                    <a:pt x="3986" y="900"/>
                  </a:lnTo>
                  <a:lnTo>
                    <a:pt x="4276" y="894"/>
                  </a:lnTo>
                  <a:lnTo>
                    <a:pt x="4480" y="887"/>
                  </a:lnTo>
                  <a:close/>
                  <a:moveTo>
                    <a:pt x="4171" y="2139"/>
                  </a:moveTo>
                  <a:lnTo>
                    <a:pt x="4171" y="2139"/>
                  </a:lnTo>
                  <a:lnTo>
                    <a:pt x="4105" y="2106"/>
                  </a:lnTo>
                  <a:lnTo>
                    <a:pt x="4042" y="2073"/>
                  </a:lnTo>
                  <a:lnTo>
                    <a:pt x="3983" y="2042"/>
                  </a:lnTo>
                  <a:lnTo>
                    <a:pt x="3954" y="2025"/>
                  </a:lnTo>
                  <a:lnTo>
                    <a:pt x="3926" y="2008"/>
                  </a:lnTo>
                  <a:lnTo>
                    <a:pt x="3900" y="1991"/>
                  </a:lnTo>
                  <a:lnTo>
                    <a:pt x="3875" y="1973"/>
                  </a:lnTo>
                  <a:lnTo>
                    <a:pt x="3852" y="1954"/>
                  </a:lnTo>
                  <a:lnTo>
                    <a:pt x="3829" y="1934"/>
                  </a:lnTo>
                  <a:lnTo>
                    <a:pt x="3809" y="1914"/>
                  </a:lnTo>
                  <a:lnTo>
                    <a:pt x="3789" y="1893"/>
                  </a:lnTo>
                  <a:lnTo>
                    <a:pt x="3772" y="1869"/>
                  </a:lnTo>
                  <a:lnTo>
                    <a:pt x="3756" y="1845"/>
                  </a:lnTo>
                  <a:lnTo>
                    <a:pt x="3756" y="1845"/>
                  </a:lnTo>
                  <a:lnTo>
                    <a:pt x="3750" y="1832"/>
                  </a:lnTo>
                  <a:lnTo>
                    <a:pt x="3743" y="1819"/>
                  </a:lnTo>
                  <a:lnTo>
                    <a:pt x="3738" y="1805"/>
                  </a:lnTo>
                  <a:lnTo>
                    <a:pt x="3733" y="1790"/>
                  </a:lnTo>
                  <a:lnTo>
                    <a:pt x="3729" y="1775"/>
                  </a:lnTo>
                  <a:lnTo>
                    <a:pt x="3726" y="1760"/>
                  </a:lnTo>
                  <a:lnTo>
                    <a:pt x="3723" y="1743"/>
                  </a:lnTo>
                  <a:lnTo>
                    <a:pt x="3721" y="1727"/>
                  </a:lnTo>
                  <a:lnTo>
                    <a:pt x="3720" y="1711"/>
                  </a:lnTo>
                  <a:lnTo>
                    <a:pt x="3719" y="1693"/>
                  </a:lnTo>
                  <a:lnTo>
                    <a:pt x="3719" y="1677"/>
                  </a:lnTo>
                  <a:lnTo>
                    <a:pt x="3720" y="1659"/>
                  </a:lnTo>
                  <a:lnTo>
                    <a:pt x="3721" y="1641"/>
                  </a:lnTo>
                  <a:lnTo>
                    <a:pt x="3724" y="1624"/>
                  </a:lnTo>
                  <a:lnTo>
                    <a:pt x="3726" y="1606"/>
                  </a:lnTo>
                  <a:lnTo>
                    <a:pt x="3730" y="1589"/>
                  </a:lnTo>
                  <a:lnTo>
                    <a:pt x="3734" y="1571"/>
                  </a:lnTo>
                  <a:lnTo>
                    <a:pt x="3740" y="1554"/>
                  </a:lnTo>
                  <a:lnTo>
                    <a:pt x="3745" y="1537"/>
                  </a:lnTo>
                  <a:lnTo>
                    <a:pt x="3753" y="1519"/>
                  </a:lnTo>
                  <a:lnTo>
                    <a:pt x="3761" y="1503"/>
                  </a:lnTo>
                  <a:lnTo>
                    <a:pt x="3769" y="1487"/>
                  </a:lnTo>
                  <a:lnTo>
                    <a:pt x="3778" y="1470"/>
                  </a:lnTo>
                  <a:lnTo>
                    <a:pt x="3788" y="1454"/>
                  </a:lnTo>
                  <a:lnTo>
                    <a:pt x="3800" y="1439"/>
                  </a:lnTo>
                  <a:lnTo>
                    <a:pt x="3812" y="1424"/>
                  </a:lnTo>
                  <a:lnTo>
                    <a:pt x="3824" y="1410"/>
                  </a:lnTo>
                  <a:lnTo>
                    <a:pt x="3839" y="1396"/>
                  </a:lnTo>
                  <a:lnTo>
                    <a:pt x="3853" y="1382"/>
                  </a:lnTo>
                  <a:lnTo>
                    <a:pt x="3868" y="1370"/>
                  </a:lnTo>
                  <a:lnTo>
                    <a:pt x="3885" y="1358"/>
                  </a:lnTo>
                  <a:lnTo>
                    <a:pt x="3902" y="1347"/>
                  </a:lnTo>
                  <a:lnTo>
                    <a:pt x="3902" y="1347"/>
                  </a:lnTo>
                  <a:lnTo>
                    <a:pt x="3910" y="1355"/>
                  </a:lnTo>
                  <a:lnTo>
                    <a:pt x="3917" y="1363"/>
                  </a:lnTo>
                  <a:lnTo>
                    <a:pt x="3922" y="1370"/>
                  </a:lnTo>
                  <a:lnTo>
                    <a:pt x="3927" y="1378"/>
                  </a:lnTo>
                  <a:lnTo>
                    <a:pt x="3936" y="1394"/>
                  </a:lnTo>
                  <a:lnTo>
                    <a:pt x="3941" y="1408"/>
                  </a:lnTo>
                  <a:lnTo>
                    <a:pt x="3944" y="1420"/>
                  </a:lnTo>
                  <a:lnTo>
                    <a:pt x="3946" y="1429"/>
                  </a:lnTo>
                  <a:lnTo>
                    <a:pt x="3946" y="1438"/>
                  </a:lnTo>
                  <a:lnTo>
                    <a:pt x="3946" y="1438"/>
                  </a:lnTo>
                  <a:lnTo>
                    <a:pt x="3966" y="1438"/>
                  </a:lnTo>
                  <a:lnTo>
                    <a:pt x="3991" y="1438"/>
                  </a:lnTo>
                  <a:lnTo>
                    <a:pt x="4044" y="1434"/>
                  </a:lnTo>
                  <a:lnTo>
                    <a:pt x="4098" y="1432"/>
                  </a:lnTo>
                  <a:lnTo>
                    <a:pt x="4123" y="1431"/>
                  </a:lnTo>
                  <a:lnTo>
                    <a:pt x="4143" y="1431"/>
                  </a:lnTo>
                  <a:lnTo>
                    <a:pt x="4143" y="1431"/>
                  </a:lnTo>
                  <a:lnTo>
                    <a:pt x="4144" y="1417"/>
                  </a:lnTo>
                  <a:lnTo>
                    <a:pt x="4144" y="1400"/>
                  </a:lnTo>
                  <a:lnTo>
                    <a:pt x="4143" y="1382"/>
                  </a:lnTo>
                  <a:lnTo>
                    <a:pt x="4141" y="1364"/>
                  </a:lnTo>
                  <a:lnTo>
                    <a:pt x="4138" y="1344"/>
                  </a:lnTo>
                  <a:lnTo>
                    <a:pt x="4133" y="1325"/>
                  </a:lnTo>
                  <a:lnTo>
                    <a:pt x="4126" y="1307"/>
                  </a:lnTo>
                  <a:lnTo>
                    <a:pt x="4121" y="1297"/>
                  </a:lnTo>
                  <a:lnTo>
                    <a:pt x="4116" y="1288"/>
                  </a:lnTo>
                  <a:lnTo>
                    <a:pt x="4116" y="1288"/>
                  </a:lnTo>
                  <a:lnTo>
                    <a:pt x="4134" y="1302"/>
                  </a:lnTo>
                  <a:lnTo>
                    <a:pt x="4150" y="1315"/>
                  </a:lnTo>
                  <a:lnTo>
                    <a:pt x="4165" y="1328"/>
                  </a:lnTo>
                  <a:lnTo>
                    <a:pt x="4172" y="1335"/>
                  </a:lnTo>
                  <a:lnTo>
                    <a:pt x="4178" y="1343"/>
                  </a:lnTo>
                  <a:lnTo>
                    <a:pt x="4184" y="1352"/>
                  </a:lnTo>
                  <a:lnTo>
                    <a:pt x="4189" y="1361"/>
                  </a:lnTo>
                  <a:lnTo>
                    <a:pt x="4194" y="1370"/>
                  </a:lnTo>
                  <a:lnTo>
                    <a:pt x="4198" y="1380"/>
                  </a:lnTo>
                  <a:lnTo>
                    <a:pt x="4203" y="1392"/>
                  </a:lnTo>
                  <a:lnTo>
                    <a:pt x="4206" y="1404"/>
                  </a:lnTo>
                  <a:lnTo>
                    <a:pt x="4209" y="1417"/>
                  </a:lnTo>
                  <a:lnTo>
                    <a:pt x="4212" y="1431"/>
                  </a:lnTo>
                  <a:lnTo>
                    <a:pt x="4212" y="1431"/>
                  </a:lnTo>
                  <a:lnTo>
                    <a:pt x="4390" y="1438"/>
                  </a:lnTo>
                  <a:lnTo>
                    <a:pt x="4390" y="1438"/>
                  </a:lnTo>
                  <a:lnTo>
                    <a:pt x="4390" y="1421"/>
                  </a:lnTo>
                  <a:lnTo>
                    <a:pt x="4389" y="1406"/>
                  </a:lnTo>
                  <a:lnTo>
                    <a:pt x="4386" y="1391"/>
                  </a:lnTo>
                  <a:lnTo>
                    <a:pt x="4381" y="1376"/>
                  </a:lnTo>
                  <a:lnTo>
                    <a:pt x="4376" y="1363"/>
                  </a:lnTo>
                  <a:lnTo>
                    <a:pt x="4370" y="1350"/>
                  </a:lnTo>
                  <a:lnTo>
                    <a:pt x="4362" y="1338"/>
                  </a:lnTo>
                  <a:lnTo>
                    <a:pt x="4353" y="1326"/>
                  </a:lnTo>
                  <a:lnTo>
                    <a:pt x="4353" y="1326"/>
                  </a:lnTo>
                  <a:lnTo>
                    <a:pt x="4370" y="1334"/>
                  </a:lnTo>
                  <a:lnTo>
                    <a:pt x="4388" y="1342"/>
                  </a:lnTo>
                  <a:lnTo>
                    <a:pt x="4403" y="1352"/>
                  </a:lnTo>
                  <a:lnTo>
                    <a:pt x="4418" y="1361"/>
                  </a:lnTo>
                  <a:lnTo>
                    <a:pt x="4433" y="1371"/>
                  </a:lnTo>
                  <a:lnTo>
                    <a:pt x="4447" y="1381"/>
                  </a:lnTo>
                  <a:lnTo>
                    <a:pt x="4459" y="1392"/>
                  </a:lnTo>
                  <a:lnTo>
                    <a:pt x="4471" y="1403"/>
                  </a:lnTo>
                  <a:lnTo>
                    <a:pt x="4483" y="1414"/>
                  </a:lnTo>
                  <a:lnTo>
                    <a:pt x="4494" y="1426"/>
                  </a:lnTo>
                  <a:lnTo>
                    <a:pt x="4504" y="1439"/>
                  </a:lnTo>
                  <a:lnTo>
                    <a:pt x="4513" y="1451"/>
                  </a:lnTo>
                  <a:lnTo>
                    <a:pt x="4522" y="1463"/>
                  </a:lnTo>
                  <a:lnTo>
                    <a:pt x="4530" y="1475"/>
                  </a:lnTo>
                  <a:lnTo>
                    <a:pt x="4544" y="1501"/>
                  </a:lnTo>
                  <a:lnTo>
                    <a:pt x="4556" y="1526"/>
                  </a:lnTo>
                  <a:lnTo>
                    <a:pt x="4567" y="1551"/>
                  </a:lnTo>
                  <a:lnTo>
                    <a:pt x="4574" y="1577"/>
                  </a:lnTo>
                  <a:lnTo>
                    <a:pt x="4580" y="1600"/>
                  </a:lnTo>
                  <a:lnTo>
                    <a:pt x="4584" y="1624"/>
                  </a:lnTo>
                  <a:lnTo>
                    <a:pt x="4587" y="1646"/>
                  </a:lnTo>
                  <a:lnTo>
                    <a:pt x="4588" y="1667"/>
                  </a:lnTo>
                  <a:lnTo>
                    <a:pt x="4588" y="1685"/>
                  </a:lnTo>
                  <a:lnTo>
                    <a:pt x="4588" y="1685"/>
                  </a:lnTo>
                  <a:lnTo>
                    <a:pt x="4588" y="1711"/>
                  </a:lnTo>
                  <a:lnTo>
                    <a:pt x="4587" y="1737"/>
                  </a:lnTo>
                  <a:lnTo>
                    <a:pt x="4583" y="1762"/>
                  </a:lnTo>
                  <a:lnTo>
                    <a:pt x="4578" y="1787"/>
                  </a:lnTo>
                  <a:lnTo>
                    <a:pt x="4571" y="1811"/>
                  </a:lnTo>
                  <a:lnTo>
                    <a:pt x="4562" y="1834"/>
                  </a:lnTo>
                  <a:lnTo>
                    <a:pt x="4553" y="1857"/>
                  </a:lnTo>
                  <a:lnTo>
                    <a:pt x="4542" y="1878"/>
                  </a:lnTo>
                  <a:lnTo>
                    <a:pt x="4530" y="1900"/>
                  </a:lnTo>
                  <a:lnTo>
                    <a:pt x="4515" y="1919"/>
                  </a:lnTo>
                  <a:lnTo>
                    <a:pt x="4501" y="1939"/>
                  </a:lnTo>
                  <a:lnTo>
                    <a:pt x="4485" y="1956"/>
                  </a:lnTo>
                  <a:lnTo>
                    <a:pt x="4468" y="1972"/>
                  </a:lnTo>
                  <a:lnTo>
                    <a:pt x="4450" y="1988"/>
                  </a:lnTo>
                  <a:lnTo>
                    <a:pt x="4432" y="2002"/>
                  </a:lnTo>
                  <a:lnTo>
                    <a:pt x="4412" y="2015"/>
                  </a:lnTo>
                  <a:lnTo>
                    <a:pt x="4412" y="2015"/>
                  </a:lnTo>
                  <a:lnTo>
                    <a:pt x="4377" y="2036"/>
                  </a:lnTo>
                  <a:lnTo>
                    <a:pt x="4345" y="2054"/>
                  </a:lnTo>
                  <a:lnTo>
                    <a:pt x="4313" y="2071"/>
                  </a:lnTo>
                  <a:lnTo>
                    <a:pt x="4282" y="2087"/>
                  </a:lnTo>
                  <a:lnTo>
                    <a:pt x="4225" y="2114"/>
                  </a:lnTo>
                  <a:lnTo>
                    <a:pt x="4171" y="2139"/>
                  </a:lnTo>
                  <a:close/>
                  <a:moveTo>
                    <a:pt x="3989" y="3389"/>
                  </a:moveTo>
                  <a:lnTo>
                    <a:pt x="3989" y="3389"/>
                  </a:lnTo>
                  <a:lnTo>
                    <a:pt x="3970" y="3382"/>
                  </a:lnTo>
                  <a:lnTo>
                    <a:pt x="3970" y="3382"/>
                  </a:lnTo>
                  <a:lnTo>
                    <a:pt x="3967" y="3380"/>
                  </a:lnTo>
                  <a:lnTo>
                    <a:pt x="3967" y="3380"/>
                  </a:lnTo>
                  <a:lnTo>
                    <a:pt x="3989" y="3389"/>
                  </a:lnTo>
                  <a:close/>
                  <a:moveTo>
                    <a:pt x="2262" y="1056"/>
                  </a:moveTo>
                  <a:lnTo>
                    <a:pt x="2262" y="1056"/>
                  </a:lnTo>
                  <a:lnTo>
                    <a:pt x="2262" y="1057"/>
                  </a:lnTo>
                  <a:lnTo>
                    <a:pt x="2261" y="1059"/>
                  </a:lnTo>
                  <a:lnTo>
                    <a:pt x="2257" y="1061"/>
                  </a:lnTo>
                  <a:lnTo>
                    <a:pt x="2251" y="1064"/>
                  </a:lnTo>
                  <a:lnTo>
                    <a:pt x="2241" y="1066"/>
                  </a:lnTo>
                  <a:lnTo>
                    <a:pt x="2219" y="1072"/>
                  </a:lnTo>
                  <a:lnTo>
                    <a:pt x="2191" y="1077"/>
                  </a:lnTo>
                  <a:lnTo>
                    <a:pt x="2164" y="1081"/>
                  </a:lnTo>
                  <a:lnTo>
                    <a:pt x="2138" y="1083"/>
                  </a:lnTo>
                  <a:lnTo>
                    <a:pt x="2120" y="1083"/>
                  </a:lnTo>
                  <a:lnTo>
                    <a:pt x="2113" y="1082"/>
                  </a:lnTo>
                  <a:lnTo>
                    <a:pt x="2109" y="1081"/>
                  </a:lnTo>
                  <a:lnTo>
                    <a:pt x="2109" y="1081"/>
                  </a:lnTo>
                  <a:lnTo>
                    <a:pt x="2106" y="1079"/>
                  </a:lnTo>
                  <a:lnTo>
                    <a:pt x="2104" y="1075"/>
                  </a:lnTo>
                  <a:lnTo>
                    <a:pt x="2101" y="1064"/>
                  </a:lnTo>
                  <a:lnTo>
                    <a:pt x="2098" y="1052"/>
                  </a:lnTo>
                  <a:lnTo>
                    <a:pt x="2096" y="1038"/>
                  </a:lnTo>
                  <a:lnTo>
                    <a:pt x="2096" y="1023"/>
                  </a:lnTo>
                  <a:lnTo>
                    <a:pt x="2096" y="1010"/>
                  </a:lnTo>
                  <a:lnTo>
                    <a:pt x="2097" y="1000"/>
                  </a:lnTo>
                  <a:lnTo>
                    <a:pt x="2098" y="995"/>
                  </a:lnTo>
                  <a:lnTo>
                    <a:pt x="2100" y="992"/>
                  </a:lnTo>
                  <a:lnTo>
                    <a:pt x="2100" y="992"/>
                  </a:lnTo>
                  <a:lnTo>
                    <a:pt x="2101" y="991"/>
                  </a:lnTo>
                  <a:lnTo>
                    <a:pt x="2103" y="989"/>
                  </a:lnTo>
                  <a:lnTo>
                    <a:pt x="2109" y="988"/>
                  </a:lnTo>
                  <a:lnTo>
                    <a:pt x="2118" y="987"/>
                  </a:lnTo>
                  <a:lnTo>
                    <a:pt x="2128" y="987"/>
                  </a:lnTo>
                  <a:lnTo>
                    <a:pt x="2139" y="988"/>
                  </a:lnTo>
                  <a:lnTo>
                    <a:pt x="2151" y="990"/>
                  </a:lnTo>
                  <a:lnTo>
                    <a:pt x="2165" y="993"/>
                  </a:lnTo>
                  <a:lnTo>
                    <a:pt x="2179" y="997"/>
                  </a:lnTo>
                  <a:lnTo>
                    <a:pt x="2192" y="1002"/>
                  </a:lnTo>
                  <a:lnTo>
                    <a:pt x="2206" y="1007"/>
                  </a:lnTo>
                  <a:lnTo>
                    <a:pt x="2219" y="1014"/>
                  </a:lnTo>
                  <a:lnTo>
                    <a:pt x="2231" y="1021"/>
                  </a:lnTo>
                  <a:lnTo>
                    <a:pt x="2241" y="1029"/>
                  </a:lnTo>
                  <a:lnTo>
                    <a:pt x="2251" y="1038"/>
                  </a:lnTo>
                  <a:lnTo>
                    <a:pt x="2258" y="1047"/>
                  </a:lnTo>
                  <a:lnTo>
                    <a:pt x="2260" y="1051"/>
                  </a:lnTo>
                  <a:lnTo>
                    <a:pt x="2262" y="1056"/>
                  </a:lnTo>
                  <a:close/>
                  <a:moveTo>
                    <a:pt x="4842" y="2915"/>
                  </a:moveTo>
                  <a:lnTo>
                    <a:pt x="4842" y="2915"/>
                  </a:lnTo>
                  <a:lnTo>
                    <a:pt x="4862" y="2919"/>
                  </a:lnTo>
                  <a:lnTo>
                    <a:pt x="4881" y="2921"/>
                  </a:lnTo>
                  <a:lnTo>
                    <a:pt x="4900" y="2922"/>
                  </a:lnTo>
                  <a:lnTo>
                    <a:pt x="4916" y="2921"/>
                  </a:lnTo>
                  <a:lnTo>
                    <a:pt x="4932" y="2919"/>
                  </a:lnTo>
                  <a:lnTo>
                    <a:pt x="4946" y="2916"/>
                  </a:lnTo>
                  <a:lnTo>
                    <a:pt x="4958" y="2911"/>
                  </a:lnTo>
                  <a:lnTo>
                    <a:pt x="4969" y="2905"/>
                  </a:lnTo>
                  <a:lnTo>
                    <a:pt x="4969" y="2905"/>
                  </a:lnTo>
                  <a:lnTo>
                    <a:pt x="4967" y="2879"/>
                  </a:lnTo>
                  <a:lnTo>
                    <a:pt x="4960" y="2819"/>
                  </a:lnTo>
                  <a:lnTo>
                    <a:pt x="4951" y="2746"/>
                  </a:lnTo>
                  <a:lnTo>
                    <a:pt x="4946" y="2714"/>
                  </a:lnTo>
                  <a:lnTo>
                    <a:pt x="4940" y="2686"/>
                  </a:lnTo>
                  <a:lnTo>
                    <a:pt x="4940" y="2686"/>
                  </a:lnTo>
                  <a:lnTo>
                    <a:pt x="4922" y="2689"/>
                  </a:lnTo>
                  <a:lnTo>
                    <a:pt x="4902" y="2692"/>
                  </a:lnTo>
                  <a:lnTo>
                    <a:pt x="4891" y="2692"/>
                  </a:lnTo>
                  <a:lnTo>
                    <a:pt x="4879" y="2692"/>
                  </a:lnTo>
                  <a:lnTo>
                    <a:pt x="4867" y="2691"/>
                  </a:lnTo>
                  <a:lnTo>
                    <a:pt x="4855" y="2689"/>
                  </a:lnTo>
                  <a:lnTo>
                    <a:pt x="4843" y="2686"/>
                  </a:lnTo>
                  <a:lnTo>
                    <a:pt x="4830" y="2682"/>
                  </a:lnTo>
                  <a:lnTo>
                    <a:pt x="4818" y="2677"/>
                  </a:lnTo>
                  <a:lnTo>
                    <a:pt x="4806" y="2670"/>
                  </a:lnTo>
                  <a:lnTo>
                    <a:pt x="4794" y="2660"/>
                  </a:lnTo>
                  <a:lnTo>
                    <a:pt x="4782" y="2650"/>
                  </a:lnTo>
                  <a:lnTo>
                    <a:pt x="4771" y="2638"/>
                  </a:lnTo>
                  <a:lnTo>
                    <a:pt x="4761" y="2624"/>
                  </a:lnTo>
                  <a:lnTo>
                    <a:pt x="4761" y="2624"/>
                  </a:lnTo>
                  <a:lnTo>
                    <a:pt x="4743" y="2595"/>
                  </a:lnTo>
                  <a:lnTo>
                    <a:pt x="4724" y="2567"/>
                  </a:lnTo>
                  <a:lnTo>
                    <a:pt x="4724" y="2567"/>
                  </a:lnTo>
                  <a:lnTo>
                    <a:pt x="4703" y="2539"/>
                  </a:lnTo>
                  <a:lnTo>
                    <a:pt x="4680" y="2511"/>
                  </a:lnTo>
                  <a:lnTo>
                    <a:pt x="4658" y="2485"/>
                  </a:lnTo>
                  <a:lnTo>
                    <a:pt x="4634" y="2459"/>
                  </a:lnTo>
                  <a:lnTo>
                    <a:pt x="4611" y="2435"/>
                  </a:lnTo>
                  <a:lnTo>
                    <a:pt x="4586" y="2412"/>
                  </a:lnTo>
                  <a:lnTo>
                    <a:pt x="4562" y="2389"/>
                  </a:lnTo>
                  <a:lnTo>
                    <a:pt x="4538" y="2369"/>
                  </a:lnTo>
                  <a:lnTo>
                    <a:pt x="4513" y="2349"/>
                  </a:lnTo>
                  <a:lnTo>
                    <a:pt x="4489" y="2329"/>
                  </a:lnTo>
                  <a:lnTo>
                    <a:pt x="4463" y="2311"/>
                  </a:lnTo>
                  <a:lnTo>
                    <a:pt x="4439" y="2292"/>
                  </a:lnTo>
                  <a:lnTo>
                    <a:pt x="4413" y="2276"/>
                  </a:lnTo>
                  <a:lnTo>
                    <a:pt x="4389" y="2260"/>
                  </a:lnTo>
                  <a:lnTo>
                    <a:pt x="4337" y="2228"/>
                  </a:lnTo>
                  <a:lnTo>
                    <a:pt x="4337" y="2228"/>
                  </a:lnTo>
                  <a:lnTo>
                    <a:pt x="4381" y="2205"/>
                  </a:lnTo>
                  <a:lnTo>
                    <a:pt x="4422" y="2183"/>
                  </a:lnTo>
                  <a:lnTo>
                    <a:pt x="4459" y="2160"/>
                  </a:lnTo>
                  <a:lnTo>
                    <a:pt x="4492" y="2139"/>
                  </a:lnTo>
                  <a:lnTo>
                    <a:pt x="4523" y="2117"/>
                  </a:lnTo>
                  <a:lnTo>
                    <a:pt x="4549" y="2096"/>
                  </a:lnTo>
                  <a:lnTo>
                    <a:pt x="4574" y="2076"/>
                  </a:lnTo>
                  <a:lnTo>
                    <a:pt x="4595" y="2055"/>
                  </a:lnTo>
                  <a:lnTo>
                    <a:pt x="4615" y="2036"/>
                  </a:lnTo>
                  <a:lnTo>
                    <a:pt x="4632" y="2017"/>
                  </a:lnTo>
                  <a:lnTo>
                    <a:pt x="4647" y="1999"/>
                  </a:lnTo>
                  <a:lnTo>
                    <a:pt x="4661" y="1981"/>
                  </a:lnTo>
                  <a:lnTo>
                    <a:pt x="4673" y="1965"/>
                  </a:lnTo>
                  <a:lnTo>
                    <a:pt x="4683" y="1950"/>
                  </a:lnTo>
                  <a:lnTo>
                    <a:pt x="4700" y="1922"/>
                  </a:lnTo>
                  <a:lnTo>
                    <a:pt x="4700" y="1922"/>
                  </a:lnTo>
                  <a:lnTo>
                    <a:pt x="4708" y="1910"/>
                  </a:lnTo>
                  <a:lnTo>
                    <a:pt x="4714" y="1896"/>
                  </a:lnTo>
                  <a:lnTo>
                    <a:pt x="4721" y="1880"/>
                  </a:lnTo>
                  <a:lnTo>
                    <a:pt x="4727" y="1864"/>
                  </a:lnTo>
                  <a:lnTo>
                    <a:pt x="4733" y="1845"/>
                  </a:lnTo>
                  <a:lnTo>
                    <a:pt x="4739" y="1826"/>
                  </a:lnTo>
                  <a:lnTo>
                    <a:pt x="4743" y="1806"/>
                  </a:lnTo>
                  <a:lnTo>
                    <a:pt x="4749" y="1785"/>
                  </a:lnTo>
                  <a:lnTo>
                    <a:pt x="4753" y="1763"/>
                  </a:lnTo>
                  <a:lnTo>
                    <a:pt x="4756" y="1740"/>
                  </a:lnTo>
                  <a:lnTo>
                    <a:pt x="4758" y="1716"/>
                  </a:lnTo>
                  <a:lnTo>
                    <a:pt x="4759" y="1692"/>
                  </a:lnTo>
                  <a:lnTo>
                    <a:pt x="4760" y="1667"/>
                  </a:lnTo>
                  <a:lnTo>
                    <a:pt x="4759" y="1642"/>
                  </a:lnTo>
                  <a:lnTo>
                    <a:pt x="4758" y="1616"/>
                  </a:lnTo>
                  <a:lnTo>
                    <a:pt x="4755" y="1590"/>
                  </a:lnTo>
                  <a:lnTo>
                    <a:pt x="4751" y="1564"/>
                  </a:lnTo>
                  <a:lnTo>
                    <a:pt x="4745" y="1538"/>
                  </a:lnTo>
                  <a:lnTo>
                    <a:pt x="4738" y="1511"/>
                  </a:lnTo>
                  <a:lnTo>
                    <a:pt x="4730" y="1486"/>
                  </a:lnTo>
                  <a:lnTo>
                    <a:pt x="4720" y="1459"/>
                  </a:lnTo>
                  <a:lnTo>
                    <a:pt x="4709" y="1433"/>
                  </a:lnTo>
                  <a:lnTo>
                    <a:pt x="4695" y="1408"/>
                  </a:lnTo>
                  <a:lnTo>
                    <a:pt x="4681" y="1383"/>
                  </a:lnTo>
                  <a:lnTo>
                    <a:pt x="4665" y="1359"/>
                  </a:lnTo>
                  <a:lnTo>
                    <a:pt x="4646" y="1334"/>
                  </a:lnTo>
                  <a:lnTo>
                    <a:pt x="4625" y="1311"/>
                  </a:lnTo>
                  <a:lnTo>
                    <a:pt x="4602" y="1288"/>
                  </a:lnTo>
                  <a:lnTo>
                    <a:pt x="4578" y="1267"/>
                  </a:lnTo>
                  <a:lnTo>
                    <a:pt x="4551" y="1246"/>
                  </a:lnTo>
                  <a:lnTo>
                    <a:pt x="4522" y="1227"/>
                  </a:lnTo>
                  <a:lnTo>
                    <a:pt x="4490" y="1207"/>
                  </a:lnTo>
                  <a:lnTo>
                    <a:pt x="4490" y="1207"/>
                  </a:lnTo>
                  <a:lnTo>
                    <a:pt x="4466" y="1195"/>
                  </a:lnTo>
                  <a:lnTo>
                    <a:pt x="4443" y="1184"/>
                  </a:lnTo>
                  <a:lnTo>
                    <a:pt x="4419" y="1174"/>
                  </a:lnTo>
                  <a:lnTo>
                    <a:pt x="4396" y="1165"/>
                  </a:lnTo>
                  <a:lnTo>
                    <a:pt x="4372" y="1156"/>
                  </a:lnTo>
                  <a:lnTo>
                    <a:pt x="4348" y="1149"/>
                  </a:lnTo>
                  <a:lnTo>
                    <a:pt x="4325" y="1143"/>
                  </a:lnTo>
                  <a:lnTo>
                    <a:pt x="4302" y="1138"/>
                  </a:lnTo>
                  <a:lnTo>
                    <a:pt x="4278" y="1133"/>
                  </a:lnTo>
                  <a:lnTo>
                    <a:pt x="4256" y="1130"/>
                  </a:lnTo>
                  <a:lnTo>
                    <a:pt x="4233" y="1127"/>
                  </a:lnTo>
                  <a:lnTo>
                    <a:pt x="4211" y="1125"/>
                  </a:lnTo>
                  <a:lnTo>
                    <a:pt x="4188" y="1123"/>
                  </a:lnTo>
                  <a:lnTo>
                    <a:pt x="4167" y="1123"/>
                  </a:lnTo>
                  <a:lnTo>
                    <a:pt x="4145" y="1123"/>
                  </a:lnTo>
                  <a:lnTo>
                    <a:pt x="4124" y="1123"/>
                  </a:lnTo>
                  <a:lnTo>
                    <a:pt x="4083" y="1126"/>
                  </a:lnTo>
                  <a:lnTo>
                    <a:pt x="4044" y="1130"/>
                  </a:lnTo>
                  <a:lnTo>
                    <a:pt x="4007" y="1136"/>
                  </a:lnTo>
                  <a:lnTo>
                    <a:pt x="3973" y="1144"/>
                  </a:lnTo>
                  <a:lnTo>
                    <a:pt x="3941" y="1152"/>
                  </a:lnTo>
                  <a:lnTo>
                    <a:pt x="3912" y="1161"/>
                  </a:lnTo>
                  <a:lnTo>
                    <a:pt x="3887" y="1172"/>
                  </a:lnTo>
                  <a:lnTo>
                    <a:pt x="3864" y="1181"/>
                  </a:lnTo>
                  <a:lnTo>
                    <a:pt x="3864" y="1181"/>
                  </a:lnTo>
                  <a:lnTo>
                    <a:pt x="3844" y="1191"/>
                  </a:lnTo>
                  <a:lnTo>
                    <a:pt x="3824" y="1201"/>
                  </a:lnTo>
                  <a:lnTo>
                    <a:pt x="3806" y="1213"/>
                  </a:lnTo>
                  <a:lnTo>
                    <a:pt x="3787" y="1224"/>
                  </a:lnTo>
                  <a:lnTo>
                    <a:pt x="3769" y="1237"/>
                  </a:lnTo>
                  <a:lnTo>
                    <a:pt x="3752" y="1249"/>
                  </a:lnTo>
                  <a:lnTo>
                    <a:pt x="3735" y="1264"/>
                  </a:lnTo>
                  <a:lnTo>
                    <a:pt x="3719" y="1278"/>
                  </a:lnTo>
                  <a:lnTo>
                    <a:pt x="3703" y="1293"/>
                  </a:lnTo>
                  <a:lnTo>
                    <a:pt x="3687" y="1309"/>
                  </a:lnTo>
                  <a:lnTo>
                    <a:pt x="3673" y="1325"/>
                  </a:lnTo>
                  <a:lnTo>
                    <a:pt x="3659" y="1341"/>
                  </a:lnTo>
                  <a:lnTo>
                    <a:pt x="3645" y="1359"/>
                  </a:lnTo>
                  <a:lnTo>
                    <a:pt x="3633" y="1377"/>
                  </a:lnTo>
                  <a:lnTo>
                    <a:pt x="3621" y="1396"/>
                  </a:lnTo>
                  <a:lnTo>
                    <a:pt x="3609" y="1415"/>
                  </a:lnTo>
                  <a:lnTo>
                    <a:pt x="3599" y="1434"/>
                  </a:lnTo>
                  <a:lnTo>
                    <a:pt x="3589" y="1455"/>
                  </a:lnTo>
                  <a:lnTo>
                    <a:pt x="3581" y="1475"/>
                  </a:lnTo>
                  <a:lnTo>
                    <a:pt x="3573" y="1497"/>
                  </a:lnTo>
                  <a:lnTo>
                    <a:pt x="3565" y="1518"/>
                  </a:lnTo>
                  <a:lnTo>
                    <a:pt x="3559" y="1541"/>
                  </a:lnTo>
                  <a:lnTo>
                    <a:pt x="3554" y="1563"/>
                  </a:lnTo>
                  <a:lnTo>
                    <a:pt x="3550" y="1586"/>
                  </a:lnTo>
                  <a:lnTo>
                    <a:pt x="3547" y="1609"/>
                  </a:lnTo>
                  <a:lnTo>
                    <a:pt x="3545" y="1634"/>
                  </a:lnTo>
                  <a:lnTo>
                    <a:pt x="3544" y="1658"/>
                  </a:lnTo>
                  <a:lnTo>
                    <a:pt x="3543" y="1683"/>
                  </a:lnTo>
                  <a:lnTo>
                    <a:pt x="3544" y="1708"/>
                  </a:lnTo>
                  <a:lnTo>
                    <a:pt x="3546" y="1734"/>
                  </a:lnTo>
                  <a:lnTo>
                    <a:pt x="3550" y="1760"/>
                  </a:lnTo>
                  <a:lnTo>
                    <a:pt x="3554" y="1786"/>
                  </a:lnTo>
                  <a:lnTo>
                    <a:pt x="3554" y="1786"/>
                  </a:lnTo>
                  <a:lnTo>
                    <a:pt x="3559" y="1810"/>
                  </a:lnTo>
                  <a:lnTo>
                    <a:pt x="3564" y="1831"/>
                  </a:lnTo>
                  <a:lnTo>
                    <a:pt x="3571" y="1853"/>
                  </a:lnTo>
                  <a:lnTo>
                    <a:pt x="3577" y="1873"/>
                  </a:lnTo>
                  <a:lnTo>
                    <a:pt x="3585" y="1893"/>
                  </a:lnTo>
                  <a:lnTo>
                    <a:pt x="3592" y="1911"/>
                  </a:lnTo>
                  <a:lnTo>
                    <a:pt x="3601" y="1929"/>
                  </a:lnTo>
                  <a:lnTo>
                    <a:pt x="3610" y="1947"/>
                  </a:lnTo>
                  <a:lnTo>
                    <a:pt x="3620" y="1963"/>
                  </a:lnTo>
                  <a:lnTo>
                    <a:pt x="3631" y="1978"/>
                  </a:lnTo>
                  <a:lnTo>
                    <a:pt x="3641" y="1994"/>
                  </a:lnTo>
                  <a:lnTo>
                    <a:pt x="3652" y="2009"/>
                  </a:lnTo>
                  <a:lnTo>
                    <a:pt x="3665" y="2023"/>
                  </a:lnTo>
                  <a:lnTo>
                    <a:pt x="3677" y="2037"/>
                  </a:lnTo>
                  <a:lnTo>
                    <a:pt x="3690" y="2050"/>
                  </a:lnTo>
                  <a:lnTo>
                    <a:pt x="3704" y="2062"/>
                  </a:lnTo>
                  <a:lnTo>
                    <a:pt x="3732" y="2087"/>
                  </a:lnTo>
                  <a:lnTo>
                    <a:pt x="3763" y="2109"/>
                  </a:lnTo>
                  <a:lnTo>
                    <a:pt x="3795" y="2131"/>
                  </a:lnTo>
                  <a:lnTo>
                    <a:pt x="3828" y="2151"/>
                  </a:lnTo>
                  <a:lnTo>
                    <a:pt x="3863" y="2172"/>
                  </a:lnTo>
                  <a:lnTo>
                    <a:pt x="3899" y="2191"/>
                  </a:lnTo>
                  <a:lnTo>
                    <a:pt x="3976" y="2229"/>
                  </a:lnTo>
                  <a:lnTo>
                    <a:pt x="3976" y="2229"/>
                  </a:lnTo>
                  <a:lnTo>
                    <a:pt x="3945" y="2246"/>
                  </a:lnTo>
                  <a:lnTo>
                    <a:pt x="3916" y="2263"/>
                  </a:lnTo>
                  <a:lnTo>
                    <a:pt x="3890" y="2280"/>
                  </a:lnTo>
                  <a:lnTo>
                    <a:pt x="3864" y="2298"/>
                  </a:lnTo>
                  <a:lnTo>
                    <a:pt x="3840" y="2318"/>
                  </a:lnTo>
                  <a:lnTo>
                    <a:pt x="3817" y="2337"/>
                  </a:lnTo>
                  <a:lnTo>
                    <a:pt x="3797" y="2358"/>
                  </a:lnTo>
                  <a:lnTo>
                    <a:pt x="3778" y="2379"/>
                  </a:lnTo>
                  <a:lnTo>
                    <a:pt x="3761" y="2403"/>
                  </a:lnTo>
                  <a:lnTo>
                    <a:pt x="3754" y="2415"/>
                  </a:lnTo>
                  <a:lnTo>
                    <a:pt x="3746" y="2427"/>
                  </a:lnTo>
                  <a:lnTo>
                    <a:pt x="3739" y="2440"/>
                  </a:lnTo>
                  <a:lnTo>
                    <a:pt x="3733" y="2453"/>
                  </a:lnTo>
                  <a:lnTo>
                    <a:pt x="3728" y="2466"/>
                  </a:lnTo>
                  <a:lnTo>
                    <a:pt x="3723" y="2480"/>
                  </a:lnTo>
                  <a:lnTo>
                    <a:pt x="3718" y="2495"/>
                  </a:lnTo>
                  <a:lnTo>
                    <a:pt x="3714" y="2510"/>
                  </a:lnTo>
                  <a:lnTo>
                    <a:pt x="3711" y="2525"/>
                  </a:lnTo>
                  <a:lnTo>
                    <a:pt x="3708" y="2541"/>
                  </a:lnTo>
                  <a:lnTo>
                    <a:pt x="3706" y="2557"/>
                  </a:lnTo>
                  <a:lnTo>
                    <a:pt x="3705" y="2574"/>
                  </a:lnTo>
                  <a:lnTo>
                    <a:pt x="3704" y="2592"/>
                  </a:lnTo>
                  <a:lnTo>
                    <a:pt x="3703" y="2609"/>
                  </a:lnTo>
                  <a:lnTo>
                    <a:pt x="3703" y="2609"/>
                  </a:lnTo>
                  <a:lnTo>
                    <a:pt x="3704" y="2632"/>
                  </a:lnTo>
                  <a:lnTo>
                    <a:pt x="3707" y="2655"/>
                  </a:lnTo>
                  <a:lnTo>
                    <a:pt x="3711" y="2678"/>
                  </a:lnTo>
                  <a:lnTo>
                    <a:pt x="3716" y="2701"/>
                  </a:lnTo>
                  <a:lnTo>
                    <a:pt x="3729" y="2749"/>
                  </a:lnTo>
                  <a:lnTo>
                    <a:pt x="3736" y="2775"/>
                  </a:lnTo>
                  <a:lnTo>
                    <a:pt x="3742" y="2801"/>
                  </a:lnTo>
                  <a:lnTo>
                    <a:pt x="3749" y="2830"/>
                  </a:lnTo>
                  <a:lnTo>
                    <a:pt x="3753" y="2859"/>
                  </a:lnTo>
                  <a:lnTo>
                    <a:pt x="3757" y="2889"/>
                  </a:lnTo>
                  <a:lnTo>
                    <a:pt x="3758" y="2922"/>
                  </a:lnTo>
                  <a:lnTo>
                    <a:pt x="3758" y="2957"/>
                  </a:lnTo>
                  <a:lnTo>
                    <a:pt x="3757" y="2975"/>
                  </a:lnTo>
                  <a:lnTo>
                    <a:pt x="3755" y="2994"/>
                  </a:lnTo>
                  <a:lnTo>
                    <a:pt x="3753" y="3012"/>
                  </a:lnTo>
                  <a:lnTo>
                    <a:pt x="3750" y="3033"/>
                  </a:lnTo>
                  <a:lnTo>
                    <a:pt x="3745" y="3053"/>
                  </a:lnTo>
                  <a:lnTo>
                    <a:pt x="3741" y="3073"/>
                  </a:lnTo>
                  <a:lnTo>
                    <a:pt x="3741" y="3073"/>
                  </a:lnTo>
                  <a:lnTo>
                    <a:pt x="3741" y="3075"/>
                  </a:lnTo>
                  <a:lnTo>
                    <a:pt x="3741" y="3076"/>
                  </a:lnTo>
                  <a:lnTo>
                    <a:pt x="3743" y="3076"/>
                  </a:lnTo>
                  <a:lnTo>
                    <a:pt x="3745" y="3078"/>
                  </a:lnTo>
                  <a:lnTo>
                    <a:pt x="3753" y="3075"/>
                  </a:lnTo>
                  <a:lnTo>
                    <a:pt x="3762" y="3073"/>
                  </a:lnTo>
                  <a:lnTo>
                    <a:pt x="3785" y="3063"/>
                  </a:lnTo>
                  <a:lnTo>
                    <a:pt x="3814" y="3051"/>
                  </a:lnTo>
                  <a:lnTo>
                    <a:pt x="3842" y="3036"/>
                  </a:lnTo>
                  <a:lnTo>
                    <a:pt x="3867" y="3022"/>
                  </a:lnTo>
                  <a:lnTo>
                    <a:pt x="3886" y="3011"/>
                  </a:lnTo>
                  <a:lnTo>
                    <a:pt x="3891" y="3007"/>
                  </a:lnTo>
                  <a:lnTo>
                    <a:pt x="3894" y="3005"/>
                  </a:lnTo>
                  <a:lnTo>
                    <a:pt x="3894" y="3005"/>
                  </a:lnTo>
                  <a:lnTo>
                    <a:pt x="3903" y="2981"/>
                  </a:lnTo>
                  <a:lnTo>
                    <a:pt x="3910" y="2958"/>
                  </a:lnTo>
                  <a:lnTo>
                    <a:pt x="3916" y="2934"/>
                  </a:lnTo>
                  <a:lnTo>
                    <a:pt x="3921" y="2910"/>
                  </a:lnTo>
                  <a:lnTo>
                    <a:pt x="3925" y="2886"/>
                  </a:lnTo>
                  <a:lnTo>
                    <a:pt x="3928" y="2863"/>
                  </a:lnTo>
                  <a:lnTo>
                    <a:pt x="3930" y="2840"/>
                  </a:lnTo>
                  <a:lnTo>
                    <a:pt x="3932" y="2818"/>
                  </a:lnTo>
                  <a:lnTo>
                    <a:pt x="3932" y="2779"/>
                  </a:lnTo>
                  <a:lnTo>
                    <a:pt x="3931" y="2748"/>
                  </a:lnTo>
                  <a:lnTo>
                    <a:pt x="3928" y="2721"/>
                  </a:lnTo>
                  <a:lnTo>
                    <a:pt x="3928" y="2721"/>
                  </a:lnTo>
                  <a:lnTo>
                    <a:pt x="3939" y="2730"/>
                  </a:lnTo>
                  <a:lnTo>
                    <a:pt x="3947" y="2741"/>
                  </a:lnTo>
                  <a:lnTo>
                    <a:pt x="3954" y="2753"/>
                  </a:lnTo>
                  <a:lnTo>
                    <a:pt x="3960" y="2767"/>
                  </a:lnTo>
                  <a:lnTo>
                    <a:pt x="3964" y="2782"/>
                  </a:lnTo>
                  <a:lnTo>
                    <a:pt x="3968" y="2797"/>
                  </a:lnTo>
                  <a:lnTo>
                    <a:pt x="3971" y="2814"/>
                  </a:lnTo>
                  <a:lnTo>
                    <a:pt x="3973" y="2830"/>
                  </a:lnTo>
                  <a:lnTo>
                    <a:pt x="3975" y="2847"/>
                  </a:lnTo>
                  <a:lnTo>
                    <a:pt x="3976" y="2865"/>
                  </a:lnTo>
                  <a:lnTo>
                    <a:pt x="3976" y="2881"/>
                  </a:lnTo>
                  <a:lnTo>
                    <a:pt x="3975" y="2899"/>
                  </a:lnTo>
                  <a:lnTo>
                    <a:pt x="3971" y="2930"/>
                  </a:lnTo>
                  <a:lnTo>
                    <a:pt x="3965" y="2959"/>
                  </a:lnTo>
                  <a:lnTo>
                    <a:pt x="3965" y="2959"/>
                  </a:lnTo>
                  <a:lnTo>
                    <a:pt x="3982" y="2950"/>
                  </a:lnTo>
                  <a:lnTo>
                    <a:pt x="3998" y="2938"/>
                  </a:lnTo>
                  <a:lnTo>
                    <a:pt x="4016" y="2925"/>
                  </a:lnTo>
                  <a:lnTo>
                    <a:pt x="4036" y="2911"/>
                  </a:lnTo>
                  <a:lnTo>
                    <a:pt x="4053" y="2896"/>
                  </a:lnTo>
                  <a:lnTo>
                    <a:pt x="4061" y="2888"/>
                  </a:lnTo>
                  <a:lnTo>
                    <a:pt x="4068" y="2881"/>
                  </a:lnTo>
                  <a:lnTo>
                    <a:pt x="4072" y="2874"/>
                  </a:lnTo>
                  <a:lnTo>
                    <a:pt x="4075" y="2868"/>
                  </a:lnTo>
                  <a:lnTo>
                    <a:pt x="4075" y="2868"/>
                  </a:lnTo>
                  <a:lnTo>
                    <a:pt x="4083" y="2838"/>
                  </a:lnTo>
                  <a:lnTo>
                    <a:pt x="4090" y="2810"/>
                  </a:lnTo>
                  <a:lnTo>
                    <a:pt x="4094" y="2783"/>
                  </a:lnTo>
                  <a:lnTo>
                    <a:pt x="4096" y="2757"/>
                  </a:lnTo>
                  <a:lnTo>
                    <a:pt x="4096" y="2733"/>
                  </a:lnTo>
                  <a:lnTo>
                    <a:pt x="4095" y="2709"/>
                  </a:lnTo>
                  <a:lnTo>
                    <a:pt x="4093" y="2687"/>
                  </a:lnTo>
                  <a:lnTo>
                    <a:pt x="4090" y="2665"/>
                  </a:lnTo>
                  <a:lnTo>
                    <a:pt x="4085" y="2645"/>
                  </a:lnTo>
                  <a:lnTo>
                    <a:pt x="4080" y="2626"/>
                  </a:lnTo>
                  <a:lnTo>
                    <a:pt x="4075" y="2607"/>
                  </a:lnTo>
                  <a:lnTo>
                    <a:pt x="4069" y="2590"/>
                  </a:lnTo>
                  <a:lnTo>
                    <a:pt x="4055" y="2556"/>
                  </a:lnTo>
                  <a:lnTo>
                    <a:pt x="4043" y="2524"/>
                  </a:lnTo>
                  <a:lnTo>
                    <a:pt x="4043" y="2524"/>
                  </a:lnTo>
                  <a:lnTo>
                    <a:pt x="4038" y="2509"/>
                  </a:lnTo>
                  <a:lnTo>
                    <a:pt x="4035" y="2494"/>
                  </a:lnTo>
                  <a:lnTo>
                    <a:pt x="4034" y="2479"/>
                  </a:lnTo>
                  <a:lnTo>
                    <a:pt x="4035" y="2464"/>
                  </a:lnTo>
                  <a:lnTo>
                    <a:pt x="4037" y="2450"/>
                  </a:lnTo>
                  <a:lnTo>
                    <a:pt x="4041" y="2435"/>
                  </a:lnTo>
                  <a:lnTo>
                    <a:pt x="4046" y="2421"/>
                  </a:lnTo>
                  <a:lnTo>
                    <a:pt x="4053" y="2408"/>
                  </a:lnTo>
                  <a:lnTo>
                    <a:pt x="4061" y="2395"/>
                  </a:lnTo>
                  <a:lnTo>
                    <a:pt x="4071" y="2381"/>
                  </a:lnTo>
                  <a:lnTo>
                    <a:pt x="4081" y="2369"/>
                  </a:lnTo>
                  <a:lnTo>
                    <a:pt x="4092" y="2358"/>
                  </a:lnTo>
                  <a:lnTo>
                    <a:pt x="4103" y="2346"/>
                  </a:lnTo>
                  <a:lnTo>
                    <a:pt x="4117" y="2335"/>
                  </a:lnTo>
                  <a:lnTo>
                    <a:pt x="4130" y="2326"/>
                  </a:lnTo>
                  <a:lnTo>
                    <a:pt x="4145" y="2317"/>
                  </a:lnTo>
                  <a:lnTo>
                    <a:pt x="4145" y="2317"/>
                  </a:lnTo>
                  <a:lnTo>
                    <a:pt x="4180" y="2336"/>
                  </a:lnTo>
                  <a:lnTo>
                    <a:pt x="4215" y="2357"/>
                  </a:lnTo>
                  <a:lnTo>
                    <a:pt x="4251" y="2378"/>
                  </a:lnTo>
                  <a:lnTo>
                    <a:pt x="4286" y="2402"/>
                  </a:lnTo>
                  <a:lnTo>
                    <a:pt x="4286" y="2402"/>
                  </a:lnTo>
                  <a:lnTo>
                    <a:pt x="4307" y="2416"/>
                  </a:lnTo>
                  <a:lnTo>
                    <a:pt x="4341" y="2441"/>
                  </a:lnTo>
                  <a:lnTo>
                    <a:pt x="4361" y="2456"/>
                  </a:lnTo>
                  <a:lnTo>
                    <a:pt x="4382" y="2474"/>
                  </a:lnTo>
                  <a:lnTo>
                    <a:pt x="4405" y="2494"/>
                  </a:lnTo>
                  <a:lnTo>
                    <a:pt x="4430" y="2515"/>
                  </a:lnTo>
                  <a:lnTo>
                    <a:pt x="4453" y="2539"/>
                  </a:lnTo>
                  <a:lnTo>
                    <a:pt x="4478" y="2563"/>
                  </a:lnTo>
                  <a:lnTo>
                    <a:pt x="4501" y="2590"/>
                  </a:lnTo>
                  <a:lnTo>
                    <a:pt x="4524" y="2618"/>
                  </a:lnTo>
                  <a:lnTo>
                    <a:pt x="4545" y="2647"/>
                  </a:lnTo>
                  <a:lnTo>
                    <a:pt x="4564" y="2678"/>
                  </a:lnTo>
                  <a:lnTo>
                    <a:pt x="4574" y="2693"/>
                  </a:lnTo>
                  <a:lnTo>
                    <a:pt x="4582" y="2709"/>
                  </a:lnTo>
                  <a:lnTo>
                    <a:pt x="4590" y="2726"/>
                  </a:lnTo>
                  <a:lnTo>
                    <a:pt x="4596" y="2742"/>
                  </a:lnTo>
                  <a:lnTo>
                    <a:pt x="4596" y="2742"/>
                  </a:lnTo>
                  <a:lnTo>
                    <a:pt x="4606" y="2768"/>
                  </a:lnTo>
                  <a:lnTo>
                    <a:pt x="4616" y="2792"/>
                  </a:lnTo>
                  <a:lnTo>
                    <a:pt x="4624" y="2817"/>
                  </a:lnTo>
                  <a:lnTo>
                    <a:pt x="4630" y="2840"/>
                  </a:lnTo>
                  <a:lnTo>
                    <a:pt x="4636" y="2864"/>
                  </a:lnTo>
                  <a:lnTo>
                    <a:pt x="4641" y="2886"/>
                  </a:lnTo>
                  <a:lnTo>
                    <a:pt x="4645" y="2908"/>
                  </a:lnTo>
                  <a:lnTo>
                    <a:pt x="4649" y="2928"/>
                  </a:lnTo>
                  <a:lnTo>
                    <a:pt x="4651" y="2949"/>
                  </a:lnTo>
                  <a:lnTo>
                    <a:pt x="4653" y="2968"/>
                  </a:lnTo>
                  <a:lnTo>
                    <a:pt x="4654" y="2987"/>
                  </a:lnTo>
                  <a:lnTo>
                    <a:pt x="4655" y="3005"/>
                  </a:lnTo>
                  <a:lnTo>
                    <a:pt x="4654" y="3039"/>
                  </a:lnTo>
                  <a:lnTo>
                    <a:pt x="4652" y="3070"/>
                  </a:lnTo>
                  <a:lnTo>
                    <a:pt x="4648" y="3099"/>
                  </a:lnTo>
                  <a:lnTo>
                    <a:pt x="4642" y="3126"/>
                  </a:lnTo>
                  <a:lnTo>
                    <a:pt x="4635" y="3149"/>
                  </a:lnTo>
                  <a:lnTo>
                    <a:pt x="4628" y="3171"/>
                  </a:lnTo>
                  <a:lnTo>
                    <a:pt x="4620" y="3189"/>
                  </a:lnTo>
                  <a:lnTo>
                    <a:pt x="4612" y="3206"/>
                  </a:lnTo>
                  <a:lnTo>
                    <a:pt x="4603" y="3221"/>
                  </a:lnTo>
                  <a:lnTo>
                    <a:pt x="4596" y="3232"/>
                  </a:lnTo>
                  <a:lnTo>
                    <a:pt x="4596" y="3232"/>
                  </a:lnTo>
                  <a:lnTo>
                    <a:pt x="4582" y="3252"/>
                  </a:lnTo>
                  <a:lnTo>
                    <a:pt x="4568" y="3273"/>
                  </a:lnTo>
                  <a:lnTo>
                    <a:pt x="4553" y="3291"/>
                  </a:lnTo>
                  <a:lnTo>
                    <a:pt x="4538" y="3310"/>
                  </a:lnTo>
                  <a:lnTo>
                    <a:pt x="4522" y="3327"/>
                  </a:lnTo>
                  <a:lnTo>
                    <a:pt x="4505" y="3343"/>
                  </a:lnTo>
                  <a:lnTo>
                    <a:pt x="4487" y="3359"/>
                  </a:lnTo>
                  <a:lnTo>
                    <a:pt x="4469" y="3373"/>
                  </a:lnTo>
                  <a:lnTo>
                    <a:pt x="4450" y="3386"/>
                  </a:lnTo>
                  <a:lnTo>
                    <a:pt x="4430" y="3398"/>
                  </a:lnTo>
                  <a:lnTo>
                    <a:pt x="4409" y="3409"/>
                  </a:lnTo>
                  <a:lnTo>
                    <a:pt x="4388" y="3418"/>
                  </a:lnTo>
                  <a:lnTo>
                    <a:pt x="4364" y="3426"/>
                  </a:lnTo>
                  <a:lnTo>
                    <a:pt x="4341" y="3433"/>
                  </a:lnTo>
                  <a:lnTo>
                    <a:pt x="4316" y="3438"/>
                  </a:lnTo>
                  <a:lnTo>
                    <a:pt x="4290" y="3441"/>
                  </a:lnTo>
                  <a:lnTo>
                    <a:pt x="4290" y="3441"/>
                  </a:lnTo>
                  <a:lnTo>
                    <a:pt x="4283" y="3440"/>
                  </a:lnTo>
                  <a:lnTo>
                    <a:pt x="4275" y="3440"/>
                  </a:lnTo>
                  <a:lnTo>
                    <a:pt x="4275" y="3440"/>
                  </a:lnTo>
                  <a:lnTo>
                    <a:pt x="4242" y="3441"/>
                  </a:lnTo>
                  <a:lnTo>
                    <a:pt x="4213" y="3441"/>
                  </a:lnTo>
                  <a:lnTo>
                    <a:pt x="4185" y="3440"/>
                  </a:lnTo>
                  <a:lnTo>
                    <a:pt x="4159" y="3437"/>
                  </a:lnTo>
                  <a:lnTo>
                    <a:pt x="4159" y="3437"/>
                  </a:lnTo>
                  <a:lnTo>
                    <a:pt x="4131" y="3432"/>
                  </a:lnTo>
                  <a:lnTo>
                    <a:pt x="4103" y="3427"/>
                  </a:lnTo>
                  <a:lnTo>
                    <a:pt x="4077" y="3420"/>
                  </a:lnTo>
                  <a:lnTo>
                    <a:pt x="4052" y="3413"/>
                  </a:lnTo>
                  <a:lnTo>
                    <a:pt x="4052" y="3413"/>
                  </a:lnTo>
                  <a:lnTo>
                    <a:pt x="4009" y="3398"/>
                  </a:lnTo>
                  <a:lnTo>
                    <a:pt x="3965" y="3379"/>
                  </a:lnTo>
                  <a:lnTo>
                    <a:pt x="3965" y="3379"/>
                  </a:lnTo>
                  <a:lnTo>
                    <a:pt x="3925" y="3359"/>
                  </a:lnTo>
                  <a:lnTo>
                    <a:pt x="3874" y="3331"/>
                  </a:lnTo>
                  <a:lnTo>
                    <a:pt x="3846" y="3314"/>
                  </a:lnTo>
                  <a:lnTo>
                    <a:pt x="3815" y="3294"/>
                  </a:lnTo>
                  <a:lnTo>
                    <a:pt x="3782" y="3274"/>
                  </a:lnTo>
                  <a:lnTo>
                    <a:pt x="3748" y="3250"/>
                  </a:lnTo>
                  <a:lnTo>
                    <a:pt x="3712" y="3226"/>
                  </a:lnTo>
                  <a:lnTo>
                    <a:pt x="3676" y="3198"/>
                  </a:lnTo>
                  <a:lnTo>
                    <a:pt x="3638" y="3170"/>
                  </a:lnTo>
                  <a:lnTo>
                    <a:pt x="3601" y="3139"/>
                  </a:lnTo>
                  <a:lnTo>
                    <a:pt x="3563" y="3106"/>
                  </a:lnTo>
                  <a:lnTo>
                    <a:pt x="3526" y="3071"/>
                  </a:lnTo>
                  <a:lnTo>
                    <a:pt x="3488" y="3035"/>
                  </a:lnTo>
                  <a:lnTo>
                    <a:pt x="3451" y="2997"/>
                  </a:lnTo>
                  <a:lnTo>
                    <a:pt x="3451" y="2997"/>
                  </a:lnTo>
                  <a:lnTo>
                    <a:pt x="3394" y="2933"/>
                  </a:lnTo>
                  <a:lnTo>
                    <a:pt x="3342" y="2874"/>
                  </a:lnTo>
                  <a:lnTo>
                    <a:pt x="3295" y="2819"/>
                  </a:lnTo>
                  <a:lnTo>
                    <a:pt x="3253" y="2769"/>
                  </a:lnTo>
                  <a:lnTo>
                    <a:pt x="3215" y="2722"/>
                  </a:lnTo>
                  <a:lnTo>
                    <a:pt x="3180" y="2679"/>
                  </a:lnTo>
                  <a:lnTo>
                    <a:pt x="3120" y="2602"/>
                  </a:lnTo>
                  <a:lnTo>
                    <a:pt x="3120" y="2602"/>
                  </a:lnTo>
                  <a:lnTo>
                    <a:pt x="3138" y="2609"/>
                  </a:lnTo>
                  <a:lnTo>
                    <a:pt x="3156" y="2615"/>
                  </a:lnTo>
                  <a:lnTo>
                    <a:pt x="3175" y="2620"/>
                  </a:lnTo>
                  <a:lnTo>
                    <a:pt x="3193" y="2625"/>
                  </a:lnTo>
                  <a:lnTo>
                    <a:pt x="3211" y="2628"/>
                  </a:lnTo>
                  <a:lnTo>
                    <a:pt x="3229" y="2630"/>
                  </a:lnTo>
                  <a:lnTo>
                    <a:pt x="3262" y="2633"/>
                  </a:lnTo>
                  <a:lnTo>
                    <a:pt x="3289" y="2633"/>
                  </a:lnTo>
                  <a:lnTo>
                    <a:pt x="3312" y="2632"/>
                  </a:lnTo>
                  <a:lnTo>
                    <a:pt x="3332" y="2630"/>
                  </a:lnTo>
                  <a:lnTo>
                    <a:pt x="3332" y="2630"/>
                  </a:lnTo>
                  <a:lnTo>
                    <a:pt x="3336" y="2580"/>
                  </a:lnTo>
                  <a:lnTo>
                    <a:pt x="3338" y="2535"/>
                  </a:lnTo>
                  <a:lnTo>
                    <a:pt x="3340" y="2495"/>
                  </a:lnTo>
                  <a:lnTo>
                    <a:pt x="3346" y="2360"/>
                  </a:lnTo>
                  <a:lnTo>
                    <a:pt x="3346" y="2360"/>
                  </a:lnTo>
                  <a:lnTo>
                    <a:pt x="3349" y="2323"/>
                  </a:lnTo>
                  <a:lnTo>
                    <a:pt x="3351" y="2288"/>
                  </a:lnTo>
                  <a:lnTo>
                    <a:pt x="3352" y="2251"/>
                  </a:lnTo>
                  <a:lnTo>
                    <a:pt x="3352" y="2251"/>
                  </a:lnTo>
                  <a:lnTo>
                    <a:pt x="3340" y="2250"/>
                  </a:lnTo>
                  <a:lnTo>
                    <a:pt x="3307" y="2246"/>
                  </a:lnTo>
                  <a:lnTo>
                    <a:pt x="3285" y="2243"/>
                  </a:lnTo>
                  <a:lnTo>
                    <a:pt x="3260" y="2238"/>
                  </a:lnTo>
                  <a:lnTo>
                    <a:pt x="3233" y="2233"/>
                  </a:lnTo>
                  <a:lnTo>
                    <a:pt x="3206" y="2226"/>
                  </a:lnTo>
                  <a:lnTo>
                    <a:pt x="3176" y="2217"/>
                  </a:lnTo>
                  <a:lnTo>
                    <a:pt x="3147" y="2206"/>
                  </a:lnTo>
                  <a:lnTo>
                    <a:pt x="3120" y="2194"/>
                  </a:lnTo>
                  <a:lnTo>
                    <a:pt x="3106" y="2188"/>
                  </a:lnTo>
                  <a:lnTo>
                    <a:pt x="3093" y="2181"/>
                  </a:lnTo>
                  <a:lnTo>
                    <a:pt x="3081" y="2173"/>
                  </a:lnTo>
                  <a:lnTo>
                    <a:pt x="3070" y="2164"/>
                  </a:lnTo>
                  <a:lnTo>
                    <a:pt x="3058" y="2155"/>
                  </a:lnTo>
                  <a:lnTo>
                    <a:pt x="3049" y="2146"/>
                  </a:lnTo>
                  <a:lnTo>
                    <a:pt x="3040" y="2136"/>
                  </a:lnTo>
                  <a:lnTo>
                    <a:pt x="3032" y="2125"/>
                  </a:lnTo>
                  <a:lnTo>
                    <a:pt x="3025" y="2113"/>
                  </a:lnTo>
                  <a:lnTo>
                    <a:pt x="3019" y="2101"/>
                  </a:lnTo>
                  <a:lnTo>
                    <a:pt x="3019" y="2101"/>
                  </a:lnTo>
                  <a:lnTo>
                    <a:pt x="3030" y="2107"/>
                  </a:lnTo>
                  <a:lnTo>
                    <a:pt x="3042" y="2112"/>
                  </a:lnTo>
                  <a:lnTo>
                    <a:pt x="3059" y="2119"/>
                  </a:lnTo>
                  <a:lnTo>
                    <a:pt x="3081" y="2127"/>
                  </a:lnTo>
                  <a:lnTo>
                    <a:pt x="3106" y="2134"/>
                  </a:lnTo>
                  <a:lnTo>
                    <a:pt x="3136" y="2139"/>
                  </a:lnTo>
                  <a:lnTo>
                    <a:pt x="3152" y="2141"/>
                  </a:lnTo>
                  <a:lnTo>
                    <a:pt x="3169" y="2142"/>
                  </a:lnTo>
                  <a:lnTo>
                    <a:pt x="3169" y="2142"/>
                  </a:lnTo>
                  <a:lnTo>
                    <a:pt x="3201" y="2143"/>
                  </a:lnTo>
                  <a:lnTo>
                    <a:pt x="3234" y="2143"/>
                  </a:lnTo>
                  <a:lnTo>
                    <a:pt x="3266" y="2141"/>
                  </a:lnTo>
                  <a:lnTo>
                    <a:pt x="3295" y="2139"/>
                  </a:lnTo>
                  <a:lnTo>
                    <a:pt x="3340" y="2133"/>
                  </a:lnTo>
                  <a:lnTo>
                    <a:pt x="3357" y="2131"/>
                  </a:lnTo>
                  <a:lnTo>
                    <a:pt x="3357" y="2131"/>
                  </a:lnTo>
                  <a:lnTo>
                    <a:pt x="3359" y="2125"/>
                  </a:lnTo>
                  <a:lnTo>
                    <a:pt x="3361" y="2113"/>
                  </a:lnTo>
                  <a:lnTo>
                    <a:pt x="3364" y="2083"/>
                  </a:lnTo>
                  <a:lnTo>
                    <a:pt x="3367" y="2043"/>
                  </a:lnTo>
                  <a:lnTo>
                    <a:pt x="3369" y="1999"/>
                  </a:lnTo>
                  <a:lnTo>
                    <a:pt x="3373" y="1919"/>
                  </a:lnTo>
                  <a:lnTo>
                    <a:pt x="3375" y="1884"/>
                  </a:lnTo>
                  <a:lnTo>
                    <a:pt x="3375" y="1884"/>
                  </a:lnTo>
                  <a:lnTo>
                    <a:pt x="3376" y="1856"/>
                  </a:lnTo>
                  <a:lnTo>
                    <a:pt x="3377" y="1816"/>
                  </a:lnTo>
                  <a:lnTo>
                    <a:pt x="3377" y="1767"/>
                  </a:lnTo>
                  <a:lnTo>
                    <a:pt x="3377" y="1767"/>
                  </a:lnTo>
                  <a:lnTo>
                    <a:pt x="3369" y="1769"/>
                  </a:lnTo>
                  <a:lnTo>
                    <a:pt x="3359" y="1770"/>
                  </a:lnTo>
                  <a:lnTo>
                    <a:pt x="3338" y="1772"/>
                  </a:lnTo>
                  <a:lnTo>
                    <a:pt x="3315" y="1771"/>
                  </a:lnTo>
                  <a:lnTo>
                    <a:pt x="3290" y="1769"/>
                  </a:lnTo>
                  <a:lnTo>
                    <a:pt x="3264" y="1766"/>
                  </a:lnTo>
                  <a:lnTo>
                    <a:pt x="3236" y="1762"/>
                  </a:lnTo>
                  <a:lnTo>
                    <a:pt x="3208" y="1756"/>
                  </a:lnTo>
                  <a:lnTo>
                    <a:pt x="3178" y="1748"/>
                  </a:lnTo>
                  <a:lnTo>
                    <a:pt x="3178" y="1748"/>
                  </a:lnTo>
                  <a:lnTo>
                    <a:pt x="3158" y="1742"/>
                  </a:lnTo>
                  <a:lnTo>
                    <a:pt x="3135" y="1733"/>
                  </a:lnTo>
                  <a:lnTo>
                    <a:pt x="3112" y="1721"/>
                  </a:lnTo>
                  <a:lnTo>
                    <a:pt x="3088" y="1706"/>
                  </a:lnTo>
                  <a:lnTo>
                    <a:pt x="3064" y="1690"/>
                  </a:lnTo>
                  <a:lnTo>
                    <a:pt x="3053" y="1681"/>
                  </a:lnTo>
                  <a:lnTo>
                    <a:pt x="3043" y="1672"/>
                  </a:lnTo>
                  <a:lnTo>
                    <a:pt x="3034" y="1661"/>
                  </a:lnTo>
                  <a:lnTo>
                    <a:pt x="3025" y="1652"/>
                  </a:lnTo>
                  <a:lnTo>
                    <a:pt x="3017" y="1642"/>
                  </a:lnTo>
                  <a:lnTo>
                    <a:pt x="3010" y="1631"/>
                  </a:lnTo>
                  <a:lnTo>
                    <a:pt x="3010" y="1631"/>
                  </a:lnTo>
                  <a:lnTo>
                    <a:pt x="3022" y="1636"/>
                  </a:lnTo>
                  <a:lnTo>
                    <a:pt x="3035" y="1640"/>
                  </a:lnTo>
                  <a:lnTo>
                    <a:pt x="3052" y="1646"/>
                  </a:lnTo>
                  <a:lnTo>
                    <a:pt x="3075" y="1652"/>
                  </a:lnTo>
                  <a:lnTo>
                    <a:pt x="3101" y="1658"/>
                  </a:lnTo>
                  <a:lnTo>
                    <a:pt x="3132" y="1665"/>
                  </a:lnTo>
                  <a:lnTo>
                    <a:pt x="3167" y="1670"/>
                  </a:lnTo>
                  <a:lnTo>
                    <a:pt x="3167" y="1670"/>
                  </a:lnTo>
                  <a:lnTo>
                    <a:pt x="3187" y="1672"/>
                  </a:lnTo>
                  <a:lnTo>
                    <a:pt x="3207" y="1673"/>
                  </a:lnTo>
                  <a:lnTo>
                    <a:pt x="3226" y="1674"/>
                  </a:lnTo>
                  <a:lnTo>
                    <a:pt x="3245" y="1674"/>
                  </a:lnTo>
                  <a:lnTo>
                    <a:pt x="3283" y="1672"/>
                  </a:lnTo>
                  <a:lnTo>
                    <a:pt x="3317" y="1669"/>
                  </a:lnTo>
                  <a:lnTo>
                    <a:pt x="3346" y="1663"/>
                  </a:lnTo>
                  <a:lnTo>
                    <a:pt x="3369" y="1658"/>
                  </a:lnTo>
                  <a:lnTo>
                    <a:pt x="3377" y="1655"/>
                  </a:lnTo>
                  <a:lnTo>
                    <a:pt x="3383" y="1653"/>
                  </a:lnTo>
                  <a:lnTo>
                    <a:pt x="3388" y="1650"/>
                  </a:lnTo>
                  <a:lnTo>
                    <a:pt x="3390" y="1647"/>
                  </a:lnTo>
                  <a:lnTo>
                    <a:pt x="3390" y="1647"/>
                  </a:lnTo>
                  <a:lnTo>
                    <a:pt x="3392" y="1621"/>
                  </a:lnTo>
                  <a:lnTo>
                    <a:pt x="3393" y="1587"/>
                  </a:lnTo>
                  <a:lnTo>
                    <a:pt x="3394" y="1510"/>
                  </a:lnTo>
                  <a:lnTo>
                    <a:pt x="3394" y="1412"/>
                  </a:lnTo>
                  <a:lnTo>
                    <a:pt x="3394" y="1412"/>
                  </a:lnTo>
                  <a:lnTo>
                    <a:pt x="3399" y="1348"/>
                  </a:lnTo>
                  <a:lnTo>
                    <a:pt x="3400" y="1304"/>
                  </a:lnTo>
                  <a:lnTo>
                    <a:pt x="3400" y="1289"/>
                  </a:lnTo>
                  <a:lnTo>
                    <a:pt x="3399" y="1285"/>
                  </a:lnTo>
                  <a:lnTo>
                    <a:pt x="3398" y="1284"/>
                  </a:lnTo>
                  <a:lnTo>
                    <a:pt x="3398" y="1284"/>
                  </a:lnTo>
                  <a:lnTo>
                    <a:pt x="3392" y="1284"/>
                  </a:lnTo>
                  <a:lnTo>
                    <a:pt x="3381" y="1285"/>
                  </a:lnTo>
                  <a:lnTo>
                    <a:pt x="3368" y="1285"/>
                  </a:lnTo>
                  <a:lnTo>
                    <a:pt x="3354" y="1284"/>
                  </a:lnTo>
                  <a:lnTo>
                    <a:pt x="3336" y="1282"/>
                  </a:lnTo>
                  <a:lnTo>
                    <a:pt x="3317" y="1279"/>
                  </a:lnTo>
                  <a:lnTo>
                    <a:pt x="3297" y="1274"/>
                  </a:lnTo>
                  <a:lnTo>
                    <a:pt x="3274" y="1269"/>
                  </a:lnTo>
                  <a:lnTo>
                    <a:pt x="3251" y="1261"/>
                  </a:lnTo>
                  <a:lnTo>
                    <a:pt x="3226" y="1251"/>
                  </a:lnTo>
                  <a:lnTo>
                    <a:pt x="3200" y="1240"/>
                  </a:lnTo>
                  <a:lnTo>
                    <a:pt x="3175" y="1226"/>
                  </a:lnTo>
                  <a:lnTo>
                    <a:pt x="3149" y="1210"/>
                  </a:lnTo>
                  <a:lnTo>
                    <a:pt x="3123" y="1191"/>
                  </a:lnTo>
                  <a:lnTo>
                    <a:pt x="3110" y="1181"/>
                  </a:lnTo>
                  <a:lnTo>
                    <a:pt x="3097" y="1170"/>
                  </a:lnTo>
                  <a:lnTo>
                    <a:pt x="3085" y="1157"/>
                  </a:lnTo>
                  <a:lnTo>
                    <a:pt x="3073" y="1145"/>
                  </a:lnTo>
                  <a:lnTo>
                    <a:pt x="3073" y="1145"/>
                  </a:lnTo>
                  <a:lnTo>
                    <a:pt x="3071" y="1143"/>
                  </a:lnTo>
                  <a:lnTo>
                    <a:pt x="3065" y="1138"/>
                  </a:lnTo>
                  <a:lnTo>
                    <a:pt x="3059" y="1129"/>
                  </a:lnTo>
                  <a:lnTo>
                    <a:pt x="3056" y="1123"/>
                  </a:lnTo>
                  <a:lnTo>
                    <a:pt x="3053" y="1116"/>
                  </a:lnTo>
                  <a:lnTo>
                    <a:pt x="3051" y="1109"/>
                  </a:lnTo>
                  <a:lnTo>
                    <a:pt x="3050" y="1101"/>
                  </a:lnTo>
                  <a:lnTo>
                    <a:pt x="3049" y="1092"/>
                  </a:lnTo>
                  <a:lnTo>
                    <a:pt x="3050" y="1082"/>
                  </a:lnTo>
                  <a:lnTo>
                    <a:pt x="3053" y="1072"/>
                  </a:lnTo>
                  <a:lnTo>
                    <a:pt x="3056" y="1060"/>
                  </a:lnTo>
                  <a:lnTo>
                    <a:pt x="3062" y="1048"/>
                  </a:lnTo>
                  <a:lnTo>
                    <a:pt x="3071" y="1035"/>
                  </a:lnTo>
                  <a:lnTo>
                    <a:pt x="3071" y="1035"/>
                  </a:lnTo>
                  <a:lnTo>
                    <a:pt x="2806" y="916"/>
                  </a:lnTo>
                  <a:lnTo>
                    <a:pt x="2806" y="916"/>
                  </a:lnTo>
                  <a:lnTo>
                    <a:pt x="2815" y="907"/>
                  </a:lnTo>
                  <a:lnTo>
                    <a:pt x="2824" y="896"/>
                  </a:lnTo>
                  <a:lnTo>
                    <a:pt x="2834" y="881"/>
                  </a:lnTo>
                  <a:lnTo>
                    <a:pt x="2845" y="865"/>
                  </a:lnTo>
                  <a:lnTo>
                    <a:pt x="2850" y="856"/>
                  </a:lnTo>
                  <a:lnTo>
                    <a:pt x="2854" y="847"/>
                  </a:lnTo>
                  <a:lnTo>
                    <a:pt x="2858" y="836"/>
                  </a:lnTo>
                  <a:lnTo>
                    <a:pt x="2861" y="826"/>
                  </a:lnTo>
                  <a:lnTo>
                    <a:pt x="2863" y="816"/>
                  </a:lnTo>
                  <a:lnTo>
                    <a:pt x="2863" y="806"/>
                  </a:lnTo>
                  <a:lnTo>
                    <a:pt x="2863" y="806"/>
                  </a:lnTo>
                  <a:lnTo>
                    <a:pt x="2863" y="794"/>
                  </a:lnTo>
                  <a:lnTo>
                    <a:pt x="2860" y="784"/>
                  </a:lnTo>
                  <a:lnTo>
                    <a:pt x="2855" y="774"/>
                  </a:lnTo>
                  <a:lnTo>
                    <a:pt x="2849" y="765"/>
                  </a:lnTo>
                  <a:lnTo>
                    <a:pt x="2841" y="756"/>
                  </a:lnTo>
                  <a:lnTo>
                    <a:pt x="2830" y="748"/>
                  </a:lnTo>
                  <a:lnTo>
                    <a:pt x="2820" y="741"/>
                  </a:lnTo>
                  <a:lnTo>
                    <a:pt x="2808" y="735"/>
                  </a:lnTo>
                  <a:lnTo>
                    <a:pt x="2795" y="730"/>
                  </a:lnTo>
                  <a:lnTo>
                    <a:pt x="2781" y="726"/>
                  </a:lnTo>
                  <a:lnTo>
                    <a:pt x="2767" y="722"/>
                  </a:lnTo>
                  <a:lnTo>
                    <a:pt x="2753" y="720"/>
                  </a:lnTo>
                  <a:lnTo>
                    <a:pt x="2738" y="718"/>
                  </a:lnTo>
                  <a:lnTo>
                    <a:pt x="2723" y="718"/>
                  </a:lnTo>
                  <a:lnTo>
                    <a:pt x="2709" y="719"/>
                  </a:lnTo>
                  <a:lnTo>
                    <a:pt x="2694" y="721"/>
                  </a:lnTo>
                  <a:lnTo>
                    <a:pt x="2694" y="721"/>
                  </a:lnTo>
                  <a:lnTo>
                    <a:pt x="2681" y="724"/>
                  </a:lnTo>
                  <a:lnTo>
                    <a:pt x="2669" y="728"/>
                  </a:lnTo>
                  <a:lnTo>
                    <a:pt x="2656" y="733"/>
                  </a:lnTo>
                  <a:lnTo>
                    <a:pt x="2644" y="739"/>
                  </a:lnTo>
                  <a:lnTo>
                    <a:pt x="2634" y="746"/>
                  </a:lnTo>
                  <a:lnTo>
                    <a:pt x="2623" y="754"/>
                  </a:lnTo>
                  <a:lnTo>
                    <a:pt x="2604" y="769"/>
                  </a:lnTo>
                  <a:lnTo>
                    <a:pt x="2589" y="784"/>
                  </a:lnTo>
                  <a:lnTo>
                    <a:pt x="2578" y="796"/>
                  </a:lnTo>
                  <a:lnTo>
                    <a:pt x="2569" y="809"/>
                  </a:lnTo>
                  <a:lnTo>
                    <a:pt x="2238" y="662"/>
                  </a:lnTo>
                  <a:lnTo>
                    <a:pt x="1977" y="925"/>
                  </a:lnTo>
                  <a:lnTo>
                    <a:pt x="1977" y="925"/>
                  </a:lnTo>
                  <a:lnTo>
                    <a:pt x="1972" y="930"/>
                  </a:lnTo>
                  <a:lnTo>
                    <a:pt x="1966" y="942"/>
                  </a:lnTo>
                  <a:lnTo>
                    <a:pt x="1963" y="949"/>
                  </a:lnTo>
                  <a:lnTo>
                    <a:pt x="1961" y="957"/>
                  </a:lnTo>
                  <a:lnTo>
                    <a:pt x="1960" y="966"/>
                  </a:lnTo>
                  <a:lnTo>
                    <a:pt x="1960" y="975"/>
                  </a:lnTo>
                  <a:lnTo>
                    <a:pt x="1964" y="999"/>
                  </a:lnTo>
                  <a:lnTo>
                    <a:pt x="1964" y="999"/>
                  </a:lnTo>
                  <a:lnTo>
                    <a:pt x="1964" y="1005"/>
                  </a:lnTo>
                  <a:lnTo>
                    <a:pt x="1963" y="1011"/>
                  </a:lnTo>
                  <a:lnTo>
                    <a:pt x="1962" y="1016"/>
                  </a:lnTo>
                  <a:lnTo>
                    <a:pt x="1961" y="1020"/>
                  </a:lnTo>
                  <a:lnTo>
                    <a:pt x="1957" y="1028"/>
                  </a:lnTo>
                  <a:lnTo>
                    <a:pt x="1955" y="1032"/>
                  </a:lnTo>
                  <a:lnTo>
                    <a:pt x="1955" y="1032"/>
                  </a:lnTo>
                  <a:lnTo>
                    <a:pt x="1936" y="1054"/>
                  </a:lnTo>
                  <a:lnTo>
                    <a:pt x="1916" y="1078"/>
                  </a:lnTo>
                  <a:lnTo>
                    <a:pt x="1896" y="1100"/>
                  </a:lnTo>
                  <a:lnTo>
                    <a:pt x="1876" y="1123"/>
                  </a:lnTo>
                  <a:lnTo>
                    <a:pt x="1876" y="1123"/>
                  </a:lnTo>
                  <a:lnTo>
                    <a:pt x="1847" y="1161"/>
                  </a:lnTo>
                  <a:lnTo>
                    <a:pt x="1836" y="1177"/>
                  </a:lnTo>
                  <a:lnTo>
                    <a:pt x="1828" y="1189"/>
                  </a:lnTo>
                  <a:lnTo>
                    <a:pt x="1828" y="1189"/>
                  </a:lnTo>
                  <a:lnTo>
                    <a:pt x="1819" y="1204"/>
                  </a:lnTo>
                  <a:lnTo>
                    <a:pt x="1811" y="1220"/>
                  </a:lnTo>
                  <a:lnTo>
                    <a:pt x="1799" y="1245"/>
                  </a:lnTo>
                  <a:lnTo>
                    <a:pt x="1789" y="1269"/>
                  </a:lnTo>
                  <a:lnTo>
                    <a:pt x="1781" y="1290"/>
                  </a:lnTo>
                  <a:lnTo>
                    <a:pt x="1781" y="1290"/>
                  </a:lnTo>
                  <a:lnTo>
                    <a:pt x="1780" y="1293"/>
                  </a:lnTo>
                  <a:lnTo>
                    <a:pt x="1778" y="1304"/>
                  </a:lnTo>
                  <a:lnTo>
                    <a:pt x="1778" y="1311"/>
                  </a:lnTo>
                  <a:lnTo>
                    <a:pt x="1777" y="1319"/>
                  </a:lnTo>
                  <a:lnTo>
                    <a:pt x="1778" y="1328"/>
                  </a:lnTo>
                  <a:lnTo>
                    <a:pt x="1780" y="1339"/>
                  </a:lnTo>
                  <a:lnTo>
                    <a:pt x="1784" y="1352"/>
                  </a:lnTo>
                  <a:lnTo>
                    <a:pt x="1789" y="1365"/>
                  </a:lnTo>
                  <a:lnTo>
                    <a:pt x="1797" y="1378"/>
                  </a:lnTo>
                  <a:lnTo>
                    <a:pt x="1807" y="1394"/>
                  </a:lnTo>
                  <a:lnTo>
                    <a:pt x="1819" y="1410"/>
                  </a:lnTo>
                  <a:lnTo>
                    <a:pt x="1833" y="1426"/>
                  </a:lnTo>
                  <a:lnTo>
                    <a:pt x="1852" y="1444"/>
                  </a:lnTo>
                  <a:lnTo>
                    <a:pt x="1874" y="1462"/>
                  </a:lnTo>
                  <a:lnTo>
                    <a:pt x="1881" y="1468"/>
                  </a:lnTo>
                  <a:lnTo>
                    <a:pt x="1881" y="1468"/>
                  </a:lnTo>
                  <a:lnTo>
                    <a:pt x="1894" y="1451"/>
                  </a:lnTo>
                  <a:lnTo>
                    <a:pt x="1905" y="1462"/>
                  </a:lnTo>
                  <a:lnTo>
                    <a:pt x="1905" y="1462"/>
                  </a:lnTo>
                  <a:lnTo>
                    <a:pt x="1914" y="1471"/>
                  </a:lnTo>
                  <a:lnTo>
                    <a:pt x="1926" y="1482"/>
                  </a:lnTo>
                  <a:lnTo>
                    <a:pt x="1941" y="1494"/>
                  </a:lnTo>
                  <a:lnTo>
                    <a:pt x="1957" y="1504"/>
                  </a:lnTo>
                  <a:lnTo>
                    <a:pt x="1957" y="1504"/>
                  </a:lnTo>
                  <a:lnTo>
                    <a:pt x="1959" y="1497"/>
                  </a:lnTo>
                  <a:lnTo>
                    <a:pt x="1964" y="1477"/>
                  </a:lnTo>
                  <a:lnTo>
                    <a:pt x="1969" y="1464"/>
                  </a:lnTo>
                  <a:lnTo>
                    <a:pt x="1975" y="1451"/>
                  </a:lnTo>
                  <a:lnTo>
                    <a:pt x="1983" y="1437"/>
                  </a:lnTo>
                  <a:lnTo>
                    <a:pt x="1991" y="1422"/>
                  </a:lnTo>
                  <a:lnTo>
                    <a:pt x="1991" y="1422"/>
                  </a:lnTo>
                  <a:lnTo>
                    <a:pt x="2000" y="1410"/>
                  </a:lnTo>
                  <a:lnTo>
                    <a:pt x="2011" y="1398"/>
                  </a:lnTo>
                  <a:lnTo>
                    <a:pt x="2025" y="1384"/>
                  </a:lnTo>
                  <a:lnTo>
                    <a:pt x="2038" y="1371"/>
                  </a:lnTo>
                  <a:lnTo>
                    <a:pt x="2052" y="1359"/>
                  </a:lnTo>
                  <a:lnTo>
                    <a:pt x="2065" y="1348"/>
                  </a:lnTo>
                  <a:lnTo>
                    <a:pt x="2080" y="1337"/>
                  </a:lnTo>
                  <a:lnTo>
                    <a:pt x="2092" y="1329"/>
                  </a:lnTo>
                  <a:lnTo>
                    <a:pt x="2092" y="1329"/>
                  </a:lnTo>
                  <a:lnTo>
                    <a:pt x="2107" y="1320"/>
                  </a:lnTo>
                  <a:lnTo>
                    <a:pt x="2123" y="1312"/>
                  </a:lnTo>
                  <a:lnTo>
                    <a:pt x="2138" y="1305"/>
                  </a:lnTo>
                  <a:lnTo>
                    <a:pt x="2154" y="1298"/>
                  </a:lnTo>
                  <a:lnTo>
                    <a:pt x="2170" y="1294"/>
                  </a:lnTo>
                  <a:lnTo>
                    <a:pt x="2186" y="1291"/>
                  </a:lnTo>
                  <a:lnTo>
                    <a:pt x="2202" y="1288"/>
                  </a:lnTo>
                  <a:lnTo>
                    <a:pt x="2220" y="1287"/>
                  </a:lnTo>
                  <a:lnTo>
                    <a:pt x="2220" y="1287"/>
                  </a:lnTo>
                  <a:lnTo>
                    <a:pt x="2234" y="1288"/>
                  </a:lnTo>
                  <a:lnTo>
                    <a:pt x="2247" y="1289"/>
                  </a:lnTo>
                  <a:lnTo>
                    <a:pt x="2261" y="1292"/>
                  </a:lnTo>
                  <a:lnTo>
                    <a:pt x="2272" y="1297"/>
                  </a:lnTo>
                  <a:lnTo>
                    <a:pt x="2283" y="1304"/>
                  </a:lnTo>
                  <a:lnTo>
                    <a:pt x="2295" y="1311"/>
                  </a:lnTo>
                  <a:lnTo>
                    <a:pt x="2305" y="1320"/>
                  </a:lnTo>
                  <a:lnTo>
                    <a:pt x="2316" y="1330"/>
                  </a:lnTo>
                  <a:lnTo>
                    <a:pt x="2316" y="1330"/>
                  </a:lnTo>
                  <a:lnTo>
                    <a:pt x="2323" y="1338"/>
                  </a:lnTo>
                  <a:lnTo>
                    <a:pt x="2330" y="1349"/>
                  </a:lnTo>
                  <a:lnTo>
                    <a:pt x="2336" y="1360"/>
                  </a:lnTo>
                  <a:lnTo>
                    <a:pt x="2342" y="1372"/>
                  </a:lnTo>
                  <a:lnTo>
                    <a:pt x="2347" y="1384"/>
                  </a:lnTo>
                  <a:lnTo>
                    <a:pt x="2351" y="1398"/>
                  </a:lnTo>
                  <a:lnTo>
                    <a:pt x="2355" y="1412"/>
                  </a:lnTo>
                  <a:lnTo>
                    <a:pt x="2358" y="1426"/>
                  </a:lnTo>
                  <a:lnTo>
                    <a:pt x="2360" y="1440"/>
                  </a:lnTo>
                  <a:lnTo>
                    <a:pt x="2362" y="1454"/>
                  </a:lnTo>
                  <a:lnTo>
                    <a:pt x="2363" y="1467"/>
                  </a:lnTo>
                  <a:lnTo>
                    <a:pt x="2364" y="1480"/>
                  </a:lnTo>
                  <a:lnTo>
                    <a:pt x="2364" y="1493"/>
                  </a:lnTo>
                  <a:lnTo>
                    <a:pt x="2363" y="1504"/>
                  </a:lnTo>
                  <a:lnTo>
                    <a:pt x="2361" y="1514"/>
                  </a:lnTo>
                  <a:lnTo>
                    <a:pt x="2359" y="1523"/>
                  </a:lnTo>
                  <a:lnTo>
                    <a:pt x="2359" y="1523"/>
                  </a:lnTo>
                  <a:lnTo>
                    <a:pt x="2330" y="1505"/>
                  </a:lnTo>
                  <a:lnTo>
                    <a:pt x="2330" y="1505"/>
                  </a:lnTo>
                  <a:lnTo>
                    <a:pt x="2309" y="1494"/>
                  </a:lnTo>
                  <a:lnTo>
                    <a:pt x="2281" y="1484"/>
                  </a:lnTo>
                  <a:lnTo>
                    <a:pt x="2266" y="1477"/>
                  </a:lnTo>
                  <a:lnTo>
                    <a:pt x="2251" y="1473"/>
                  </a:lnTo>
                  <a:lnTo>
                    <a:pt x="2233" y="1469"/>
                  </a:lnTo>
                  <a:lnTo>
                    <a:pt x="2215" y="1465"/>
                  </a:lnTo>
                  <a:lnTo>
                    <a:pt x="2195" y="1463"/>
                  </a:lnTo>
                  <a:lnTo>
                    <a:pt x="2175" y="1462"/>
                  </a:lnTo>
                  <a:lnTo>
                    <a:pt x="2154" y="1462"/>
                  </a:lnTo>
                  <a:lnTo>
                    <a:pt x="2132" y="1464"/>
                  </a:lnTo>
                  <a:lnTo>
                    <a:pt x="2109" y="1467"/>
                  </a:lnTo>
                  <a:lnTo>
                    <a:pt x="2086" y="1472"/>
                  </a:lnTo>
                  <a:lnTo>
                    <a:pt x="2062" y="1480"/>
                  </a:lnTo>
                  <a:lnTo>
                    <a:pt x="2037" y="1491"/>
                  </a:lnTo>
                  <a:lnTo>
                    <a:pt x="2037" y="1491"/>
                  </a:lnTo>
                  <a:lnTo>
                    <a:pt x="1995" y="1509"/>
                  </a:lnTo>
                  <a:lnTo>
                    <a:pt x="1967" y="1521"/>
                  </a:lnTo>
                  <a:lnTo>
                    <a:pt x="1936" y="1534"/>
                  </a:lnTo>
                  <a:lnTo>
                    <a:pt x="1900" y="1548"/>
                  </a:lnTo>
                  <a:lnTo>
                    <a:pt x="1860" y="1562"/>
                  </a:lnTo>
                  <a:lnTo>
                    <a:pt x="1814" y="1578"/>
                  </a:lnTo>
                  <a:lnTo>
                    <a:pt x="1764" y="1593"/>
                  </a:lnTo>
                  <a:lnTo>
                    <a:pt x="1764" y="1593"/>
                  </a:lnTo>
                  <a:lnTo>
                    <a:pt x="1737" y="1600"/>
                  </a:lnTo>
                  <a:lnTo>
                    <a:pt x="1725" y="1602"/>
                  </a:lnTo>
                  <a:lnTo>
                    <a:pt x="1713" y="1603"/>
                  </a:lnTo>
                  <a:lnTo>
                    <a:pt x="1701" y="1603"/>
                  </a:lnTo>
                  <a:lnTo>
                    <a:pt x="1691" y="1603"/>
                  </a:lnTo>
                  <a:lnTo>
                    <a:pt x="1681" y="1602"/>
                  </a:lnTo>
                  <a:lnTo>
                    <a:pt x="1672" y="1600"/>
                  </a:lnTo>
                  <a:lnTo>
                    <a:pt x="1664" y="1597"/>
                  </a:lnTo>
                  <a:lnTo>
                    <a:pt x="1655" y="1592"/>
                  </a:lnTo>
                  <a:lnTo>
                    <a:pt x="1649" y="1587"/>
                  </a:lnTo>
                  <a:lnTo>
                    <a:pt x="1642" y="1581"/>
                  </a:lnTo>
                  <a:lnTo>
                    <a:pt x="1637" y="1574"/>
                  </a:lnTo>
                  <a:lnTo>
                    <a:pt x="1633" y="1564"/>
                  </a:lnTo>
                  <a:lnTo>
                    <a:pt x="1629" y="1554"/>
                  </a:lnTo>
                  <a:lnTo>
                    <a:pt x="1626" y="1543"/>
                  </a:lnTo>
                  <a:lnTo>
                    <a:pt x="1626" y="1543"/>
                  </a:lnTo>
                  <a:lnTo>
                    <a:pt x="1624" y="1533"/>
                  </a:lnTo>
                  <a:lnTo>
                    <a:pt x="1623" y="1522"/>
                  </a:lnTo>
                  <a:lnTo>
                    <a:pt x="1623" y="1513"/>
                  </a:lnTo>
                  <a:lnTo>
                    <a:pt x="1623" y="1504"/>
                  </a:lnTo>
                  <a:lnTo>
                    <a:pt x="1625" y="1488"/>
                  </a:lnTo>
                  <a:lnTo>
                    <a:pt x="1629" y="1473"/>
                  </a:lnTo>
                  <a:lnTo>
                    <a:pt x="1633" y="1462"/>
                  </a:lnTo>
                  <a:lnTo>
                    <a:pt x="1636" y="1454"/>
                  </a:lnTo>
                  <a:lnTo>
                    <a:pt x="1640" y="1446"/>
                  </a:lnTo>
                  <a:lnTo>
                    <a:pt x="1640" y="1446"/>
                  </a:lnTo>
                  <a:lnTo>
                    <a:pt x="1636" y="1447"/>
                  </a:lnTo>
                  <a:lnTo>
                    <a:pt x="1626" y="1450"/>
                  </a:lnTo>
                  <a:lnTo>
                    <a:pt x="1610" y="1456"/>
                  </a:lnTo>
                  <a:lnTo>
                    <a:pt x="1601" y="1459"/>
                  </a:lnTo>
                  <a:lnTo>
                    <a:pt x="1592" y="1464"/>
                  </a:lnTo>
                  <a:lnTo>
                    <a:pt x="1582" y="1470"/>
                  </a:lnTo>
                  <a:lnTo>
                    <a:pt x="1573" y="1476"/>
                  </a:lnTo>
                  <a:lnTo>
                    <a:pt x="1563" y="1485"/>
                  </a:lnTo>
                  <a:lnTo>
                    <a:pt x="1554" y="1494"/>
                  </a:lnTo>
                  <a:lnTo>
                    <a:pt x="1546" y="1504"/>
                  </a:lnTo>
                  <a:lnTo>
                    <a:pt x="1539" y="1515"/>
                  </a:lnTo>
                  <a:lnTo>
                    <a:pt x="1533" y="1529"/>
                  </a:lnTo>
                  <a:lnTo>
                    <a:pt x="1528" y="1543"/>
                  </a:lnTo>
                  <a:lnTo>
                    <a:pt x="1528" y="1543"/>
                  </a:lnTo>
                  <a:lnTo>
                    <a:pt x="1525" y="1558"/>
                  </a:lnTo>
                  <a:lnTo>
                    <a:pt x="1523" y="1574"/>
                  </a:lnTo>
                  <a:lnTo>
                    <a:pt x="1523" y="1589"/>
                  </a:lnTo>
                  <a:lnTo>
                    <a:pt x="1523" y="1603"/>
                  </a:lnTo>
                  <a:lnTo>
                    <a:pt x="1524" y="1616"/>
                  </a:lnTo>
                  <a:lnTo>
                    <a:pt x="1527" y="1631"/>
                  </a:lnTo>
                  <a:lnTo>
                    <a:pt x="1531" y="1643"/>
                  </a:lnTo>
                  <a:lnTo>
                    <a:pt x="1536" y="1655"/>
                  </a:lnTo>
                  <a:lnTo>
                    <a:pt x="1542" y="1668"/>
                  </a:lnTo>
                  <a:lnTo>
                    <a:pt x="1549" y="1678"/>
                  </a:lnTo>
                  <a:lnTo>
                    <a:pt x="1557" y="1688"/>
                  </a:lnTo>
                  <a:lnTo>
                    <a:pt x="1568" y="1696"/>
                  </a:lnTo>
                  <a:lnTo>
                    <a:pt x="1578" y="1704"/>
                  </a:lnTo>
                  <a:lnTo>
                    <a:pt x="1590" y="1711"/>
                  </a:lnTo>
                  <a:lnTo>
                    <a:pt x="1602" y="1717"/>
                  </a:lnTo>
                  <a:lnTo>
                    <a:pt x="1617" y="1721"/>
                  </a:lnTo>
                  <a:lnTo>
                    <a:pt x="1617" y="1721"/>
                  </a:lnTo>
                  <a:lnTo>
                    <a:pt x="1630" y="1724"/>
                  </a:lnTo>
                  <a:lnTo>
                    <a:pt x="1644" y="1725"/>
                  </a:lnTo>
                  <a:lnTo>
                    <a:pt x="1660" y="1724"/>
                  </a:lnTo>
                  <a:lnTo>
                    <a:pt x="1676" y="1722"/>
                  </a:lnTo>
                  <a:lnTo>
                    <a:pt x="1692" y="1720"/>
                  </a:lnTo>
                  <a:lnTo>
                    <a:pt x="1710" y="1716"/>
                  </a:lnTo>
                  <a:lnTo>
                    <a:pt x="1727" y="1711"/>
                  </a:lnTo>
                  <a:lnTo>
                    <a:pt x="1744" y="1705"/>
                  </a:lnTo>
                  <a:lnTo>
                    <a:pt x="1779" y="1691"/>
                  </a:lnTo>
                  <a:lnTo>
                    <a:pt x="1815" y="1676"/>
                  </a:lnTo>
                  <a:lnTo>
                    <a:pt x="1849" y="1659"/>
                  </a:lnTo>
                  <a:lnTo>
                    <a:pt x="1880" y="1643"/>
                  </a:lnTo>
                  <a:lnTo>
                    <a:pt x="1880" y="1643"/>
                  </a:lnTo>
                  <a:lnTo>
                    <a:pt x="1942" y="1611"/>
                  </a:lnTo>
                  <a:lnTo>
                    <a:pt x="1979" y="1593"/>
                  </a:lnTo>
                  <a:lnTo>
                    <a:pt x="2013" y="1577"/>
                  </a:lnTo>
                  <a:lnTo>
                    <a:pt x="2013" y="1577"/>
                  </a:lnTo>
                  <a:lnTo>
                    <a:pt x="2041" y="1565"/>
                  </a:lnTo>
                  <a:lnTo>
                    <a:pt x="2054" y="1561"/>
                  </a:lnTo>
                  <a:lnTo>
                    <a:pt x="2068" y="1557"/>
                  </a:lnTo>
                  <a:lnTo>
                    <a:pt x="2081" y="1554"/>
                  </a:lnTo>
                  <a:lnTo>
                    <a:pt x="2093" y="1552"/>
                  </a:lnTo>
                  <a:lnTo>
                    <a:pt x="2105" y="1550"/>
                  </a:lnTo>
                  <a:lnTo>
                    <a:pt x="2119" y="1550"/>
                  </a:lnTo>
                  <a:lnTo>
                    <a:pt x="2131" y="1550"/>
                  </a:lnTo>
                  <a:lnTo>
                    <a:pt x="2143" y="1551"/>
                  </a:lnTo>
                  <a:lnTo>
                    <a:pt x="2156" y="1553"/>
                  </a:lnTo>
                  <a:lnTo>
                    <a:pt x="2170" y="1555"/>
                  </a:lnTo>
                  <a:lnTo>
                    <a:pt x="2183" y="1559"/>
                  </a:lnTo>
                  <a:lnTo>
                    <a:pt x="2196" y="1563"/>
                  </a:lnTo>
                  <a:lnTo>
                    <a:pt x="2211" y="1569"/>
                  </a:lnTo>
                  <a:lnTo>
                    <a:pt x="2226" y="1576"/>
                  </a:lnTo>
                  <a:lnTo>
                    <a:pt x="2226" y="1576"/>
                  </a:lnTo>
                  <a:lnTo>
                    <a:pt x="2246" y="1586"/>
                  </a:lnTo>
                  <a:lnTo>
                    <a:pt x="2265" y="1596"/>
                  </a:lnTo>
                  <a:lnTo>
                    <a:pt x="2281" y="1607"/>
                  </a:lnTo>
                  <a:lnTo>
                    <a:pt x="2295" y="1616"/>
                  </a:lnTo>
                  <a:lnTo>
                    <a:pt x="2305" y="1626"/>
                  </a:lnTo>
                  <a:lnTo>
                    <a:pt x="2312" y="1633"/>
                  </a:lnTo>
                  <a:lnTo>
                    <a:pt x="2319" y="1639"/>
                  </a:lnTo>
                  <a:lnTo>
                    <a:pt x="2319" y="1639"/>
                  </a:lnTo>
                  <a:lnTo>
                    <a:pt x="2317" y="1642"/>
                  </a:lnTo>
                  <a:lnTo>
                    <a:pt x="2313" y="1649"/>
                  </a:lnTo>
                  <a:lnTo>
                    <a:pt x="2305" y="1660"/>
                  </a:lnTo>
                  <a:lnTo>
                    <a:pt x="2300" y="1667"/>
                  </a:lnTo>
                  <a:lnTo>
                    <a:pt x="2293" y="1674"/>
                  </a:lnTo>
                  <a:lnTo>
                    <a:pt x="2285" y="1680"/>
                  </a:lnTo>
                  <a:lnTo>
                    <a:pt x="2276" y="1687"/>
                  </a:lnTo>
                  <a:lnTo>
                    <a:pt x="2267" y="1693"/>
                  </a:lnTo>
                  <a:lnTo>
                    <a:pt x="2255" y="1698"/>
                  </a:lnTo>
                  <a:lnTo>
                    <a:pt x="2242" y="1703"/>
                  </a:lnTo>
                  <a:lnTo>
                    <a:pt x="2228" y="1707"/>
                  </a:lnTo>
                  <a:lnTo>
                    <a:pt x="2212" y="1711"/>
                  </a:lnTo>
                  <a:lnTo>
                    <a:pt x="2194" y="1712"/>
                  </a:lnTo>
                  <a:lnTo>
                    <a:pt x="2194" y="1712"/>
                  </a:lnTo>
                  <a:lnTo>
                    <a:pt x="2180" y="1713"/>
                  </a:lnTo>
                  <a:lnTo>
                    <a:pt x="2166" y="1712"/>
                  </a:lnTo>
                  <a:lnTo>
                    <a:pt x="2152" y="1710"/>
                  </a:lnTo>
                  <a:lnTo>
                    <a:pt x="2139" y="1706"/>
                  </a:lnTo>
                  <a:lnTo>
                    <a:pt x="2127" y="1703"/>
                  </a:lnTo>
                  <a:lnTo>
                    <a:pt x="2115" y="1699"/>
                  </a:lnTo>
                  <a:lnTo>
                    <a:pt x="2103" y="1695"/>
                  </a:lnTo>
                  <a:lnTo>
                    <a:pt x="2092" y="1689"/>
                  </a:lnTo>
                  <a:lnTo>
                    <a:pt x="2082" y="1684"/>
                  </a:lnTo>
                  <a:lnTo>
                    <a:pt x="2073" y="1678"/>
                  </a:lnTo>
                  <a:lnTo>
                    <a:pt x="2064" y="1672"/>
                  </a:lnTo>
                  <a:lnTo>
                    <a:pt x="2056" y="1665"/>
                  </a:lnTo>
                  <a:lnTo>
                    <a:pt x="2048" y="1657"/>
                  </a:lnTo>
                  <a:lnTo>
                    <a:pt x="2042" y="1650"/>
                  </a:lnTo>
                  <a:lnTo>
                    <a:pt x="2036" y="1643"/>
                  </a:lnTo>
                  <a:lnTo>
                    <a:pt x="2031" y="1636"/>
                  </a:lnTo>
                  <a:lnTo>
                    <a:pt x="2031" y="1636"/>
                  </a:lnTo>
                  <a:lnTo>
                    <a:pt x="2022" y="1658"/>
                  </a:lnTo>
                  <a:lnTo>
                    <a:pt x="2013" y="1676"/>
                  </a:lnTo>
                  <a:lnTo>
                    <a:pt x="2007" y="1689"/>
                  </a:lnTo>
                  <a:lnTo>
                    <a:pt x="2007" y="1689"/>
                  </a:lnTo>
                  <a:lnTo>
                    <a:pt x="2003" y="1697"/>
                  </a:lnTo>
                  <a:lnTo>
                    <a:pt x="2000" y="1704"/>
                  </a:lnTo>
                  <a:lnTo>
                    <a:pt x="1998" y="1713"/>
                  </a:lnTo>
                  <a:lnTo>
                    <a:pt x="1997" y="1719"/>
                  </a:lnTo>
                  <a:lnTo>
                    <a:pt x="1997" y="1726"/>
                  </a:lnTo>
                  <a:lnTo>
                    <a:pt x="1997" y="1732"/>
                  </a:lnTo>
                  <a:lnTo>
                    <a:pt x="1999" y="1744"/>
                  </a:lnTo>
                  <a:lnTo>
                    <a:pt x="2001" y="1756"/>
                  </a:lnTo>
                  <a:lnTo>
                    <a:pt x="2003" y="1766"/>
                  </a:lnTo>
                  <a:lnTo>
                    <a:pt x="2004" y="1777"/>
                  </a:lnTo>
                  <a:lnTo>
                    <a:pt x="2003" y="1783"/>
                  </a:lnTo>
                  <a:lnTo>
                    <a:pt x="2001" y="1788"/>
                  </a:lnTo>
                  <a:lnTo>
                    <a:pt x="2001" y="1788"/>
                  </a:lnTo>
                  <a:lnTo>
                    <a:pt x="1999" y="1794"/>
                  </a:lnTo>
                  <a:lnTo>
                    <a:pt x="1995" y="1800"/>
                  </a:lnTo>
                  <a:lnTo>
                    <a:pt x="1986" y="1813"/>
                  </a:lnTo>
                  <a:lnTo>
                    <a:pt x="1973" y="1825"/>
                  </a:lnTo>
                  <a:lnTo>
                    <a:pt x="1960" y="1837"/>
                  </a:lnTo>
                  <a:lnTo>
                    <a:pt x="1945" y="1849"/>
                  </a:lnTo>
                  <a:lnTo>
                    <a:pt x="1931" y="1860"/>
                  </a:lnTo>
                  <a:lnTo>
                    <a:pt x="1904" y="1878"/>
                  </a:lnTo>
                  <a:lnTo>
                    <a:pt x="1904" y="1878"/>
                  </a:lnTo>
                  <a:lnTo>
                    <a:pt x="1886" y="1889"/>
                  </a:lnTo>
                  <a:lnTo>
                    <a:pt x="1864" y="1901"/>
                  </a:lnTo>
                  <a:lnTo>
                    <a:pt x="1842" y="1911"/>
                  </a:lnTo>
                  <a:lnTo>
                    <a:pt x="1819" y="1919"/>
                  </a:lnTo>
                  <a:lnTo>
                    <a:pt x="1798" y="1926"/>
                  </a:lnTo>
                  <a:lnTo>
                    <a:pt x="1779" y="1932"/>
                  </a:lnTo>
                  <a:lnTo>
                    <a:pt x="1754" y="1940"/>
                  </a:lnTo>
                  <a:lnTo>
                    <a:pt x="1754" y="1940"/>
                  </a:lnTo>
                  <a:lnTo>
                    <a:pt x="1779" y="1998"/>
                  </a:lnTo>
                  <a:lnTo>
                    <a:pt x="1811" y="2066"/>
                  </a:lnTo>
                  <a:lnTo>
                    <a:pt x="1811" y="2066"/>
                  </a:lnTo>
                  <a:lnTo>
                    <a:pt x="1833" y="2111"/>
                  </a:lnTo>
                  <a:lnTo>
                    <a:pt x="1862" y="2166"/>
                  </a:lnTo>
                  <a:lnTo>
                    <a:pt x="1877" y="2193"/>
                  </a:lnTo>
                  <a:lnTo>
                    <a:pt x="1893" y="2219"/>
                  </a:lnTo>
                  <a:lnTo>
                    <a:pt x="1909" y="2240"/>
                  </a:lnTo>
                  <a:lnTo>
                    <a:pt x="1916" y="2250"/>
                  </a:lnTo>
                  <a:lnTo>
                    <a:pt x="1924" y="2259"/>
                  </a:lnTo>
                  <a:lnTo>
                    <a:pt x="1924" y="2259"/>
                  </a:lnTo>
                  <a:lnTo>
                    <a:pt x="1940" y="2254"/>
                  </a:lnTo>
                  <a:lnTo>
                    <a:pt x="1957" y="2249"/>
                  </a:lnTo>
                  <a:lnTo>
                    <a:pt x="1980" y="2243"/>
                  </a:lnTo>
                  <a:lnTo>
                    <a:pt x="2004" y="2235"/>
                  </a:lnTo>
                  <a:lnTo>
                    <a:pt x="2031" y="2225"/>
                  </a:lnTo>
                  <a:lnTo>
                    <a:pt x="2057" y="2213"/>
                  </a:lnTo>
                  <a:lnTo>
                    <a:pt x="2071" y="2206"/>
                  </a:lnTo>
                  <a:lnTo>
                    <a:pt x="2083" y="2199"/>
                  </a:lnTo>
                  <a:lnTo>
                    <a:pt x="2083" y="2199"/>
                  </a:lnTo>
                  <a:lnTo>
                    <a:pt x="2105" y="2186"/>
                  </a:lnTo>
                  <a:lnTo>
                    <a:pt x="2126" y="2172"/>
                  </a:lnTo>
                  <a:lnTo>
                    <a:pt x="2145" y="2157"/>
                  </a:lnTo>
                  <a:lnTo>
                    <a:pt x="2162" y="2142"/>
                  </a:lnTo>
                  <a:lnTo>
                    <a:pt x="2177" y="2128"/>
                  </a:lnTo>
                  <a:lnTo>
                    <a:pt x="2189" y="2113"/>
                  </a:lnTo>
                  <a:lnTo>
                    <a:pt x="2199" y="2099"/>
                  </a:lnTo>
                  <a:lnTo>
                    <a:pt x="2207" y="2086"/>
                  </a:lnTo>
                  <a:lnTo>
                    <a:pt x="2207" y="2086"/>
                  </a:lnTo>
                  <a:lnTo>
                    <a:pt x="2190" y="2122"/>
                  </a:lnTo>
                  <a:lnTo>
                    <a:pt x="2175" y="2155"/>
                  </a:lnTo>
                  <a:lnTo>
                    <a:pt x="2161" y="2185"/>
                  </a:lnTo>
                  <a:lnTo>
                    <a:pt x="2146" y="2213"/>
                  </a:lnTo>
                  <a:lnTo>
                    <a:pt x="2132" y="2238"/>
                  </a:lnTo>
                  <a:lnTo>
                    <a:pt x="2119" y="2261"/>
                  </a:lnTo>
                  <a:lnTo>
                    <a:pt x="2105" y="2281"/>
                  </a:lnTo>
                  <a:lnTo>
                    <a:pt x="2092" y="2299"/>
                  </a:lnTo>
                  <a:lnTo>
                    <a:pt x="2080" y="2317"/>
                  </a:lnTo>
                  <a:lnTo>
                    <a:pt x="2068" y="2331"/>
                  </a:lnTo>
                  <a:lnTo>
                    <a:pt x="2055" y="2344"/>
                  </a:lnTo>
                  <a:lnTo>
                    <a:pt x="2044" y="2356"/>
                  </a:lnTo>
                  <a:lnTo>
                    <a:pt x="2033" y="2367"/>
                  </a:lnTo>
                  <a:lnTo>
                    <a:pt x="2022" y="2376"/>
                  </a:lnTo>
                  <a:lnTo>
                    <a:pt x="2011" y="2383"/>
                  </a:lnTo>
                  <a:lnTo>
                    <a:pt x="2000" y="2391"/>
                  </a:lnTo>
                  <a:lnTo>
                    <a:pt x="2000" y="2391"/>
                  </a:lnTo>
                  <a:lnTo>
                    <a:pt x="1907" y="2452"/>
                  </a:lnTo>
                  <a:lnTo>
                    <a:pt x="1797" y="2524"/>
                  </a:lnTo>
                  <a:lnTo>
                    <a:pt x="1735" y="2563"/>
                  </a:lnTo>
                  <a:lnTo>
                    <a:pt x="1671" y="2602"/>
                  </a:lnTo>
                  <a:lnTo>
                    <a:pt x="1602" y="2642"/>
                  </a:lnTo>
                  <a:lnTo>
                    <a:pt x="1532" y="2682"/>
                  </a:lnTo>
                  <a:lnTo>
                    <a:pt x="1459" y="2720"/>
                  </a:lnTo>
                  <a:lnTo>
                    <a:pt x="1422" y="2739"/>
                  </a:lnTo>
                  <a:lnTo>
                    <a:pt x="1384" y="2756"/>
                  </a:lnTo>
                  <a:lnTo>
                    <a:pt x="1347" y="2774"/>
                  </a:lnTo>
                  <a:lnTo>
                    <a:pt x="1308" y="2791"/>
                  </a:lnTo>
                  <a:lnTo>
                    <a:pt x="1269" y="2808"/>
                  </a:lnTo>
                  <a:lnTo>
                    <a:pt x="1230" y="2823"/>
                  </a:lnTo>
                  <a:lnTo>
                    <a:pt x="1190" y="2837"/>
                  </a:lnTo>
                  <a:lnTo>
                    <a:pt x="1151" y="2851"/>
                  </a:lnTo>
                  <a:lnTo>
                    <a:pt x="1111" y="2864"/>
                  </a:lnTo>
                  <a:lnTo>
                    <a:pt x="1072" y="2875"/>
                  </a:lnTo>
                  <a:lnTo>
                    <a:pt x="1032" y="2885"/>
                  </a:lnTo>
                  <a:lnTo>
                    <a:pt x="992" y="2893"/>
                  </a:lnTo>
                  <a:lnTo>
                    <a:pt x="952" y="2902"/>
                  </a:lnTo>
                  <a:lnTo>
                    <a:pt x="913" y="2908"/>
                  </a:lnTo>
                  <a:lnTo>
                    <a:pt x="913" y="2908"/>
                  </a:lnTo>
                  <a:lnTo>
                    <a:pt x="901" y="2908"/>
                  </a:lnTo>
                  <a:lnTo>
                    <a:pt x="889" y="2907"/>
                  </a:lnTo>
                  <a:lnTo>
                    <a:pt x="876" y="2904"/>
                  </a:lnTo>
                  <a:lnTo>
                    <a:pt x="863" y="2901"/>
                  </a:lnTo>
                  <a:lnTo>
                    <a:pt x="850" y="2898"/>
                  </a:lnTo>
                  <a:lnTo>
                    <a:pt x="836" y="2892"/>
                  </a:lnTo>
                  <a:lnTo>
                    <a:pt x="809" y="2880"/>
                  </a:lnTo>
                  <a:lnTo>
                    <a:pt x="781" y="2866"/>
                  </a:lnTo>
                  <a:lnTo>
                    <a:pt x="754" y="2850"/>
                  </a:lnTo>
                  <a:lnTo>
                    <a:pt x="726" y="2832"/>
                  </a:lnTo>
                  <a:lnTo>
                    <a:pt x="698" y="2813"/>
                  </a:lnTo>
                  <a:lnTo>
                    <a:pt x="672" y="2792"/>
                  </a:lnTo>
                  <a:lnTo>
                    <a:pt x="646" y="2772"/>
                  </a:lnTo>
                  <a:lnTo>
                    <a:pt x="623" y="2751"/>
                  </a:lnTo>
                  <a:lnTo>
                    <a:pt x="600" y="2731"/>
                  </a:lnTo>
                  <a:lnTo>
                    <a:pt x="581" y="2711"/>
                  </a:lnTo>
                  <a:lnTo>
                    <a:pt x="563" y="2694"/>
                  </a:lnTo>
                  <a:lnTo>
                    <a:pt x="548" y="2679"/>
                  </a:lnTo>
                  <a:lnTo>
                    <a:pt x="537" y="2665"/>
                  </a:lnTo>
                  <a:lnTo>
                    <a:pt x="537" y="2665"/>
                  </a:lnTo>
                  <a:lnTo>
                    <a:pt x="533" y="2661"/>
                  </a:lnTo>
                  <a:lnTo>
                    <a:pt x="530" y="2657"/>
                  </a:lnTo>
                  <a:lnTo>
                    <a:pt x="520" y="2652"/>
                  </a:lnTo>
                  <a:lnTo>
                    <a:pt x="512" y="2650"/>
                  </a:lnTo>
                  <a:lnTo>
                    <a:pt x="502" y="2649"/>
                  </a:lnTo>
                  <a:lnTo>
                    <a:pt x="493" y="2649"/>
                  </a:lnTo>
                  <a:lnTo>
                    <a:pt x="483" y="2651"/>
                  </a:lnTo>
                  <a:lnTo>
                    <a:pt x="473" y="2654"/>
                  </a:lnTo>
                  <a:lnTo>
                    <a:pt x="464" y="2658"/>
                  </a:lnTo>
                  <a:lnTo>
                    <a:pt x="447" y="2666"/>
                  </a:lnTo>
                  <a:lnTo>
                    <a:pt x="433" y="2676"/>
                  </a:lnTo>
                  <a:lnTo>
                    <a:pt x="419" y="2686"/>
                  </a:lnTo>
                  <a:lnTo>
                    <a:pt x="419" y="2686"/>
                  </a:lnTo>
                  <a:lnTo>
                    <a:pt x="412" y="2685"/>
                  </a:lnTo>
                  <a:lnTo>
                    <a:pt x="393" y="2683"/>
                  </a:lnTo>
                  <a:lnTo>
                    <a:pt x="379" y="2683"/>
                  </a:lnTo>
                  <a:lnTo>
                    <a:pt x="364" y="2683"/>
                  </a:lnTo>
                  <a:lnTo>
                    <a:pt x="348" y="2684"/>
                  </a:lnTo>
                  <a:lnTo>
                    <a:pt x="329" y="2686"/>
                  </a:lnTo>
                  <a:lnTo>
                    <a:pt x="310" y="2689"/>
                  </a:lnTo>
                  <a:lnTo>
                    <a:pt x="290" y="2694"/>
                  </a:lnTo>
                  <a:lnTo>
                    <a:pt x="271" y="2700"/>
                  </a:lnTo>
                  <a:lnTo>
                    <a:pt x="252" y="2709"/>
                  </a:lnTo>
                  <a:lnTo>
                    <a:pt x="242" y="2715"/>
                  </a:lnTo>
                  <a:lnTo>
                    <a:pt x="233" y="2720"/>
                  </a:lnTo>
                  <a:lnTo>
                    <a:pt x="224" y="2726"/>
                  </a:lnTo>
                  <a:lnTo>
                    <a:pt x="216" y="2733"/>
                  </a:lnTo>
                  <a:lnTo>
                    <a:pt x="207" y="2741"/>
                  </a:lnTo>
                  <a:lnTo>
                    <a:pt x="199" y="2749"/>
                  </a:lnTo>
                  <a:lnTo>
                    <a:pt x="191" y="2759"/>
                  </a:lnTo>
                  <a:lnTo>
                    <a:pt x="184" y="2768"/>
                  </a:lnTo>
                  <a:lnTo>
                    <a:pt x="184" y="2768"/>
                  </a:lnTo>
                  <a:lnTo>
                    <a:pt x="183" y="2771"/>
                  </a:lnTo>
                  <a:lnTo>
                    <a:pt x="185" y="2773"/>
                  </a:lnTo>
                  <a:lnTo>
                    <a:pt x="188" y="2774"/>
                  </a:lnTo>
                  <a:lnTo>
                    <a:pt x="193" y="2774"/>
                  </a:lnTo>
                  <a:lnTo>
                    <a:pt x="210" y="2772"/>
                  </a:lnTo>
                  <a:lnTo>
                    <a:pt x="230" y="2770"/>
                  </a:lnTo>
                  <a:lnTo>
                    <a:pt x="255" y="2768"/>
                  </a:lnTo>
                  <a:lnTo>
                    <a:pt x="280" y="2767"/>
                  </a:lnTo>
                  <a:lnTo>
                    <a:pt x="293" y="2768"/>
                  </a:lnTo>
                  <a:lnTo>
                    <a:pt x="307" y="2769"/>
                  </a:lnTo>
                  <a:lnTo>
                    <a:pt x="319" y="2771"/>
                  </a:lnTo>
                  <a:lnTo>
                    <a:pt x="331" y="2774"/>
                  </a:lnTo>
                  <a:lnTo>
                    <a:pt x="331" y="2774"/>
                  </a:lnTo>
                  <a:lnTo>
                    <a:pt x="338" y="2777"/>
                  </a:lnTo>
                  <a:lnTo>
                    <a:pt x="343" y="2780"/>
                  </a:lnTo>
                  <a:lnTo>
                    <a:pt x="346" y="2783"/>
                  </a:lnTo>
                  <a:lnTo>
                    <a:pt x="347" y="2786"/>
                  </a:lnTo>
                  <a:lnTo>
                    <a:pt x="347" y="2789"/>
                  </a:lnTo>
                  <a:lnTo>
                    <a:pt x="345" y="2793"/>
                  </a:lnTo>
                  <a:lnTo>
                    <a:pt x="339" y="2801"/>
                  </a:lnTo>
                  <a:lnTo>
                    <a:pt x="332" y="2811"/>
                  </a:lnTo>
                  <a:lnTo>
                    <a:pt x="325" y="2822"/>
                  </a:lnTo>
                  <a:lnTo>
                    <a:pt x="321" y="2828"/>
                  </a:lnTo>
                  <a:lnTo>
                    <a:pt x="319" y="2834"/>
                  </a:lnTo>
                  <a:lnTo>
                    <a:pt x="317" y="2840"/>
                  </a:lnTo>
                  <a:lnTo>
                    <a:pt x="317" y="2847"/>
                  </a:lnTo>
                  <a:lnTo>
                    <a:pt x="317" y="2847"/>
                  </a:lnTo>
                  <a:lnTo>
                    <a:pt x="317" y="2853"/>
                  </a:lnTo>
                  <a:lnTo>
                    <a:pt x="319" y="2859"/>
                  </a:lnTo>
                  <a:lnTo>
                    <a:pt x="321" y="2864"/>
                  </a:lnTo>
                  <a:lnTo>
                    <a:pt x="324" y="2869"/>
                  </a:lnTo>
                  <a:lnTo>
                    <a:pt x="328" y="2874"/>
                  </a:lnTo>
                  <a:lnTo>
                    <a:pt x="333" y="2879"/>
                  </a:lnTo>
                  <a:lnTo>
                    <a:pt x="346" y="2889"/>
                  </a:lnTo>
                  <a:lnTo>
                    <a:pt x="361" y="2899"/>
                  </a:lnTo>
                  <a:lnTo>
                    <a:pt x="377" y="2908"/>
                  </a:lnTo>
                  <a:lnTo>
                    <a:pt x="397" y="2917"/>
                  </a:lnTo>
                  <a:lnTo>
                    <a:pt x="416" y="2925"/>
                  </a:lnTo>
                  <a:lnTo>
                    <a:pt x="458" y="2941"/>
                  </a:lnTo>
                  <a:lnTo>
                    <a:pt x="500" y="2955"/>
                  </a:lnTo>
                  <a:lnTo>
                    <a:pt x="571" y="2976"/>
                  </a:lnTo>
                  <a:lnTo>
                    <a:pt x="571" y="2976"/>
                  </a:lnTo>
                  <a:lnTo>
                    <a:pt x="579" y="2980"/>
                  </a:lnTo>
                  <a:lnTo>
                    <a:pt x="585" y="2984"/>
                  </a:lnTo>
                  <a:lnTo>
                    <a:pt x="588" y="2990"/>
                  </a:lnTo>
                  <a:lnTo>
                    <a:pt x="590" y="2995"/>
                  </a:lnTo>
                  <a:lnTo>
                    <a:pt x="590" y="2999"/>
                  </a:lnTo>
                  <a:lnTo>
                    <a:pt x="588" y="3003"/>
                  </a:lnTo>
                  <a:lnTo>
                    <a:pt x="585" y="3005"/>
                  </a:lnTo>
                  <a:lnTo>
                    <a:pt x="581" y="3006"/>
                  </a:lnTo>
                  <a:lnTo>
                    <a:pt x="581" y="3006"/>
                  </a:lnTo>
                  <a:lnTo>
                    <a:pt x="556" y="3005"/>
                  </a:lnTo>
                  <a:lnTo>
                    <a:pt x="532" y="3002"/>
                  </a:lnTo>
                  <a:lnTo>
                    <a:pt x="509" y="2999"/>
                  </a:lnTo>
                  <a:lnTo>
                    <a:pt x="488" y="2994"/>
                  </a:lnTo>
                  <a:lnTo>
                    <a:pt x="467" y="2989"/>
                  </a:lnTo>
                  <a:lnTo>
                    <a:pt x="448" y="2982"/>
                  </a:lnTo>
                  <a:lnTo>
                    <a:pt x="429" y="2976"/>
                  </a:lnTo>
                  <a:lnTo>
                    <a:pt x="412" y="2970"/>
                  </a:lnTo>
                  <a:lnTo>
                    <a:pt x="380" y="2957"/>
                  </a:lnTo>
                  <a:lnTo>
                    <a:pt x="352" y="2945"/>
                  </a:lnTo>
                  <a:lnTo>
                    <a:pt x="327" y="2933"/>
                  </a:lnTo>
                  <a:lnTo>
                    <a:pt x="316" y="2929"/>
                  </a:lnTo>
                  <a:lnTo>
                    <a:pt x="305" y="2925"/>
                  </a:lnTo>
                  <a:lnTo>
                    <a:pt x="305" y="2925"/>
                  </a:lnTo>
                  <a:lnTo>
                    <a:pt x="286" y="2920"/>
                  </a:lnTo>
                  <a:lnTo>
                    <a:pt x="268" y="2916"/>
                  </a:lnTo>
                  <a:lnTo>
                    <a:pt x="253" y="2913"/>
                  </a:lnTo>
                  <a:lnTo>
                    <a:pt x="237" y="2911"/>
                  </a:lnTo>
                  <a:lnTo>
                    <a:pt x="224" y="2910"/>
                  </a:lnTo>
                  <a:lnTo>
                    <a:pt x="213" y="2911"/>
                  </a:lnTo>
                  <a:lnTo>
                    <a:pt x="202" y="2912"/>
                  </a:lnTo>
                  <a:lnTo>
                    <a:pt x="192" y="2914"/>
                  </a:lnTo>
                  <a:lnTo>
                    <a:pt x="185" y="2918"/>
                  </a:lnTo>
                  <a:lnTo>
                    <a:pt x="178" y="2922"/>
                  </a:lnTo>
                  <a:lnTo>
                    <a:pt x="172" y="2927"/>
                  </a:lnTo>
                  <a:lnTo>
                    <a:pt x="167" y="2933"/>
                  </a:lnTo>
                  <a:lnTo>
                    <a:pt x="163" y="2939"/>
                  </a:lnTo>
                  <a:lnTo>
                    <a:pt x="160" y="2948"/>
                  </a:lnTo>
                  <a:lnTo>
                    <a:pt x="156" y="2956"/>
                  </a:lnTo>
                  <a:lnTo>
                    <a:pt x="155" y="2965"/>
                  </a:lnTo>
                  <a:lnTo>
                    <a:pt x="155" y="2965"/>
                  </a:lnTo>
                  <a:lnTo>
                    <a:pt x="154" y="2968"/>
                  </a:lnTo>
                  <a:lnTo>
                    <a:pt x="152" y="2971"/>
                  </a:lnTo>
                  <a:lnTo>
                    <a:pt x="150" y="2974"/>
                  </a:lnTo>
                  <a:lnTo>
                    <a:pt x="147" y="2976"/>
                  </a:lnTo>
                  <a:lnTo>
                    <a:pt x="140" y="2980"/>
                  </a:lnTo>
                  <a:lnTo>
                    <a:pt x="132" y="2985"/>
                  </a:lnTo>
                  <a:lnTo>
                    <a:pt x="109" y="2995"/>
                  </a:lnTo>
                  <a:lnTo>
                    <a:pt x="97" y="3001"/>
                  </a:lnTo>
                  <a:lnTo>
                    <a:pt x="84" y="3009"/>
                  </a:lnTo>
                  <a:lnTo>
                    <a:pt x="71" y="3019"/>
                  </a:lnTo>
                  <a:lnTo>
                    <a:pt x="57" y="3033"/>
                  </a:lnTo>
                  <a:lnTo>
                    <a:pt x="51" y="3040"/>
                  </a:lnTo>
                  <a:lnTo>
                    <a:pt x="45" y="3048"/>
                  </a:lnTo>
                  <a:lnTo>
                    <a:pt x="39" y="3058"/>
                  </a:lnTo>
                  <a:lnTo>
                    <a:pt x="33" y="3068"/>
                  </a:lnTo>
                  <a:lnTo>
                    <a:pt x="28" y="3080"/>
                  </a:lnTo>
                  <a:lnTo>
                    <a:pt x="22" y="3092"/>
                  </a:lnTo>
                  <a:lnTo>
                    <a:pt x="17" y="3106"/>
                  </a:lnTo>
                  <a:lnTo>
                    <a:pt x="13" y="3120"/>
                  </a:lnTo>
                  <a:lnTo>
                    <a:pt x="9" y="3137"/>
                  </a:lnTo>
                  <a:lnTo>
                    <a:pt x="6" y="3154"/>
                  </a:lnTo>
                  <a:lnTo>
                    <a:pt x="3" y="3174"/>
                  </a:lnTo>
                  <a:lnTo>
                    <a:pt x="0" y="3194"/>
                  </a:lnTo>
                  <a:lnTo>
                    <a:pt x="0" y="3194"/>
                  </a:lnTo>
                  <a:lnTo>
                    <a:pt x="1" y="3195"/>
                  </a:lnTo>
                  <a:lnTo>
                    <a:pt x="2" y="3196"/>
                  </a:lnTo>
                  <a:lnTo>
                    <a:pt x="6" y="3194"/>
                  </a:lnTo>
                  <a:lnTo>
                    <a:pt x="12" y="3189"/>
                  </a:lnTo>
                  <a:lnTo>
                    <a:pt x="20" y="3181"/>
                  </a:lnTo>
                  <a:lnTo>
                    <a:pt x="43" y="3158"/>
                  </a:lnTo>
                  <a:lnTo>
                    <a:pt x="69" y="3134"/>
                  </a:lnTo>
                  <a:lnTo>
                    <a:pt x="82" y="3121"/>
                  </a:lnTo>
                  <a:lnTo>
                    <a:pt x="95" y="3110"/>
                  </a:lnTo>
                  <a:lnTo>
                    <a:pt x="107" y="3101"/>
                  </a:lnTo>
                  <a:lnTo>
                    <a:pt x="119" y="3094"/>
                  </a:lnTo>
                  <a:lnTo>
                    <a:pt x="124" y="3091"/>
                  </a:lnTo>
                  <a:lnTo>
                    <a:pt x="129" y="3090"/>
                  </a:lnTo>
                  <a:lnTo>
                    <a:pt x="133" y="3089"/>
                  </a:lnTo>
                  <a:lnTo>
                    <a:pt x="137" y="3089"/>
                  </a:lnTo>
                  <a:lnTo>
                    <a:pt x="140" y="3091"/>
                  </a:lnTo>
                  <a:lnTo>
                    <a:pt x="143" y="3093"/>
                  </a:lnTo>
                  <a:lnTo>
                    <a:pt x="144" y="3097"/>
                  </a:lnTo>
                  <a:lnTo>
                    <a:pt x="146" y="3101"/>
                  </a:lnTo>
                  <a:lnTo>
                    <a:pt x="146" y="3101"/>
                  </a:lnTo>
                  <a:lnTo>
                    <a:pt x="149" y="3117"/>
                  </a:lnTo>
                  <a:lnTo>
                    <a:pt x="154" y="3132"/>
                  </a:lnTo>
                  <a:lnTo>
                    <a:pt x="162" y="3145"/>
                  </a:lnTo>
                  <a:lnTo>
                    <a:pt x="170" y="3155"/>
                  </a:lnTo>
                  <a:lnTo>
                    <a:pt x="179" y="3165"/>
                  </a:lnTo>
                  <a:lnTo>
                    <a:pt x="189" y="3173"/>
                  </a:lnTo>
                  <a:lnTo>
                    <a:pt x="200" y="3180"/>
                  </a:lnTo>
                  <a:lnTo>
                    <a:pt x="214" y="3185"/>
                  </a:lnTo>
                  <a:lnTo>
                    <a:pt x="227" y="3189"/>
                  </a:lnTo>
                  <a:lnTo>
                    <a:pt x="241" y="3191"/>
                  </a:lnTo>
                  <a:lnTo>
                    <a:pt x="256" y="3193"/>
                  </a:lnTo>
                  <a:lnTo>
                    <a:pt x="271" y="3194"/>
                  </a:lnTo>
                  <a:lnTo>
                    <a:pt x="287" y="3195"/>
                  </a:lnTo>
                  <a:lnTo>
                    <a:pt x="304" y="3194"/>
                  </a:lnTo>
                  <a:lnTo>
                    <a:pt x="337" y="3192"/>
                  </a:lnTo>
                  <a:lnTo>
                    <a:pt x="371" y="3188"/>
                  </a:lnTo>
                  <a:lnTo>
                    <a:pt x="405" y="3183"/>
                  </a:lnTo>
                  <a:lnTo>
                    <a:pt x="438" y="3178"/>
                  </a:lnTo>
                  <a:lnTo>
                    <a:pt x="468" y="3174"/>
                  </a:lnTo>
                  <a:lnTo>
                    <a:pt x="496" y="3172"/>
                  </a:lnTo>
                  <a:lnTo>
                    <a:pt x="509" y="3171"/>
                  </a:lnTo>
                  <a:lnTo>
                    <a:pt x="520" y="3171"/>
                  </a:lnTo>
                  <a:lnTo>
                    <a:pt x="531" y="3172"/>
                  </a:lnTo>
                  <a:lnTo>
                    <a:pt x="541" y="3174"/>
                  </a:lnTo>
                  <a:lnTo>
                    <a:pt x="549" y="3177"/>
                  </a:lnTo>
                  <a:lnTo>
                    <a:pt x="555" y="3181"/>
                  </a:lnTo>
                  <a:lnTo>
                    <a:pt x="555" y="3181"/>
                  </a:lnTo>
                  <a:lnTo>
                    <a:pt x="558" y="3184"/>
                  </a:lnTo>
                  <a:lnTo>
                    <a:pt x="559" y="3186"/>
                  </a:lnTo>
                  <a:lnTo>
                    <a:pt x="557" y="3189"/>
                  </a:lnTo>
                  <a:lnTo>
                    <a:pt x="554" y="3191"/>
                  </a:lnTo>
                  <a:lnTo>
                    <a:pt x="549" y="3194"/>
                  </a:lnTo>
                  <a:lnTo>
                    <a:pt x="542" y="3196"/>
                  </a:lnTo>
                  <a:lnTo>
                    <a:pt x="525" y="3200"/>
                  </a:lnTo>
                  <a:lnTo>
                    <a:pt x="475" y="3209"/>
                  </a:lnTo>
                  <a:lnTo>
                    <a:pt x="447" y="3215"/>
                  </a:lnTo>
                  <a:lnTo>
                    <a:pt x="417" y="3221"/>
                  </a:lnTo>
                  <a:lnTo>
                    <a:pt x="388" y="3228"/>
                  </a:lnTo>
                  <a:lnTo>
                    <a:pt x="359" y="3236"/>
                  </a:lnTo>
                  <a:lnTo>
                    <a:pt x="346" y="3240"/>
                  </a:lnTo>
                  <a:lnTo>
                    <a:pt x="333" y="3245"/>
                  </a:lnTo>
                  <a:lnTo>
                    <a:pt x="322" y="3250"/>
                  </a:lnTo>
                  <a:lnTo>
                    <a:pt x="312" y="3256"/>
                  </a:lnTo>
                  <a:lnTo>
                    <a:pt x="303" y="3263"/>
                  </a:lnTo>
                  <a:lnTo>
                    <a:pt x="294" y="3269"/>
                  </a:lnTo>
                  <a:lnTo>
                    <a:pt x="288" y="3276"/>
                  </a:lnTo>
                  <a:lnTo>
                    <a:pt x="284" y="3284"/>
                  </a:lnTo>
                  <a:lnTo>
                    <a:pt x="282" y="3292"/>
                  </a:lnTo>
                  <a:lnTo>
                    <a:pt x="281" y="3300"/>
                  </a:lnTo>
                  <a:lnTo>
                    <a:pt x="283" y="3311"/>
                  </a:lnTo>
                  <a:lnTo>
                    <a:pt x="287" y="3321"/>
                  </a:lnTo>
                  <a:lnTo>
                    <a:pt x="287" y="3321"/>
                  </a:lnTo>
                  <a:lnTo>
                    <a:pt x="287" y="3322"/>
                  </a:lnTo>
                  <a:lnTo>
                    <a:pt x="286" y="3325"/>
                  </a:lnTo>
                  <a:lnTo>
                    <a:pt x="283" y="3331"/>
                  </a:lnTo>
                  <a:lnTo>
                    <a:pt x="268" y="3348"/>
                  </a:lnTo>
                  <a:lnTo>
                    <a:pt x="258" y="3361"/>
                  </a:lnTo>
                  <a:lnTo>
                    <a:pt x="247" y="3374"/>
                  </a:lnTo>
                  <a:lnTo>
                    <a:pt x="237" y="3389"/>
                  </a:lnTo>
                  <a:lnTo>
                    <a:pt x="228" y="3406"/>
                  </a:lnTo>
                  <a:lnTo>
                    <a:pt x="220" y="3423"/>
                  </a:lnTo>
                  <a:lnTo>
                    <a:pt x="217" y="3432"/>
                  </a:lnTo>
                  <a:lnTo>
                    <a:pt x="214" y="3443"/>
                  </a:lnTo>
                  <a:lnTo>
                    <a:pt x="213" y="3452"/>
                  </a:lnTo>
                  <a:lnTo>
                    <a:pt x="212" y="3463"/>
                  </a:lnTo>
                  <a:lnTo>
                    <a:pt x="212" y="3473"/>
                  </a:lnTo>
                  <a:lnTo>
                    <a:pt x="213" y="3483"/>
                  </a:lnTo>
                  <a:lnTo>
                    <a:pt x="215" y="3495"/>
                  </a:lnTo>
                  <a:lnTo>
                    <a:pt x="219" y="3506"/>
                  </a:lnTo>
                  <a:lnTo>
                    <a:pt x="223" y="3518"/>
                  </a:lnTo>
                  <a:lnTo>
                    <a:pt x="229" y="3529"/>
                  </a:lnTo>
                  <a:lnTo>
                    <a:pt x="237" y="3542"/>
                  </a:lnTo>
                  <a:lnTo>
                    <a:pt x="246" y="3554"/>
                  </a:lnTo>
                  <a:lnTo>
                    <a:pt x="257" y="3566"/>
                  </a:lnTo>
                  <a:lnTo>
                    <a:pt x="270" y="3579"/>
                  </a:lnTo>
                  <a:lnTo>
                    <a:pt x="270" y="3579"/>
                  </a:lnTo>
                  <a:lnTo>
                    <a:pt x="270" y="3572"/>
                  </a:lnTo>
                  <a:lnTo>
                    <a:pt x="272" y="3555"/>
                  </a:lnTo>
                  <a:lnTo>
                    <a:pt x="277" y="3530"/>
                  </a:lnTo>
                  <a:lnTo>
                    <a:pt x="281" y="3517"/>
                  </a:lnTo>
                  <a:lnTo>
                    <a:pt x="285" y="3503"/>
                  </a:lnTo>
                  <a:lnTo>
                    <a:pt x="291" y="3490"/>
                  </a:lnTo>
                  <a:lnTo>
                    <a:pt x="298" y="3476"/>
                  </a:lnTo>
                  <a:lnTo>
                    <a:pt x="306" y="3463"/>
                  </a:lnTo>
                  <a:lnTo>
                    <a:pt x="315" y="3453"/>
                  </a:lnTo>
                  <a:lnTo>
                    <a:pt x="321" y="3448"/>
                  </a:lnTo>
                  <a:lnTo>
                    <a:pt x="326" y="3444"/>
                  </a:lnTo>
                  <a:lnTo>
                    <a:pt x="332" y="3439"/>
                  </a:lnTo>
                  <a:lnTo>
                    <a:pt x="339" y="3436"/>
                  </a:lnTo>
                  <a:lnTo>
                    <a:pt x="346" y="3434"/>
                  </a:lnTo>
                  <a:lnTo>
                    <a:pt x="354" y="3432"/>
                  </a:lnTo>
                  <a:lnTo>
                    <a:pt x="361" y="3432"/>
                  </a:lnTo>
                  <a:lnTo>
                    <a:pt x="369" y="3432"/>
                  </a:lnTo>
                  <a:lnTo>
                    <a:pt x="369" y="3432"/>
                  </a:lnTo>
                  <a:lnTo>
                    <a:pt x="383" y="3433"/>
                  </a:lnTo>
                  <a:lnTo>
                    <a:pt x="396" y="3436"/>
                  </a:lnTo>
                  <a:lnTo>
                    <a:pt x="408" y="3440"/>
                  </a:lnTo>
                  <a:lnTo>
                    <a:pt x="420" y="3445"/>
                  </a:lnTo>
                  <a:lnTo>
                    <a:pt x="443" y="3455"/>
                  </a:lnTo>
                  <a:lnTo>
                    <a:pt x="454" y="3459"/>
                  </a:lnTo>
                  <a:lnTo>
                    <a:pt x="465" y="3463"/>
                  </a:lnTo>
                  <a:lnTo>
                    <a:pt x="476" y="3466"/>
                  </a:lnTo>
                  <a:lnTo>
                    <a:pt x="489" y="3468"/>
                  </a:lnTo>
                  <a:lnTo>
                    <a:pt x="501" y="3469"/>
                  </a:lnTo>
                  <a:lnTo>
                    <a:pt x="514" y="3467"/>
                  </a:lnTo>
                  <a:lnTo>
                    <a:pt x="528" y="3464"/>
                  </a:lnTo>
                  <a:lnTo>
                    <a:pt x="542" y="3458"/>
                  </a:lnTo>
                  <a:lnTo>
                    <a:pt x="558" y="3450"/>
                  </a:lnTo>
                  <a:lnTo>
                    <a:pt x="575" y="3437"/>
                  </a:lnTo>
                  <a:lnTo>
                    <a:pt x="575" y="3437"/>
                  </a:lnTo>
                  <a:lnTo>
                    <a:pt x="588" y="3428"/>
                  </a:lnTo>
                  <a:lnTo>
                    <a:pt x="600" y="3417"/>
                  </a:lnTo>
                  <a:lnTo>
                    <a:pt x="614" y="3405"/>
                  </a:lnTo>
                  <a:lnTo>
                    <a:pt x="630" y="3392"/>
                  </a:lnTo>
                  <a:lnTo>
                    <a:pt x="651" y="3380"/>
                  </a:lnTo>
                  <a:lnTo>
                    <a:pt x="664" y="3373"/>
                  </a:lnTo>
                  <a:lnTo>
                    <a:pt x="678" y="3367"/>
                  </a:lnTo>
                  <a:lnTo>
                    <a:pt x="693" y="3360"/>
                  </a:lnTo>
                  <a:lnTo>
                    <a:pt x="712" y="3354"/>
                  </a:lnTo>
                  <a:lnTo>
                    <a:pt x="732" y="3346"/>
                  </a:lnTo>
                  <a:lnTo>
                    <a:pt x="754" y="3339"/>
                  </a:lnTo>
                  <a:lnTo>
                    <a:pt x="754" y="3339"/>
                  </a:lnTo>
                  <a:lnTo>
                    <a:pt x="756" y="3339"/>
                  </a:lnTo>
                  <a:lnTo>
                    <a:pt x="757" y="3340"/>
                  </a:lnTo>
                  <a:lnTo>
                    <a:pt x="760" y="3345"/>
                  </a:lnTo>
                  <a:lnTo>
                    <a:pt x="762" y="3354"/>
                  </a:lnTo>
                  <a:lnTo>
                    <a:pt x="765" y="3363"/>
                  </a:lnTo>
                  <a:lnTo>
                    <a:pt x="768" y="3375"/>
                  </a:lnTo>
                  <a:lnTo>
                    <a:pt x="772" y="3387"/>
                  </a:lnTo>
                  <a:lnTo>
                    <a:pt x="777" y="3400"/>
                  </a:lnTo>
                  <a:lnTo>
                    <a:pt x="783" y="3412"/>
                  </a:lnTo>
                  <a:lnTo>
                    <a:pt x="783" y="3412"/>
                  </a:lnTo>
                  <a:lnTo>
                    <a:pt x="786" y="3415"/>
                  </a:lnTo>
                  <a:lnTo>
                    <a:pt x="789" y="3417"/>
                  </a:lnTo>
                  <a:lnTo>
                    <a:pt x="797" y="3422"/>
                  </a:lnTo>
                  <a:lnTo>
                    <a:pt x="805" y="3425"/>
                  </a:lnTo>
                  <a:lnTo>
                    <a:pt x="813" y="3429"/>
                  </a:lnTo>
                  <a:lnTo>
                    <a:pt x="821" y="3432"/>
                  </a:lnTo>
                  <a:lnTo>
                    <a:pt x="827" y="3435"/>
                  </a:lnTo>
                  <a:lnTo>
                    <a:pt x="830" y="3437"/>
                  </a:lnTo>
                  <a:lnTo>
                    <a:pt x="831" y="3439"/>
                  </a:lnTo>
                  <a:lnTo>
                    <a:pt x="833" y="3443"/>
                  </a:lnTo>
                  <a:lnTo>
                    <a:pt x="833" y="3446"/>
                  </a:lnTo>
                  <a:lnTo>
                    <a:pt x="833" y="3446"/>
                  </a:lnTo>
                  <a:lnTo>
                    <a:pt x="832" y="3456"/>
                  </a:lnTo>
                  <a:lnTo>
                    <a:pt x="830" y="3467"/>
                  </a:lnTo>
                  <a:lnTo>
                    <a:pt x="826" y="3477"/>
                  </a:lnTo>
                  <a:lnTo>
                    <a:pt x="822" y="3486"/>
                  </a:lnTo>
                  <a:lnTo>
                    <a:pt x="817" y="3496"/>
                  </a:lnTo>
                  <a:lnTo>
                    <a:pt x="811" y="3505"/>
                  </a:lnTo>
                  <a:lnTo>
                    <a:pt x="798" y="3521"/>
                  </a:lnTo>
                  <a:lnTo>
                    <a:pt x="784" y="3535"/>
                  </a:lnTo>
                  <a:lnTo>
                    <a:pt x="773" y="3546"/>
                  </a:lnTo>
                  <a:lnTo>
                    <a:pt x="765" y="3552"/>
                  </a:lnTo>
                  <a:lnTo>
                    <a:pt x="763" y="3555"/>
                  </a:lnTo>
                  <a:lnTo>
                    <a:pt x="763" y="3555"/>
                  </a:lnTo>
                  <a:lnTo>
                    <a:pt x="767" y="3558"/>
                  </a:lnTo>
                  <a:lnTo>
                    <a:pt x="778" y="3561"/>
                  </a:lnTo>
                  <a:lnTo>
                    <a:pt x="785" y="3562"/>
                  </a:lnTo>
                  <a:lnTo>
                    <a:pt x="794" y="3563"/>
                  </a:lnTo>
                  <a:lnTo>
                    <a:pt x="804" y="3563"/>
                  </a:lnTo>
                  <a:lnTo>
                    <a:pt x="815" y="3561"/>
                  </a:lnTo>
                  <a:lnTo>
                    <a:pt x="826" y="3558"/>
                  </a:lnTo>
                  <a:lnTo>
                    <a:pt x="839" y="3553"/>
                  </a:lnTo>
                  <a:lnTo>
                    <a:pt x="852" y="3546"/>
                  </a:lnTo>
                  <a:lnTo>
                    <a:pt x="865" y="3536"/>
                  </a:lnTo>
                  <a:lnTo>
                    <a:pt x="879" y="3522"/>
                  </a:lnTo>
                  <a:lnTo>
                    <a:pt x="894" y="3506"/>
                  </a:lnTo>
                  <a:lnTo>
                    <a:pt x="907" y="3486"/>
                  </a:lnTo>
                  <a:lnTo>
                    <a:pt x="921" y="3463"/>
                  </a:lnTo>
                  <a:lnTo>
                    <a:pt x="921" y="3463"/>
                  </a:lnTo>
                  <a:lnTo>
                    <a:pt x="924" y="3459"/>
                  </a:lnTo>
                  <a:lnTo>
                    <a:pt x="927" y="3455"/>
                  </a:lnTo>
                  <a:lnTo>
                    <a:pt x="930" y="3453"/>
                  </a:lnTo>
                  <a:lnTo>
                    <a:pt x="935" y="3451"/>
                  </a:lnTo>
                  <a:lnTo>
                    <a:pt x="939" y="3450"/>
                  </a:lnTo>
                  <a:lnTo>
                    <a:pt x="943" y="3450"/>
                  </a:lnTo>
                  <a:lnTo>
                    <a:pt x="951" y="3450"/>
                  </a:lnTo>
                  <a:lnTo>
                    <a:pt x="970" y="3452"/>
                  </a:lnTo>
                  <a:lnTo>
                    <a:pt x="982" y="3452"/>
                  </a:lnTo>
                  <a:lnTo>
                    <a:pt x="987" y="3451"/>
                  </a:lnTo>
                  <a:lnTo>
                    <a:pt x="992" y="3450"/>
                  </a:lnTo>
                  <a:lnTo>
                    <a:pt x="992" y="3450"/>
                  </a:lnTo>
                  <a:lnTo>
                    <a:pt x="1010" y="3444"/>
                  </a:lnTo>
                  <a:lnTo>
                    <a:pt x="1017" y="3439"/>
                  </a:lnTo>
                  <a:lnTo>
                    <a:pt x="1024" y="3435"/>
                  </a:lnTo>
                  <a:lnTo>
                    <a:pt x="1029" y="3432"/>
                  </a:lnTo>
                  <a:lnTo>
                    <a:pt x="1033" y="3428"/>
                  </a:lnTo>
                  <a:lnTo>
                    <a:pt x="1036" y="3424"/>
                  </a:lnTo>
                  <a:lnTo>
                    <a:pt x="1039" y="3419"/>
                  </a:lnTo>
                  <a:lnTo>
                    <a:pt x="1041" y="3415"/>
                  </a:lnTo>
                  <a:lnTo>
                    <a:pt x="1042" y="3410"/>
                  </a:lnTo>
                  <a:lnTo>
                    <a:pt x="1043" y="3401"/>
                  </a:lnTo>
                  <a:lnTo>
                    <a:pt x="1042" y="3390"/>
                  </a:lnTo>
                  <a:lnTo>
                    <a:pt x="1040" y="3380"/>
                  </a:lnTo>
                  <a:lnTo>
                    <a:pt x="1035" y="3358"/>
                  </a:lnTo>
                  <a:lnTo>
                    <a:pt x="1034" y="3347"/>
                  </a:lnTo>
                  <a:lnTo>
                    <a:pt x="1033" y="3335"/>
                  </a:lnTo>
                  <a:lnTo>
                    <a:pt x="1034" y="3324"/>
                  </a:lnTo>
                  <a:lnTo>
                    <a:pt x="1036" y="3319"/>
                  </a:lnTo>
                  <a:lnTo>
                    <a:pt x="1038" y="3313"/>
                  </a:lnTo>
                  <a:lnTo>
                    <a:pt x="1040" y="3308"/>
                  </a:lnTo>
                  <a:lnTo>
                    <a:pt x="1044" y="3302"/>
                  </a:lnTo>
                  <a:lnTo>
                    <a:pt x="1048" y="3296"/>
                  </a:lnTo>
                  <a:lnTo>
                    <a:pt x="1054" y="3291"/>
                  </a:lnTo>
                  <a:lnTo>
                    <a:pt x="1054" y="3291"/>
                  </a:lnTo>
                  <a:lnTo>
                    <a:pt x="1069" y="3278"/>
                  </a:lnTo>
                  <a:lnTo>
                    <a:pt x="1084" y="3265"/>
                  </a:lnTo>
                  <a:lnTo>
                    <a:pt x="1099" y="3253"/>
                  </a:lnTo>
                  <a:lnTo>
                    <a:pt x="1115" y="3241"/>
                  </a:lnTo>
                  <a:lnTo>
                    <a:pt x="1146" y="3221"/>
                  </a:lnTo>
                  <a:lnTo>
                    <a:pt x="1178" y="3202"/>
                  </a:lnTo>
                  <a:lnTo>
                    <a:pt x="1210" y="3186"/>
                  </a:lnTo>
                  <a:lnTo>
                    <a:pt x="1241" y="3171"/>
                  </a:lnTo>
                  <a:lnTo>
                    <a:pt x="1273" y="3156"/>
                  </a:lnTo>
                  <a:lnTo>
                    <a:pt x="1304" y="3144"/>
                  </a:lnTo>
                  <a:lnTo>
                    <a:pt x="1304" y="3144"/>
                  </a:lnTo>
                  <a:lnTo>
                    <a:pt x="1303" y="3148"/>
                  </a:lnTo>
                  <a:lnTo>
                    <a:pt x="1299" y="3160"/>
                  </a:lnTo>
                  <a:lnTo>
                    <a:pt x="1294" y="3180"/>
                  </a:lnTo>
                  <a:lnTo>
                    <a:pt x="1291" y="3203"/>
                  </a:lnTo>
                  <a:lnTo>
                    <a:pt x="1290" y="3218"/>
                  </a:lnTo>
                  <a:lnTo>
                    <a:pt x="1290" y="3232"/>
                  </a:lnTo>
                  <a:lnTo>
                    <a:pt x="1291" y="3247"/>
                  </a:lnTo>
                  <a:lnTo>
                    <a:pt x="1292" y="3264"/>
                  </a:lnTo>
                  <a:lnTo>
                    <a:pt x="1296" y="3280"/>
                  </a:lnTo>
                  <a:lnTo>
                    <a:pt x="1301" y="3296"/>
                  </a:lnTo>
                  <a:lnTo>
                    <a:pt x="1306" y="3314"/>
                  </a:lnTo>
                  <a:lnTo>
                    <a:pt x="1314" y="3331"/>
                  </a:lnTo>
                  <a:lnTo>
                    <a:pt x="1640" y="3247"/>
                  </a:lnTo>
                  <a:lnTo>
                    <a:pt x="1640" y="3247"/>
                  </a:lnTo>
                  <a:lnTo>
                    <a:pt x="1634" y="3231"/>
                  </a:lnTo>
                  <a:lnTo>
                    <a:pt x="1631" y="3215"/>
                  </a:lnTo>
                  <a:lnTo>
                    <a:pt x="1629" y="3197"/>
                  </a:lnTo>
                  <a:lnTo>
                    <a:pt x="1629" y="3180"/>
                  </a:lnTo>
                  <a:lnTo>
                    <a:pt x="1631" y="3162"/>
                  </a:lnTo>
                  <a:lnTo>
                    <a:pt x="1634" y="3145"/>
                  </a:lnTo>
                  <a:lnTo>
                    <a:pt x="1638" y="3128"/>
                  </a:lnTo>
                  <a:lnTo>
                    <a:pt x="1644" y="3109"/>
                  </a:lnTo>
                  <a:lnTo>
                    <a:pt x="1651" y="3092"/>
                  </a:lnTo>
                  <a:lnTo>
                    <a:pt x="1660" y="3073"/>
                  </a:lnTo>
                  <a:lnTo>
                    <a:pt x="1669" y="3056"/>
                  </a:lnTo>
                  <a:lnTo>
                    <a:pt x="1679" y="3039"/>
                  </a:lnTo>
                  <a:lnTo>
                    <a:pt x="1689" y="3021"/>
                  </a:lnTo>
                  <a:lnTo>
                    <a:pt x="1701" y="3004"/>
                  </a:lnTo>
                  <a:lnTo>
                    <a:pt x="1725" y="2972"/>
                  </a:lnTo>
                  <a:lnTo>
                    <a:pt x="1725" y="2972"/>
                  </a:lnTo>
                  <a:lnTo>
                    <a:pt x="1726" y="2971"/>
                  </a:lnTo>
                  <a:lnTo>
                    <a:pt x="1727" y="2971"/>
                  </a:lnTo>
                  <a:lnTo>
                    <a:pt x="1728" y="2975"/>
                  </a:lnTo>
                  <a:lnTo>
                    <a:pt x="1725" y="2997"/>
                  </a:lnTo>
                  <a:lnTo>
                    <a:pt x="1721" y="3030"/>
                  </a:lnTo>
                  <a:lnTo>
                    <a:pt x="1715" y="3072"/>
                  </a:lnTo>
                  <a:lnTo>
                    <a:pt x="1713" y="3095"/>
                  </a:lnTo>
                  <a:lnTo>
                    <a:pt x="1711" y="3118"/>
                  </a:lnTo>
                  <a:lnTo>
                    <a:pt x="1711" y="3140"/>
                  </a:lnTo>
                  <a:lnTo>
                    <a:pt x="1711" y="3161"/>
                  </a:lnTo>
                  <a:lnTo>
                    <a:pt x="1713" y="3181"/>
                  </a:lnTo>
                  <a:lnTo>
                    <a:pt x="1716" y="3198"/>
                  </a:lnTo>
                  <a:lnTo>
                    <a:pt x="1719" y="3206"/>
                  </a:lnTo>
                  <a:lnTo>
                    <a:pt x="1722" y="3213"/>
                  </a:lnTo>
                  <a:lnTo>
                    <a:pt x="1726" y="3219"/>
                  </a:lnTo>
                  <a:lnTo>
                    <a:pt x="1730" y="3224"/>
                  </a:lnTo>
                  <a:lnTo>
                    <a:pt x="2050" y="3141"/>
                  </a:lnTo>
                  <a:lnTo>
                    <a:pt x="2050" y="3141"/>
                  </a:lnTo>
                  <a:lnTo>
                    <a:pt x="2046" y="3131"/>
                  </a:lnTo>
                  <a:lnTo>
                    <a:pt x="2043" y="3119"/>
                  </a:lnTo>
                  <a:lnTo>
                    <a:pt x="2041" y="3108"/>
                  </a:lnTo>
                  <a:lnTo>
                    <a:pt x="2039" y="3096"/>
                  </a:lnTo>
                  <a:lnTo>
                    <a:pt x="2038" y="3084"/>
                  </a:lnTo>
                  <a:lnTo>
                    <a:pt x="2038" y="3071"/>
                  </a:lnTo>
                  <a:lnTo>
                    <a:pt x="2039" y="3045"/>
                  </a:lnTo>
                  <a:lnTo>
                    <a:pt x="2043" y="3018"/>
                  </a:lnTo>
                  <a:lnTo>
                    <a:pt x="2048" y="2992"/>
                  </a:lnTo>
                  <a:lnTo>
                    <a:pt x="2055" y="2965"/>
                  </a:lnTo>
                  <a:lnTo>
                    <a:pt x="2064" y="2941"/>
                  </a:lnTo>
                  <a:lnTo>
                    <a:pt x="2064" y="2941"/>
                  </a:lnTo>
                  <a:lnTo>
                    <a:pt x="2072" y="2968"/>
                  </a:lnTo>
                  <a:lnTo>
                    <a:pt x="2079" y="2997"/>
                  </a:lnTo>
                  <a:lnTo>
                    <a:pt x="2088" y="3024"/>
                  </a:lnTo>
                  <a:lnTo>
                    <a:pt x="2098" y="3052"/>
                  </a:lnTo>
                  <a:lnTo>
                    <a:pt x="2108" y="3079"/>
                  </a:lnTo>
                  <a:lnTo>
                    <a:pt x="2121" y="3105"/>
                  </a:lnTo>
                  <a:lnTo>
                    <a:pt x="2135" y="3131"/>
                  </a:lnTo>
                  <a:lnTo>
                    <a:pt x="2149" y="3156"/>
                  </a:lnTo>
                  <a:lnTo>
                    <a:pt x="2166" y="3181"/>
                  </a:lnTo>
                  <a:lnTo>
                    <a:pt x="2183" y="3203"/>
                  </a:lnTo>
                  <a:lnTo>
                    <a:pt x="2201" y="3225"/>
                  </a:lnTo>
                  <a:lnTo>
                    <a:pt x="2222" y="3245"/>
                  </a:lnTo>
                  <a:lnTo>
                    <a:pt x="2244" y="3265"/>
                  </a:lnTo>
                  <a:lnTo>
                    <a:pt x="2268" y="3281"/>
                  </a:lnTo>
                  <a:lnTo>
                    <a:pt x="2280" y="3289"/>
                  </a:lnTo>
                  <a:lnTo>
                    <a:pt x="2292" y="3296"/>
                  </a:lnTo>
                  <a:lnTo>
                    <a:pt x="2306" y="3303"/>
                  </a:lnTo>
                  <a:lnTo>
                    <a:pt x="2320" y="3310"/>
                  </a:lnTo>
                  <a:lnTo>
                    <a:pt x="2320" y="3310"/>
                  </a:lnTo>
                  <a:lnTo>
                    <a:pt x="2365" y="3329"/>
                  </a:lnTo>
                  <a:lnTo>
                    <a:pt x="2410" y="3347"/>
                  </a:lnTo>
                  <a:lnTo>
                    <a:pt x="2454" y="3364"/>
                  </a:lnTo>
                  <a:lnTo>
                    <a:pt x="2499" y="3380"/>
                  </a:lnTo>
                  <a:lnTo>
                    <a:pt x="2544" y="3395"/>
                  </a:lnTo>
                  <a:lnTo>
                    <a:pt x="2589" y="3411"/>
                  </a:lnTo>
                  <a:lnTo>
                    <a:pt x="2683" y="3440"/>
                  </a:lnTo>
                  <a:lnTo>
                    <a:pt x="2782" y="3469"/>
                  </a:lnTo>
                  <a:lnTo>
                    <a:pt x="2889" y="3500"/>
                  </a:lnTo>
                  <a:lnTo>
                    <a:pt x="3005" y="3534"/>
                  </a:lnTo>
                  <a:lnTo>
                    <a:pt x="3133" y="3570"/>
                  </a:lnTo>
                  <a:lnTo>
                    <a:pt x="3133" y="3570"/>
                  </a:lnTo>
                  <a:lnTo>
                    <a:pt x="3205" y="3593"/>
                  </a:lnTo>
                  <a:lnTo>
                    <a:pt x="3273" y="3616"/>
                  </a:lnTo>
                  <a:lnTo>
                    <a:pt x="3305" y="3628"/>
                  </a:lnTo>
                  <a:lnTo>
                    <a:pt x="3333" y="3639"/>
                  </a:lnTo>
                  <a:lnTo>
                    <a:pt x="3358" y="3649"/>
                  </a:lnTo>
                  <a:lnTo>
                    <a:pt x="3377" y="3658"/>
                  </a:lnTo>
                  <a:lnTo>
                    <a:pt x="3377" y="3658"/>
                  </a:lnTo>
                  <a:lnTo>
                    <a:pt x="3383" y="3661"/>
                  </a:lnTo>
                  <a:lnTo>
                    <a:pt x="3389" y="3665"/>
                  </a:lnTo>
                  <a:lnTo>
                    <a:pt x="3393" y="3668"/>
                  </a:lnTo>
                  <a:lnTo>
                    <a:pt x="3397" y="3673"/>
                  </a:lnTo>
                  <a:lnTo>
                    <a:pt x="3399" y="3677"/>
                  </a:lnTo>
                  <a:lnTo>
                    <a:pt x="3401" y="3682"/>
                  </a:lnTo>
                  <a:lnTo>
                    <a:pt x="3402" y="3686"/>
                  </a:lnTo>
                  <a:lnTo>
                    <a:pt x="3402" y="3690"/>
                  </a:lnTo>
                  <a:lnTo>
                    <a:pt x="3401" y="3699"/>
                  </a:lnTo>
                  <a:lnTo>
                    <a:pt x="3397" y="3708"/>
                  </a:lnTo>
                  <a:lnTo>
                    <a:pt x="3392" y="3717"/>
                  </a:lnTo>
                  <a:lnTo>
                    <a:pt x="3386" y="3726"/>
                  </a:lnTo>
                  <a:lnTo>
                    <a:pt x="3378" y="3734"/>
                  </a:lnTo>
                  <a:lnTo>
                    <a:pt x="3371" y="3742"/>
                  </a:lnTo>
                  <a:lnTo>
                    <a:pt x="3357" y="3754"/>
                  </a:lnTo>
                  <a:lnTo>
                    <a:pt x="3346" y="3764"/>
                  </a:lnTo>
                  <a:lnTo>
                    <a:pt x="3341" y="3767"/>
                  </a:lnTo>
                  <a:lnTo>
                    <a:pt x="3341" y="3767"/>
                  </a:lnTo>
                  <a:lnTo>
                    <a:pt x="3355" y="3775"/>
                  </a:lnTo>
                  <a:lnTo>
                    <a:pt x="3371" y="3783"/>
                  </a:lnTo>
                  <a:lnTo>
                    <a:pt x="3411" y="3801"/>
                  </a:lnTo>
                  <a:lnTo>
                    <a:pt x="3435" y="3814"/>
                  </a:lnTo>
                  <a:lnTo>
                    <a:pt x="3461" y="3829"/>
                  </a:lnTo>
                  <a:lnTo>
                    <a:pt x="3492" y="3848"/>
                  </a:lnTo>
                  <a:lnTo>
                    <a:pt x="3527" y="3873"/>
                  </a:lnTo>
                  <a:lnTo>
                    <a:pt x="3527" y="3873"/>
                  </a:lnTo>
                  <a:lnTo>
                    <a:pt x="3545" y="3888"/>
                  </a:lnTo>
                  <a:lnTo>
                    <a:pt x="3563" y="3906"/>
                  </a:lnTo>
                  <a:lnTo>
                    <a:pt x="3580" y="3925"/>
                  </a:lnTo>
                  <a:lnTo>
                    <a:pt x="3595" y="3946"/>
                  </a:lnTo>
                  <a:lnTo>
                    <a:pt x="3608" y="3967"/>
                  </a:lnTo>
                  <a:lnTo>
                    <a:pt x="3622" y="3991"/>
                  </a:lnTo>
                  <a:lnTo>
                    <a:pt x="3634" y="4014"/>
                  </a:lnTo>
                  <a:lnTo>
                    <a:pt x="3645" y="4040"/>
                  </a:lnTo>
                  <a:lnTo>
                    <a:pt x="3655" y="4066"/>
                  </a:lnTo>
                  <a:lnTo>
                    <a:pt x="3665" y="4094"/>
                  </a:lnTo>
                  <a:lnTo>
                    <a:pt x="3674" y="4122"/>
                  </a:lnTo>
                  <a:lnTo>
                    <a:pt x="3682" y="4151"/>
                  </a:lnTo>
                  <a:lnTo>
                    <a:pt x="3698" y="4211"/>
                  </a:lnTo>
                  <a:lnTo>
                    <a:pt x="3714" y="4274"/>
                  </a:lnTo>
                  <a:lnTo>
                    <a:pt x="3714" y="4274"/>
                  </a:lnTo>
                  <a:lnTo>
                    <a:pt x="3725" y="4324"/>
                  </a:lnTo>
                  <a:lnTo>
                    <a:pt x="3734" y="4377"/>
                  </a:lnTo>
                  <a:lnTo>
                    <a:pt x="3742" y="4430"/>
                  </a:lnTo>
                  <a:lnTo>
                    <a:pt x="3744" y="4457"/>
                  </a:lnTo>
                  <a:lnTo>
                    <a:pt x="3746" y="4481"/>
                  </a:lnTo>
                  <a:lnTo>
                    <a:pt x="3748" y="4506"/>
                  </a:lnTo>
                  <a:lnTo>
                    <a:pt x="3749" y="4529"/>
                  </a:lnTo>
                  <a:lnTo>
                    <a:pt x="3748" y="4551"/>
                  </a:lnTo>
                  <a:lnTo>
                    <a:pt x="3745" y="4571"/>
                  </a:lnTo>
                  <a:lnTo>
                    <a:pt x="3742" y="4590"/>
                  </a:lnTo>
                  <a:lnTo>
                    <a:pt x="3737" y="4606"/>
                  </a:lnTo>
                  <a:lnTo>
                    <a:pt x="3731" y="4619"/>
                  </a:lnTo>
                  <a:lnTo>
                    <a:pt x="3728" y="4625"/>
                  </a:lnTo>
                  <a:lnTo>
                    <a:pt x="3724" y="4631"/>
                  </a:lnTo>
                  <a:lnTo>
                    <a:pt x="3724" y="4631"/>
                  </a:lnTo>
                  <a:lnTo>
                    <a:pt x="3715" y="4641"/>
                  </a:lnTo>
                  <a:lnTo>
                    <a:pt x="3705" y="4651"/>
                  </a:lnTo>
                  <a:lnTo>
                    <a:pt x="3691" y="4660"/>
                  </a:lnTo>
                  <a:lnTo>
                    <a:pt x="3683" y="4665"/>
                  </a:lnTo>
                  <a:lnTo>
                    <a:pt x="3673" y="4670"/>
                  </a:lnTo>
                  <a:lnTo>
                    <a:pt x="3663" y="4676"/>
                  </a:lnTo>
                  <a:lnTo>
                    <a:pt x="3650" y="4681"/>
                  </a:lnTo>
                  <a:lnTo>
                    <a:pt x="3621" y="4690"/>
                  </a:lnTo>
                  <a:lnTo>
                    <a:pt x="3582" y="4700"/>
                  </a:lnTo>
                  <a:lnTo>
                    <a:pt x="3535" y="4710"/>
                  </a:lnTo>
                  <a:lnTo>
                    <a:pt x="3560" y="4833"/>
                  </a:lnTo>
                  <a:lnTo>
                    <a:pt x="3560" y="4833"/>
                  </a:lnTo>
                  <a:lnTo>
                    <a:pt x="3579" y="4834"/>
                  </a:lnTo>
                  <a:lnTo>
                    <a:pt x="3597" y="4834"/>
                  </a:lnTo>
                  <a:lnTo>
                    <a:pt x="3615" y="4833"/>
                  </a:lnTo>
                  <a:lnTo>
                    <a:pt x="3631" y="4831"/>
                  </a:lnTo>
                  <a:lnTo>
                    <a:pt x="3646" y="4829"/>
                  </a:lnTo>
                  <a:lnTo>
                    <a:pt x="3662" y="4826"/>
                  </a:lnTo>
                  <a:lnTo>
                    <a:pt x="3688" y="4819"/>
                  </a:lnTo>
                  <a:lnTo>
                    <a:pt x="3711" y="4812"/>
                  </a:lnTo>
                  <a:lnTo>
                    <a:pt x="3728" y="4805"/>
                  </a:lnTo>
                  <a:lnTo>
                    <a:pt x="3742" y="4799"/>
                  </a:lnTo>
                  <a:lnTo>
                    <a:pt x="3742" y="4799"/>
                  </a:lnTo>
                  <a:lnTo>
                    <a:pt x="3736" y="4805"/>
                  </a:lnTo>
                  <a:lnTo>
                    <a:pt x="3730" y="4813"/>
                  </a:lnTo>
                  <a:lnTo>
                    <a:pt x="3722" y="4823"/>
                  </a:lnTo>
                  <a:lnTo>
                    <a:pt x="3722" y="4823"/>
                  </a:lnTo>
                  <a:lnTo>
                    <a:pt x="3711" y="4839"/>
                  </a:lnTo>
                  <a:lnTo>
                    <a:pt x="3700" y="4856"/>
                  </a:lnTo>
                  <a:lnTo>
                    <a:pt x="3692" y="4871"/>
                  </a:lnTo>
                  <a:lnTo>
                    <a:pt x="3685" y="4886"/>
                  </a:lnTo>
                  <a:lnTo>
                    <a:pt x="3680" y="4902"/>
                  </a:lnTo>
                  <a:lnTo>
                    <a:pt x="3675" y="4919"/>
                  </a:lnTo>
                  <a:lnTo>
                    <a:pt x="3672" y="4936"/>
                  </a:lnTo>
                  <a:lnTo>
                    <a:pt x="3669" y="4957"/>
                  </a:lnTo>
                  <a:lnTo>
                    <a:pt x="3799" y="5041"/>
                  </a:lnTo>
                  <a:lnTo>
                    <a:pt x="3799" y="5041"/>
                  </a:lnTo>
                  <a:lnTo>
                    <a:pt x="3812" y="5000"/>
                  </a:lnTo>
                  <a:lnTo>
                    <a:pt x="3826" y="4960"/>
                  </a:lnTo>
                  <a:lnTo>
                    <a:pt x="3841" y="4924"/>
                  </a:lnTo>
                  <a:lnTo>
                    <a:pt x="3855" y="4891"/>
                  </a:lnTo>
                  <a:lnTo>
                    <a:pt x="3870" y="4864"/>
                  </a:lnTo>
                  <a:lnTo>
                    <a:pt x="3877" y="4851"/>
                  </a:lnTo>
                  <a:lnTo>
                    <a:pt x="3885" y="4841"/>
                  </a:lnTo>
                  <a:lnTo>
                    <a:pt x="3892" y="4832"/>
                  </a:lnTo>
                  <a:lnTo>
                    <a:pt x="3899" y="4825"/>
                  </a:lnTo>
                  <a:lnTo>
                    <a:pt x="3906" y="4820"/>
                  </a:lnTo>
                  <a:lnTo>
                    <a:pt x="3913" y="4816"/>
                  </a:lnTo>
                  <a:lnTo>
                    <a:pt x="3913" y="4816"/>
                  </a:lnTo>
                  <a:lnTo>
                    <a:pt x="3919" y="4814"/>
                  </a:lnTo>
                  <a:lnTo>
                    <a:pt x="3926" y="4814"/>
                  </a:lnTo>
                  <a:lnTo>
                    <a:pt x="3935" y="4814"/>
                  </a:lnTo>
                  <a:lnTo>
                    <a:pt x="3944" y="4815"/>
                  </a:lnTo>
                  <a:lnTo>
                    <a:pt x="3954" y="4817"/>
                  </a:lnTo>
                  <a:lnTo>
                    <a:pt x="3965" y="4819"/>
                  </a:lnTo>
                  <a:lnTo>
                    <a:pt x="3990" y="4828"/>
                  </a:lnTo>
                  <a:lnTo>
                    <a:pt x="4017" y="4839"/>
                  </a:lnTo>
                  <a:lnTo>
                    <a:pt x="4047" y="4854"/>
                  </a:lnTo>
                  <a:lnTo>
                    <a:pt x="4078" y="4874"/>
                  </a:lnTo>
                  <a:lnTo>
                    <a:pt x="4110" y="4895"/>
                  </a:lnTo>
                  <a:lnTo>
                    <a:pt x="4127" y="4908"/>
                  </a:lnTo>
                  <a:lnTo>
                    <a:pt x="4143" y="4921"/>
                  </a:lnTo>
                  <a:lnTo>
                    <a:pt x="4160" y="4935"/>
                  </a:lnTo>
                  <a:lnTo>
                    <a:pt x="4176" y="4950"/>
                  </a:lnTo>
                  <a:lnTo>
                    <a:pt x="4192" y="4965"/>
                  </a:lnTo>
                  <a:lnTo>
                    <a:pt x="4208" y="4981"/>
                  </a:lnTo>
                  <a:lnTo>
                    <a:pt x="4224" y="4999"/>
                  </a:lnTo>
                  <a:lnTo>
                    <a:pt x="4239" y="5017"/>
                  </a:lnTo>
                  <a:lnTo>
                    <a:pt x="4254" y="5035"/>
                  </a:lnTo>
                  <a:lnTo>
                    <a:pt x="4268" y="5055"/>
                  </a:lnTo>
                  <a:lnTo>
                    <a:pt x="4282" y="5075"/>
                  </a:lnTo>
                  <a:lnTo>
                    <a:pt x="4296" y="5097"/>
                  </a:lnTo>
                  <a:lnTo>
                    <a:pt x="4308" y="5118"/>
                  </a:lnTo>
                  <a:lnTo>
                    <a:pt x="4320" y="5141"/>
                  </a:lnTo>
                  <a:lnTo>
                    <a:pt x="4331" y="5164"/>
                  </a:lnTo>
                  <a:lnTo>
                    <a:pt x="4342" y="5189"/>
                  </a:lnTo>
                  <a:lnTo>
                    <a:pt x="4342" y="5189"/>
                  </a:lnTo>
                  <a:lnTo>
                    <a:pt x="4347" y="5203"/>
                  </a:lnTo>
                  <a:lnTo>
                    <a:pt x="4352" y="5220"/>
                  </a:lnTo>
                  <a:lnTo>
                    <a:pt x="4356" y="5236"/>
                  </a:lnTo>
                  <a:lnTo>
                    <a:pt x="4360" y="5253"/>
                  </a:lnTo>
                  <a:lnTo>
                    <a:pt x="4363" y="5272"/>
                  </a:lnTo>
                  <a:lnTo>
                    <a:pt x="4366" y="5290"/>
                  </a:lnTo>
                  <a:lnTo>
                    <a:pt x="4370" y="5329"/>
                  </a:lnTo>
                  <a:lnTo>
                    <a:pt x="4372" y="5368"/>
                  </a:lnTo>
                  <a:lnTo>
                    <a:pt x="4371" y="5409"/>
                  </a:lnTo>
                  <a:lnTo>
                    <a:pt x="4370" y="5429"/>
                  </a:lnTo>
                  <a:lnTo>
                    <a:pt x="4369" y="5449"/>
                  </a:lnTo>
                  <a:lnTo>
                    <a:pt x="4366" y="5469"/>
                  </a:lnTo>
                  <a:lnTo>
                    <a:pt x="4363" y="5488"/>
                  </a:lnTo>
                  <a:lnTo>
                    <a:pt x="4360" y="5508"/>
                  </a:lnTo>
                  <a:lnTo>
                    <a:pt x="4356" y="5526"/>
                  </a:lnTo>
                  <a:lnTo>
                    <a:pt x="4351" y="5545"/>
                  </a:lnTo>
                  <a:lnTo>
                    <a:pt x="4345" y="5562"/>
                  </a:lnTo>
                  <a:lnTo>
                    <a:pt x="4339" y="5579"/>
                  </a:lnTo>
                  <a:lnTo>
                    <a:pt x="4332" y="5595"/>
                  </a:lnTo>
                  <a:lnTo>
                    <a:pt x="4324" y="5610"/>
                  </a:lnTo>
                  <a:lnTo>
                    <a:pt x="4316" y="5624"/>
                  </a:lnTo>
                  <a:lnTo>
                    <a:pt x="4307" y="5638"/>
                  </a:lnTo>
                  <a:lnTo>
                    <a:pt x="4298" y="5650"/>
                  </a:lnTo>
                  <a:lnTo>
                    <a:pt x="4287" y="5661"/>
                  </a:lnTo>
                  <a:lnTo>
                    <a:pt x="4276" y="5670"/>
                  </a:lnTo>
                  <a:lnTo>
                    <a:pt x="4264" y="5679"/>
                  </a:lnTo>
                  <a:lnTo>
                    <a:pt x="4252" y="5686"/>
                  </a:lnTo>
                  <a:lnTo>
                    <a:pt x="4238" y="5691"/>
                  </a:lnTo>
                  <a:lnTo>
                    <a:pt x="4224" y="5694"/>
                  </a:lnTo>
                  <a:lnTo>
                    <a:pt x="4224" y="5694"/>
                  </a:lnTo>
                  <a:lnTo>
                    <a:pt x="4216" y="5695"/>
                  </a:lnTo>
                  <a:lnTo>
                    <a:pt x="4208" y="5695"/>
                  </a:lnTo>
                  <a:lnTo>
                    <a:pt x="4198" y="5694"/>
                  </a:lnTo>
                  <a:lnTo>
                    <a:pt x="4188" y="5692"/>
                  </a:lnTo>
                  <a:lnTo>
                    <a:pt x="4168" y="5687"/>
                  </a:lnTo>
                  <a:lnTo>
                    <a:pt x="4145" y="5679"/>
                  </a:lnTo>
                  <a:lnTo>
                    <a:pt x="4123" y="5668"/>
                  </a:lnTo>
                  <a:lnTo>
                    <a:pt x="4099" y="5657"/>
                  </a:lnTo>
                  <a:lnTo>
                    <a:pt x="4051" y="5635"/>
                  </a:lnTo>
                  <a:lnTo>
                    <a:pt x="4028" y="5623"/>
                  </a:lnTo>
                  <a:lnTo>
                    <a:pt x="4005" y="5614"/>
                  </a:lnTo>
                  <a:lnTo>
                    <a:pt x="3984" y="5607"/>
                  </a:lnTo>
                  <a:lnTo>
                    <a:pt x="3964" y="5602"/>
                  </a:lnTo>
                  <a:lnTo>
                    <a:pt x="3955" y="5601"/>
                  </a:lnTo>
                  <a:lnTo>
                    <a:pt x="3947" y="5600"/>
                  </a:lnTo>
                  <a:lnTo>
                    <a:pt x="3939" y="5601"/>
                  </a:lnTo>
                  <a:lnTo>
                    <a:pt x="3932" y="5602"/>
                  </a:lnTo>
                  <a:lnTo>
                    <a:pt x="3924" y="5605"/>
                  </a:lnTo>
                  <a:lnTo>
                    <a:pt x="3919" y="5609"/>
                  </a:lnTo>
                  <a:lnTo>
                    <a:pt x="3914" y="5614"/>
                  </a:lnTo>
                  <a:lnTo>
                    <a:pt x="3909" y="5620"/>
                  </a:lnTo>
                  <a:lnTo>
                    <a:pt x="3909" y="5620"/>
                  </a:lnTo>
                  <a:lnTo>
                    <a:pt x="3905" y="5627"/>
                  </a:lnTo>
                  <a:lnTo>
                    <a:pt x="3900" y="5635"/>
                  </a:lnTo>
                  <a:lnTo>
                    <a:pt x="3893" y="5641"/>
                  </a:lnTo>
                  <a:lnTo>
                    <a:pt x="3886" y="5647"/>
                  </a:lnTo>
                  <a:lnTo>
                    <a:pt x="3869" y="5658"/>
                  </a:lnTo>
                  <a:lnTo>
                    <a:pt x="3851" y="5668"/>
                  </a:lnTo>
                  <a:lnTo>
                    <a:pt x="3810" y="5690"/>
                  </a:lnTo>
                  <a:lnTo>
                    <a:pt x="3789" y="5701"/>
                  </a:lnTo>
                  <a:lnTo>
                    <a:pt x="3770" y="5714"/>
                  </a:lnTo>
                  <a:lnTo>
                    <a:pt x="3761" y="5720"/>
                  </a:lnTo>
                  <a:lnTo>
                    <a:pt x="3752" y="5729"/>
                  </a:lnTo>
                  <a:lnTo>
                    <a:pt x="3743" y="5736"/>
                  </a:lnTo>
                  <a:lnTo>
                    <a:pt x="3735" y="5745"/>
                  </a:lnTo>
                  <a:lnTo>
                    <a:pt x="3728" y="5754"/>
                  </a:lnTo>
                  <a:lnTo>
                    <a:pt x="3722" y="5764"/>
                  </a:lnTo>
                  <a:lnTo>
                    <a:pt x="3717" y="5775"/>
                  </a:lnTo>
                  <a:lnTo>
                    <a:pt x="3713" y="5787"/>
                  </a:lnTo>
                  <a:lnTo>
                    <a:pt x="3710" y="5799"/>
                  </a:lnTo>
                  <a:lnTo>
                    <a:pt x="3708" y="5813"/>
                  </a:lnTo>
                  <a:lnTo>
                    <a:pt x="3707" y="5827"/>
                  </a:lnTo>
                  <a:lnTo>
                    <a:pt x="3707" y="5843"/>
                  </a:lnTo>
                  <a:lnTo>
                    <a:pt x="3709" y="5860"/>
                  </a:lnTo>
                  <a:lnTo>
                    <a:pt x="3713" y="5877"/>
                  </a:lnTo>
                  <a:lnTo>
                    <a:pt x="3718" y="5896"/>
                  </a:lnTo>
                  <a:lnTo>
                    <a:pt x="3724" y="5917"/>
                  </a:lnTo>
                  <a:lnTo>
                    <a:pt x="3724" y="5917"/>
                  </a:lnTo>
                  <a:lnTo>
                    <a:pt x="3741" y="5896"/>
                  </a:lnTo>
                  <a:lnTo>
                    <a:pt x="3759" y="5875"/>
                  </a:lnTo>
                  <a:lnTo>
                    <a:pt x="3776" y="5856"/>
                  </a:lnTo>
                  <a:lnTo>
                    <a:pt x="3794" y="5840"/>
                  </a:lnTo>
                  <a:lnTo>
                    <a:pt x="3802" y="5833"/>
                  </a:lnTo>
                  <a:lnTo>
                    <a:pt x="3811" y="5827"/>
                  </a:lnTo>
                  <a:lnTo>
                    <a:pt x="3819" y="5821"/>
                  </a:lnTo>
                  <a:lnTo>
                    <a:pt x="3827" y="5817"/>
                  </a:lnTo>
                  <a:lnTo>
                    <a:pt x="3835" y="5815"/>
                  </a:lnTo>
                  <a:lnTo>
                    <a:pt x="3843" y="5813"/>
                  </a:lnTo>
                  <a:lnTo>
                    <a:pt x="3850" y="5813"/>
                  </a:lnTo>
                  <a:lnTo>
                    <a:pt x="3857" y="5815"/>
                  </a:lnTo>
                  <a:lnTo>
                    <a:pt x="3857" y="5815"/>
                  </a:lnTo>
                  <a:lnTo>
                    <a:pt x="3861" y="5817"/>
                  </a:lnTo>
                  <a:lnTo>
                    <a:pt x="3864" y="5819"/>
                  </a:lnTo>
                  <a:lnTo>
                    <a:pt x="3870" y="5825"/>
                  </a:lnTo>
                  <a:lnTo>
                    <a:pt x="3875" y="5833"/>
                  </a:lnTo>
                  <a:lnTo>
                    <a:pt x="3879" y="5841"/>
                  </a:lnTo>
                  <a:lnTo>
                    <a:pt x="3888" y="5862"/>
                  </a:lnTo>
                  <a:lnTo>
                    <a:pt x="3894" y="5872"/>
                  </a:lnTo>
                  <a:lnTo>
                    <a:pt x="3901" y="5882"/>
                  </a:lnTo>
                  <a:lnTo>
                    <a:pt x="3901" y="5882"/>
                  </a:lnTo>
                  <a:lnTo>
                    <a:pt x="3904" y="5885"/>
                  </a:lnTo>
                  <a:lnTo>
                    <a:pt x="3908" y="5887"/>
                  </a:lnTo>
                  <a:lnTo>
                    <a:pt x="3913" y="5889"/>
                  </a:lnTo>
                  <a:lnTo>
                    <a:pt x="3919" y="5890"/>
                  </a:lnTo>
                  <a:lnTo>
                    <a:pt x="3934" y="5892"/>
                  </a:lnTo>
                  <a:lnTo>
                    <a:pt x="3950" y="5892"/>
                  </a:lnTo>
                  <a:lnTo>
                    <a:pt x="3968" y="5891"/>
                  </a:lnTo>
                  <a:lnTo>
                    <a:pt x="3989" y="5889"/>
                  </a:lnTo>
                  <a:lnTo>
                    <a:pt x="4032" y="5885"/>
                  </a:lnTo>
                  <a:lnTo>
                    <a:pt x="4074" y="5881"/>
                  </a:lnTo>
                  <a:lnTo>
                    <a:pt x="4093" y="5879"/>
                  </a:lnTo>
                  <a:lnTo>
                    <a:pt x="4110" y="5879"/>
                  </a:lnTo>
                  <a:lnTo>
                    <a:pt x="4126" y="5879"/>
                  </a:lnTo>
                  <a:lnTo>
                    <a:pt x="4137" y="5881"/>
                  </a:lnTo>
                  <a:lnTo>
                    <a:pt x="4142" y="5883"/>
                  </a:lnTo>
                  <a:lnTo>
                    <a:pt x="4146" y="5885"/>
                  </a:lnTo>
                  <a:lnTo>
                    <a:pt x="4148" y="5887"/>
                  </a:lnTo>
                  <a:lnTo>
                    <a:pt x="4150" y="5890"/>
                  </a:lnTo>
                  <a:lnTo>
                    <a:pt x="4150" y="5890"/>
                  </a:lnTo>
                  <a:lnTo>
                    <a:pt x="4151" y="5893"/>
                  </a:lnTo>
                  <a:lnTo>
                    <a:pt x="4150" y="5896"/>
                  </a:lnTo>
                  <a:lnTo>
                    <a:pt x="4149" y="5898"/>
                  </a:lnTo>
                  <a:lnTo>
                    <a:pt x="4148" y="5900"/>
                  </a:lnTo>
                  <a:lnTo>
                    <a:pt x="4143" y="5904"/>
                  </a:lnTo>
                  <a:lnTo>
                    <a:pt x="4136" y="5905"/>
                  </a:lnTo>
                  <a:lnTo>
                    <a:pt x="4118" y="5908"/>
                  </a:lnTo>
                  <a:lnTo>
                    <a:pt x="4100" y="5910"/>
                  </a:lnTo>
                  <a:lnTo>
                    <a:pt x="4100" y="5910"/>
                  </a:lnTo>
                  <a:lnTo>
                    <a:pt x="4021" y="5924"/>
                  </a:lnTo>
                  <a:lnTo>
                    <a:pt x="3981" y="5931"/>
                  </a:lnTo>
                  <a:lnTo>
                    <a:pt x="3943" y="5939"/>
                  </a:lnTo>
                  <a:lnTo>
                    <a:pt x="3925" y="5944"/>
                  </a:lnTo>
                  <a:lnTo>
                    <a:pt x="3909" y="5950"/>
                  </a:lnTo>
                  <a:lnTo>
                    <a:pt x="3894" y="5956"/>
                  </a:lnTo>
                  <a:lnTo>
                    <a:pt x="3881" y="5962"/>
                  </a:lnTo>
                  <a:lnTo>
                    <a:pt x="3869" y="5968"/>
                  </a:lnTo>
                  <a:lnTo>
                    <a:pt x="3860" y="5976"/>
                  </a:lnTo>
                  <a:lnTo>
                    <a:pt x="3853" y="5984"/>
                  </a:lnTo>
                  <a:lnTo>
                    <a:pt x="3850" y="5988"/>
                  </a:lnTo>
                  <a:lnTo>
                    <a:pt x="3848" y="5993"/>
                  </a:lnTo>
                  <a:lnTo>
                    <a:pt x="3848" y="5993"/>
                  </a:lnTo>
                  <a:lnTo>
                    <a:pt x="3846" y="6000"/>
                  </a:lnTo>
                  <a:lnTo>
                    <a:pt x="3846" y="6004"/>
                  </a:lnTo>
                  <a:lnTo>
                    <a:pt x="3847" y="6014"/>
                  </a:lnTo>
                  <a:lnTo>
                    <a:pt x="3847" y="6019"/>
                  </a:lnTo>
                  <a:lnTo>
                    <a:pt x="3846" y="6025"/>
                  </a:lnTo>
                  <a:lnTo>
                    <a:pt x="3845" y="6033"/>
                  </a:lnTo>
                  <a:lnTo>
                    <a:pt x="3842" y="6044"/>
                  </a:lnTo>
                  <a:lnTo>
                    <a:pt x="3842" y="6044"/>
                  </a:lnTo>
                  <a:lnTo>
                    <a:pt x="3837" y="6055"/>
                  </a:lnTo>
                  <a:lnTo>
                    <a:pt x="3831" y="6064"/>
                  </a:lnTo>
                  <a:lnTo>
                    <a:pt x="3823" y="6072"/>
                  </a:lnTo>
                  <a:lnTo>
                    <a:pt x="3815" y="6080"/>
                  </a:lnTo>
                  <a:lnTo>
                    <a:pt x="3796" y="6096"/>
                  </a:lnTo>
                  <a:lnTo>
                    <a:pt x="3786" y="6104"/>
                  </a:lnTo>
                  <a:lnTo>
                    <a:pt x="3776" y="6113"/>
                  </a:lnTo>
                  <a:lnTo>
                    <a:pt x="3767" y="6122"/>
                  </a:lnTo>
                  <a:lnTo>
                    <a:pt x="3758" y="6134"/>
                  </a:lnTo>
                  <a:lnTo>
                    <a:pt x="3750" y="6147"/>
                  </a:lnTo>
                  <a:lnTo>
                    <a:pt x="3742" y="6161"/>
                  </a:lnTo>
                  <a:lnTo>
                    <a:pt x="3736" y="6179"/>
                  </a:lnTo>
                  <a:lnTo>
                    <a:pt x="3732" y="6198"/>
                  </a:lnTo>
                  <a:lnTo>
                    <a:pt x="3730" y="6220"/>
                  </a:lnTo>
                  <a:lnTo>
                    <a:pt x="3730" y="6246"/>
                  </a:lnTo>
                  <a:lnTo>
                    <a:pt x="3730" y="6246"/>
                  </a:lnTo>
                  <a:lnTo>
                    <a:pt x="3732" y="6259"/>
                  </a:lnTo>
                  <a:lnTo>
                    <a:pt x="3735" y="6272"/>
                  </a:lnTo>
                  <a:lnTo>
                    <a:pt x="3739" y="6284"/>
                  </a:lnTo>
                  <a:lnTo>
                    <a:pt x="3744" y="6296"/>
                  </a:lnTo>
                  <a:lnTo>
                    <a:pt x="3751" y="6306"/>
                  </a:lnTo>
                  <a:lnTo>
                    <a:pt x="3757" y="6318"/>
                  </a:lnTo>
                  <a:lnTo>
                    <a:pt x="3763" y="6327"/>
                  </a:lnTo>
                  <a:lnTo>
                    <a:pt x="3770" y="6336"/>
                  </a:lnTo>
                  <a:lnTo>
                    <a:pt x="3784" y="6351"/>
                  </a:lnTo>
                  <a:lnTo>
                    <a:pt x="3797" y="6363"/>
                  </a:lnTo>
                  <a:lnTo>
                    <a:pt x="3807" y="6370"/>
                  </a:lnTo>
                  <a:lnTo>
                    <a:pt x="3810" y="6372"/>
                  </a:lnTo>
                  <a:lnTo>
                    <a:pt x="3813" y="6373"/>
                  </a:lnTo>
                  <a:lnTo>
                    <a:pt x="3813" y="6373"/>
                  </a:lnTo>
                  <a:lnTo>
                    <a:pt x="3814" y="6372"/>
                  </a:lnTo>
                  <a:lnTo>
                    <a:pt x="3815" y="6371"/>
                  </a:lnTo>
                  <a:lnTo>
                    <a:pt x="3816" y="6366"/>
                  </a:lnTo>
                  <a:lnTo>
                    <a:pt x="3818" y="6358"/>
                  </a:lnTo>
                  <a:lnTo>
                    <a:pt x="3818" y="6348"/>
                  </a:lnTo>
                  <a:lnTo>
                    <a:pt x="3820" y="6324"/>
                  </a:lnTo>
                  <a:lnTo>
                    <a:pt x="3823" y="6295"/>
                  </a:lnTo>
                  <a:lnTo>
                    <a:pt x="3825" y="6281"/>
                  </a:lnTo>
                  <a:lnTo>
                    <a:pt x="3828" y="6265"/>
                  </a:lnTo>
                  <a:lnTo>
                    <a:pt x="3831" y="6252"/>
                  </a:lnTo>
                  <a:lnTo>
                    <a:pt x="3836" y="6239"/>
                  </a:lnTo>
                  <a:lnTo>
                    <a:pt x="3843" y="6228"/>
                  </a:lnTo>
                  <a:lnTo>
                    <a:pt x="3847" y="6224"/>
                  </a:lnTo>
                  <a:lnTo>
                    <a:pt x="3851" y="6218"/>
                  </a:lnTo>
                  <a:lnTo>
                    <a:pt x="3855" y="6215"/>
                  </a:lnTo>
                  <a:lnTo>
                    <a:pt x="3860" y="6212"/>
                  </a:lnTo>
                  <a:lnTo>
                    <a:pt x="3865" y="6209"/>
                  </a:lnTo>
                  <a:lnTo>
                    <a:pt x="3871" y="6208"/>
                  </a:lnTo>
                  <a:lnTo>
                    <a:pt x="3871" y="6208"/>
                  </a:lnTo>
                  <a:lnTo>
                    <a:pt x="3877" y="6207"/>
                  </a:lnTo>
                  <a:lnTo>
                    <a:pt x="3882" y="6208"/>
                  </a:lnTo>
                  <a:lnTo>
                    <a:pt x="3888" y="6210"/>
                  </a:lnTo>
                  <a:lnTo>
                    <a:pt x="3892" y="6214"/>
                  </a:lnTo>
                  <a:lnTo>
                    <a:pt x="3902" y="6223"/>
                  </a:lnTo>
                  <a:lnTo>
                    <a:pt x="3911" y="6233"/>
                  </a:lnTo>
                  <a:lnTo>
                    <a:pt x="3921" y="6243"/>
                  </a:lnTo>
                  <a:lnTo>
                    <a:pt x="3926" y="6248"/>
                  </a:lnTo>
                  <a:lnTo>
                    <a:pt x="3933" y="6252"/>
                  </a:lnTo>
                  <a:lnTo>
                    <a:pt x="3940" y="6256"/>
                  </a:lnTo>
                  <a:lnTo>
                    <a:pt x="3946" y="6259"/>
                  </a:lnTo>
                  <a:lnTo>
                    <a:pt x="3954" y="6260"/>
                  </a:lnTo>
                  <a:lnTo>
                    <a:pt x="3962" y="6261"/>
                  </a:lnTo>
                  <a:lnTo>
                    <a:pt x="3962" y="6261"/>
                  </a:lnTo>
                  <a:lnTo>
                    <a:pt x="3970" y="6260"/>
                  </a:lnTo>
                  <a:lnTo>
                    <a:pt x="3979" y="6257"/>
                  </a:lnTo>
                  <a:lnTo>
                    <a:pt x="3987" y="6254"/>
                  </a:lnTo>
                  <a:lnTo>
                    <a:pt x="3996" y="6250"/>
                  </a:lnTo>
                  <a:lnTo>
                    <a:pt x="4005" y="6244"/>
                  </a:lnTo>
                  <a:lnTo>
                    <a:pt x="4014" y="6238"/>
                  </a:lnTo>
                  <a:lnTo>
                    <a:pt x="4035" y="6221"/>
                  </a:lnTo>
                  <a:lnTo>
                    <a:pt x="4055" y="6204"/>
                  </a:lnTo>
                  <a:lnTo>
                    <a:pt x="4077" y="6184"/>
                  </a:lnTo>
                  <a:lnTo>
                    <a:pt x="4122" y="6141"/>
                  </a:lnTo>
                  <a:lnTo>
                    <a:pt x="4144" y="6119"/>
                  </a:lnTo>
                  <a:lnTo>
                    <a:pt x="4166" y="6099"/>
                  </a:lnTo>
                  <a:lnTo>
                    <a:pt x="4187" y="6079"/>
                  </a:lnTo>
                  <a:lnTo>
                    <a:pt x="4208" y="6064"/>
                  </a:lnTo>
                  <a:lnTo>
                    <a:pt x="4227" y="6051"/>
                  </a:lnTo>
                  <a:lnTo>
                    <a:pt x="4236" y="6046"/>
                  </a:lnTo>
                  <a:lnTo>
                    <a:pt x="4245" y="6042"/>
                  </a:lnTo>
                  <a:lnTo>
                    <a:pt x="4254" y="6038"/>
                  </a:lnTo>
                  <a:lnTo>
                    <a:pt x="4262" y="6036"/>
                  </a:lnTo>
                  <a:lnTo>
                    <a:pt x="4270" y="6036"/>
                  </a:lnTo>
                  <a:lnTo>
                    <a:pt x="4277" y="6037"/>
                  </a:lnTo>
                  <a:lnTo>
                    <a:pt x="4277" y="6037"/>
                  </a:lnTo>
                  <a:lnTo>
                    <a:pt x="4278" y="6038"/>
                  </a:lnTo>
                  <a:lnTo>
                    <a:pt x="4279" y="6041"/>
                  </a:lnTo>
                  <a:lnTo>
                    <a:pt x="4278" y="6044"/>
                  </a:lnTo>
                  <a:lnTo>
                    <a:pt x="4277" y="6046"/>
                  </a:lnTo>
                  <a:lnTo>
                    <a:pt x="4272" y="6053"/>
                  </a:lnTo>
                  <a:lnTo>
                    <a:pt x="4264" y="6061"/>
                  </a:lnTo>
                  <a:lnTo>
                    <a:pt x="4241" y="6082"/>
                  </a:lnTo>
                  <a:lnTo>
                    <a:pt x="4212" y="6109"/>
                  </a:lnTo>
                  <a:lnTo>
                    <a:pt x="4181" y="6139"/>
                  </a:lnTo>
                  <a:lnTo>
                    <a:pt x="4167" y="6154"/>
                  </a:lnTo>
                  <a:lnTo>
                    <a:pt x="4152" y="6170"/>
                  </a:lnTo>
                  <a:lnTo>
                    <a:pt x="4140" y="6187"/>
                  </a:lnTo>
                  <a:lnTo>
                    <a:pt x="4129" y="6204"/>
                  </a:lnTo>
                  <a:lnTo>
                    <a:pt x="4121" y="6220"/>
                  </a:lnTo>
                  <a:lnTo>
                    <a:pt x="4118" y="6229"/>
                  </a:lnTo>
                  <a:lnTo>
                    <a:pt x="4116" y="6238"/>
                  </a:lnTo>
                  <a:lnTo>
                    <a:pt x="4116" y="6238"/>
                  </a:lnTo>
                  <a:lnTo>
                    <a:pt x="4114" y="6250"/>
                  </a:lnTo>
                  <a:lnTo>
                    <a:pt x="4114" y="6261"/>
                  </a:lnTo>
                  <a:lnTo>
                    <a:pt x="4115" y="6273"/>
                  </a:lnTo>
                  <a:lnTo>
                    <a:pt x="4119" y="6282"/>
                  </a:lnTo>
                  <a:lnTo>
                    <a:pt x="4123" y="6290"/>
                  </a:lnTo>
                  <a:lnTo>
                    <a:pt x="4129" y="6298"/>
                  </a:lnTo>
                  <a:lnTo>
                    <a:pt x="4135" y="6305"/>
                  </a:lnTo>
                  <a:lnTo>
                    <a:pt x="4142" y="6311"/>
                  </a:lnTo>
                  <a:lnTo>
                    <a:pt x="4157" y="6325"/>
                  </a:lnTo>
                  <a:lnTo>
                    <a:pt x="4163" y="6331"/>
                  </a:lnTo>
                  <a:lnTo>
                    <a:pt x="4169" y="6338"/>
                  </a:lnTo>
                  <a:lnTo>
                    <a:pt x="4175" y="6345"/>
                  </a:lnTo>
                  <a:lnTo>
                    <a:pt x="4179" y="6352"/>
                  </a:lnTo>
                  <a:lnTo>
                    <a:pt x="4182" y="6361"/>
                  </a:lnTo>
                  <a:lnTo>
                    <a:pt x="4183" y="6370"/>
                  </a:lnTo>
                  <a:lnTo>
                    <a:pt x="4183" y="6370"/>
                  </a:lnTo>
                  <a:lnTo>
                    <a:pt x="4184" y="6380"/>
                  </a:lnTo>
                  <a:lnTo>
                    <a:pt x="4186" y="6391"/>
                  </a:lnTo>
                  <a:lnTo>
                    <a:pt x="4189" y="6400"/>
                  </a:lnTo>
                  <a:lnTo>
                    <a:pt x="4193" y="6411"/>
                  </a:lnTo>
                  <a:lnTo>
                    <a:pt x="4198" y="6420"/>
                  </a:lnTo>
                  <a:lnTo>
                    <a:pt x="4205" y="6429"/>
                  </a:lnTo>
                  <a:lnTo>
                    <a:pt x="4212" y="6437"/>
                  </a:lnTo>
                  <a:lnTo>
                    <a:pt x="4220" y="6445"/>
                  </a:lnTo>
                  <a:lnTo>
                    <a:pt x="4228" y="6454"/>
                  </a:lnTo>
                  <a:lnTo>
                    <a:pt x="4237" y="6461"/>
                  </a:lnTo>
                  <a:lnTo>
                    <a:pt x="4257" y="6474"/>
                  </a:lnTo>
                  <a:lnTo>
                    <a:pt x="4278" y="6486"/>
                  </a:lnTo>
                  <a:lnTo>
                    <a:pt x="4300" y="6497"/>
                  </a:lnTo>
                  <a:lnTo>
                    <a:pt x="4322" y="6506"/>
                  </a:lnTo>
                  <a:lnTo>
                    <a:pt x="4344" y="6514"/>
                  </a:lnTo>
                  <a:lnTo>
                    <a:pt x="4364" y="6519"/>
                  </a:lnTo>
                  <a:lnTo>
                    <a:pt x="4382" y="6524"/>
                  </a:lnTo>
                  <a:lnTo>
                    <a:pt x="4399" y="6526"/>
                  </a:lnTo>
                  <a:lnTo>
                    <a:pt x="4412" y="6527"/>
                  </a:lnTo>
                  <a:lnTo>
                    <a:pt x="4421" y="6527"/>
                  </a:lnTo>
                  <a:lnTo>
                    <a:pt x="4424" y="6526"/>
                  </a:lnTo>
                  <a:lnTo>
                    <a:pt x="4426" y="6525"/>
                  </a:lnTo>
                  <a:lnTo>
                    <a:pt x="4426" y="6525"/>
                  </a:lnTo>
                  <a:lnTo>
                    <a:pt x="4427" y="6523"/>
                  </a:lnTo>
                  <a:lnTo>
                    <a:pt x="4427" y="6521"/>
                  </a:lnTo>
                  <a:lnTo>
                    <a:pt x="4425" y="6515"/>
                  </a:lnTo>
                  <a:lnTo>
                    <a:pt x="4420" y="6508"/>
                  </a:lnTo>
                  <a:lnTo>
                    <a:pt x="4412" y="6498"/>
                  </a:lnTo>
                  <a:lnTo>
                    <a:pt x="4393" y="6475"/>
                  </a:lnTo>
                  <a:lnTo>
                    <a:pt x="4369" y="6448"/>
                  </a:lnTo>
                  <a:lnTo>
                    <a:pt x="4358" y="6435"/>
                  </a:lnTo>
                  <a:lnTo>
                    <a:pt x="4348" y="6421"/>
                  </a:lnTo>
                  <a:lnTo>
                    <a:pt x="4339" y="6407"/>
                  </a:lnTo>
                  <a:lnTo>
                    <a:pt x="4330" y="6393"/>
                  </a:lnTo>
                  <a:lnTo>
                    <a:pt x="4325" y="6380"/>
                  </a:lnTo>
                  <a:lnTo>
                    <a:pt x="4324" y="6374"/>
                  </a:lnTo>
                  <a:lnTo>
                    <a:pt x="4323" y="6368"/>
                  </a:lnTo>
                  <a:lnTo>
                    <a:pt x="4323" y="6362"/>
                  </a:lnTo>
                  <a:lnTo>
                    <a:pt x="4324" y="6356"/>
                  </a:lnTo>
                  <a:lnTo>
                    <a:pt x="4326" y="6351"/>
                  </a:lnTo>
                  <a:lnTo>
                    <a:pt x="4329" y="6346"/>
                  </a:lnTo>
                  <a:lnTo>
                    <a:pt x="4329" y="6346"/>
                  </a:lnTo>
                  <a:lnTo>
                    <a:pt x="4333" y="6342"/>
                  </a:lnTo>
                  <a:lnTo>
                    <a:pt x="4337" y="6339"/>
                  </a:lnTo>
                  <a:lnTo>
                    <a:pt x="4343" y="6338"/>
                  </a:lnTo>
                  <a:lnTo>
                    <a:pt x="4347" y="6337"/>
                  </a:lnTo>
                  <a:lnTo>
                    <a:pt x="4352" y="6337"/>
                  </a:lnTo>
                  <a:lnTo>
                    <a:pt x="4358" y="6338"/>
                  </a:lnTo>
                  <a:lnTo>
                    <a:pt x="4370" y="6340"/>
                  </a:lnTo>
                  <a:lnTo>
                    <a:pt x="4384" y="6343"/>
                  </a:lnTo>
                  <a:lnTo>
                    <a:pt x="4392" y="6344"/>
                  </a:lnTo>
                  <a:lnTo>
                    <a:pt x="4399" y="6344"/>
                  </a:lnTo>
                  <a:lnTo>
                    <a:pt x="4408" y="6344"/>
                  </a:lnTo>
                  <a:lnTo>
                    <a:pt x="4416" y="6343"/>
                  </a:lnTo>
                  <a:lnTo>
                    <a:pt x="4425" y="6341"/>
                  </a:lnTo>
                  <a:lnTo>
                    <a:pt x="4436" y="6337"/>
                  </a:lnTo>
                  <a:lnTo>
                    <a:pt x="4436" y="6337"/>
                  </a:lnTo>
                  <a:lnTo>
                    <a:pt x="4437" y="6335"/>
                  </a:lnTo>
                  <a:lnTo>
                    <a:pt x="4438" y="6332"/>
                  </a:lnTo>
                  <a:lnTo>
                    <a:pt x="4438" y="6325"/>
                  </a:lnTo>
                  <a:lnTo>
                    <a:pt x="4436" y="6314"/>
                  </a:lnTo>
                  <a:lnTo>
                    <a:pt x="4434" y="6299"/>
                  </a:lnTo>
                  <a:lnTo>
                    <a:pt x="4431" y="6283"/>
                  </a:lnTo>
                  <a:lnTo>
                    <a:pt x="4428" y="6264"/>
                  </a:lnTo>
                  <a:lnTo>
                    <a:pt x="4426" y="6243"/>
                  </a:lnTo>
                  <a:lnTo>
                    <a:pt x="4426" y="6219"/>
                  </a:lnTo>
                  <a:lnTo>
                    <a:pt x="4428" y="6195"/>
                  </a:lnTo>
                  <a:lnTo>
                    <a:pt x="4431" y="6182"/>
                  </a:lnTo>
                  <a:lnTo>
                    <a:pt x="4434" y="6167"/>
                  </a:lnTo>
                  <a:lnTo>
                    <a:pt x="4437" y="6154"/>
                  </a:lnTo>
                  <a:lnTo>
                    <a:pt x="4441" y="6139"/>
                  </a:lnTo>
                  <a:lnTo>
                    <a:pt x="4446" y="6124"/>
                  </a:lnTo>
                  <a:lnTo>
                    <a:pt x="4453" y="6109"/>
                  </a:lnTo>
                  <a:lnTo>
                    <a:pt x="4460" y="6094"/>
                  </a:lnTo>
                  <a:lnTo>
                    <a:pt x="4469" y="6078"/>
                  </a:lnTo>
                  <a:lnTo>
                    <a:pt x="4479" y="6062"/>
                  </a:lnTo>
                  <a:lnTo>
                    <a:pt x="4490" y="6046"/>
                  </a:lnTo>
                  <a:lnTo>
                    <a:pt x="4503" y="6029"/>
                  </a:lnTo>
                  <a:lnTo>
                    <a:pt x="4516" y="6013"/>
                  </a:lnTo>
                  <a:lnTo>
                    <a:pt x="4533" y="5996"/>
                  </a:lnTo>
                  <a:lnTo>
                    <a:pt x="4550" y="5979"/>
                  </a:lnTo>
                  <a:lnTo>
                    <a:pt x="4550" y="5979"/>
                  </a:lnTo>
                  <a:lnTo>
                    <a:pt x="4557" y="5990"/>
                  </a:lnTo>
                  <a:lnTo>
                    <a:pt x="4566" y="6002"/>
                  </a:lnTo>
                  <a:lnTo>
                    <a:pt x="4578" y="6015"/>
                  </a:lnTo>
                  <a:lnTo>
                    <a:pt x="4586" y="6022"/>
                  </a:lnTo>
                  <a:lnTo>
                    <a:pt x="4594" y="6029"/>
                  </a:lnTo>
                  <a:lnTo>
                    <a:pt x="4603" y="6035"/>
                  </a:lnTo>
                  <a:lnTo>
                    <a:pt x="4614" y="6043"/>
                  </a:lnTo>
                  <a:lnTo>
                    <a:pt x="4624" y="6048"/>
                  </a:lnTo>
                  <a:lnTo>
                    <a:pt x="4636" y="6052"/>
                  </a:lnTo>
                  <a:lnTo>
                    <a:pt x="4648" y="6056"/>
                  </a:lnTo>
                  <a:lnTo>
                    <a:pt x="4662" y="6058"/>
                  </a:lnTo>
                  <a:lnTo>
                    <a:pt x="4662" y="6058"/>
                  </a:lnTo>
                  <a:lnTo>
                    <a:pt x="4668" y="6059"/>
                  </a:lnTo>
                  <a:lnTo>
                    <a:pt x="4673" y="6061"/>
                  </a:lnTo>
                  <a:lnTo>
                    <a:pt x="4677" y="6064"/>
                  </a:lnTo>
                  <a:lnTo>
                    <a:pt x="4681" y="6067"/>
                  </a:lnTo>
                  <a:lnTo>
                    <a:pt x="4685" y="6071"/>
                  </a:lnTo>
                  <a:lnTo>
                    <a:pt x="4688" y="6075"/>
                  </a:lnTo>
                  <a:lnTo>
                    <a:pt x="4692" y="6087"/>
                  </a:lnTo>
                  <a:lnTo>
                    <a:pt x="4696" y="6099"/>
                  </a:lnTo>
                  <a:lnTo>
                    <a:pt x="4698" y="6112"/>
                  </a:lnTo>
                  <a:lnTo>
                    <a:pt x="4698" y="6125"/>
                  </a:lnTo>
                  <a:lnTo>
                    <a:pt x="4698" y="6140"/>
                  </a:lnTo>
                  <a:lnTo>
                    <a:pt x="4696" y="6168"/>
                  </a:lnTo>
                  <a:lnTo>
                    <a:pt x="4694" y="6193"/>
                  </a:lnTo>
                  <a:lnTo>
                    <a:pt x="4692" y="6210"/>
                  </a:lnTo>
                  <a:lnTo>
                    <a:pt x="4692" y="6215"/>
                  </a:lnTo>
                  <a:lnTo>
                    <a:pt x="4693" y="6216"/>
                  </a:lnTo>
                  <a:lnTo>
                    <a:pt x="4694" y="6216"/>
                  </a:lnTo>
                  <a:lnTo>
                    <a:pt x="4694" y="6216"/>
                  </a:lnTo>
                  <a:lnTo>
                    <a:pt x="4697" y="6215"/>
                  </a:lnTo>
                  <a:lnTo>
                    <a:pt x="4702" y="6212"/>
                  </a:lnTo>
                  <a:lnTo>
                    <a:pt x="4708" y="6207"/>
                  </a:lnTo>
                  <a:lnTo>
                    <a:pt x="4714" y="6200"/>
                  </a:lnTo>
                  <a:lnTo>
                    <a:pt x="4721" y="6191"/>
                  </a:lnTo>
                  <a:lnTo>
                    <a:pt x="4729" y="6181"/>
                  </a:lnTo>
                  <a:lnTo>
                    <a:pt x="4736" y="6167"/>
                  </a:lnTo>
                  <a:lnTo>
                    <a:pt x="4743" y="6154"/>
                  </a:lnTo>
                  <a:lnTo>
                    <a:pt x="4751" y="6139"/>
                  </a:lnTo>
                  <a:lnTo>
                    <a:pt x="4758" y="6121"/>
                  </a:lnTo>
                  <a:lnTo>
                    <a:pt x="4763" y="6104"/>
                  </a:lnTo>
                  <a:lnTo>
                    <a:pt x="4768" y="6084"/>
                  </a:lnTo>
                  <a:lnTo>
                    <a:pt x="4771" y="6064"/>
                  </a:lnTo>
                  <a:lnTo>
                    <a:pt x="4773" y="6044"/>
                  </a:lnTo>
                  <a:lnTo>
                    <a:pt x="4772" y="6022"/>
                  </a:lnTo>
                  <a:lnTo>
                    <a:pt x="4770" y="6000"/>
                  </a:lnTo>
                  <a:lnTo>
                    <a:pt x="4770" y="6000"/>
                  </a:lnTo>
                  <a:lnTo>
                    <a:pt x="4778" y="5992"/>
                  </a:lnTo>
                  <a:lnTo>
                    <a:pt x="4798" y="5975"/>
                  </a:lnTo>
                  <a:lnTo>
                    <a:pt x="4809" y="5964"/>
                  </a:lnTo>
                  <a:lnTo>
                    <a:pt x="4819" y="5952"/>
                  </a:lnTo>
                  <a:lnTo>
                    <a:pt x="4827" y="5938"/>
                  </a:lnTo>
                  <a:lnTo>
                    <a:pt x="4830" y="5932"/>
                  </a:lnTo>
                  <a:lnTo>
                    <a:pt x="4832" y="5926"/>
                  </a:lnTo>
                  <a:lnTo>
                    <a:pt x="4832" y="5926"/>
                  </a:lnTo>
                  <a:lnTo>
                    <a:pt x="4834" y="5917"/>
                  </a:lnTo>
                  <a:lnTo>
                    <a:pt x="4835" y="5908"/>
                  </a:lnTo>
                  <a:lnTo>
                    <a:pt x="4836" y="5899"/>
                  </a:lnTo>
                  <a:lnTo>
                    <a:pt x="4835" y="5892"/>
                  </a:lnTo>
                  <a:lnTo>
                    <a:pt x="4834" y="5886"/>
                  </a:lnTo>
                  <a:lnTo>
                    <a:pt x="4832" y="5880"/>
                  </a:lnTo>
                  <a:lnTo>
                    <a:pt x="4830" y="5875"/>
                  </a:lnTo>
                  <a:lnTo>
                    <a:pt x="4827" y="5870"/>
                  </a:lnTo>
                  <a:lnTo>
                    <a:pt x="4819" y="5861"/>
                  </a:lnTo>
                  <a:lnTo>
                    <a:pt x="4810" y="5851"/>
                  </a:lnTo>
                  <a:lnTo>
                    <a:pt x="4800" y="5842"/>
                  </a:lnTo>
                  <a:lnTo>
                    <a:pt x="4789" y="5831"/>
                  </a:lnTo>
                  <a:lnTo>
                    <a:pt x="4778" y="5818"/>
                  </a:lnTo>
                  <a:lnTo>
                    <a:pt x="4772" y="5810"/>
                  </a:lnTo>
                  <a:lnTo>
                    <a:pt x="4767" y="5801"/>
                  </a:lnTo>
                  <a:lnTo>
                    <a:pt x="4762" y="5792"/>
                  </a:lnTo>
                  <a:lnTo>
                    <a:pt x="4757" y="5782"/>
                  </a:lnTo>
                  <a:lnTo>
                    <a:pt x="4753" y="5770"/>
                  </a:lnTo>
                  <a:lnTo>
                    <a:pt x="4749" y="5757"/>
                  </a:lnTo>
                  <a:lnTo>
                    <a:pt x="4744" y="5743"/>
                  </a:lnTo>
                  <a:lnTo>
                    <a:pt x="4741" y="5727"/>
                  </a:lnTo>
                  <a:lnTo>
                    <a:pt x="4738" y="5710"/>
                  </a:lnTo>
                  <a:lnTo>
                    <a:pt x="4736" y="5691"/>
                  </a:lnTo>
                  <a:lnTo>
                    <a:pt x="4735" y="5670"/>
                  </a:lnTo>
                  <a:lnTo>
                    <a:pt x="4734" y="5648"/>
                  </a:lnTo>
                  <a:lnTo>
                    <a:pt x="4734" y="5623"/>
                  </a:lnTo>
                  <a:lnTo>
                    <a:pt x="4735" y="5597"/>
                  </a:lnTo>
                  <a:lnTo>
                    <a:pt x="4735" y="5597"/>
                  </a:lnTo>
                  <a:lnTo>
                    <a:pt x="4735" y="5579"/>
                  </a:lnTo>
                  <a:lnTo>
                    <a:pt x="4734" y="5573"/>
                  </a:lnTo>
                  <a:lnTo>
                    <a:pt x="4733" y="5568"/>
                  </a:lnTo>
                  <a:lnTo>
                    <a:pt x="4731" y="5563"/>
                  </a:lnTo>
                  <a:lnTo>
                    <a:pt x="4729" y="5559"/>
                  </a:lnTo>
                  <a:lnTo>
                    <a:pt x="4727" y="5556"/>
                  </a:lnTo>
                  <a:lnTo>
                    <a:pt x="4724" y="5553"/>
                  </a:lnTo>
                  <a:lnTo>
                    <a:pt x="4716" y="5547"/>
                  </a:lnTo>
                  <a:lnTo>
                    <a:pt x="4706" y="5540"/>
                  </a:lnTo>
                  <a:lnTo>
                    <a:pt x="4693" y="5530"/>
                  </a:lnTo>
                  <a:lnTo>
                    <a:pt x="4679" y="5518"/>
                  </a:lnTo>
                  <a:lnTo>
                    <a:pt x="4679" y="5518"/>
                  </a:lnTo>
                  <a:lnTo>
                    <a:pt x="4671" y="5508"/>
                  </a:lnTo>
                  <a:lnTo>
                    <a:pt x="4664" y="5498"/>
                  </a:lnTo>
                  <a:lnTo>
                    <a:pt x="4659" y="5487"/>
                  </a:lnTo>
                  <a:lnTo>
                    <a:pt x="4655" y="5477"/>
                  </a:lnTo>
                  <a:lnTo>
                    <a:pt x="4654" y="5469"/>
                  </a:lnTo>
                  <a:lnTo>
                    <a:pt x="4654" y="5466"/>
                  </a:lnTo>
                  <a:lnTo>
                    <a:pt x="4654" y="5464"/>
                  </a:lnTo>
                  <a:lnTo>
                    <a:pt x="4657" y="5462"/>
                  </a:lnTo>
                  <a:lnTo>
                    <a:pt x="4659" y="5461"/>
                  </a:lnTo>
                  <a:lnTo>
                    <a:pt x="4661" y="5461"/>
                  </a:lnTo>
                  <a:lnTo>
                    <a:pt x="4665" y="5462"/>
                  </a:lnTo>
                  <a:lnTo>
                    <a:pt x="4665" y="5462"/>
                  </a:lnTo>
                  <a:lnTo>
                    <a:pt x="4679" y="5468"/>
                  </a:lnTo>
                  <a:lnTo>
                    <a:pt x="4693" y="5472"/>
                  </a:lnTo>
                  <a:lnTo>
                    <a:pt x="4708" y="5475"/>
                  </a:lnTo>
                  <a:lnTo>
                    <a:pt x="4723" y="5476"/>
                  </a:lnTo>
                  <a:lnTo>
                    <a:pt x="4737" y="5477"/>
                  </a:lnTo>
                  <a:lnTo>
                    <a:pt x="4752" y="5478"/>
                  </a:lnTo>
                  <a:lnTo>
                    <a:pt x="4765" y="5477"/>
                  </a:lnTo>
                  <a:lnTo>
                    <a:pt x="4778" y="5476"/>
                  </a:lnTo>
                  <a:lnTo>
                    <a:pt x="4802" y="5473"/>
                  </a:lnTo>
                  <a:lnTo>
                    <a:pt x="4819" y="5469"/>
                  </a:lnTo>
                  <a:lnTo>
                    <a:pt x="4835" y="5465"/>
                  </a:lnTo>
                  <a:lnTo>
                    <a:pt x="4835" y="5465"/>
                  </a:lnTo>
                  <a:lnTo>
                    <a:pt x="4844" y="5369"/>
                  </a:lnTo>
                  <a:lnTo>
                    <a:pt x="4849" y="5294"/>
                  </a:lnTo>
                  <a:lnTo>
                    <a:pt x="4851" y="5239"/>
                  </a:lnTo>
                  <a:lnTo>
                    <a:pt x="4851" y="5201"/>
                  </a:lnTo>
                  <a:lnTo>
                    <a:pt x="4849" y="5176"/>
                  </a:lnTo>
                  <a:lnTo>
                    <a:pt x="4847" y="5161"/>
                  </a:lnTo>
                  <a:lnTo>
                    <a:pt x="4845" y="5155"/>
                  </a:lnTo>
                  <a:lnTo>
                    <a:pt x="4844" y="5153"/>
                  </a:lnTo>
                  <a:lnTo>
                    <a:pt x="4844" y="5153"/>
                  </a:lnTo>
                  <a:lnTo>
                    <a:pt x="4825" y="5154"/>
                  </a:lnTo>
                  <a:lnTo>
                    <a:pt x="4808" y="5153"/>
                  </a:lnTo>
                  <a:lnTo>
                    <a:pt x="4791" y="5152"/>
                  </a:lnTo>
                  <a:lnTo>
                    <a:pt x="4776" y="5151"/>
                  </a:lnTo>
                  <a:lnTo>
                    <a:pt x="4763" y="5149"/>
                  </a:lnTo>
                  <a:lnTo>
                    <a:pt x="4750" y="5146"/>
                  </a:lnTo>
                  <a:lnTo>
                    <a:pt x="4737" y="5143"/>
                  </a:lnTo>
                  <a:lnTo>
                    <a:pt x="4726" y="5139"/>
                  </a:lnTo>
                  <a:lnTo>
                    <a:pt x="4716" y="5135"/>
                  </a:lnTo>
                  <a:lnTo>
                    <a:pt x="4707" y="5131"/>
                  </a:lnTo>
                  <a:lnTo>
                    <a:pt x="4698" y="5125"/>
                  </a:lnTo>
                  <a:lnTo>
                    <a:pt x="4690" y="5120"/>
                  </a:lnTo>
                  <a:lnTo>
                    <a:pt x="4683" y="5114"/>
                  </a:lnTo>
                  <a:lnTo>
                    <a:pt x="4676" y="5109"/>
                  </a:lnTo>
                  <a:lnTo>
                    <a:pt x="4665" y="5096"/>
                  </a:lnTo>
                  <a:lnTo>
                    <a:pt x="4665" y="5096"/>
                  </a:lnTo>
                  <a:lnTo>
                    <a:pt x="4677" y="5099"/>
                  </a:lnTo>
                  <a:lnTo>
                    <a:pt x="4690" y="5101"/>
                  </a:lnTo>
                  <a:lnTo>
                    <a:pt x="4717" y="5103"/>
                  </a:lnTo>
                  <a:lnTo>
                    <a:pt x="4742" y="5103"/>
                  </a:lnTo>
                  <a:lnTo>
                    <a:pt x="4768" y="5101"/>
                  </a:lnTo>
                  <a:lnTo>
                    <a:pt x="4790" y="5097"/>
                  </a:lnTo>
                  <a:lnTo>
                    <a:pt x="4812" y="5091"/>
                  </a:lnTo>
                  <a:lnTo>
                    <a:pt x="4821" y="5088"/>
                  </a:lnTo>
                  <a:lnTo>
                    <a:pt x="4829" y="5084"/>
                  </a:lnTo>
                  <a:lnTo>
                    <a:pt x="4838" y="5078"/>
                  </a:lnTo>
                  <a:lnTo>
                    <a:pt x="4844" y="5074"/>
                  </a:lnTo>
                  <a:lnTo>
                    <a:pt x="4844" y="5074"/>
                  </a:lnTo>
                  <a:lnTo>
                    <a:pt x="4843" y="5026"/>
                  </a:lnTo>
                  <a:lnTo>
                    <a:pt x="4841" y="4978"/>
                  </a:lnTo>
                  <a:lnTo>
                    <a:pt x="4838" y="4923"/>
                  </a:lnTo>
                  <a:lnTo>
                    <a:pt x="4833" y="4868"/>
                  </a:lnTo>
                  <a:lnTo>
                    <a:pt x="4831" y="4843"/>
                  </a:lnTo>
                  <a:lnTo>
                    <a:pt x="4828" y="4821"/>
                  </a:lnTo>
                  <a:lnTo>
                    <a:pt x="4825" y="4802"/>
                  </a:lnTo>
                  <a:lnTo>
                    <a:pt x="4822" y="4788"/>
                  </a:lnTo>
                  <a:lnTo>
                    <a:pt x="4820" y="4783"/>
                  </a:lnTo>
                  <a:lnTo>
                    <a:pt x="4818" y="4780"/>
                  </a:lnTo>
                  <a:lnTo>
                    <a:pt x="4816" y="4778"/>
                  </a:lnTo>
                  <a:lnTo>
                    <a:pt x="4814" y="4778"/>
                  </a:lnTo>
                  <a:lnTo>
                    <a:pt x="4814" y="4778"/>
                  </a:lnTo>
                  <a:lnTo>
                    <a:pt x="4786" y="4785"/>
                  </a:lnTo>
                  <a:lnTo>
                    <a:pt x="4760" y="4790"/>
                  </a:lnTo>
                  <a:lnTo>
                    <a:pt x="4746" y="4791"/>
                  </a:lnTo>
                  <a:lnTo>
                    <a:pt x="4734" y="4792"/>
                  </a:lnTo>
                  <a:lnTo>
                    <a:pt x="4722" y="4792"/>
                  </a:lnTo>
                  <a:lnTo>
                    <a:pt x="4711" y="4791"/>
                  </a:lnTo>
                  <a:lnTo>
                    <a:pt x="4698" y="4789"/>
                  </a:lnTo>
                  <a:lnTo>
                    <a:pt x="4687" y="4787"/>
                  </a:lnTo>
                  <a:lnTo>
                    <a:pt x="4675" y="4784"/>
                  </a:lnTo>
                  <a:lnTo>
                    <a:pt x="4664" y="4780"/>
                  </a:lnTo>
                  <a:lnTo>
                    <a:pt x="4652" y="4775"/>
                  </a:lnTo>
                  <a:lnTo>
                    <a:pt x="4640" y="4770"/>
                  </a:lnTo>
                  <a:lnTo>
                    <a:pt x="4629" y="4762"/>
                  </a:lnTo>
                  <a:lnTo>
                    <a:pt x="4618" y="4755"/>
                  </a:lnTo>
                  <a:lnTo>
                    <a:pt x="4618" y="4755"/>
                  </a:lnTo>
                  <a:lnTo>
                    <a:pt x="4613" y="4752"/>
                  </a:lnTo>
                  <a:lnTo>
                    <a:pt x="4608" y="4748"/>
                  </a:lnTo>
                  <a:lnTo>
                    <a:pt x="4602" y="4740"/>
                  </a:lnTo>
                  <a:lnTo>
                    <a:pt x="4597" y="4731"/>
                  </a:lnTo>
                  <a:lnTo>
                    <a:pt x="4594" y="4721"/>
                  </a:lnTo>
                  <a:lnTo>
                    <a:pt x="4592" y="4709"/>
                  </a:lnTo>
                  <a:lnTo>
                    <a:pt x="4591" y="4699"/>
                  </a:lnTo>
                  <a:lnTo>
                    <a:pt x="4590" y="4677"/>
                  </a:lnTo>
                  <a:lnTo>
                    <a:pt x="4589" y="4655"/>
                  </a:lnTo>
                  <a:lnTo>
                    <a:pt x="4587" y="4646"/>
                  </a:lnTo>
                  <a:lnTo>
                    <a:pt x="4585" y="4638"/>
                  </a:lnTo>
                  <a:lnTo>
                    <a:pt x="4581" y="4631"/>
                  </a:lnTo>
                  <a:lnTo>
                    <a:pt x="4575" y="4624"/>
                  </a:lnTo>
                  <a:lnTo>
                    <a:pt x="4571" y="4621"/>
                  </a:lnTo>
                  <a:lnTo>
                    <a:pt x="4567" y="4619"/>
                  </a:lnTo>
                  <a:lnTo>
                    <a:pt x="4561" y="4618"/>
                  </a:lnTo>
                  <a:lnTo>
                    <a:pt x="4556" y="4617"/>
                  </a:lnTo>
                  <a:lnTo>
                    <a:pt x="4556" y="4617"/>
                  </a:lnTo>
                  <a:lnTo>
                    <a:pt x="4534" y="4610"/>
                  </a:lnTo>
                  <a:lnTo>
                    <a:pt x="4511" y="4603"/>
                  </a:lnTo>
                  <a:lnTo>
                    <a:pt x="4489" y="4595"/>
                  </a:lnTo>
                  <a:lnTo>
                    <a:pt x="4468" y="4585"/>
                  </a:lnTo>
                  <a:lnTo>
                    <a:pt x="4448" y="4575"/>
                  </a:lnTo>
                  <a:lnTo>
                    <a:pt x="4428" y="4564"/>
                  </a:lnTo>
                  <a:lnTo>
                    <a:pt x="4410" y="4554"/>
                  </a:lnTo>
                  <a:lnTo>
                    <a:pt x="4394" y="4543"/>
                  </a:lnTo>
                  <a:lnTo>
                    <a:pt x="4377" y="4531"/>
                  </a:lnTo>
                  <a:lnTo>
                    <a:pt x="4363" y="4521"/>
                  </a:lnTo>
                  <a:lnTo>
                    <a:pt x="4337" y="4501"/>
                  </a:lnTo>
                  <a:lnTo>
                    <a:pt x="4318" y="4482"/>
                  </a:lnTo>
                  <a:lnTo>
                    <a:pt x="4306" y="4467"/>
                  </a:lnTo>
                  <a:lnTo>
                    <a:pt x="4306" y="4467"/>
                  </a:lnTo>
                  <a:lnTo>
                    <a:pt x="4297" y="4455"/>
                  </a:lnTo>
                  <a:lnTo>
                    <a:pt x="4288" y="4442"/>
                  </a:lnTo>
                  <a:lnTo>
                    <a:pt x="4282" y="4431"/>
                  </a:lnTo>
                  <a:lnTo>
                    <a:pt x="4277" y="4420"/>
                  </a:lnTo>
                  <a:lnTo>
                    <a:pt x="4273" y="4410"/>
                  </a:lnTo>
                  <a:lnTo>
                    <a:pt x="4270" y="4401"/>
                  </a:lnTo>
                  <a:lnTo>
                    <a:pt x="4266" y="4384"/>
                  </a:lnTo>
                  <a:lnTo>
                    <a:pt x="4265" y="4371"/>
                  </a:lnTo>
                  <a:lnTo>
                    <a:pt x="4265" y="4361"/>
                  </a:lnTo>
                  <a:lnTo>
                    <a:pt x="4266" y="4352"/>
                  </a:lnTo>
                  <a:lnTo>
                    <a:pt x="4266" y="4352"/>
                  </a:lnTo>
                  <a:lnTo>
                    <a:pt x="4284" y="4362"/>
                  </a:lnTo>
                  <a:lnTo>
                    <a:pt x="4302" y="4368"/>
                  </a:lnTo>
                  <a:lnTo>
                    <a:pt x="4321" y="4373"/>
                  </a:lnTo>
                  <a:lnTo>
                    <a:pt x="4340" y="4376"/>
                  </a:lnTo>
                  <a:lnTo>
                    <a:pt x="4358" y="4378"/>
                  </a:lnTo>
                  <a:lnTo>
                    <a:pt x="4377" y="4377"/>
                  </a:lnTo>
                  <a:lnTo>
                    <a:pt x="4396" y="4374"/>
                  </a:lnTo>
                  <a:lnTo>
                    <a:pt x="4414" y="4370"/>
                  </a:lnTo>
                  <a:lnTo>
                    <a:pt x="4434" y="4130"/>
                  </a:lnTo>
                  <a:lnTo>
                    <a:pt x="4434" y="4130"/>
                  </a:lnTo>
                  <a:lnTo>
                    <a:pt x="4425" y="4129"/>
                  </a:lnTo>
                  <a:lnTo>
                    <a:pt x="4405" y="4126"/>
                  </a:lnTo>
                  <a:lnTo>
                    <a:pt x="4392" y="4123"/>
                  </a:lnTo>
                  <a:lnTo>
                    <a:pt x="4377" y="4119"/>
                  </a:lnTo>
                  <a:lnTo>
                    <a:pt x="4362" y="4115"/>
                  </a:lnTo>
                  <a:lnTo>
                    <a:pt x="4348" y="4109"/>
                  </a:lnTo>
                  <a:lnTo>
                    <a:pt x="4348" y="4109"/>
                  </a:lnTo>
                  <a:lnTo>
                    <a:pt x="4339" y="4105"/>
                  </a:lnTo>
                  <a:lnTo>
                    <a:pt x="4331" y="4100"/>
                  </a:lnTo>
                  <a:lnTo>
                    <a:pt x="4323" y="4094"/>
                  </a:lnTo>
                  <a:lnTo>
                    <a:pt x="4316" y="4088"/>
                  </a:lnTo>
                  <a:lnTo>
                    <a:pt x="4302" y="4074"/>
                  </a:lnTo>
                  <a:lnTo>
                    <a:pt x="4289" y="4061"/>
                  </a:lnTo>
                  <a:lnTo>
                    <a:pt x="4280" y="4048"/>
                  </a:lnTo>
                  <a:lnTo>
                    <a:pt x="4273" y="4038"/>
                  </a:lnTo>
                  <a:lnTo>
                    <a:pt x="4267" y="4028"/>
                  </a:lnTo>
                  <a:lnTo>
                    <a:pt x="4267" y="4028"/>
                  </a:lnTo>
                  <a:lnTo>
                    <a:pt x="4274" y="4031"/>
                  </a:lnTo>
                  <a:lnTo>
                    <a:pt x="4293" y="4039"/>
                  </a:lnTo>
                  <a:lnTo>
                    <a:pt x="4321" y="4047"/>
                  </a:lnTo>
                  <a:lnTo>
                    <a:pt x="4339" y="4051"/>
                  </a:lnTo>
                  <a:lnTo>
                    <a:pt x="4356" y="4054"/>
                  </a:lnTo>
                  <a:lnTo>
                    <a:pt x="4356" y="4054"/>
                  </a:lnTo>
                  <a:lnTo>
                    <a:pt x="4375" y="4056"/>
                  </a:lnTo>
                  <a:lnTo>
                    <a:pt x="4392" y="4057"/>
                  </a:lnTo>
                  <a:lnTo>
                    <a:pt x="4407" y="4055"/>
                  </a:lnTo>
                  <a:lnTo>
                    <a:pt x="4419" y="4053"/>
                  </a:lnTo>
                  <a:lnTo>
                    <a:pt x="4430" y="4051"/>
                  </a:lnTo>
                  <a:lnTo>
                    <a:pt x="4438" y="4049"/>
                  </a:lnTo>
                  <a:lnTo>
                    <a:pt x="4444" y="4046"/>
                  </a:lnTo>
                  <a:lnTo>
                    <a:pt x="4477" y="3775"/>
                  </a:lnTo>
                  <a:lnTo>
                    <a:pt x="4477" y="3775"/>
                  </a:lnTo>
                  <a:lnTo>
                    <a:pt x="4451" y="3776"/>
                  </a:lnTo>
                  <a:lnTo>
                    <a:pt x="4427" y="3775"/>
                  </a:lnTo>
                  <a:lnTo>
                    <a:pt x="4408" y="3773"/>
                  </a:lnTo>
                  <a:lnTo>
                    <a:pt x="4392" y="3768"/>
                  </a:lnTo>
                  <a:lnTo>
                    <a:pt x="4377" y="3762"/>
                  </a:lnTo>
                  <a:lnTo>
                    <a:pt x="4365" y="3755"/>
                  </a:lnTo>
                  <a:lnTo>
                    <a:pt x="4356" y="3747"/>
                  </a:lnTo>
                  <a:lnTo>
                    <a:pt x="4348" y="3739"/>
                  </a:lnTo>
                  <a:lnTo>
                    <a:pt x="4343" y="3731"/>
                  </a:lnTo>
                  <a:lnTo>
                    <a:pt x="4337" y="3722"/>
                  </a:lnTo>
                  <a:lnTo>
                    <a:pt x="4335" y="3713"/>
                  </a:lnTo>
                  <a:lnTo>
                    <a:pt x="4333" y="3705"/>
                  </a:lnTo>
                  <a:lnTo>
                    <a:pt x="4332" y="3697"/>
                  </a:lnTo>
                  <a:lnTo>
                    <a:pt x="4331" y="3691"/>
                  </a:lnTo>
                  <a:lnTo>
                    <a:pt x="4332" y="3682"/>
                  </a:lnTo>
                  <a:lnTo>
                    <a:pt x="4332" y="3682"/>
                  </a:lnTo>
                  <a:lnTo>
                    <a:pt x="4357" y="3677"/>
                  </a:lnTo>
                  <a:lnTo>
                    <a:pt x="4381" y="3671"/>
                  </a:lnTo>
                  <a:lnTo>
                    <a:pt x="4405" y="3663"/>
                  </a:lnTo>
                  <a:lnTo>
                    <a:pt x="4428" y="3656"/>
                  </a:lnTo>
                  <a:lnTo>
                    <a:pt x="4451" y="3647"/>
                  </a:lnTo>
                  <a:lnTo>
                    <a:pt x="4473" y="3637"/>
                  </a:lnTo>
                  <a:lnTo>
                    <a:pt x="4495" y="3626"/>
                  </a:lnTo>
                  <a:lnTo>
                    <a:pt x="4515" y="3613"/>
                  </a:lnTo>
                  <a:lnTo>
                    <a:pt x="4536" y="3601"/>
                  </a:lnTo>
                  <a:lnTo>
                    <a:pt x="4555" y="3588"/>
                  </a:lnTo>
                  <a:lnTo>
                    <a:pt x="4574" y="3573"/>
                  </a:lnTo>
                  <a:lnTo>
                    <a:pt x="4592" y="3558"/>
                  </a:lnTo>
                  <a:lnTo>
                    <a:pt x="4609" y="3543"/>
                  </a:lnTo>
                  <a:lnTo>
                    <a:pt x="4627" y="3526"/>
                  </a:lnTo>
                  <a:lnTo>
                    <a:pt x="4642" y="3510"/>
                  </a:lnTo>
                  <a:lnTo>
                    <a:pt x="4659" y="3493"/>
                  </a:lnTo>
                  <a:lnTo>
                    <a:pt x="4673" y="3474"/>
                  </a:lnTo>
                  <a:lnTo>
                    <a:pt x="4688" y="3456"/>
                  </a:lnTo>
                  <a:lnTo>
                    <a:pt x="4702" y="3437"/>
                  </a:lnTo>
                  <a:lnTo>
                    <a:pt x="4715" y="3418"/>
                  </a:lnTo>
                  <a:lnTo>
                    <a:pt x="4727" y="3399"/>
                  </a:lnTo>
                  <a:lnTo>
                    <a:pt x="4738" y="3379"/>
                  </a:lnTo>
                  <a:lnTo>
                    <a:pt x="4750" y="3360"/>
                  </a:lnTo>
                  <a:lnTo>
                    <a:pt x="4760" y="3339"/>
                  </a:lnTo>
                  <a:lnTo>
                    <a:pt x="4770" y="3319"/>
                  </a:lnTo>
                  <a:lnTo>
                    <a:pt x="4779" y="3298"/>
                  </a:lnTo>
                  <a:lnTo>
                    <a:pt x="4787" y="3278"/>
                  </a:lnTo>
                  <a:lnTo>
                    <a:pt x="4796" y="3257"/>
                  </a:lnTo>
                  <a:lnTo>
                    <a:pt x="4803" y="3237"/>
                  </a:lnTo>
                  <a:lnTo>
                    <a:pt x="4809" y="3217"/>
                  </a:lnTo>
                  <a:lnTo>
                    <a:pt x="4815" y="3196"/>
                  </a:lnTo>
                  <a:lnTo>
                    <a:pt x="4820" y="3177"/>
                  </a:lnTo>
                  <a:lnTo>
                    <a:pt x="4820" y="3177"/>
                  </a:lnTo>
                  <a:lnTo>
                    <a:pt x="4831" y="3183"/>
                  </a:lnTo>
                  <a:lnTo>
                    <a:pt x="4847" y="3189"/>
                  </a:lnTo>
                  <a:lnTo>
                    <a:pt x="4864" y="3195"/>
                  </a:lnTo>
                  <a:lnTo>
                    <a:pt x="4882" y="3200"/>
                  </a:lnTo>
                  <a:lnTo>
                    <a:pt x="4903" y="3203"/>
                  </a:lnTo>
                  <a:lnTo>
                    <a:pt x="4913" y="3204"/>
                  </a:lnTo>
                  <a:lnTo>
                    <a:pt x="4923" y="3205"/>
                  </a:lnTo>
                  <a:lnTo>
                    <a:pt x="4935" y="3204"/>
                  </a:lnTo>
                  <a:lnTo>
                    <a:pt x="4945" y="3203"/>
                  </a:lnTo>
                  <a:lnTo>
                    <a:pt x="4955" y="3201"/>
                  </a:lnTo>
                  <a:lnTo>
                    <a:pt x="4965" y="3198"/>
                  </a:lnTo>
                  <a:lnTo>
                    <a:pt x="4965" y="3198"/>
                  </a:lnTo>
                  <a:lnTo>
                    <a:pt x="4967" y="3170"/>
                  </a:lnTo>
                  <a:lnTo>
                    <a:pt x="4970" y="3103"/>
                  </a:lnTo>
                  <a:lnTo>
                    <a:pt x="4972" y="3067"/>
                  </a:lnTo>
                  <a:lnTo>
                    <a:pt x="4973" y="3033"/>
                  </a:lnTo>
                  <a:lnTo>
                    <a:pt x="4972" y="3005"/>
                  </a:lnTo>
                  <a:lnTo>
                    <a:pt x="4972" y="2995"/>
                  </a:lnTo>
                  <a:lnTo>
                    <a:pt x="4970" y="2989"/>
                  </a:lnTo>
                  <a:lnTo>
                    <a:pt x="4970" y="2989"/>
                  </a:lnTo>
                  <a:lnTo>
                    <a:pt x="4955" y="2987"/>
                  </a:lnTo>
                  <a:lnTo>
                    <a:pt x="4938" y="2984"/>
                  </a:lnTo>
                  <a:lnTo>
                    <a:pt x="4919" y="2979"/>
                  </a:lnTo>
                  <a:lnTo>
                    <a:pt x="4911" y="2976"/>
                  </a:lnTo>
                  <a:lnTo>
                    <a:pt x="4902" y="2973"/>
                  </a:lnTo>
                  <a:lnTo>
                    <a:pt x="4893" y="2968"/>
                  </a:lnTo>
                  <a:lnTo>
                    <a:pt x="4885" y="2964"/>
                  </a:lnTo>
                  <a:lnTo>
                    <a:pt x="4876" y="2958"/>
                  </a:lnTo>
                  <a:lnTo>
                    <a:pt x="4868" y="2951"/>
                  </a:lnTo>
                  <a:lnTo>
                    <a:pt x="4861" y="2944"/>
                  </a:lnTo>
                  <a:lnTo>
                    <a:pt x="4854" y="2935"/>
                  </a:lnTo>
                  <a:lnTo>
                    <a:pt x="4848" y="2926"/>
                  </a:lnTo>
                  <a:lnTo>
                    <a:pt x="4842" y="29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32" name="Freeform 30"/>
            <p:cNvSpPr>
              <a:spLocks/>
            </p:cNvSpPr>
            <p:nvPr userDrawn="1"/>
          </p:nvSpPr>
          <p:spPr bwMode="auto">
            <a:xfrm>
              <a:off x="882651" y="1427163"/>
              <a:ext cx="371475" cy="98425"/>
            </a:xfrm>
            <a:custGeom>
              <a:avLst/>
              <a:gdLst>
                <a:gd name="T0" fmla="*/ 87 w 2807"/>
                <a:gd name="T1" fmla="*/ 343 h 743"/>
                <a:gd name="T2" fmla="*/ 203 w 2807"/>
                <a:gd name="T3" fmla="*/ 417 h 743"/>
                <a:gd name="T4" fmla="*/ 319 w 2807"/>
                <a:gd name="T5" fmla="*/ 479 h 743"/>
                <a:gd name="T6" fmla="*/ 430 w 2807"/>
                <a:gd name="T7" fmla="*/ 529 h 743"/>
                <a:gd name="T8" fmla="*/ 603 w 2807"/>
                <a:gd name="T9" fmla="*/ 595 h 743"/>
                <a:gd name="T10" fmla="*/ 724 w 2807"/>
                <a:gd name="T11" fmla="*/ 633 h 743"/>
                <a:gd name="T12" fmla="*/ 857 w 2807"/>
                <a:gd name="T13" fmla="*/ 666 h 743"/>
                <a:gd name="T14" fmla="*/ 1001 w 2807"/>
                <a:gd name="T15" fmla="*/ 696 h 743"/>
                <a:gd name="T16" fmla="*/ 1157 w 2807"/>
                <a:gd name="T17" fmla="*/ 719 h 743"/>
                <a:gd name="T18" fmla="*/ 1324 w 2807"/>
                <a:gd name="T19" fmla="*/ 736 h 743"/>
                <a:gd name="T20" fmla="*/ 1502 w 2807"/>
                <a:gd name="T21" fmla="*/ 743 h 743"/>
                <a:gd name="T22" fmla="*/ 1689 w 2807"/>
                <a:gd name="T23" fmla="*/ 738 h 743"/>
                <a:gd name="T24" fmla="*/ 1819 w 2807"/>
                <a:gd name="T25" fmla="*/ 729 h 743"/>
                <a:gd name="T26" fmla="*/ 1999 w 2807"/>
                <a:gd name="T27" fmla="*/ 706 h 743"/>
                <a:gd name="T28" fmla="*/ 2159 w 2807"/>
                <a:gd name="T29" fmla="*/ 678 h 743"/>
                <a:gd name="T30" fmla="*/ 2302 w 2807"/>
                <a:gd name="T31" fmla="*/ 643 h 743"/>
                <a:gd name="T32" fmla="*/ 2426 w 2807"/>
                <a:gd name="T33" fmla="*/ 605 h 743"/>
                <a:gd name="T34" fmla="*/ 2533 w 2807"/>
                <a:gd name="T35" fmla="*/ 566 h 743"/>
                <a:gd name="T36" fmla="*/ 2672 w 2807"/>
                <a:gd name="T37" fmla="*/ 505 h 743"/>
                <a:gd name="T38" fmla="*/ 2773 w 2807"/>
                <a:gd name="T39" fmla="*/ 449 h 743"/>
                <a:gd name="T40" fmla="*/ 2807 w 2807"/>
                <a:gd name="T41" fmla="*/ 426 h 743"/>
                <a:gd name="T42" fmla="*/ 2745 w 2807"/>
                <a:gd name="T43" fmla="*/ 402 h 743"/>
                <a:gd name="T44" fmla="*/ 2688 w 2807"/>
                <a:gd name="T45" fmla="*/ 372 h 743"/>
                <a:gd name="T46" fmla="*/ 2586 w 2807"/>
                <a:gd name="T47" fmla="*/ 303 h 743"/>
                <a:gd name="T48" fmla="*/ 2529 w 2807"/>
                <a:gd name="T49" fmla="*/ 256 h 743"/>
                <a:gd name="T50" fmla="*/ 2518 w 2807"/>
                <a:gd name="T51" fmla="*/ 294 h 743"/>
                <a:gd name="T52" fmla="*/ 2507 w 2807"/>
                <a:gd name="T53" fmla="*/ 381 h 743"/>
                <a:gd name="T54" fmla="*/ 2499 w 2807"/>
                <a:gd name="T55" fmla="*/ 413 h 743"/>
                <a:gd name="T56" fmla="*/ 2443 w 2807"/>
                <a:gd name="T57" fmla="*/ 391 h 743"/>
                <a:gd name="T58" fmla="*/ 2423 w 2807"/>
                <a:gd name="T59" fmla="*/ 381 h 743"/>
                <a:gd name="T60" fmla="*/ 2392 w 2807"/>
                <a:gd name="T61" fmla="*/ 357 h 743"/>
                <a:gd name="T62" fmla="*/ 2361 w 2807"/>
                <a:gd name="T63" fmla="*/ 324 h 743"/>
                <a:gd name="T64" fmla="*/ 2334 w 2807"/>
                <a:gd name="T65" fmla="*/ 283 h 743"/>
                <a:gd name="T66" fmla="*/ 2316 w 2807"/>
                <a:gd name="T67" fmla="*/ 235 h 743"/>
                <a:gd name="T68" fmla="*/ 2310 w 2807"/>
                <a:gd name="T69" fmla="*/ 199 h 743"/>
                <a:gd name="T70" fmla="*/ 2252 w 2807"/>
                <a:gd name="T71" fmla="*/ 195 h 743"/>
                <a:gd name="T72" fmla="*/ 2110 w 2807"/>
                <a:gd name="T73" fmla="*/ 243 h 743"/>
                <a:gd name="T74" fmla="*/ 1984 w 2807"/>
                <a:gd name="T75" fmla="*/ 277 h 743"/>
                <a:gd name="T76" fmla="*/ 1843 w 2807"/>
                <a:gd name="T77" fmla="*/ 303 h 743"/>
                <a:gd name="T78" fmla="*/ 1697 w 2807"/>
                <a:gd name="T79" fmla="*/ 319 h 743"/>
                <a:gd name="T80" fmla="*/ 1558 w 2807"/>
                <a:gd name="T81" fmla="*/ 322 h 743"/>
                <a:gd name="T82" fmla="*/ 1293 w 2807"/>
                <a:gd name="T83" fmla="*/ 312 h 743"/>
                <a:gd name="T84" fmla="*/ 1030 w 2807"/>
                <a:gd name="T85" fmla="*/ 282 h 743"/>
                <a:gd name="T86" fmla="*/ 855 w 2807"/>
                <a:gd name="T87" fmla="*/ 251 h 743"/>
                <a:gd name="T88" fmla="*/ 725 w 2807"/>
                <a:gd name="T89" fmla="*/ 221 h 743"/>
                <a:gd name="T90" fmla="*/ 594 w 2807"/>
                <a:gd name="T91" fmla="*/ 185 h 743"/>
                <a:gd name="T92" fmla="*/ 465 w 2807"/>
                <a:gd name="T93" fmla="*/ 143 h 743"/>
                <a:gd name="T94" fmla="*/ 336 w 2807"/>
                <a:gd name="T95" fmla="*/ 94 h 743"/>
                <a:gd name="T96" fmla="*/ 251 w 2807"/>
                <a:gd name="T97" fmla="*/ 58 h 743"/>
                <a:gd name="T98" fmla="*/ 122 w 2807"/>
                <a:gd name="T99" fmla="*/ 0 h 743"/>
                <a:gd name="T100" fmla="*/ 119 w 2807"/>
                <a:gd name="T101" fmla="*/ 19 h 743"/>
                <a:gd name="T102" fmla="*/ 121 w 2807"/>
                <a:gd name="T103" fmla="*/ 51 h 743"/>
                <a:gd name="T104" fmla="*/ 136 w 2807"/>
                <a:gd name="T105" fmla="*/ 96 h 743"/>
                <a:gd name="T106" fmla="*/ 171 w 2807"/>
                <a:gd name="T107" fmla="*/ 156 h 743"/>
                <a:gd name="T108" fmla="*/ 207 w 2807"/>
                <a:gd name="T109" fmla="*/ 204 h 743"/>
                <a:gd name="T110" fmla="*/ 151 w 2807"/>
                <a:gd name="T111" fmla="*/ 199 h 743"/>
                <a:gd name="T112" fmla="*/ 98 w 2807"/>
                <a:gd name="T113" fmla="*/ 204 h 743"/>
                <a:gd name="T114" fmla="*/ 69 w 2807"/>
                <a:gd name="T115" fmla="*/ 215 h 743"/>
                <a:gd name="T116" fmla="*/ 32 w 2807"/>
                <a:gd name="T117" fmla="*/ 244 h 743"/>
                <a:gd name="T118" fmla="*/ 7 w 2807"/>
                <a:gd name="T119" fmla="*/ 272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07" h="743">
                  <a:moveTo>
                    <a:pt x="0" y="284"/>
                  </a:moveTo>
                  <a:lnTo>
                    <a:pt x="0" y="284"/>
                  </a:lnTo>
                  <a:lnTo>
                    <a:pt x="87" y="343"/>
                  </a:lnTo>
                  <a:lnTo>
                    <a:pt x="127" y="369"/>
                  </a:lnTo>
                  <a:lnTo>
                    <a:pt x="166" y="394"/>
                  </a:lnTo>
                  <a:lnTo>
                    <a:pt x="203" y="417"/>
                  </a:lnTo>
                  <a:lnTo>
                    <a:pt x="241" y="438"/>
                  </a:lnTo>
                  <a:lnTo>
                    <a:pt x="280" y="460"/>
                  </a:lnTo>
                  <a:lnTo>
                    <a:pt x="319" y="479"/>
                  </a:lnTo>
                  <a:lnTo>
                    <a:pt x="319" y="479"/>
                  </a:lnTo>
                  <a:lnTo>
                    <a:pt x="372" y="504"/>
                  </a:lnTo>
                  <a:lnTo>
                    <a:pt x="430" y="529"/>
                  </a:lnTo>
                  <a:lnTo>
                    <a:pt x="495" y="556"/>
                  </a:lnTo>
                  <a:lnTo>
                    <a:pt x="565" y="581"/>
                  </a:lnTo>
                  <a:lnTo>
                    <a:pt x="603" y="595"/>
                  </a:lnTo>
                  <a:lnTo>
                    <a:pt x="642" y="607"/>
                  </a:lnTo>
                  <a:lnTo>
                    <a:pt x="682" y="620"/>
                  </a:lnTo>
                  <a:lnTo>
                    <a:pt x="724" y="633"/>
                  </a:lnTo>
                  <a:lnTo>
                    <a:pt x="767" y="644"/>
                  </a:lnTo>
                  <a:lnTo>
                    <a:pt x="811" y="655"/>
                  </a:lnTo>
                  <a:lnTo>
                    <a:pt x="857" y="666"/>
                  </a:lnTo>
                  <a:lnTo>
                    <a:pt x="903" y="677"/>
                  </a:lnTo>
                  <a:lnTo>
                    <a:pt x="952" y="687"/>
                  </a:lnTo>
                  <a:lnTo>
                    <a:pt x="1001" y="696"/>
                  </a:lnTo>
                  <a:lnTo>
                    <a:pt x="1052" y="705"/>
                  </a:lnTo>
                  <a:lnTo>
                    <a:pt x="1104" y="713"/>
                  </a:lnTo>
                  <a:lnTo>
                    <a:pt x="1157" y="719"/>
                  </a:lnTo>
                  <a:lnTo>
                    <a:pt x="1212" y="727"/>
                  </a:lnTo>
                  <a:lnTo>
                    <a:pt x="1267" y="732"/>
                  </a:lnTo>
                  <a:lnTo>
                    <a:pt x="1324" y="736"/>
                  </a:lnTo>
                  <a:lnTo>
                    <a:pt x="1382" y="739"/>
                  </a:lnTo>
                  <a:lnTo>
                    <a:pt x="1442" y="741"/>
                  </a:lnTo>
                  <a:lnTo>
                    <a:pt x="1502" y="743"/>
                  </a:lnTo>
                  <a:lnTo>
                    <a:pt x="1563" y="742"/>
                  </a:lnTo>
                  <a:lnTo>
                    <a:pt x="1626" y="741"/>
                  </a:lnTo>
                  <a:lnTo>
                    <a:pt x="1689" y="738"/>
                  </a:lnTo>
                  <a:lnTo>
                    <a:pt x="1754" y="734"/>
                  </a:lnTo>
                  <a:lnTo>
                    <a:pt x="1819" y="729"/>
                  </a:lnTo>
                  <a:lnTo>
                    <a:pt x="1819" y="729"/>
                  </a:lnTo>
                  <a:lnTo>
                    <a:pt x="1881" y="723"/>
                  </a:lnTo>
                  <a:lnTo>
                    <a:pt x="1941" y="714"/>
                  </a:lnTo>
                  <a:lnTo>
                    <a:pt x="1999" y="706"/>
                  </a:lnTo>
                  <a:lnTo>
                    <a:pt x="2054" y="697"/>
                  </a:lnTo>
                  <a:lnTo>
                    <a:pt x="2108" y="688"/>
                  </a:lnTo>
                  <a:lnTo>
                    <a:pt x="2159" y="678"/>
                  </a:lnTo>
                  <a:lnTo>
                    <a:pt x="2209" y="666"/>
                  </a:lnTo>
                  <a:lnTo>
                    <a:pt x="2257" y="655"/>
                  </a:lnTo>
                  <a:lnTo>
                    <a:pt x="2302" y="643"/>
                  </a:lnTo>
                  <a:lnTo>
                    <a:pt x="2346" y="631"/>
                  </a:lnTo>
                  <a:lnTo>
                    <a:pt x="2387" y="618"/>
                  </a:lnTo>
                  <a:lnTo>
                    <a:pt x="2426" y="605"/>
                  </a:lnTo>
                  <a:lnTo>
                    <a:pt x="2464" y="593"/>
                  </a:lnTo>
                  <a:lnTo>
                    <a:pt x="2500" y="579"/>
                  </a:lnTo>
                  <a:lnTo>
                    <a:pt x="2533" y="566"/>
                  </a:lnTo>
                  <a:lnTo>
                    <a:pt x="2564" y="554"/>
                  </a:lnTo>
                  <a:lnTo>
                    <a:pt x="2622" y="528"/>
                  </a:lnTo>
                  <a:lnTo>
                    <a:pt x="2672" y="505"/>
                  </a:lnTo>
                  <a:lnTo>
                    <a:pt x="2713" y="483"/>
                  </a:lnTo>
                  <a:lnTo>
                    <a:pt x="2747" y="465"/>
                  </a:lnTo>
                  <a:lnTo>
                    <a:pt x="2773" y="449"/>
                  </a:lnTo>
                  <a:lnTo>
                    <a:pt x="2792" y="436"/>
                  </a:lnTo>
                  <a:lnTo>
                    <a:pt x="2807" y="426"/>
                  </a:lnTo>
                  <a:lnTo>
                    <a:pt x="2807" y="426"/>
                  </a:lnTo>
                  <a:lnTo>
                    <a:pt x="2786" y="419"/>
                  </a:lnTo>
                  <a:lnTo>
                    <a:pt x="2766" y="410"/>
                  </a:lnTo>
                  <a:lnTo>
                    <a:pt x="2745" y="402"/>
                  </a:lnTo>
                  <a:lnTo>
                    <a:pt x="2726" y="391"/>
                  </a:lnTo>
                  <a:lnTo>
                    <a:pt x="2706" y="382"/>
                  </a:lnTo>
                  <a:lnTo>
                    <a:pt x="2688" y="372"/>
                  </a:lnTo>
                  <a:lnTo>
                    <a:pt x="2651" y="349"/>
                  </a:lnTo>
                  <a:lnTo>
                    <a:pt x="2618" y="327"/>
                  </a:lnTo>
                  <a:lnTo>
                    <a:pt x="2586" y="303"/>
                  </a:lnTo>
                  <a:lnTo>
                    <a:pt x="2556" y="280"/>
                  </a:lnTo>
                  <a:lnTo>
                    <a:pt x="2529" y="256"/>
                  </a:lnTo>
                  <a:lnTo>
                    <a:pt x="2529" y="256"/>
                  </a:lnTo>
                  <a:lnTo>
                    <a:pt x="2524" y="266"/>
                  </a:lnTo>
                  <a:lnTo>
                    <a:pt x="2521" y="279"/>
                  </a:lnTo>
                  <a:lnTo>
                    <a:pt x="2518" y="294"/>
                  </a:lnTo>
                  <a:lnTo>
                    <a:pt x="2515" y="312"/>
                  </a:lnTo>
                  <a:lnTo>
                    <a:pt x="2515" y="312"/>
                  </a:lnTo>
                  <a:lnTo>
                    <a:pt x="2507" y="381"/>
                  </a:lnTo>
                  <a:lnTo>
                    <a:pt x="2503" y="414"/>
                  </a:lnTo>
                  <a:lnTo>
                    <a:pt x="2503" y="414"/>
                  </a:lnTo>
                  <a:lnTo>
                    <a:pt x="2499" y="413"/>
                  </a:lnTo>
                  <a:lnTo>
                    <a:pt x="2489" y="410"/>
                  </a:lnTo>
                  <a:lnTo>
                    <a:pt x="2470" y="403"/>
                  </a:lnTo>
                  <a:lnTo>
                    <a:pt x="2443" y="391"/>
                  </a:lnTo>
                  <a:lnTo>
                    <a:pt x="2443" y="391"/>
                  </a:lnTo>
                  <a:lnTo>
                    <a:pt x="2433" y="387"/>
                  </a:lnTo>
                  <a:lnTo>
                    <a:pt x="2423" y="381"/>
                  </a:lnTo>
                  <a:lnTo>
                    <a:pt x="2413" y="374"/>
                  </a:lnTo>
                  <a:lnTo>
                    <a:pt x="2403" y="366"/>
                  </a:lnTo>
                  <a:lnTo>
                    <a:pt x="2392" y="357"/>
                  </a:lnTo>
                  <a:lnTo>
                    <a:pt x="2381" y="347"/>
                  </a:lnTo>
                  <a:lnTo>
                    <a:pt x="2371" y="336"/>
                  </a:lnTo>
                  <a:lnTo>
                    <a:pt x="2361" y="324"/>
                  </a:lnTo>
                  <a:lnTo>
                    <a:pt x="2351" y="312"/>
                  </a:lnTo>
                  <a:lnTo>
                    <a:pt x="2342" y="297"/>
                  </a:lnTo>
                  <a:lnTo>
                    <a:pt x="2334" y="283"/>
                  </a:lnTo>
                  <a:lnTo>
                    <a:pt x="2326" y="268"/>
                  </a:lnTo>
                  <a:lnTo>
                    <a:pt x="2320" y="251"/>
                  </a:lnTo>
                  <a:lnTo>
                    <a:pt x="2316" y="235"/>
                  </a:lnTo>
                  <a:lnTo>
                    <a:pt x="2312" y="216"/>
                  </a:lnTo>
                  <a:lnTo>
                    <a:pt x="2310" y="199"/>
                  </a:lnTo>
                  <a:lnTo>
                    <a:pt x="2310" y="199"/>
                  </a:lnTo>
                  <a:lnTo>
                    <a:pt x="2309" y="174"/>
                  </a:lnTo>
                  <a:lnTo>
                    <a:pt x="2309" y="174"/>
                  </a:lnTo>
                  <a:lnTo>
                    <a:pt x="2252" y="195"/>
                  </a:lnTo>
                  <a:lnTo>
                    <a:pt x="2186" y="218"/>
                  </a:lnTo>
                  <a:lnTo>
                    <a:pt x="2149" y="231"/>
                  </a:lnTo>
                  <a:lnTo>
                    <a:pt x="2110" y="243"/>
                  </a:lnTo>
                  <a:lnTo>
                    <a:pt x="2069" y="254"/>
                  </a:lnTo>
                  <a:lnTo>
                    <a:pt x="2028" y="266"/>
                  </a:lnTo>
                  <a:lnTo>
                    <a:pt x="1984" y="277"/>
                  </a:lnTo>
                  <a:lnTo>
                    <a:pt x="1938" y="286"/>
                  </a:lnTo>
                  <a:lnTo>
                    <a:pt x="1892" y="295"/>
                  </a:lnTo>
                  <a:lnTo>
                    <a:pt x="1843" y="303"/>
                  </a:lnTo>
                  <a:lnTo>
                    <a:pt x="1795" y="311"/>
                  </a:lnTo>
                  <a:lnTo>
                    <a:pt x="1746" y="316"/>
                  </a:lnTo>
                  <a:lnTo>
                    <a:pt x="1697" y="319"/>
                  </a:lnTo>
                  <a:lnTo>
                    <a:pt x="1647" y="321"/>
                  </a:lnTo>
                  <a:lnTo>
                    <a:pt x="1647" y="321"/>
                  </a:lnTo>
                  <a:lnTo>
                    <a:pt x="1558" y="322"/>
                  </a:lnTo>
                  <a:lnTo>
                    <a:pt x="1470" y="321"/>
                  </a:lnTo>
                  <a:lnTo>
                    <a:pt x="1382" y="317"/>
                  </a:lnTo>
                  <a:lnTo>
                    <a:pt x="1293" y="312"/>
                  </a:lnTo>
                  <a:lnTo>
                    <a:pt x="1205" y="304"/>
                  </a:lnTo>
                  <a:lnTo>
                    <a:pt x="1118" y="294"/>
                  </a:lnTo>
                  <a:lnTo>
                    <a:pt x="1030" y="282"/>
                  </a:lnTo>
                  <a:lnTo>
                    <a:pt x="943" y="268"/>
                  </a:lnTo>
                  <a:lnTo>
                    <a:pt x="899" y="259"/>
                  </a:lnTo>
                  <a:lnTo>
                    <a:pt x="855" y="251"/>
                  </a:lnTo>
                  <a:lnTo>
                    <a:pt x="812" y="241"/>
                  </a:lnTo>
                  <a:lnTo>
                    <a:pt x="768" y="231"/>
                  </a:lnTo>
                  <a:lnTo>
                    <a:pt x="725" y="221"/>
                  </a:lnTo>
                  <a:lnTo>
                    <a:pt x="681" y="209"/>
                  </a:lnTo>
                  <a:lnTo>
                    <a:pt x="638" y="197"/>
                  </a:lnTo>
                  <a:lnTo>
                    <a:pt x="594" y="185"/>
                  </a:lnTo>
                  <a:lnTo>
                    <a:pt x="551" y="171"/>
                  </a:lnTo>
                  <a:lnTo>
                    <a:pt x="508" y="157"/>
                  </a:lnTo>
                  <a:lnTo>
                    <a:pt x="465" y="143"/>
                  </a:lnTo>
                  <a:lnTo>
                    <a:pt x="422" y="127"/>
                  </a:lnTo>
                  <a:lnTo>
                    <a:pt x="379" y="111"/>
                  </a:lnTo>
                  <a:lnTo>
                    <a:pt x="336" y="94"/>
                  </a:lnTo>
                  <a:lnTo>
                    <a:pt x="294" y="76"/>
                  </a:lnTo>
                  <a:lnTo>
                    <a:pt x="251" y="58"/>
                  </a:lnTo>
                  <a:lnTo>
                    <a:pt x="251" y="58"/>
                  </a:lnTo>
                  <a:lnTo>
                    <a:pt x="165" y="19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1" y="3"/>
                  </a:lnTo>
                  <a:lnTo>
                    <a:pt x="119" y="12"/>
                  </a:lnTo>
                  <a:lnTo>
                    <a:pt x="119" y="19"/>
                  </a:lnTo>
                  <a:lnTo>
                    <a:pt x="119" y="28"/>
                  </a:lnTo>
                  <a:lnTo>
                    <a:pt x="119" y="39"/>
                  </a:lnTo>
                  <a:lnTo>
                    <a:pt x="121" y="51"/>
                  </a:lnTo>
                  <a:lnTo>
                    <a:pt x="125" y="64"/>
                  </a:lnTo>
                  <a:lnTo>
                    <a:pt x="129" y="79"/>
                  </a:lnTo>
                  <a:lnTo>
                    <a:pt x="136" y="96"/>
                  </a:lnTo>
                  <a:lnTo>
                    <a:pt x="145" y="114"/>
                  </a:lnTo>
                  <a:lnTo>
                    <a:pt x="156" y="135"/>
                  </a:lnTo>
                  <a:lnTo>
                    <a:pt x="171" y="156"/>
                  </a:lnTo>
                  <a:lnTo>
                    <a:pt x="187" y="180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189" y="201"/>
                  </a:lnTo>
                  <a:lnTo>
                    <a:pt x="170" y="199"/>
                  </a:lnTo>
                  <a:lnTo>
                    <a:pt x="151" y="199"/>
                  </a:lnTo>
                  <a:lnTo>
                    <a:pt x="132" y="199"/>
                  </a:lnTo>
                  <a:lnTo>
                    <a:pt x="114" y="201"/>
                  </a:lnTo>
                  <a:lnTo>
                    <a:pt x="98" y="204"/>
                  </a:lnTo>
                  <a:lnTo>
                    <a:pt x="83" y="209"/>
                  </a:lnTo>
                  <a:lnTo>
                    <a:pt x="69" y="215"/>
                  </a:lnTo>
                  <a:lnTo>
                    <a:pt x="69" y="215"/>
                  </a:lnTo>
                  <a:lnTo>
                    <a:pt x="55" y="224"/>
                  </a:lnTo>
                  <a:lnTo>
                    <a:pt x="42" y="234"/>
                  </a:lnTo>
                  <a:lnTo>
                    <a:pt x="32" y="244"/>
                  </a:lnTo>
                  <a:lnTo>
                    <a:pt x="21" y="253"/>
                  </a:lnTo>
                  <a:lnTo>
                    <a:pt x="13" y="262"/>
                  </a:lnTo>
                  <a:lnTo>
                    <a:pt x="7" y="272"/>
                  </a:lnTo>
                  <a:lnTo>
                    <a:pt x="0" y="28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33" name="Freeform 31"/>
            <p:cNvSpPr>
              <a:spLocks/>
            </p:cNvSpPr>
            <p:nvPr userDrawn="1"/>
          </p:nvSpPr>
          <p:spPr bwMode="auto">
            <a:xfrm>
              <a:off x="800101" y="1114426"/>
              <a:ext cx="377825" cy="271463"/>
            </a:xfrm>
            <a:custGeom>
              <a:avLst/>
              <a:gdLst>
                <a:gd name="T0" fmla="*/ 2491 w 2863"/>
                <a:gd name="T1" fmla="*/ 103 h 2054"/>
                <a:gd name="T2" fmla="*/ 2575 w 2863"/>
                <a:gd name="T3" fmla="*/ 23 h 2054"/>
                <a:gd name="T4" fmla="*/ 2196 w 2863"/>
                <a:gd name="T5" fmla="*/ 132 h 2054"/>
                <a:gd name="T6" fmla="*/ 1671 w 2863"/>
                <a:gd name="T7" fmla="*/ 429 h 2054"/>
                <a:gd name="T8" fmla="*/ 1528 w 2863"/>
                <a:gd name="T9" fmla="*/ 462 h 2054"/>
                <a:gd name="T10" fmla="*/ 1416 w 2863"/>
                <a:gd name="T11" fmla="*/ 568 h 2054"/>
                <a:gd name="T12" fmla="*/ 1409 w 2863"/>
                <a:gd name="T13" fmla="*/ 634 h 2054"/>
                <a:gd name="T14" fmla="*/ 1479 w 2863"/>
                <a:gd name="T15" fmla="*/ 748 h 2054"/>
                <a:gd name="T16" fmla="*/ 1586 w 2863"/>
                <a:gd name="T17" fmla="*/ 787 h 2054"/>
                <a:gd name="T18" fmla="*/ 1476 w 2863"/>
                <a:gd name="T19" fmla="*/ 974 h 2054"/>
                <a:gd name="T20" fmla="*/ 1133 w 2863"/>
                <a:gd name="T21" fmla="*/ 1199 h 2054"/>
                <a:gd name="T22" fmla="*/ 799 w 2863"/>
                <a:gd name="T23" fmla="*/ 1254 h 2054"/>
                <a:gd name="T24" fmla="*/ 634 w 2863"/>
                <a:gd name="T25" fmla="*/ 1102 h 2054"/>
                <a:gd name="T26" fmla="*/ 539 w 2863"/>
                <a:gd name="T27" fmla="*/ 1015 h 2054"/>
                <a:gd name="T28" fmla="*/ 406 w 2863"/>
                <a:gd name="T29" fmla="*/ 1023 h 2054"/>
                <a:gd name="T30" fmla="*/ 231 w 2863"/>
                <a:gd name="T31" fmla="*/ 1090 h 2054"/>
                <a:gd name="T32" fmla="*/ 382 w 2863"/>
                <a:gd name="T33" fmla="*/ 1121 h 2054"/>
                <a:gd name="T34" fmla="*/ 351 w 2863"/>
                <a:gd name="T35" fmla="*/ 1168 h 2054"/>
                <a:gd name="T36" fmla="*/ 418 w 2863"/>
                <a:gd name="T37" fmla="*/ 1270 h 2054"/>
                <a:gd name="T38" fmla="*/ 608 w 2863"/>
                <a:gd name="T39" fmla="*/ 1387 h 2054"/>
                <a:gd name="T40" fmla="*/ 314 w 2863"/>
                <a:gd name="T41" fmla="*/ 1296 h 2054"/>
                <a:gd name="T42" fmla="*/ 234 w 2863"/>
                <a:gd name="T43" fmla="*/ 1324 h 2054"/>
                <a:gd name="T44" fmla="*/ 77 w 2863"/>
                <a:gd name="T45" fmla="*/ 1367 h 2054"/>
                <a:gd name="T46" fmla="*/ 0 w 2863"/>
                <a:gd name="T47" fmla="*/ 1480 h 2054"/>
                <a:gd name="T48" fmla="*/ 63 w 2863"/>
                <a:gd name="T49" fmla="*/ 1501 h 2054"/>
                <a:gd name="T50" fmla="*/ 166 w 2863"/>
                <a:gd name="T51" fmla="*/ 1461 h 2054"/>
                <a:gd name="T52" fmla="*/ 187 w 2863"/>
                <a:gd name="T53" fmla="*/ 1573 h 2054"/>
                <a:gd name="T54" fmla="*/ 354 w 2863"/>
                <a:gd name="T55" fmla="*/ 1597 h 2054"/>
                <a:gd name="T56" fmla="*/ 616 w 2863"/>
                <a:gd name="T57" fmla="*/ 1588 h 2054"/>
                <a:gd name="T58" fmla="*/ 382 w 2863"/>
                <a:gd name="T59" fmla="*/ 1636 h 2054"/>
                <a:gd name="T60" fmla="*/ 295 w 2863"/>
                <a:gd name="T61" fmla="*/ 1696 h 2054"/>
                <a:gd name="T62" fmla="*/ 254 w 2863"/>
                <a:gd name="T63" fmla="*/ 1795 h 2054"/>
                <a:gd name="T64" fmla="*/ 239 w 2863"/>
                <a:gd name="T65" fmla="*/ 1953 h 2054"/>
                <a:gd name="T66" fmla="*/ 335 w 2863"/>
                <a:gd name="T67" fmla="*/ 2045 h 2054"/>
                <a:gd name="T68" fmla="*/ 341 w 2863"/>
                <a:gd name="T69" fmla="*/ 1906 h 2054"/>
                <a:gd name="T70" fmla="*/ 417 w 2863"/>
                <a:gd name="T71" fmla="*/ 1946 h 2054"/>
                <a:gd name="T72" fmla="*/ 509 w 2863"/>
                <a:gd name="T73" fmla="*/ 1935 h 2054"/>
                <a:gd name="T74" fmla="*/ 732 w 2863"/>
                <a:gd name="T75" fmla="*/ 1733 h 2054"/>
                <a:gd name="T76" fmla="*/ 874 w 2863"/>
                <a:gd name="T77" fmla="*/ 1691 h 2054"/>
                <a:gd name="T78" fmla="*/ 870 w 2863"/>
                <a:gd name="T79" fmla="*/ 1786 h 2054"/>
                <a:gd name="T80" fmla="*/ 945 w 2863"/>
                <a:gd name="T81" fmla="*/ 1834 h 2054"/>
                <a:gd name="T82" fmla="*/ 875 w 2863"/>
                <a:gd name="T83" fmla="*/ 1948 h 2054"/>
                <a:gd name="T84" fmla="*/ 1004 w 2863"/>
                <a:gd name="T85" fmla="*/ 1919 h 2054"/>
                <a:gd name="T86" fmla="*/ 1100 w 2863"/>
                <a:gd name="T87" fmla="*/ 1787 h 2054"/>
                <a:gd name="T88" fmla="*/ 1159 w 2863"/>
                <a:gd name="T89" fmla="*/ 1734 h 2054"/>
                <a:gd name="T90" fmla="*/ 1183 w 2863"/>
                <a:gd name="T91" fmla="*/ 1628 h 2054"/>
                <a:gd name="T92" fmla="*/ 1338 w 2863"/>
                <a:gd name="T93" fmla="*/ 1564 h 2054"/>
                <a:gd name="T94" fmla="*/ 1370 w 2863"/>
                <a:gd name="T95" fmla="*/ 1465 h 2054"/>
                <a:gd name="T96" fmla="*/ 1461 w 2863"/>
                <a:gd name="T97" fmla="*/ 1462 h 2054"/>
                <a:gd name="T98" fmla="*/ 1684 w 2863"/>
                <a:gd name="T99" fmla="*/ 1556 h 2054"/>
                <a:gd name="T100" fmla="*/ 1888 w 2863"/>
                <a:gd name="T101" fmla="*/ 1440 h 2054"/>
                <a:gd name="T102" fmla="*/ 1799 w 2863"/>
                <a:gd name="T103" fmla="*/ 1308 h 2054"/>
                <a:gd name="T104" fmla="*/ 1857 w 2863"/>
                <a:gd name="T105" fmla="*/ 1327 h 2054"/>
                <a:gd name="T106" fmla="*/ 2183 w 2863"/>
                <a:gd name="T107" fmla="*/ 1273 h 2054"/>
                <a:gd name="T108" fmla="*/ 2142 w 2863"/>
                <a:gd name="T109" fmla="*/ 1164 h 2054"/>
                <a:gd name="T110" fmla="*/ 2112 w 2863"/>
                <a:gd name="T111" fmla="*/ 1069 h 2054"/>
                <a:gd name="T112" fmla="*/ 2121 w 2863"/>
                <a:gd name="T113" fmla="*/ 977 h 2054"/>
                <a:gd name="T114" fmla="*/ 2085 w 2863"/>
                <a:gd name="T115" fmla="*/ 807 h 2054"/>
                <a:gd name="T116" fmla="*/ 2859 w 2863"/>
                <a:gd name="T117" fmla="*/ 408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63" h="2054">
                  <a:moveTo>
                    <a:pt x="2759" y="252"/>
                  </a:moveTo>
                  <a:lnTo>
                    <a:pt x="2759" y="252"/>
                  </a:lnTo>
                  <a:lnTo>
                    <a:pt x="2742" y="239"/>
                  </a:lnTo>
                  <a:lnTo>
                    <a:pt x="2725" y="227"/>
                  </a:lnTo>
                  <a:lnTo>
                    <a:pt x="2708" y="214"/>
                  </a:lnTo>
                  <a:lnTo>
                    <a:pt x="2690" y="203"/>
                  </a:lnTo>
                  <a:lnTo>
                    <a:pt x="2655" y="184"/>
                  </a:lnTo>
                  <a:lnTo>
                    <a:pt x="2621" y="165"/>
                  </a:lnTo>
                  <a:lnTo>
                    <a:pt x="2586" y="148"/>
                  </a:lnTo>
                  <a:lnTo>
                    <a:pt x="2553" y="133"/>
                  </a:lnTo>
                  <a:lnTo>
                    <a:pt x="2522" y="118"/>
                  </a:lnTo>
                  <a:lnTo>
                    <a:pt x="2491" y="103"/>
                  </a:lnTo>
                  <a:lnTo>
                    <a:pt x="2491" y="103"/>
                  </a:lnTo>
                  <a:lnTo>
                    <a:pt x="2507" y="93"/>
                  </a:lnTo>
                  <a:lnTo>
                    <a:pt x="2523" y="82"/>
                  </a:lnTo>
                  <a:lnTo>
                    <a:pt x="2540" y="68"/>
                  </a:lnTo>
                  <a:lnTo>
                    <a:pt x="2556" y="54"/>
                  </a:lnTo>
                  <a:lnTo>
                    <a:pt x="2570" y="41"/>
                  </a:lnTo>
                  <a:lnTo>
                    <a:pt x="2574" y="35"/>
                  </a:lnTo>
                  <a:lnTo>
                    <a:pt x="2577" y="30"/>
                  </a:lnTo>
                  <a:lnTo>
                    <a:pt x="2577" y="26"/>
                  </a:lnTo>
                  <a:lnTo>
                    <a:pt x="2577" y="24"/>
                  </a:lnTo>
                  <a:lnTo>
                    <a:pt x="2575" y="23"/>
                  </a:lnTo>
                  <a:lnTo>
                    <a:pt x="2575" y="23"/>
                  </a:lnTo>
                  <a:lnTo>
                    <a:pt x="2562" y="16"/>
                  </a:lnTo>
                  <a:lnTo>
                    <a:pt x="2550" y="10"/>
                  </a:lnTo>
                  <a:lnTo>
                    <a:pt x="2538" y="6"/>
                  </a:lnTo>
                  <a:lnTo>
                    <a:pt x="2527" y="4"/>
                  </a:lnTo>
                  <a:lnTo>
                    <a:pt x="2508" y="1"/>
                  </a:lnTo>
                  <a:lnTo>
                    <a:pt x="2501" y="0"/>
                  </a:lnTo>
                  <a:lnTo>
                    <a:pt x="2501" y="0"/>
                  </a:lnTo>
                  <a:lnTo>
                    <a:pt x="2440" y="24"/>
                  </a:lnTo>
                  <a:lnTo>
                    <a:pt x="2377" y="50"/>
                  </a:lnTo>
                  <a:lnTo>
                    <a:pt x="2317" y="76"/>
                  </a:lnTo>
                  <a:lnTo>
                    <a:pt x="2256" y="103"/>
                  </a:lnTo>
                  <a:lnTo>
                    <a:pt x="2196" y="132"/>
                  </a:lnTo>
                  <a:lnTo>
                    <a:pt x="2138" y="160"/>
                  </a:lnTo>
                  <a:lnTo>
                    <a:pt x="2081" y="189"/>
                  </a:lnTo>
                  <a:lnTo>
                    <a:pt x="2026" y="219"/>
                  </a:lnTo>
                  <a:lnTo>
                    <a:pt x="1972" y="247"/>
                  </a:lnTo>
                  <a:lnTo>
                    <a:pt x="1921" y="276"/>
                  </a:lnTo>
                  <a:lnTo>
                    <a:pt x="1872" y="303"/>
                  </a:lnTo>
                  <a:lnTo>
                    <a:pt x="1825" y="331"/>
                  </a:lnTo>
                  <a:lnTo>
                    <a:pt x="1782" y="358"/>
                  </a:lnTo>
                  <a:lnTo>
                    <a:pt x="1741" y="383"/>
                  </a:lnTo>
                  <a:lnTo>
                    <a:pt x="1705" y="407"/>
                  </a:lnTo>
                  <a:lnTo>
                    <a:pt x="1671" y="429"/>
                  </a:lnTo>
                  <a:lnTo>
                    <a:pt x="1671" y="429"/>
                  </a:lnTo>
                  <a:lnTo>
                    <a:pt x="1666" y="432"/>
                  </a:lnTo>
                  <a:lnTo>
                    <a:pt x="1666" y="432"/>
                  </a:lnTo>
                  <a:lnTo>
                    <a:pt x="1654" y="439"/>
                  </a:lnTo>
                  <a:lnTo>
                    <a:pt x="1643" y="446"/>
                  </a:lnTo>
                  <a:lnTo>
                    <a:pt x="1632" y="451"/>
                  </a:lnTo>
                  <a:lnTo>
                    <a:pt x="1620" y="455"/>
                  </a:lnTo>
                  <a:lnTo>
                    <a:pt x="1608" y="458"/>
                  </a:lnTo>
                  <a:lnTo>
                    <a:pt x="1597" y="461"/>
                  </a:lnTo>
                  <a:lnTo>
                    <a:pt x="1585" y="462"/>
                  </a:lnTo>
                  <a:lnTo>
                    <a:pt x="1574" y="463"/>
                  </a:lnTo>
                  <a:lnTo>
                    <a:pt x="1550" y="464"/>
                  </a:lnTo>
                  <a:lnTo>
                    <a:pt x="1528" y="462"/>
                  </a:lnTo>
                  <a:lnTo>
                    <a:pt x="1505" y="459"/>
                  </a:lnTo>
                  <a:lnTo>
                    <a:pt x="1485" y="454"/>
                  </a:lnTo>
                  <a:lnTo>
                    <a:pt x="1465" y="449"/>
                  </a:lnTo>
                  <a:lnTo>
                    <a:pt x="1448" y="442"/>
                  </a:lnTo>
                  <a:lnTo>
                    <a:pt x="1433" y="436"/>
                  </a:lnTo>
                  <a:lnTo>
                    <a:pt x="1418" y="430"/>
                  </a:lnTo>
                  <a:lnTo>
                    <a:pt x="1399" y="420"/>
                  </a:lnTo>
                  <a:lnTo>
                    <a:pt x="1393" y="416"/>
                  </a:lnTo>
                  <a:lnTo>
                    <a:pt x="1372" y="544"/>
                  </a:lnTo>
                  <a:lnTo>
                    <a:pt x="1372" y="544"/>
                  </a:lnTo>
                  <a:lnTo>
                    <a:pt x="1395" y="557"/>
                  </a:lnTo>
                  <a:lnTo>
                    <a:pt x="1416" y="568"/>
                  </a:lnTo>
                  <a:lnTo>
                    <a:pt x="1437" y="577"/>
                  </a:lnTo>
                  <a:lnTo>
                    <a:pt x="1454" y="586"/>
                  </a:lnTo>
                  <a:lnTo>
                    <a:pt x="1470" y="592"/>
                  </a:lnTo>
                  <a:lnTo>
                    <a:pt x="1486" y="596"/>
                  </a:lnTo>
                  <a:lnTo>
                    <a:pt x="1499" y="600"/>
                  </a:lnTo>
                  <a:lnTo>
                    <a:pt x="1510" y="602"/>
                  </a:lnTo>
                  <a:lnTo>
                    <a:pt x="1510" y="602"/>
                  </a:lnTo>
                  <a:lnTo>
                    <a:pt x="1491" y="606"/>
                  </a:lnTo>
                  <a:lnTo>
                    <a:pt x="1470" y="611"/>
                  </a:lnTo>
                  <a:lnTo>
                    <a:pt x="1450" y="617"/>
                  </a:lnTo>
                  <a:lnTo>
                    <a:pt x="1428" y="625"/>
                  </a:lnTo>
                  <a:lnTo>
                    <a:pt x="1409" y="634"/>
                  </a:lnTo>
                  <a:lnTo>
                    <a:pt x="1391" y="645"/>
                  </a:lnTo>
                  <a:lnTo>
                    <a:pt x="1381" y="650"/>
                  </a:lnTo>
                  <a:lnTo>
                    <a:pt x="1373" y="656"/>
                  </a:lnTo>
                  <a:lnTo>
                    <a:pt x="1366" y="663"/>
                  </a:lnTo>
                  <a:lnTo>
                    <a:pt x="1360" y="670"/>
                  </a:lnTo>
                  <a:lnTo>
                    <a:pt x="1404" y="788"/>
                  </a:lnTo>
                  <a:lnTo>
                    <a:pt x="1404" y="788"/>
                  </a:lnTo>
                  <a:lnTo>
                    <a:pt x="1416" y="779"/>
                  </a:lnTo>
                  <a:lnTo>
                    <a:pt x="1432" y="770"/>
                  </a:lnTo>
                  <a:lnTo>
                    <a:pt x="1453" y="758"/>
                  </a:lnTo>
                  <a:lnTo>
                    <a:pt x="1465" y="753"/>
                  </a:lnTo>
                  <a:lnTo>
                    <a:pt x="1479" y="748"/>
                  </a:lnTo>
                  <a:lnTo>
                    <a:pt x="1494" y="743"/>
                  </a:lnTo>
                  <a:lnTo>
                    <a:pt x="1509" y="738"/>
                  </a:lnTo>
                  <a:lnTo>
                    <a:pt x="1527" y="734"/>
                  </a:lnTo>
                  <a:lnTo>
                    <a:pt x="1545" y="731"/>
                  </a:lnTo>
                  <a:lnTo>
                    <a:pt x="1564" y="729"/>
                  </a:lnTo>
                  <a:lnTo>
                    <a:pt x="1585" y="728"/>
                  </a:lnTo>
                  <a:lnTo>
                    <a:pt x="1585" y="728"/>
                  </a:lnTo>
                  <a:lnTo>
                    <a:pt x="1588" y="744"/>
                  </a:lnTo>
                  <a:lnTo>
                    <a:pt x="1588" y="744"/>
                  </a:lnTo>
                  <a:lnTo>
                    <a:pt x="1588" y="758"/>
                  </a:lnTo>
                  <a:lnTo>
                    <a:pt x="1588" y="773"/>
                  </a:lnTo>
                  <a:lnTo>
                    <a:pt x="1586" y="787"/>
                  </a:lnTo>
                  <a:lnTo>
                    <a:pt x="1583" y="802"/>
                  </a:lnTo>
                  <a:lnTo>
                    <a:pt x="1578" y="818"/>
                  </a:lnTo>
                  <a:lnTo>
                    <a:pt x="1573" y="833"/>
                  </a:lnTo>
                  <a:lnTo>
                    <a:pt x="1565" y="848"/>
                  </a:lnTo>
                  <a:lnTo>
                    <a:pt x="1557" y="864"/>
                  </a:lnTo>
                  <a:lnTo>
                    <a:pt x="1549" y="880"/>
                  </a:lnTo>
                  <a:lnTo>
                    <a:pt x="1539" y="895"/>
                  </a:lnTo>
                  <a:lnTo>
                    <a:pt x="1528" y="912"/>
                  </a:lnTo>
                  <a:lnTo>
                    <a:pt x="1516" y="927"/>
                  </a:lnTo>
                  <a:lnTo>
                    <a:pt x="1503" y="943"/>
                  </a:lnTo>
                  <a:lnTo>
                    <a:pt x="1490" y="959"/>
                  </a:lnTo>
                  <a:lnTo>
                    <a:pt x="1476" y="974"/>
                  </a:lnTo>
                  <a:lnTo>
                    <a:pt x="1461" y="989"/>
                  </a:lnTo>
                  <a:lnTo>
                    <a:pt x="1429" y="1020"/>
                  </a:lnTo>
                  <a:lnTo>
                    <a:pt x="1396" y="1049"/>
                  </a:lnTo>
                  <a:lnTo>
                    <a:pt x="1360" y="1076"/>
                  </a:lnTo>
                  <a:lnTo>
                    <a:pt x="1323" y="1102"/>
                  </a:lnTo>
                  <a:lnTo>
                    <a:pt x="1285" y="1126"/>
                  </a:lnTo>
                  <a:lnTo>
                    <a:pt x="1247" y="1148"/>
                  </a:lnTo>
                  <a:lnTo>
                    <a:pt x="1209" y="1167"/>
                  </a:lnTo>
                  <a:lnTo>
                    <a:pt x="1189" y="1177"/>
                  </a:lnTo>
                  <a:lnTo>
                    <a:pt x="1171" y="1185"/>
                  </a:lnTo>
                  <a:lnTo>
                    <a:pt x="1171" y="1185"/>
                  </a:lnTo>
                  <a:lnTo>
                    <a:pt x="1133" y="1199"/>
                  </a:lnTo>
                  <a:lnTo>
                    <a:pt x="1095" y="1211"/>
                  </a:lnTo>
                  <a:lnTo>
                    <a:pt x="1060" y="1223"/>
                  </a:lnTo>
                  <a:lnTo>
                    <a:pt x="1026" y="1232"/>
                  </a:lnTo>
                  <a:lnTo>
                    <a:pt x="993" y="1240"/>
                  </a:lnTo>
                  <a:lnTo>
                    <a:pt x="962" y="1246"/>
                  </a:lnTo>
                  <a:lnTo>
                    <a:pt x="933" y="1250"/>
                  </a:lnTo>
                  <a:lnTo>
                    <a:pt x="905" y="1254"/>
                  </a:lnTo>
                  <a:lnTo>
                    <a:pt x="879" y="1256"/>
                  </a:lnTo>
                  <a:lnTo>
                    <a:pt x="856" y="1257"/>
                  </a:lnTo>
                  <a:lnTo>
                    <a:pt x="834" y="1257"/>
                  </a:lnTo>
                  <a:lnTo>
                    <a:pt x="815" y="1256"/>
                  </a:lnTo>
                  <a:lnTo>
                    <a:pt x="799" y="1254"/>
                  </a:lnTo>
                  <a:lnTo>
                    <a:pt x="785" y="1251"/>
                  </a:lnTo>
                  <a:lnTo>
                    <a:pt x="774" y="1247"/>
                  </a:lnTo>
                  <a:lnTo>
                    <a:pt x="765" y="1243"/>
                  </a:lnTo>
                  <a:lnTo>
                    <a:pt x="765" y="1243"/>
                  </a:lnTo>
                  <a:lnTo>
                    <a:pt x="741" y="1227"/>
                  </a:lnTo>
                  <a:lnTo>
                    <a:pt x="720" y="1209"/>
                  </a:lnTo>
                  <a:lnTo>
                    <a:pt x="701" y="1191"/>
                  </a:lnTo>
                  <a:lnTo>
                    <a:pt x="685" y="1172"/>
                  </a:lnTo>
                  <a:lnTo>
                    <a:pt x="670" y="1155"/>
                  </a:lnTo>
                  <a:lnTo>
                    <a:pt x="656" y="1137"/>
                  </a:lnTo>
                  <a:lnTo>
                    <a:pt x="645" y="1119"/>
                  </a:lnTo>
                  <a:lnTo>
                    <a:pt x="634" y="1102"/>
                  </a:lnTo>
                  <a:lnTo>
                    <a:pt x="615" y="1071"/>
                  </a:lnTo>
                  <a:lnTo>
                    <a:pt x="605" y="1057"/>
                  </a:lnTo>
                  <a:lnTo>
                    <a:pt x="596" y="1045"/>
                  </a:lnTo>
                  <a:lnTo>
                    <a:pt x="587" y="1033"/>
                  </a:lnTo>
                  <a:lnTo>
                    <a:pt x="577" y="1025"/>
                  </a:lnTo>
                  <a:lnTo>
                    <a:pt x="565" y="1018"/>
                  </a:lnTo>
                  <a:lnTo>
                    <a:pt x="559" y="1015"/>
                  </a:lnTo>
                  <a:lnTo>
                    <a:pt x="553" y="1013"/>
                  </a:lnTo>
                  <a:lnTo>
                    <a:pt x="553" y="1013"/>
                  </a:lnTo>
                  <a:lnTo>
                    <a:pt x="549" y="1013"/>
                  </a:lnTo>
                  <a:lnTo>
                    <a:pt x="546" y="1013"/>
                  </a:lnTo>
                  <a:lnTo>
                    <a:pt x="539" y="1015"/>
                  </a:lnTo>
                  <a:lnTo>
                    <a:pt x="532" y="1018"/>
                  </a:lnTo>
                  <a:lnTo>
                    <a:pt x="524" y="1022"/>
                  </a:lnTo>
                  <a:lnTo>
                    <a:pt x="516" y="1026"/>
                  </a:lnTo>
                  <a:lnTo>
                    <a:pt x="507" y="1029"/>
                  </a:lnTo>
                  <a:lnTo>
                    <a:pt x="499" y="1031"/>
                  </a:lnTo>
                  <a:lnTo>
                    <a:pt x="494" y="1031"/>
                  </a:lnTo>
                  <a:lnTo>
                    <a:pt x="489" y="1031"/>
                  </a:lnTo>
                  <a:lnTo>
                    <a:pt x="489" y="1031"/>
                  </a:lnTo>
                  <a:lnTo>
                    <a:pt x="468" y="1028"/>
                  </a:lnTo>
                  <a:lnTo>
                    <a:pt x="448" y="1025"/>
                  </a:lnTo>
                  <a:lnTo>
                    <a:pt x="427" y="1024"/>
                  </a:lnTo>
                  <a:lnTo>
                    <a:pt x="406" y="1023"/>
                  </a:lnTo>
                  <a:lnTo>
                    <a:pt x="386" y="1023"/>
                  </a:lnTo>
                  <a:lnTo>
                    <a:pt x="366" y="1025"/>
                  </a:lnTo>
                  <a:lnTo>
                    <a:pt x="347" y="1027"/>
                  </a:lnTo>
                  <a:lnTo>
                    <a:pt x="327" y="1031"/>
                  </a:lnTo>
                  <a:lnTo>
                    <a:pt x="309" y="1035"/>
                  </a:lnTo>
                  <a:lnTo>
                    <a:pt x="292" y="1043"/>
                  </a:lnTo>
                  <a:lnTo>
                    <a:pt x="276" y="1050"/>
                  </a:lnTo>
                  <a:lnTo>
                    <a:pt x="262" y="1059"/>
                  </a:lnTo>
                  <a:lnTo>
                    <a:pt x="248" y="1070"/>
                  </a:lnTo>
                  <a:lnTo>
                    <a:pt x="242" y="1076"/>
                  </a:lnTo>
                  <a:lnTo>
                    <a:pt x="236" y="1082"/>
                  </a:lnTo>
                  <a:lnTo>
                    <a:pt x="231" y="1090"/>
                  </a:lnTo>
                  <a:lnTo>
                    <a:pt x="227" y="1098"/>
                  </a:lnTo>
                  <a:lnTo>
                    <a:pt x="223" y="1105"/>
                  </a:lnTo>
                  <a:lnTo>
                    <a:pt x="219" y="1114"/>
                  </a:lnTo>
                  <a:lnTo>
                    <a:pt x="219" y="1114"/>
                  </a:lnTo>
                  <a:lnTo>
                    <a:pt x="257" y="1112"/>
                  </a:lnTo>
                  <a:lnTo>
                    <a:pt x="292" y="1111"/>
                  </a:lnTo>
                  <a:lnTo>
                    <a:pt x="312" y="1111"/>
                  </a:lnTo>
                  <a:lnTo>
                    <a:pt x="331" y="1112"/>
                  </a:lnTo>
                  <a:lnTo>
                    <a:pt x="349" y="1113"/>
                  </a:lnTo>
                  <a:lnTo>
                    <a:pt x="364" y="1116"/>
                  </a:lnTo>
                  <a:lnTo>
                    <a:pt x="377" y="1119"/>
                  </a:lnTo>
                  <a:lnTo>
                    <a:pt x="382" y="1121"/>
                  </a:lnTo>
                  <a:lnTo>
                    <a:pt x="387" y="1123"/>
                  </a:lnTo>
                  <a:lnTo>
                    <a:pt x="389" y="1126"/>
                  </a:lnTo>
                  <a:lnTo>
                    <a:pt x="391" y="1130"/>
                  </a:lnTo>
                  <a:lnTo>
                    <a:pt x="391" y="1133"/>
                  </a:lnTo>
                  <a:lnTo>
                    <a:pt x="389" y="1137"/>
                  </a:lnTo>
                  <a:lnTo>
                    <a:pt x="386" y="1141"/>
                  </a:lnTo>
                  <a:lnTo>
                    <a:pt x="381" y="1146"/>
                  </a:lnTo>
                  <a:lnTo>
                    <a:pt x="374" y="1151"/>
                  </a:lnTo>
                  <a:lnTo>
                    <a:pt x="366" y="1156"/>
                  </a:lnTo>
                  <a:lnTo>
                    <a:pt x="366" y="1156"/>
                  </a:lnTo>
                  <a:lnTo>
                    <a:pt x="357" y="1162"/>
                  </a:lnTo>
                  <a:lnTo>
                    <a:pt x="351" y="1168"/>
                  </a:lnTo>
                  <a:lnTo>
                    <a:pt x="346" y="1175"/>
                  </a:lnTo>
                  <a:lnTo>
                    <a:pt x="344" y="1182"/>
                  </a:lnTo>
                  <a:lnTo>
                    <a:pt x="343" y="1189"/>
                  </a:lnTo>
                  <a:lnTo>
                    <a:pt x="344" y="1195"/>
                  </a:lnTo>
                  <a:lnTo>
                    <a:pt x="346" y="1202"/>
                  </a:lnTo>
                  <a:lnTo>
                    <a:pt x="349" y="1209"/>
                  </a:lnTo>
                  <a:lnTo>
                    <a:pt x="354" y="1217"/>
                  </a:lnTo>
                  <a:lnTo>
                    <a:pt x="360" y="1225"/>
                  </a:lnTo>
                  <a:lnTo>
                    <a:pt x="368" y="1232"/>
                  </a:lnTo>
                  <a:lnTo>
                    <a:pt x="376" y="1239"/>
                  </a:lnTo>
                  <a:lnTo>
                    <a:pt x="396" y="1254"/>
                  </a:lnTo>
                  <a:lnTo>
                    <a:pt x="418" y="1270"/>
                  </a:lnTo>
                  <a:lnTo>
                    <a:pt x="442" y="1285"/>
                  </a:lnTo>
                  <a:lnTo>
                    <a:pt x="467" y="1299"/>
                  </a:lnTo>
                  <a:lnTo>
                    <a:pt x="519" y="1327"/>
                  </a:lnTo>
                  <a:lnTo>
                    <a:pt x="565" y="1350"/>
                  </a:lnTo>
                  <a:lnTo>
                    <a:pt x="585" y="1361"/>
                  </a:lnTo>
                  <a:lnTo>
                    <a:pt x="601" y="1370"/>
                  </a:lnTo>
                  <a:lnTo>
                    <a:pt x="601" y="1370"/>
                  </a:lnTo>
                  <a:lnTo>
                    <a:pt x="608" y="1375"/>
                  </a:lnTo>
                  <a:lnTo>
                    <a:pt x="611" y="1379"/>
                  </a:lnTo>
                  <a:lnTo>
                    <a:pt x="613" y="1382"/>
                  </a:lnTo>
                  <a:lnTo>
                    <a:pt x="611" y="1385"/>
                  </a:lnTo>
                  <a:lnTo>
                    <a:pt x="608" y="1387"/>
                  </a:lnTo>
                  <a:lnTo>
                    <a:pt x="604" y="1389"/>
                  </a:lnTo>
                  <a:lnTo>
                    <a:pt x="598" y="1390"/>
                  </a:lnTo>
                  <a:lnTo>
                    <a:pt x="598" y="1390"/>
                  </a:lnTo>
                  <a:lnTo>
                    <a:pt x="588" y="1390"/>
                  </a:lnTo>
                  <a:lnTo>
                    <a:pt x="576" y="1388"/>
                  </a:lnTo>
                  <a:lnTo>
                    <a:pt x="561" y="1385"/>
                  </a:lnTo>
                  <a:lnTo>
                    <a:pt x="545" y="1380"/>
                  </a:lnTo>
                  <a:lnTo>
                    <a:pt x="509" y="1369"/>
                  </a:lnTo>
                  <a:lnTo>
                    <a:pt x="469" y="1354"/>
                  </a:lnTo>
                  <a:lnTo>
                    <a:pt x="387" y="1323"/>
                  </a:lnTo>
                  <a:lnTo>
                    <a:pt x="349" y="1307"/>
                  </a:lnTo>
                  <a:lnTo>
                    <a:pt x="314" y="1296"/>
                  </a:lnTo>
                  <a:lnTo>
                    <a:pt x="314" y="1296"/>
                  </a:lnTo>
                  <a:lnTo>
                    <a:pt x="303" y="1293"/>
                  </a:lnTo>
                  <a:lnTo>
                    <a:pt x="292" y="1291"/>
                  </a:lnTo>
                  <a:lnTo>
                    <a:pt x="283" y="1291"/>
                  </a:lnTo>
                  <a:lnTo>
                    <a:pt x="275" y="1292"/>
                  </a:lnTo>
                  <a:lnTo>
                    <a:pt x="268" y="1294"/>
                  </a:lnTo>
                  <a:lnTo>
                    <a:pt x="262" y="1297"/>
                  </a:lnTo>
                  <a:lnTo>
                    <a:pt x="257" y="1300"/>
                  </a:lnTo>
                  <a:lnTo>
                    <a:pt x="253" y="1303"/>
                  </a:lnTo>
                  <a:lnTo>
                    <a:pt x="244" y="1312"/>
                  </a:lnTo>
                  <a:lnTo>
                    <a:pt x="238" y="1319"/>
                  </a:lnTo>
                  <a:lnTo>
                    <a:pt x="234" y="1324"/>
                  </a:lnTo>
                  <a:lnTo>
                    <a:pt x="231" y="1325"/>
                  </a:lnTo>
                  <a:lnTo>
                    <a:pt x="229" y="1326"/>
                  </a:lnTo>
                  <a:lnTo>
                    <a:pt x="229" y="1326"/>
                  </a:lnTo>
                  <a:lnTo>
                    <a:pt x="220" y="1325"/>
                  </a:lnTo>
                  <a:lnTo>
                    <a:pt x="210" y="1324"/>
                  </a:lnTo>
                  <a:lnTo>
                    <a:pt x="198" y="1325"/>
                  </a:lnTo>
                  <a:lnTo>
                    <a:pt x="188" y="1325"/>
                  </a:lnTo>
                  <a:lnTo>
                    <a:pt x="166" y="1329"/>
                  </a:lnTo>
                  <a:lnTo>
                    <a:pt x="143" y="1335"/>
                  </a:lnTo>
                  <a:lnTo>
                    <a:pt x="121" y="1343"/>
                  </a:lnTo>
                  <a:lnTo>
                    <a:pt x="98" y="1353"/>
                  </a:lnTo>
                  <a:lnTo>
                    <a:pt x="77" y="1367"/>
                  </a:lnTo>
                  <a:lnTo>
                    <a:pt x="66" y="1374"/>
                  </a:lnTo>
                  <a:lnTo>
                    <a:pt x="57" y="1381"/>
                  </a:lnTo>
                  <a:lnTo>
                    <a:pt x="48" y="1389"/>
                  </a:lnTo>
                  <a:lnTo>
                    <a:pt x="40" y="1397"/>
                  </a:lnTo>
                  <a:lnTo>
                    <a:pt x="32" y="1407"/>
                  </a:lnTo>
                  <a:lnTo>
                    <a:pt x="25" y="1416"/>
                  </a:lnTo>
                  <a:lnTo>
                    <a:pt x="18" y="1426"/>
                  </a:lnTo>
                  <a:lnTo>
                    <a:pt x="12" y="1435"/>
                  </a:lnTo>
                  <a:lnTo>
                    <a:pt x="8" y="1446"/>
                  </a:lnTo>
                  <a:lnTo>
                    <a:pt x="4" y="1458"/>
                  </a:lnTo>
                  <a:lnTo>
                    <a:pt x="2" y="1469"/>
                  </a:lnTo>
                  <a:lnTo>
                    <a:pt x="0" y="1480"/>
                  </a:lnTo>
                  <a:lnTo>
                    <a:pt x="0" y="1492"/>
                  </a:lnTo>
                  <a:lnTo>
                    <a:pt x="0" y="1505"/>
                  </a:lnTo>
                  <a:lnTo>
                    <a:pt x="3" y="1518"/>
                  </a:lnTo>
                  <a:lnTo>
                    <a:pt x="6" y="1530"/>
                  </a:lnTo>
                  <a:lnTo>
                    <a:pt x="11" y="1544"/>
                  </a:lnTo>
                  <a:lnTo>
                    <a:pt x="17" y="1558"/>
                  </a:lnTo>
                  <a:lnTo>
                    <a:pt x="17" y="1558"/>
                  </a:lnTo>
                  <a:lnTo>
                    <a:pt x="20" y="1553"/>
                  </a:lnTo>
                  <a:lnTo>
                    <a:pt x="30" y="1540"/>
                  </a:lnTo>
                  <a:lnTo>
                    <a:pt x="45" y="1521"/>
                  </a:lnTo>
                  <a:lnTo>
                    <a:pt x="53" y="1511"/>
                  </a:lnTo>
                  <a:lnTo>
                    <a:pt x="63" y="1501"/>
                  </a:lnTo>
                  <a:lnTo>
                    <a:pt x="75" y="1490"/>
                  </a:lnTo>
                  <a:lnTo>
                    <a:pt x="86" y="1481"/>
                  </a:lnTo>
                  <a:lnTo>
                    <a:pt x="98" y="1473"/>
                  </a:lnTo>
                  <a:lnTo>
                    <a:pt x="111" y="1466"/>
                  </a:lnTo>
                  <a:lnTo>
                    <a:pt x="125" y="1461"/>
                  </a:lnTo>
                  <a:lnTo>
                    <a:pt x="131" y="1459"/>
                  </a:lnTo>
                  <a:lnTo>
                    <a:pt x="138" y="1458"/>
                  </a:lnTo>
                  <a:lnTo>
                    <a:pt x="145" y="1458"/>
                  </a:lnTo>
                  <a:lnTo>
                    <a:pt x="151" y="1458"/>
                  </a:lnTo>
                  <a:lnTo>
                    <a:pt x="159" y="1459"/>
                  </a:lnTo>
                  <a:lnTo>
                    <a:pt x="166" y="1461"/>
                  </a:lnTo>
                  <a:lnTo>
                    <a:pt x="166" y="1461"/>
                  </a:lnTo>
                  <a:lnTo>
                    <a:pt x="171" y="1463"/>
                  </a:lnTo>
                  <a:lnTo>
                    <a:pt x="174" y="1467"/>
                  </a:lnTo>
                  <a:lnTo>
                    <a:pt x="175" y="1473"/>
                  </a:lnTo>
                  <a:lnTo>
                    <a:pt x="176" y="1479"/>
                  </a:lnTo>
                  <a:lnTo>
                    <a:pt x="176" y="1496"/>
                  </a:lnTo>
                  <a:lnTo>
                    <a:pt x="174" y="1514"/>
                  </a:lnTo>
                  <a:lnTo>
                    <a:pt x="174" y="1524"/>
                  </a:lnTo>
                  <a:lnTo>
                    <a:pt x="174" y="1534"/>
                  </a:lnTo>
                  <a:lnTo>
                    <a:pt x="176" y="1545"/>
                  </a:lnTo>
                  <a:lnTo>
                    <a:pt x="178" y="1554"/>
                  </a:lnTo>
                  <a:lnTo>
                    <a:pt x="182" y="1564"/>
                  </a:lnTo>
                  <a:lnTo>
                    <a:pt x="187" y="1573"/>
                  </a:lnTo>
                  <a:lnTo>
                    <a:pt x="195" y="1581"/>
                  </a:lnTo>
                  <a:lnTo>
                    <a:pt x="205" y="1589"/>
                  </a:lnTo>
                  <a:lnTo>
                    <a:pt x="205" y="1589"/>
                  </a:lnTo>
                  <a:lnTo>
                    <a:pt x="213" y="1593"/>
                  </a:lnTo>
                  <a:lnTo>
                    <a:pt x="221" y="1596"/>
                  </a:lnTo>
                  <a:lnTo>
                    <a:pt x="231" y="1599"/>
                  </a:lnTo>
                  <a:lnTo>
                    <a:pt x="242" y="1600"/>
                  </a:lnTo>
                  <a:lnTo>
                    <a:pt x="254" y="1602"/>
                  </a:lnTo>
                  <a:lnTo>
                    <a:pt x="267" y="1602"/>
                  </a:lnTo>
                  <a:lnTo>
                    <a:pt x="293" y="1602"/>
                  </a:lnTo>
                  <a:lnTo>
                    <a:pt x="323" y="1600"/>
                  </a:lnTo>
                  <a:lnTo>
                    <a:pt x="354" y="1597"/>
                  </a:lnTo>
                  <a:lnTo>
                    <a:pt x="418" y="1589"/>
                  </a:lnTo>
                  <a:lnTo>
                    <a:pt x="481" y="1580"/>
                  </a:lnTo>
                  <a:lnTo>
                    <a:pt x="510" y="1576"/>
                  </a:lnTo>
                  <a:lnTo>
                    <a:pt x="538" y="1574"/>
                  </a:lnTo>
                  <a:lnTo>
                    <a:pt x="562" y="1573"/>
                  </a:lnTo>
                  <a:lnTo>
                    <a:pt x="583" y="1574"/>
                  </a:lnTo>
                  <a:lnTo>
                    <a:pt x="592" y="1575"/>
                  </a:lnTo>
                  <a:lnTo>
                    <a:pt x="600" y="1577"/>
                  </a:lnTo>
                  <a:lnTo>
                    <a:pt x="607" y="1580"/>
                  </a:lnTo>
                  <a:lnTo>
                    <a:pt x="613" y="1585"/>
                  </a:lnTo>
                  <a:lnTo>
                    <a:pt x="613" y="1585"/>
                  </a:lnTo>
                  <a:lnTo>
                    <a:pt x="616" y="1588"/>
                  </a:lnTo>
                  <a:lnTo>
                    <a:pt x="617" y="1591"/>
                  </a:lnTo>
                  <a:lnTo>
                    <a:pt x="616" y="1593"/>
                  </a:lnTo>
                  <a:lnTo>
                    <a:pt x="611" y="1596"/>
                  </a:lnTo>
                  <a:lnTo>
                    <a:pt x="607" y="1598"/>
                  </a:lnTo>
                  <a:lnTo>
                    <a:pt x="600" y="1601"/>
                  </a:lnTo>
                  <a:lnTo>
                    <a:pt x="583" y="1605"/>
                  </a:lnTo>
                  <a:lnTo>
                    <a:pt x="560" y="1609"/>
                  </a:lnTo>
                  <a:lnTo>
                    <a:pt x="535" y="1612"/>
                  </a:lnTo>
                  <a:lnTo>
                    <a:pt x="474" y="1620"/>
                  </a:lnTo>
                  <a:lnTo>
                    <a:pt x="443" y="1624"/>
                  </a:lnTo>
                  <a:lnTo>
                    <a:pt x="412" y="1629"/>
                  </a:lnTo>
                  <a:lnTo>
                    <a:pt x="382" y="1636"/>
                  </a:lnTo>
                  <a:lnTo>
                    <a:pt x="356" y="1642"/>
                  </a:lnTo>
                  <a:lnTo>
                    <a:pt x="344" y="1646"/>
                  </a:lnTo>
                  <a:lnTo>
                    <a:pt x="332" y="1650"/>
                  </a:lnTo>
                  <a:lnTo>
                    <a:pt x="322" y="1654"/>
                  </a:lnTo>
                  <a:lnTo>
                    <a:pt x="314" y="1659"/>
                  </a:lnTo>
                  <a:lnTo>
                    <a:pt x="307" y="1664"/>
                  </a:lnTo>
                  <a:lnTo>
                    <a:pt x="302" y="1669"/>
                  </a:lnTo>
                  <a:lnTo>
                    <a:pt x="298" y="1676"/>
                  </a:lnTo>
                  <a:lnTo>
                    <a:pt x="296" y="1682"/>
                  </a:lnTo>
                  <a:lnTo>
                    <a:pt x="296" y="1682"/>
                  </a:lnTo>
                  <a:lnTo>
                    <a:pt x="295" y="1687"/>
                  </a:lnTo>
                  <a:lnTo>
                    <a:pt x="295" y="1696"/>
                  </a:lnTo>
                  <a:lnTo>
                    <a:pt x="296" y="1707"/>
                  </a:lnTo>
                  <a:lnTo>
                    <a:pt x="298" y="1713"/>
                  </a:lnTo>
                  <a:lnTo>
                    <a:pt x="300" y="1718"/>
                  </a:lnTo>
                  <a:lnTo>
                    <a:pt x="300" y="1718"/>
                  </a:lnTo>
                  <a:lnTo>
                    <a:pt x="301" y="1725"/>
                  </a:lnTo>
                  <a:lnTo>
                    <a:pt x="301" y="1731"/>
                  </a:lnTo>
                  <a:lnTo>
                    <a:pt x="298" y="1737"/>
                  </a:lnTo>
                  <a:lnTo>
                    <a:pt x="293" y="1743"/>
                  </a:lnTo>
                  <a:lnTo>
                    <a:pt x="283" y="1757"/>
                  </a:lnTo>
                  <a:lnTo>
                    <a:pt x="269" y="1775"/>
                  </a:lnTo>
                  <a:lnTo>
                    <a:pt x="261" y="1785"/>
                  </a:lnTo>
                  <a:lnTo>
                    <a:pt x="254" y="1795"/>
                  </a:lnTo>
                  <a:lnTo>
                    <a:pt x="246" y="1807"/>
                  </a:lnTo>
                  <a:lnTo>
                    <a:pt x="240" y="1820"/>
                  </a:lnTo>
                  <a:lnTo>
                    <a:pt x="234" y="1834"/>
                  </a:lnTo>
                  <a:lnTo>
                    <a:pt x="230" y="1849"/>
                  </a:lnTo>
                  <a:lnTo>
                    <a:pt x="226" y="1866"/>
                  </a:lnTo>
                  <a:lnTo>
                    <a:pt x="225" y="1884"/>
                  </a:lnTo>
                  <a:lnTo>
                    <a:pt x="225" y="1884"/>
                  </a:lnTo>
                  <a:lnTo>
                    <a:pt x="225" y="1893"/>
                  </a:lnTo>
                  <a:lnTo>
                    <a:pt x="225" y="1902"/>
                  </a:lnTo>
                  <a:lnTo>
                    <a:pt x="228" y="1920"/>
                  </a:lnTo>
                  <a:lnTo>
                    <a:pt x="233" y="1937"/>
                  </a:lnTo>
                  <a:lnTo>
                    <a:pt x="239" y="1953"/>
                  </a:lnTo>
                  <a:lnTo>
                    <a:pt x="247" y="1968"/>
                  </a:lnTo>
                  <a:lnTo>
                    <a:pt x="257" y="1982"/>
                  </a:lnTo>
                  <a:lnTo>
                    <a:pt x="267" y="1995"/>
                  </a:lnTo>
                  <a:lnTo>
                    <a:pt x="277" y="2007"/>
                  </a:lnTo>
                  <a:lnTo>
                    <a:pt x="287" y="2017"/>
                  </a:lnTo>
                  <a:lnTo>
                    <a:pt x="298" y="2026"/>
                  </a:lnTo>
                  <a:lnTo>
                    <a:pt x="315" y="2042"/>
                  </a:lnTo>
                  <a:lnTo>
                    <a:pt x="327" y="2050"/>
                  </a:lnTo>
                  <a:lnTo>
                    <a:pt x="332" y="2054"/>
                  </a:lnTo>
                  <a:lnTo>
                    <a:pt x="332" y="2054"/>
                  </a:lnTo>
                  <a:lnTo>
                    <a:pt x="334" y="2050"/>
                  </a:lnTo>
                  <a:lnTo>
                    <a:pt x="335" y="2045"/>
                  </a:lnTo>
                  <a:lnTo>
                    <a:pt x="335" y="2036"/>
                  </a:lnTo>
                  <a:lnTo>
                    <a:pt x="334" y="2027"/>
                  </a:lnTo>
                  <a:lnTo>
                    <a:pt x="331" y="2006"/>
                  </a:lnTo>
                  <a:lnTo>
                    <a:pt x="328" y="1980"/>
                  </a:lnTo>
                  <a:lnTo>
                    <a:pt x="327" y="1968"/>
                  </a:lnTo>
                  <a:lnTo>
                    <a:pt x="326" y="1955"/>
                  </a:lnTo>
                  <a:lnTo>
                    <a:pt x="326" y="1943"/>
                  </a:lnTo>
                  <a:lnTo>
                    <a:pt x="328" y="1932"/>
                  </a:lnTo>
                  <a:lnTo>
                    <a:pt x="330" y="1922"/>
                  </a:lnTo>
                  <a:lnTo>
                    <a:pt x="334" y="1913"/>
                  </a:lnTo>
                  <a:lnTo>
                    <a:pt x="337" y="1910"/>
                  </a:lnTo>
                  <a:lnTo>
                    <a:pt x="341" y="1906"/>
                  </a:lnTo>
                  <a:lnTo>
                    <a:pt x="344" y="1904"/>
                  </a:lnTo>
                  <a:lnTo>
                    <a:pt x="348" y="1901"/>
                  </a:lnTo>
                  <a:lnTo>
                    <a:pt x="348" y="1901"/>
                  </a:lnTo>
                  <a:lnTo>
                    <a:pt x="353" y="1900"/>
                  </a:lnTo>
                  <a:lnTo>
                    <a:pt x="357" y="1900"/>
                  </a:lnTo>
                  <a:lnTo>
                    <a:pt x="362" y="1901"/>
                  </a:lnTo>
                  <a:lnTo>
                    <a:pt x="366" y="1905"/>
                  </a:lnTo>
                  <a:lnTo>
                    <a:pt x="375" y="1912"/>
                  </a:lnTo>
                  <a:lnTo>
                    <a:pt x="386" y="1921"/>
                  </a:lnTo>
                  <a:lnTo>
                    <a:pt x="397" y="1932"/>
                  </a:lnTo>
                  <a:lnTo>
                    <a:pt x="410" y="1941"/>
                  </a:lnTo>
                  <a:lnTo>
                    <a:pt x="417" y="1946"/>
                  </a:lnTo>
                  <a:lnTo>
                    <a:pt x="424" y="1950"/>
                  </a:lnTo>
                  <a:lnTo>
                    <a:pt x="434" y="1953"/>
                  </a:lnTo>
                  <a:lnTo>
                    <a:pt x="442" y="1955"/>
                  </a:lnTo>
                  <a:lnTo>
                    <a:pt x="442" y="1955"/>
                  </a:lnTo>
                  <a:lnTo>
                    <a:pt x="451" y="1955"/>
                  </a:lnTo>
                  <a:lnTo>
                    <a:pt x="460" y="1955"/>
                  </a:lnTo>
                  <a:lnTo>
                    <a:pt x="468" y="1954"/>
                  </a:lnTo>
                  <a:lnTo>
                    <a:pt x="478" y="1952"/>
                  </a:lnTo>
                  <a:lnTo>
                    <a:pt x="486" y="1948"/>
                  </a:lnTo>
                  <a:lnTo>
                    <a:pt x="494" y="1944"/>
                  </a:lnTo>
                  <a:lnTo>
                    <a:pt x="501" y="1940"/>
                  </a:lnTo>
                  <a:lnTo>
                    <a:pt x="509" y="1935"/>
                  </a:lnTo>
                  <a:lnTo>
                    <a:pt x="525" y="1923"/>
                  </a:lnTo>
                  <a:lnTo>
                    <a:pt x="539" y="1909"/>
                  </a:lnTo>
                  <a:lnTo>
                    <a:pt x="554" y="1892"/>
                  </a:lnTo>
                  <a:lnTo>
                    <a:pt x="571" y="1875"/>
                  </a:lnTo>
                  <a:lnTo>
                    <a:pt x="604" y="1836"/>
                  </a:lnTo>
                  <a:lnTo>
                    <a:pt x="624" y="1817"/>
                  </a:lnTo>
                  <a:lnTo>
                    <a:pt x="644" y="1797"/>
                  </a:lnTo>
                  <a:lnTo>
                    <a:pt x="667" y="1777"/>
                  </a:lnTo>
                  <a:lnTo>
                    <a:pt x="691" y="1758"/>
                  </a:lnTo>
                  <a:lnTo>
                    <a:pt x="705" y="1749"/>
                  </a:lnTo>
                  <a:lnTo>
                    <a:pt x="718" y="1741"/>
                  </a:lnTo>
                  <a:lnTo>
                    <a:pt x="732" y="1733"/>
                  </a:lnTo>
                  <a:lnTo>
                    <a:pt x="747" y="1725"/>
                  </a:lnTo>
                  <a:lnTo>
                    <a:pt x="747" y="1725"/>
                  </a:lnTo>
                  <a:lnTo>
                    <a:pt x="787" y="1706"/>
                  </a:lnTo>
                  <a:lnTo>
                    <a:pt x="819" y="1694"/>
                  </a:lnTo>
                  <a:lnTo>
                    <a:pt x="831" y="1689"/>
                  </a:lnTo>
                  <a:lnTo>
                    <a:pt x="843" y="1686"/>
                  </a:lnTo>
                  <a:lnTo>
                    <a:pt x="852" y="1685"/>
                  </a:lnTo>
                  <a:lnTo>
                    <a:pt x="859" y="1684"/>
                  </a:lnTo>
                  <a:lnTo>
                    <a:pt x="865" y="1684"/>
                  </a:lnTo>
                  <a:lnTo>
                    <a:pt x="869" y="1686"/>
                  </a:lnTo>
                  <a:lnTo>
                    <a:pt x="872" y="1688"/>
                  </a:lnTo>
                  <a:lnTo>
                    <a:pt x="874" y="1691"/>
                  </a:lnTo>
                  <a:lnTo>
                    <a:pt x="876" y="1694"/>
                  </a:lnTo>
                  <a:lnTo>
                    <a:pt x="876" y="1698"/>
                  </a:lnTo>
                  <a:lnTo>
                    <a:pt x="875" y="1708"/>
                  </a:lnTo>
                  <a:lnTo>
                    <a:pt x="872" y="1720"/>
                  </a:lnTo>
                  <a:lnTo>
                    <a:pt x="868" y="1734"/>
                  </a:lnTo>
                  <a:lnTo>
                    <a:pt x="865" y="1747"/>
                  </a:lnTo>
                  <a:lnTo>
                    <a:pt x="863" y="1759"/>
                  </a:lnTo>
                  <a:lnTo>
                    <a:pt x="863" y="1765"/>
                  </a:lnTo>
                  <a:lnTo>
                    <a:pt x="863" y="1772"/>
                  </a:lnTo>
                  <a:lnTo>
                    <a:pt x="865" y="1777"/>
                  </a:lnTo>
                  <a:lnTo>
                    <a:pt x="867" y="1782"/>
                  </a:lnTo>
                  <a:lnTo>
                    <a:pt x="870" y="1786"/>
                  </a:lnTo>
                  <a:lnTo>
                    <a:pt x="875" y="1790"/>
                  </a:lnTo>
                  <a:lnTo>
                    <a:pt x="881" y="1793"/>
                  </a:lnTo>
                  <a:lnTo>
                    <a:pt x="889" y="1795"/>
                  </a:lnTo>
                  <a:lnTo>
                    <a:pt x="889" y="1795"/>
                  </a:lnTo>
                  <a:lnTo>
                    <a:pt x="901" y="1799"/>
                  </a:lnTo>
                  <a:lnTo>
                    <a:pt x="912" y="1802"/>
                  </a:lnTo>
                  <a:lnTo>
                    <a:pt x="921" y="1807"/>
                  </a:lnTo>
                  <a:lnTo>
                    <a:pt x="928" y="1811"/>
                  </a:lnTo>
                  <a:lnTo>
                    <a:pt x="935" y="1817"/>
                  </a:lnTo>
                  <a:lnTo>
                    <a:pt x="940" y="1822"/>
                  </a:lnTo>
                  <a:lnTo>
                    <a:pt x="943" y="1828"/>
                  </a:lnTo>
                  <a:lnTo>
                    <a:pt x="945" y="1834"/>
                  </a:lnTo>
                  <a:lnTo>
                    <a:pt x="947" y="1840"/>
                  </a:lnTo>
                  <a:lnTo>
                    <a:pt x="947" y="1846"/>
                  </a:lnTo>
                  <a:lnTo>
                    <a:pt x="946" y="1853"/>
                  </a:lnTo>
                  <a:lnTo>
                    <a:pt x="945" y="1860"/>
                  </a:lnTo>
                  <a:lnTo>
                    <a:pt x="943" y="1867"/>
                  </a:lnTo>
                  <a:lnTo>
                    <a:pt x="940" y="1874"/>
                  </a:lnTo>
                  <a:lnTo>
                    <a:pt x="932" y="1887"/>
                  </a:lnTo>
                  <a:lnTo>
                    <a:pt x="922" y="1900"/>
                  </a:lnTo>
                  <a:lnTo>
                    <a:pt x="912" y="1913"/>
                  </a:lnTo>
                  <a:lnTo>
                    <a:pt x="902" y="1924"/>
                  </a:lnTo>
                  <a:lnTo>
                    <a:pt x="892" y="1934"/>
                  </a:lnTo>
                  <a:lnTo>
                    <a:pt x="875" y="1948"/>
                  </a:lnTo>
                  <a:lnTo>
                    <a:pt x="869" y="1955"/>
                  </a:lnTo>
                  <a:lnTo>
                    <a:pt x="869" y="1955"/>
                  </a:lnTo>
                  <a:lnTo>
                    <a:pt x="877" y="1959"/>
                  </a:lnTo>
                  <a:lnTo>
                    <a:pt x="888" y="1961"/>
                  </a:lnTo>
                  <a:lnTo>
                    <a:pt x="899" y="1962"/>
                  </a:lnTo>
                  <a:lnTo>
                    <a:pt x="912" y="1961"/>
                  </a:lnTo>
                  <a:lnTo>
                    <a:pt x="926" y="1958"/>
                  </a:lnTo>
                  <a:lnTo>
                    <a:pt x="941" y="1954"/>
                  </a:lnTo>
                  <a:lnTo>
                    <a:pt x="957" y="1947"/>
                  </a:lnTo>
                  <a:lnTo>
                    <a:pt x="972" y="1939"/>
                  </a:lnTo>
                  <a:lnTo>
                    <a:pt x="989" y="1930"/>
                  </a:lnTo>
                  <a:lnTo>
                    <a:pt x="1004" y="1919"/>
                  </a:lnTo>
                  <a:lnTo>
                    <a:pt x="1019" y="1906"/>
                  </a:lnTo>
                  <a:lnTo>
                    <a:pt x="1035" y="1891"/>
                  </a:lnTo>
                  <a:lnTo>
                    <a:pt x="1048" y="1874"/>
                  </a:lnTo>
                  <a:lnTo>
                    <a:pt x="1061" y="1855"/>
                  </a:lnTo>
                  <a:lnTo>
                    <a:pt x="1073" y="1835"/>
                  </a:lnTo>
                  <a:lnTo>
                    <a:pt x="1083" y="1814"/>
                  </a:lnTo>
                  <a:lnTo>
                    <a:pt x="1083" y="1814"/>
                  </a:lnTo>
                  <a:lnTo>
                    <a:pt x="1086" y="1805"/>
                  </a:lnTo>
                  <a:lnTo>
                    <a:pt x="1089" y="1799"/>
                  </a:lnTo>
                  <a:lnTo>
                    <a:pt x="1092" y="1794"/>
                  </a:lnTo>
                  <a:lnTo>
                    <a:pt x="1096" y="1790"/>
                  </a:lnTo>
                  <a:lnTo>
                    <a:pt x="1100" y="1787"/>
                  </a:lnTo>
                  <a:lnTo>
                    <a:pt x="1103" y="1784"/>
                  </a:lnTo>
                  <a:lnTo>
                    <a:pt x="1111" y="1781"/>
                  </a:lnTo>
                  <a:lnTo>
                    <a:pt x="1120" y="1778"/>
                  </a:lnTo>
                  <a:lnTo>
                    <a:pt x="1129" y="1774"/>
                  </a:lnTo>
                  <a:lnTo>
                    <a:pt x="1138" y="1768"/>
                  </a:lnTo>
                  <a:lnTo>
                    <a:pt x="1143" y="1763"/>
                  </a:lnTo>
                  <a:lnTo>
                    <a:pt x="1148" y="1758"/>
                  </a:lnTo>
                  <a:lnTo>
                    <a:pt x="1148" y="1758"/>
                  </a:lnTo>
                  <a:lnTo>
                    <a:pt x="1151" y="1752"/>
                  </a:lnTo>
                  <a:lnTo>
                    <a:pt x="1154" y="1746"/>
                  </a:lnTo>
                  <a:lnTo>
                    <a:pt x="1158" y="1740"/>
                  </a:lnTo>
                  <a:lnTo>
                    <a:pt x="1159" y="1734"/>
                  </a:lnTo>
                  <a:lnTo>
                    <a:pt x="1160" y="1719"/>
                  </a:lnTo>
                  <a:lnTo>
                    <a:pt x="1160" y="1705"/>
                  </a:lnTo>
                  <a:lnTo>
                    <a:pt x="1160" y="1690"/>
                  </a:lnTo>
                  <a:lnTo>
                    <a:pt x="1160" y="1676"/>
                  </a:lnTo>
                  <a:lnTo>
                    <a:pt x="1162" y="1661"/>
                  </a:lnTo>
                  <a:lnTo>
                    <a:pt x="1164" y="1655"/>
                  </a:lnTo>
                  <a:lnTo>
                    <a:pt x="1166" y="1649"/>
                  </a:lnTo>
                  <a:lnTo>
                    <a:pt x="1166" y="1649"/>
                  </a:lnTo>
                  <a:lnTo>
                    <a:pt x="1170" y="1643"/>
                  </a:lnTo>
                  <a:lnTo>
                    <a:pt x="1174" y="1638"/>
                  </a:lnTo>
                  <a:lnTo>
                    <a:pt x="1178" y="1633"/>
                  </a:lnTo>
                  <a:lnTo>
                    <a:pt x="1183" y="1628"/>
                  </a:lnTo>
                  <a:lnTo>
                    <a:pt x="1195" y="1620"/>
                  </a:lnTo>
                  <a:lnTo>
                    <a:pt x="1209" y="1614"/>
                  </a:lnTo>
                  <a:lnTo>
                    <a:pt x="1223" y="1609"/>
                  </a:lnTo>
                  <a:lnTo>
                    <a:pt x="1237" y="1605"/>
                  </a:lnTo>
                  <a:lnTo>
                    <a:pt x="1268" y="1597"/>
                  </a:lnTo>
                  <a:lnTo>
                    <a:pt x="1298" y="1591"/>
                  </a:lnTo>
                  <a:lnTo>
                    <a:pt x="1310" y="1587"/>
                  </a:lnTo>
                  <a:lnTo>
                    <a:pt x="1321" y="1581"/>
                  </a:lnTo>
                  <a:lnTo>
                    <a:pt x="1329" y="1575"/>
                  </a:lnTo>
                  <a:lnTo>
                    <a:pt x="1333" y="1572"/>
                  </a:lnTo>
                  <a:lnTo>
                    <a:pt x="1335" y="1568"/>
                  </a:lnTo>
                  <a:lnTo>
                    <a:pt x="1338" y="1564"/>
                  </a:lnTo>
                  <a:lnTo>
                    <a:pt x="1340" y="1559"/>
                  </a:lnTo>
                  <a:lnTo>
                    <a:pt x="1340" y="1554"/>
                  </a:lnTo>
                  <a:lnTo>
                    <a:pt x="1340" y="1549"/>
                  </a:lnTo>
                  <a:lnTo>
                    <a:pt x="1340" y="1549"/>
                  </a:lnTo>
                  <a:lnTo>
                    <a:pt x="1338" y="1534"/>
                  </a:lnTo>
                  <a:lnTo>
                    <a:pt x="1338" y="1521"/>
                  </a:lnTo>
                  <a:lnTo>
                    <a:pt x="1341" y="1509"/>
                  </a:lnTo>
                  <a:lnTo>
                    <a:pt x="1345" y="1499"/>
                  </a:lnTo>
                  <a:lnTo>
                    <a:pt x="1350" y="1488"/>
                  </a:lnTo>
                  <a:lnTo>
                    <a:pt x="1355" y="1480"/>
                  </a:lnTo>
                  <a:lnTo>
                    <a:pt x="1362" y="1472"/>
                  </a:lnTo>
                  <a:lnTo>
                    <a:pt x="1370" y="1465"/>
                  </a:lnTo>
                  <a:lnTo>
                    <a:pt x="1378" y="1459"/>
                  </a:lnTo>
                  <a:lnTo>
                    <a:pt x="1388" y="1453"/>
                  </a:lnTo>
                  <a:lnTo>
                    <a:pt x="1406" y="1443"/>
                  </a:lnTo>
                  <a:lnTo>
                    <a:pt x="1424" y="1435"/>
                  </a:lnTo>
                  <a:lnTo>
                    <a:pt x="1441" y="1428"/>
                  </a:lnTo>
                  <a:lnTo>
                    <a:pt x="1441" y="1428"/>
                  </a:lnTo>
                  <a:lnTo>
                    <a:pt x="1443" y="1428"/>
                  </a:lnTo>
                  <a:lnTo>
                    <a:pt x="1444" y="1429"/>
                  </a:lnTo>
                  <a:lnTo>
                    <a:pt x="1447" y="1431"/>
                  </a:lnTo>
                  <a:lnTo>
                    <a:pt x="1449" y="1436"/>
                  </a:lnTo>
                  <a:lnTo>
                    <a:pt x="1453" y="1443"/>
                  </a:lnTo>
                  <a:lnTo>
                    <a:pt x="1461" y="1462"/>
                  </a:lnTo>
                  <a:lnTo>
                    <a:pt x="1467" y="1473"/>
                  </a:lnTo>
                  <a:lnTo>
                    <a:pt x="1474" y="1485"/>
                  </a:lnTo>
                  <a:lnTo>
                    <a:pt x="1484" y="1498"/>
                  </a:lnTo>
                  <a:lnTo>
                    <a:pt x="1494" y="1511"/>
                  </a:lnTo>
                  <a:lnTo>
                    <a:pt x="1506" y="1525"/>
                  </a:lnTo>
                  <a:lnTo>
                    <a:pt x="1522" y="1539"/>
                  </a:lnTo>
                  <a:lnTo>
                    <a:pt x="1539" y="1552"/>
                  </a:lnTo>
                  <a:lnTo>
                    <a:pt x="1559" y="1564"/>
                  </a:lnTo>
                  <a:lnTo>
                    <a:pt x="1583" y="1576"/>
                  </a:lnTo>
                  <a:lnTo>
                    <a:pt x="1609" y="1587"/>
                  </a:lnTo>
                  <a:lnTo>
                    <a:pt x="1609" y="1587"/>
                  </a:lnTo>
                  <a:lnTo>
                    <a:pt x="1684" y="1556"/>
                  </a:lnTo>
                  <a:lnTo>
                    <a:pt x="1730" y="1534"/>
                  </a:lnTo>
                  <a:lnTo>
                    <a:pt x="1757" y="1521"/>
                  </a:lnTo>
                  <a:lnTo>
                    <a:pt x="1786" y="1506"/>
                  </a:lnTo>
                  <a:lnTo>
                    <a:pt x="1786" y="1506"/>
                  </a:lnTo>
                  <a:lnTo>
                    <a:pt x="1818" y="1489"/>
                  </a:lnTo>
                  <a:lnTo>
                    <a:pt x="1848" y="1472"/>
                  </a:lnTo>
                  <a:lnTo>
                    <a:pt x="1860" y="1464"/>
                  </a:lnTo>
                  <a:lnTo>
                    <a:pt x="1871" y="1457"/>
                  </a:lnTo>
                  <a:lnTo>
                    <a:pt x="1881" y="1449"/>
                  </a:lnTo>
                  <a:lnTo>
                    <a:pt x="1889" y="1442"/>
                  </a:lnTo>
                  <a:lnTo>
                    <a:pt x="1889" y="1442"/>
                  </a:lnTo>
                  <a:lnTo>
                    <a:pt x="1888" y="1440"/>
                  </a:lnTo>
                  <a:lnTo>
                    <a:pt x="1887" y="1438"/>
                  </a:lnTo>
                  <a:lnTo>
                    <a:pt x="1879" y="1431"/>
                  </a:lnTo>
                  <a:lnTo>
                    <a:pt x="1868" y="1420"/>
                  </a:lnTo>
                  <a:lnTo>
                    <a:pt x="1855" y="1406"/>
                  </a:lnTo>
                  <a:lnTo>
                    <a:pt x="1840" y="1388"/>
                  </a:lnTo>
                  <a:lnTo>
                    <a:pt x="1825" y="1369"/>
                  </a:lnTo>
                  <a:lnTo>
                    <a:pt x="1818" y="1358"/>
                  </a:lnTo>
                  <a:lnTo>
                    <a:pt x="1812" y="1345"/>
                  </a:lnTo>
                  <a:lnTo>
                    <a:pt x="1807" y="1334"/>
                  </a:lnTo>
                  <a:lnTo>
                    <a:pt x="1802" y="1321"/>
                  </a:lnTo>
                  <a:lnTo>
                    <a:pt x="1802" y="1321"/>
                  </a:lnTo>
                  <a:lnTo>
                    <a:pt x="1799" y="1308"/>
                  </a:lnTo>
                  <a:lnTo>
                    <a:pt x="1796" y="1297"/>
                  </a:lnTo>
                  <a:lnTo>
                    <a:pt x="1794" y="1288"/>
                  </a:lnTo>
                  <a:lnTo>
                    <a:pt x="1794" y="1279"/>
                  </a:lnTo>
                  <a:lnTo>
                    <a:pt x="1794" y="1272"/>
                  </a:lnTo>
                  <a:lnTo>
                    <a:pt x="1794" y="1267"/>
                  </a:lnTo>
                  <a:lnTo>
                    <a:pt x="1795" y="1263"/>
                  </a:lnTo>
                  <a:lnTo>
                    <a:pt x="1796" y="1261"/>
                  </a:lnTo>
                  <a:lnTo>
                    <a:pt x="1796" y="1261"/>
                  </a:lnTo>
                  <a:lnTo>
                    <a:pt x="1809" y="1278"/>
                  </a:lnTo>
                  <a:lnTo>
                    <a:pt x="1824" y="1295"/>
                  </a:lnTo>
                  <a:lnTo>
                    <a:pt x="1845" y="1316"/>
                  </a:lnTo>
                  <a:lnTo>
                    <a:pt x="1857" y="1327"/>
                  </a:lnTo>
                  <a:lnTo>
                    <a:pt x="1869" y="1338"/>
                  </a:lnTo>
                  <a:lnTo>
                    <a:pt x="1883" y="1349"/>
                  </a:lnTo>
                  <a:lnTo>
                    <a:pt x="1899" y="1361"/>
                  </a:lnTo>
                  <a:lnTo>
                    <a:pt x="1915" y="1372"/>
                  </a:lnTo>
                  <a:lnTo>
                    <a:pt x="1932" y="1381"/>
                  </a:lnTo>
                  <a:lnTo>
                    <a:pt x="1949" y="1390"/>
                  </a:lnTo>
                  <a:lnTo>
                    <a:pt x="1967" y="1398"/>
                  </a:lnTo>
                  <a:lnTo>
                    <a:pt x="1967" y="1398"/>
                  </a:lnTo>
                  <a:lnTo>
                    <a:pt x="2021" y="1370"/>
                  </a:lnTo>
                  <a:lnTo>
                    <a:pt x="2075" y="1340"/>
                  </a:lnTo>
                  <a:lnTo>
                    <a:pt x="2129" y="1307"/>
                  </a:lnTo>
                  <a:lnTo>
                    <a:pt x="2183" y="1273"/>
                  </a:lnTo>
                  <a:lnTo>
                    <a:pt x="2183" y="1273"/>
                  </a:lnTo>
                  <a:lnTo>
                    <a:pt x="2218" y="1249"/>
                  </a:lnTo>
                  <a:lnTo>
                    <a:pt x="2218" y="1249"/>
                  </a:lnTo>
                  <a:lnTo>
                    <a:pt x="2219" y="1248"/>
                  </a:lnTo>
                  <a:lnTo>
                    <a:pt x="2219" y="1248"/>
                  </a:lnTo>
                  <a:lnTo>
                    <a:pt x="2220" y="1246"/>
                  </a:lnTo>
                  <a:lnTo>
                    <a:pt x="2219" y="1244"/>
                  </a:lnTo>
                  <a:lnTo>
                    <a:pt x="2215" y="1237"/>
                  </a:lnTo>
                  <a:lnTo>
                    <a:pt x="2207" y="1228"/>
                  </a:lnTo>
                  <a:lnTo>
                    <a:pt x="2196" y="1217"/>
                  </a:lnTo>
                  <a:lnTo>
                    <a:pt x="2171" y="1193"/>
                  </a:lnTo>
                  <a:lnTo>
                    <a:pt x="2142" y="1164"/>
                  </a:lnTo>
                  <a:lnTo>
                    <a:pt x="2129" y="1150"/>
                  </a:lnTo>
                  <a:lnTo>
                    <a:pt x="2118" y="1136"/>
                  </a:lnTo>
                  <a:lnTo>
                    <a:pt x="2108" y="1121"/>
                  </a:lnTo>
                  <a:lnTo>
                    <a:pt x="2104" y="1114"/>
                  </a:lnTo>
                  <a:lnTo>
                    <a:pt x="2101" y="1108"/>
                  </a:lnTo>
                  <a:lnTo>
                    <a:pt x="2100" y="1101"/>
                  </a:lnTo>
                  <a:lnTo>
                    <a:pt x="2099" y="1095"/>
                  </a:lnTo>
                  <a:lnTo>
                    <a:pt x="2099" y="1089"/>
                  </a:lnTo>
                  <a:lnTo>
                    <a:pt x="2100" y="1084"/>
                  </a:lnTo>
                  <a:lnTo>
                    <a:pt x="2102" y="1078"/>
                  </a:lnTo>
                  <a:lnTo>
                    <a:pt x="2106" y="1073"/>
                  </a:lnTo>
                  <a:lnTo>
                    <a:pt x="2112" y="1069"/>
                  </a:lnTo>
                  <a:lnTo>
                    <a:pt x="2119" y="1065"/>
                  </a:lnTo>
                  <a:lnTo>
                    <a:pt x="2119" y="1065"/>
                  </a:lnTo>
                  <a:lnTo>
                    <a:pt x="2125" y="1061"/>
                  </a:lnTo>
                  <a:lnTo>
                    <a:pt x="2130" y="1056"/>
                  </a:lnTo>
                  <a:lnTo>
                    <a:pt x="2133" y="1051"/>
                  </a:lnTo>
                  <a:lnTo>
                    <a:pt x="2135" y="1045"/>
                  </a:lnTo>
                  <a:lnTo>
                    <a:pt x="2136" y="1039"/>
                  </a:lnTo>
                  <a:lnTo>
                    <a:pt x="2136" y="1030"/>
                  </a:lnTo>
                  <a:lnTo>
                    <a:pt x="2136" y="1023"/>
                  </a:lnTo>
                  <a:lnTo>
                    <a:pt x="2134" y="1014"/>
                  </a:lnTo>
                  <a:lnTo>
                    <a:pt x="2129" y="997"/>
                  </a:lnTo>
                  <a:lnTo>
                    <a:pt x="2121" y="977"/>
                  </a:lnTo>
                  <a:lnTo>
                    <a:pt x="2102" y="935"/>
                  </a:lnTo>
                  <a:lnTo>
                    <a:pt x="2093" y="914"/>
                  </a:lnTo>
                  <a:lnTo>
                    <a:pt x="2085" y="893"/>
                  </a:lnTo>
                  <a:lnTo>
                    <a:pt x="2078" y="873"/>
                  </a:lnTo>
                  <a:lnTo>
                    <a:pt x="2076" y="863"/>
                  </a:lnTo>
                  <a:lnTo>
                    <a:pt x="2074" y="853"/>
                  </a:lnTo>
                  <a:lnTo>
                    <a:pt x="2074" y="844"/>
                  </a:lnTo>
                  <a:lnTo>
                    <a:pt x="2074" y="836"/>
                  </a:lnTo>
                  <a:lnTo>
                    <a:pt x="2075" y="828"/>
                  </a:lnTo>
                  <a:lnTo>
                    <a:pt x="2077" y="821"/>
                  </a:lnTo>
                  <a:lnTo>
                    <a:pt x="2080" y="814"/>
                  </a:lnTo>
                  <a:lnTo>
                    <a:pt x="2085" y="807"/>
                  </a:lnTo>
                  <a:lnTo>
                    <a:pt x="2091" y="801"/>
                  </a:lnTo>
                  <a:lnTo>
                    <a:pt x="2099" y="797"/>
                  </a:lnTo>
                  <a:lnTo>
                    <a:pt x="2099" y="797"/>
                  </a:lnTo>
                  <a:lnTo>
                    <a:pt x="2200" y="744"/>
                  </a:lnTo>
                  <a:lnTo>
                    <a:pt x="2306" y="693"/>
                  </a:lnTo>
                  <a:lnTo>
                    <a:pt x="2410" y="642"/>
                  </a:lnTo>
                  <a:lnTo>
                    <a:pt x="2513" y="592"/>
                  </a:lnTo>
                  <a:lnTo>
                    <a:pt x="2705" y="501"/>
                  </a:lnTo>
                  <a:lnTo>
                    <a:pt x="2788" y="461"/>
                  </a:lnTo>
                  <a:lnTo>
                    <a:pt x="2863" y="424"/>
                  </a:lnTo>
                  <a:lnTo>
                    <a:pt x="2863" y="424"/>
                  </a:lnTo>
                  <a:lnTo>
                    <a:pt x="2859" y="408"/>
                  </a:lnTo>
                  <a:lnTo>
                    <a:pt x="2853" y="389"/>
                  </a:lnTo>
                  <a:lnTo>
                    <a:pt x="2843" y="366"/>
                  </a:lnTo>
                  <a:lnTo>
                    <a:pt x="2836" y="354"/>
                  </a:lnTo>
                  <a:lnTo>
                    <a:pt x="2829" y="339"/>
                  </a:lnTo>
                  <a:lnTo>
                    <a:pt x="2821" y="325"/>
                  </a:lnTo>
                  <a:lnTo>
                    <a:pt x="2812" y="311"/>
                  </a:lnTo>
                  <a:lnTo>
                    <a:pt x="2801" y="296"/>
                  </a:lnTo>
                  <a:lnTo>
                    <a:pt x="2788" y="281"/>
                  </a:lnTo>
                  <a:lnTo>
                    <a:pt x="2774" y="267"/>
                  </a:lnTo>
                  <a:lnTo>
                    <a:pt x="2759" y="25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35" name="Freeform 32"/>
            <p:cNvSpPr>
              <a:spLocks/>
            </p:cNvSpPr>
            <p:nvPr userDrawn="1"/>
          </p:nvSpPr>
          <p:spPr bwMode="auto">
            <a:xfrm>
              <a:off x="746126" y="1357313"/>
              <a:ext cx="161925" cy="153988"/>
            </a:xfrm>
            <a:custGeom>
              <a:avLst/>
              <a:gdLst>
                <a:gd name="T0" fmla="*/ 2 w 1226"/>
                <a:gd name="T1" fmla="*/ 386 h 1168"/>
                <a:gd name="T2" fmla="*/ 22 w 1226"/>
                <a:gd name="T3" fmla="*/ 434 h 1168"/>
                <a:gd name="T4" fmla="*/ 61 w 1226"/>
                <a:gd name="T5" fmla="*/ 466 h 1168"/>
                <a:gd name="T6" fmla="*/ 120 w 1226"/>
                <a:gd name="T7" fmla="*/ 479 h 1168"/>
                <a:gd name="T8" fmla="*/ 142 w 1226"/>
                <a:gd name="T9" fmla="*/ 469 h 1168"/>
                <a:gd name="T10" fmla="*/ 160 w 1226"/>
                <a:gd name="T11" fmla="*/ 436 h 1168"/>
                <a:gd name="T12" fmla="*/ 164 w 1226"/>
                <a:gd name="T13" fmla="*/ 370 h 1168"/>
                <a:gd name="T14" fmla="*/ 174 w 1226"/>
                <a:gd name="T15" fmla="*/ 344 h 1168"/>
                <a:gd name="T16" fmla="*/ 198 w 1226"/>
                <a:gd name="T17" fmla="*/ 331 h 1168"/>
                <a:gd name="T18" fmla="*/ 223 w 1226"/>
                <a:gd name="T19" fmla="*/ 318 h 1168"/>
                <a:gd name="T20" fmla="*/ 427 w 1226"/>
                <a:gd name="T21" fmla="*/ 416 h 1168"/>
                <a:gd name="T22" fmla="*/ 628 w 1226"/>
                <a:gd name="T23" fmla="*/ 534 h 1168"/>
                <a:gd name="T24" fmla="*/ 876 w 1226"/>
                <a:gd name="T25" fmla="*/ 703 h 1168"/>
                <a:gd name="T26" fmla="*/ 868 w 1226"/>
                <a:gd name="T27" fmla="*/ 783 h 1168"/>
                <a:gd name="T28" fmla="*/ 779 w 1226"/>
                <a:gd name="T29" fmla="*/ 957 h 1168"/>
                <a:gd name="T30" fmla="*/ 753 w 1226"/>
                <a:gd name="T31" fmla="*/ 1040 h 1168"/>
                <a:gd name="T32" fmla="*/ 754 w 1226"/>
                <a:gd name="T33" fmla="*/ 1090 h 1168"/>
                <a:gd name="T34" fmla="*/ 771 w 1226"/>
                <a:gd name="T35" fmla="*/ 1130 h 1168"/>
                <a:gd name="T36" fmla="*/ 801 w 1226"/>
                <a:gd name="T37" fmla="*/ 1157 h 1168"/>
                <a:gd name="T38" fmla="*/ 842 w 1226"/>
                <a:gd name="T39" fmla="*/ 1168 h 1168"/>
                <a:gd name="T40" fmla="*/ 880 w 1226"/>
                <a:gd name="T41" fmla="*/ 1163 h 1168"/>
                <a:gd name="T42" fmla="*/ 919 w 1226"/>
                <a:gd name="T43" fmla="*/ 1140 h 1168"/>
                <a:gd name="T44" fmla="*/ 944 w 1226"/>
                <a:gd name="T45" fmla="*/ 1107 h 1168"/>
                <a:gd name="T46" fmla="*/ 952 w 1226"/>
                <a:gd name="T47" fmla="*/ 1060 h 1168"/>
                <a:gd name="T48" fmla="*/ 930 w 1226"/>
                <a:gd name="T49" fmla="*/ 1010 h 1168"/>
                <a:gd name="T50" fmla="*/ 885 w 1226"/>
                <a:gd name="T51" fmla="*/ 989 h 1168"/>
                <a:gd name="T52" fmla="*/ 919 w 1226"/>
                <a:gd name="T53" fmla="*/ 879 h 1168"/>
                <a:gd name="T54" fmla="*/ 954 w 1226"/>
                <a:gd name="T55" fmla="*/ 807 h 1168"/>
                <a:gd name="T56" fmla="*/ 1024 w 1226"/>
                <a:gd name="T57" fmla="*/ 715 h 1168"/>
                <a:gd name="T58" fmla="*/ 1095 w 1226"/>
                <a:gd name="T59" fmla="*/ 673 h 1168"/>
                <a:gd name="T60" fmla="*/ 1125 w 1226"/>
                <a:gd name="T61" fmla="*/ 670 h 1168"/>
                <a:gd name="T62" fmla="*/ 1099 w 1226"/>
                <a:gd name="T63" fmla="*/ 633 h 1168"/>
                <a:gd name="T64" fmla="*/ 1083 w 1226"/>
                <a:gd name="T65" fmla="*/ 543 h 1168"/>
                <a:gd name="T66" fmla="*/ 1096 w 1226"/>
                <a:gd name="T67" fmla="*/ 477 h 1168"/>
                <a:gd name="T68" fmla="*/ 1132 w 1226"/>
                <a:gd name="T69" fmla="*/ 395 h 1168"/>
                <a:gd name="T70" fmla="*/ 1195 w 1226"/>
                <a:gd name="T71" fmla="*/ 258 h 1168"/>
                <a:gd name="T72" fmla="*/ 1225 w 1226"/>
                <a:gd name="T73" fmla="*/ 141 h 1168"/>
                <a:gd name="T74" fmla="*/ 1217 w 1226"/>
                <a:gd name="T75" fmla="*/ 95 h 1168"/>
                <a:gd name="T76" fmla="*/ 1187 w 1226"/>
                <a:gd name="T77" fmla="*/ 55 h 1168"/>
                <a:gd name="T78" fmla="*/ 1144 w 1226"/>
                <a:gd name="T79" fmla="*/ 34 h 1168"/>
                <a:gd name="T80" fmla="*/ 1104 w 1226"/>
                <a:gd name="T81" fmla="*/ 35 h 1168"/>
                <a:gd name="T82" fmla="*/ 1061 w 1226"/>
                <a:gd name="T83" fmla="*/ 57 h 1168"/>
                <a:gd name="T84" fmla="*/ 1033 w 1226"/>
                <a:gd name="T85" fmla="*/ 94 h 1168"/>
                <a:gd name="T86" fmla="*/ 1025 w 1226"/>
                <a:gd name="T87" fmla="*/ 139 h 1168"/>
                <a:gd name="T88" fmla="*/ 1048 w 1226"/>
                <a:gd name="T89" fmla="*/ 205 h 1168"/>
                <a:gd name="T90" fmla="*/ 1095 w 1226"/>
                <a:gd name="T91" fmla="*/ 230 h 1168"/>
                <a:gd name="T92" fmla="*/ 1107 w 1226"/>
                <a:gd name="T93" fmla="*/ 240 h 1168"/>
                <a:gd name="T94" fmla="*/ 1044 w 1226"/>
                <a:gd name="T95" fmla="*/ 390 h 1168"/>
                <a:gd name="T96" fmla="*/ 975 w 1226"/>
                <a:gd name="T97" fmla="*/ 431 h 1168"/>
                <a:gd name="T98" fmla="*/ 717 w 1226"/>
                <a:gd name="T99" fmla="*/ 289 h 1168"/>
                <a:gd name="T100" fmla="*/ 529 w 1226"/>
                <a:gd name="T101" fmla="*/ 205 h 1168"/>
                <a:gd name="T102" fmla="*/ 317 w 1226"/>
                <a:gd name="T103" fmla="*/ 140 h 1168"/>
                <a:gd name="T104" fmla="*/ 378 w 1226"/>
                <a:gd name="T105" fmla="*/ 31 h 1168"/>
                <a:gd name="T106" fmla="*/ 389 w 1226"/>
                <a:gd name="T107" fmla="*/ 0 h 1168"/>
                <a:gd name="T108" fmla="*/ 367 w 1226"/>
                <a:gd name="T109" fmla="*/ 10 h 1168"/>
                <a:gd name="T110" fmla="*/ 285 w 1226"/>
                <a:gd name="T111" fmla="*/ 57 h 1168"/>
                <a:gd name="T112" fmla="*/ 211 w 1226"/>
                <a:gd name="T113" fmla="*/ 85 h 1168"/>
                <a:gd name="T114" fmla="*/ 147 w 1226"/>
                <a:gd name="T115" fmla="*/ 85 h 1168"/>
                <a:gd name="T116" fmla="*/ 114 w 1226"/>
                <a:gd name="T117" fmla="*/ 85 h 1168"/>
                <a:gd name="T118" fmla="*/ 87 w 1226"/>
                <a:gd name="T119" fmla="*/ 134 h 1168"/>
                <a:gd name="T120" fmla="*/ 42 w 1226"/>
                <a:gd name="T121" fmla="*/ 261 h 1168"/>
                <a:gd name="T122" fmla="*/ 6 w 1226"/>
                <a:gd name="T123" fmla="*/ 327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6" h="1168">
                  <a:moveTo>
                    <a:pt x="1" y="345"/>
                  </a:moveTo>
                  <a:lnTo>
                    <a:pt x="1" y="345"/>
                  </a:lnTo>
                  <a:lnTo>
                    <a:pt x="0" y="359"/>
                  </a:lnTo>
                  <a:lnTo>
                    <a:pt x="0" y="370"/>
                  </a:lnTo>
                  <a:lnTo>
                    <a:pt x="2" y="386"/>
                  </a:lnTo>
                  <a:lnTo>
                    <a:pt x="5" y="401"/>
                  </a:lnTo>
                  <a:lnTo>
                    <a:pt x="8" y="409"/>
                  </a:lnTo>
                  <a:lnTo>
                    <a:pt x="11" y="417"/>
                  </a:lnTo>
                  <a:lnTo>
                    <a:pt x="16" y="425"/>
                  </a:lnTo>
                  <a:lnTo>
                    <a:pt x="22" y="434"/>
                  </a:lnTo>
                  <a:lnTo>
                    <a:pt x="28" y="442"/>
                  </a:lnTo>
                  <a:lnTo>
                    <a:pt x="36" y="449"/>
                  </a:lnTo>
                  <a:lnTo>
                    <a:pt x="36" y="449"/>
                  </a:lnTo>
                  <a:lnTo>
                    <a:pt x="48" y="458"/>
                  </a:lnTo>
                  <a:lnTo>
                    <a:pt x="61" y="466"/>
                  </a:lnTo>
                  <a:lnTo>
                    <a:pt x="76" y="473"/>
                  </a:lnTo>
                  <a:lnTo>
                    <a:pt x="91" y="478"/>
                  </a:lnTo>
                  <a:lnTo>
                    <a:pt x="105" y="480"/>
                  </a:lnTo>
                  <a:lnTo>
                    <a:pt x="113" y="480"/>
                  </a:lnTo>
                  <a:lnTo>
                    <a:pt x="120" y="479"/>
                  </a:lnTo>
                  <a:lnTo>
                    <a:pt x="126" y="478"/>
                  </a:lnTo>
                  <a:lnTo>
                    <a:pt x="132" y="476"/>
                  </a:lnTo>
                  <a:lnTo>
                    <a:pt x="137" y="473"/>
                  </a:lnTo>
                  <a:lnTo>
                    <a:pt x="142" y="469"/>
                  </a:lnTo>
                  <a:lnTo>
                    <a:pt x="142" y="469"/>
                  </a:lnTo>
                  <a:lnTo>
                    <a:pt x="147" y="464"/>
                  </a:lnTo>
                  <a:lnTo>
                    <a:pt x="152" y="457"/>
                  </a:lnTo>
                  <a:lnTo>
                    <a:pt x="155" y="451"/>
                  </a:lnTo>
                  <a:lnTo>
                    <a:pt x="158" y="444"/>
                  </a:lnTo>
                  <a:lnTo>
                    <a:pt x="160" y="436"/>
                  </a:lnTo>
                  <a:lnTo>
                    <a:pt x="161" y="428"/>
                  </a:lnTo>
                  <a:lnTo>
                    <a:pt x="162" y="411"/>
                  </a:lnTo>
                  <a:lnTo>
                    <a:pt x="162" y="395"/>
                  </a:lnTo>
                  <a:lnTo>
                    <a:pt x="163" y="378"/>
                  </a:lnTo>
                  <a:lnTo>
                    <a:pt x="164" y="370"/>
                  </a:lnTo>
                  <a:lnTo>
                    <a:pt x="166" y="362"/>
                  </a:lnTo>
                  <a:lnTo>
                    <a:pt x="168" y="355"/>
                  </a:lnTo>
                  <a:lnTo>
                    <a:pt x="172" y="347"/>
                  </a:lnTo>
                  <a:lnTo>
                    <a:pt x="172" y="347"/>
                  </a:lnTo>
                  <a:lnTo>
                    <a:pt x="174" y="344"/>
                  </a:lnTo>
                  <a:lnTo>
                    <a:pt x="178" y="341"/>
                  </a:lnTo>
                  <a:lnTo>
                    <a:pt x="187" y="335"/>
                  </a:lnTo>
                  <a:lnTo>
                    <a:pt x="195" y="332"/>
                  </a:lnTo>
                  <a:lnTo>
                    <a:pt x="198" y="331"/>
                  </a:lnTo>
                  <a:lnTo>
                    <a:pt x="198" y="331"/>
                  </a:lnTo>
                  <a:lnTo>
                    <a:pt x="205" y="329"/>
                  </a:lnTo>
                  <a:lnTo>
                    <a:pt x="211" y="326"/>
                  </a:lnTo>
                  <a:lnTo>
                    <a:pt x="217" y="323"/>
                  </a:lnTo>
                  <a:lnTo>
                    <a:pt x="223" y="318"/>
                  </a:lnTo>
                  <a:lnTo>
                    <a:pt x="223" y="318"/>
                  </a:lnTo>
                  <a:lnTo>
                    <a:pt x="264" y="337"/>
                  </a:lnTo>
                  <a:lnTo>
                    <a:pt x="305" y="355"/>
                  </a:lnTo>
                  <a:lnTo>
                    <a:pt x="347" y="374"/>
                  </a:lnTo>
                  <a:lnTo>
                    <a:pt x="388" y="395"/>
                  </a:lnTo>
                  <a:lnTo>
                    <a:pt x="427" y="416"/>
                  </a:lnTo>
                  <a:lnTo>
                    <a:pt x="468" y="439"/>
                  </a:lnTo>
                  <a:lnTo>
                    <a:pt x="509" y="461"/>
                  </a:lnTo>
                  <a:lnTo>
                    <a:pt x="549" y="485"/>
                  </a:lnTo>
                  <a:lnTo>
                    <a:pt x="589" y="509"/>
                  </a:lnTo>
                  <a:lnTo>
                    <a:pt x="628" y="534"/>
                  </a:lnTo>
                  <a:lnTo>
                    <a:pt x="706" y="584"/>
                  </a:lnTo>
                  <a:lnTo>
                    <a:pt x="782" y="636"/>
                  </a:lnTo>
                  <a:lnTo>
                    <a:pt x="857" y="689"/>
                  </a:lnTo>
                  <a:lnTo>
                    <a:pt x="857" y="689"/>
                  </a:lnTo>
                  <a:lnTo>
                    <a:pt x="876" y="703"/>
                  </a:lnTo>
                  <a:lnTo>
                    <a:pt x="894" y="714"/>
                  </a:lnTo>
                  <a:lnTo>
                    <a:pt x="894" y="714"/>
                  </a:lnTo>
                  <a:lnTo>
                    <a:pt x="887" y="736"/>
                  </a:lnTo>
                  <a:lnTo>
                    <a:pt x="878" y="759"/>
                  </a:lnTo>
                  <a:lnTo>
                    <a:pt x="868" y="783"/>
                  </a:lnTo>
                  <a:lnTo>
                    <a:pt x="856" y="809"/>
                  </a:lnTo>
                  <a:lnTo>
                    <a:pt x="856" y="809"/>
                  </a:lnTo>
                  <a:lnTo>
                    <a:pt x="816" y="885"/>
                  </a:lnTo>
                  <a:lnTo>
                    <a:pt x="797" y="921"/>
                  </a:lnTo>
                  <a:lnTo>
                    <a:pt x="779" y="957"/>
                  </a:lnTo>
                  <a:lnTo>
                    <a:pt x="772" y="975"/>
                  </a:lnTo>
                  <a:lnTo>
                    <a:pt x="766" y="992"/>
                  </a:lnTo>
                  <a:lnTo>
                    <a:pt x="760" y="1008"/>
                  </a:lnTo>
                  <a:lnTo>
                    <a:pt x="756" y="1025"/>
                  </a:lnTo>
                  <a:lnTo>
                    <a:pt x="753" y="1040"/>
                  </a:lnTo>
                  <a:lnTo>
                    <a:pt x="751" y="1054"/>
                  </a:lnTo>
                  <a:lnTo>
                    <a:pt x="751" y="1069"/>
                  </a:lnTo>
                  <a:lnTo>
                    <a:pt x="752" y="1081"/>
                  </a:lnTo>
                  <a:lnTo>
                    <a:pt x="752" y="1081"/>
                  </a:lnTo>
                  <a:lnTo>
                    <a:pt x="754" y="1090"/>
                  </a:lnTo>
                  <a:lnTo>
                    <a:pt x="756" y="1099"/>
                  </a:lnTo>
                  <a:lnTo>
                    <a:pt x="759" y="1107"/>
                  </a:lnTo>
                  <a:lnTo>
                    <a:pt x="762" y="1116"/>
                  </a:lnTo>
                  <a:lnTo>
                    <a:pt x="766" y="1123"/>
                  </a:lnTo>
                  <a:lnTo>
                    <a:pt x="771" y="1130"/>
                  </a:lnTo>
                  <a:lnTo>
                    <a:pt x="776" y="1136"/>
                  </a:lnTo>
                  <a:lnTo>
                    <a:pt x="781" y="1142"/>
                  </a:lnTo>
                  <a:lnTo>
                    <a:pt x="787" y="1147"/>
                  </a:lnTo>
                  <a:lnTo>
                    <a:pt x="794" y="1152"/>
                  </a:lnTo>
                  <a:lnTo>
                    <a:pt x="801" y="1157"/>
                  </a:lnTo>
                  <a:lnTo>
                    <a:pt x="808" y="1160"/>
                  </a:lnTo>
                  <a:lnTo>
                    <a:pt x="816" y="1163"/>
                  </a:lnTo>
                  <a:lnTo>
                    <a:pt x="824" y="1165"/>
                  </a:lnTo>
                  <a:lnTo>
                    <a:pt x="833" y="1167"/>
                  </a:lnTo>
                  <a:lnTo>
                    <a:pt x="842" y="1168"/>
                  </a:lnTo>
                  <a:lnTo>
                    <a:pt x="842" y="1168"/>
                  </a:lnTo>
                  <a:lnTo>
                    <a:pt x="852" y="1168"/>
                  </a:lnTo>
                  <a:lnTo>
                    <a:pt x="862" y="1167"/>
                  </a:lnTo>
                  <a:lnTo>
                    <a:pt x="871" y="1165"/>
                  </a:lnTo>
                  <a:lnTo>
                    <a:pt x="880" y="1163"/>
                  </a:lnTo>
                  <a:lnTo>
                    <a:pt x="889" y="1160"/>
                  </a:lnTo>
                  <a:lnTo>
                    <a:pt x="897" y="1155"/>
                  </a:lnTo>
                  <a:lnTo>
                    <a:pt x="905" y="1151"/>
                  </a:lnTo>
                  <a:lnTo>
                    <a:pt x="912" y="1146"/>
                  </a:lnTo>
                  <a:lnTo>
                    <a:pt x="919" y="1140"/>
                  </a:lnTo>
                  <a:lnTo>
                    <a:pt x="925" y="1135"/>
                  </a:lnTo>
                  <a:lnTo>
                    <a:pt x="931" y="1129"/>
                  </a:lnTo>
                  <a:lnTo>
                    <a:pt x="936" y="1122"/>
                  </a:lnTo>
                  <a:lnTo>
                    <a:pt x="940" y="1115"/>
                  </a:lnTo>
                  <a:lnTo>
                    <a:pt x="944" y="1107"/>
                  </a:lnTo>
                  <a:lnTo>
                    <a:pt x="947" y="1100"/>
                  </a:lnTo>
                  <a:lnTo>
                    <a:pt x="949" y="1092"/>
                  </a:lnTo>
                  <a:lnTo>
                    <a:pt x="949" y="1092"/>
                  </a:lnTo>
                  <a:lnTo>
                    <a:pt x="951" y="1076"/>
                  </a:lnTo>
                  <a:lnTo>
                    <a:pt x="952" y="1060"/>
                  </a:lnTo>
                  <a:lnTo>
                    <a:pt x="950" y="1048"/>
                  </a:lnTo>
                  <a:lnTo>
                    <a:pt x="947" y="1036"/>
                  </a:lnTo>
                  <a:lnTo>
                    <a:pt x="942" y="1027"/>
                  </a:lnTo>
                  <a:lnTo>
                    <a:pt x="937" y="1017"/>
                  </a:lnTo>
                  <a:lnTo>
                    <a:pt x="930" y="1010"/>
                  </a:lnTo>
                  <a:lnTo>
                    <a:pt x="922" y="1005"/>
                  </a:lnTo>
                  <a:lnTo>
                    <a:pt x="915" y="1000"/>
                  </a:lnTo>
                  <a:lnTo>
                    <a:pt x="908" y="996"/>
                  </a:lnTo>
                  <a:lnTo>
                    <a:pt x="894" y="991"/>
                  </a:lnTo>
                  <a:lnTo>
                    <a:pt x="885" y="989"/>
                  </a:lnTo>
                  <a:lnTo>
                    <a:pt x="880" y="989"/>
                  </a:lnTo>
                  <a:lnTo>
                    <a:pt x="880" y="989"/>
                  </a:lnTo>
                  <a:lnTo>
                    <a:pt x="896" y="944"/>
                  </a:lnTo>
                  <a:lnTo>
                    <a:pt x="908" y="908"/>
                  </a:lnTo>
                  <a:lnTo>
                    <a:pt x="919" y="879"/>
                  </a:lnTo>
                  <a:lnTo>
                    <a:pt x="919" y="879"/>
                  </a:lnTo>
                  <a:lnTo>
                    <a:pt x="927" y="859"/>
                  </a:lnTo>
                  <a:lnTo>
                    <a:pt x="937" y="841"/>
                  </a:lnTo>
                  <a:lnTo>
                    <a:pt x="945" y="823"/>
                  </a:lnTo>
                  <a:lnTo>
                    <a:pt x="954" y="807"/>
                  </a:lnTo>
                  <a:lnTo>
                    <a:pt x="962" y="792"/>
                  </a:lnTo>
                  <a:lnTo>
                    <a:pt x="971" y="777"/>
                  </a:lnTo>
                  <a:lnTo>
                    <a:pt x="989" y="753"/>
                  </a:lnTo>
                  <a:lnTo>
                    <a:pt x="1006" y="732"/>
                  </a:lnTo>
                  <a:lnTo>
                    <a:pt x="1024" y="715"/>
                  </a:lnTo>
                  <a:lnTo>
                    <a:pt x="1040" y="702"/>
                  </a:lnTo>
                  <a:lnTo>
                    <a:pt x="1055" y="690"/>
                  </a:lnTo>
                  <a:lnTo>
                    <a:pt x="1070" y="683"/>
                  </a:lnTo>
                  <a:lnTo>
                    <a:pt x="1083" y="677"/>
                  </a:lnTo>
                  <a:lnTo>
                    <a:pt x="1095" y="673"/>
                  </a:lnTo>
                  <a:lnTo>
                    <a:pt x="1105" y="671"/>
                  </a:lnTo>
                  <a:lnTo>
                    <a:pt x="1114" y="670"/>
                  </a:lnTo>
                  <a:lnTo>
                    <a:pt x="1120" y="670"/>
                  </a:lnTo>
                  <a:lnTo>
                    <a:pt x="1125" y="670"/>
                  </a:lnTo>
                  <a:lnTo>
                    <a:pt x="1125" y="670"/>
                  </a:lnTo>
                  <a:lnTo>
                    <a:pt x="1121" y="666"/>
                  </a:lnTo>
                  <a:lnTo>
                    <a:pt x="1116" y="661"/>
                  </a:lnTo>
                  <a:lnTo>
                    <a:pt x="1111" y="653"/>
                  </a:lnTo>
                  <a:lnTo>
                    <a:pt x="1104" y="644"/>
                  </a:lnTo>
                  <a:lnTo>
                    <a:pt x="1099" y="633"/>
                  </a:lnTo>
                  <a:lnTo>
                    <a:pt x="1093" y="620"/>
                  </a:lnTo>
                  <a:lnTo>
                    <a:pt x="1088" y="603"/>
                  </a:lnTo>
                  <a:lnTo>
                    <a:pt x="1085" y="586"/>
                  </a:lnTo>
                  <a:lnTo>
                    <a:pt x="1083" y="566"/>
                  </a:lnTo>
                  <a:lnTo>
                    <a:pt x="1083" y="543"/>
                  </a:lnTo>
                  <a:lnTo>
                    <a:pt x="1084" y="531"/>
                  </a:lnTo>
                  <a:lnTo>
                    <a:pt x="1086" y="519"/>
                  </a:lnTo>
                  <a:lnTo>
                    <a:pt x="1088" y="505"/>
                  </a:lnTo>
                  <a:lnTo>
                    <a:pt x="1092" y="491"/>
                  </a:lnTo>
                  <a:lnTo>
                    <a:pt x="1096" y="477"/>
                  </a:lnTo>
                  <a:lnTo>
                    <a:pt x="1101" y="461"/>
                  </a:lnTo>
                  <a:lnTo>
                    <a:pt x="1107" y="446"/>
                  </a:lnTo>
                  <a:lnTo>
                    <a:pt x="1115" y="430"/>
                  </a:lnTo>
                  <a:lnTo>
                    <a:pt x="1123" y="412"/>
                  </a:lnTo>
                  <a:lnTo>
                    <a:pt x="1132" y="395"/>
                  </a:lnTo>
                  <a:lnTo>
                    <a:pt x="1132" y="395"/>
                  </a:lnTo>
                  <a:lnTo>
                    <a:pt x="1152" y="358"/>
                  </a:lnTo>
                  <a:lnTo>
                    <a:pt x="1169" y="322"/>
                  </a:lnTo>
                  <a:lnTo>
                    <a:pt x="1184" y="289"/>
                  </a:lnTo>
                  <a:lnTo>
                    <a:pt x="1195" y="258"/>
                  </a:lnTo>
                  <a:lnTo>
                    <a:pt x="1206" y="227"/>
                  </a:lnTo>
                  <a:lnTo>
                    <a:pt x="1214" y="197"/>
                  </a:lnTo>
                  <a:lnTo>
                    <a:pt x="1220" y="169"/>
                  </a:lnTo>
                  <a:lnTo>
                    <a:pt x="1225" y="141"/>
                  </a:lnTo>
                  <a:lnTo>
                    <a:pt x="1225" y="141"/>
                  </a:lnTo>
                  <a:lnTo>
                    <a:pt x="1226" y="132"/>
                  </a:lnTo>
                  <a:lnTo>
                    <a:pt x="1225" y="123"/>
                  </a:lnTo>
                  <a:lnTo>
                    <a:pt x="1224" y="114"/>
                  </a:lnTo>
                  <a:lnTo>
                    <a:pt x="1221" y="104"/>
                  </a:lnTo>
                  <a:lnTo>
                    <a:pt x="1217" y="95"/>
                  </a:lnTo>
                  <a:lnTo>
                    <a:pt x="1213" y="87"/>
                  </a:lnTo>
                  <a:lnTo>
                    <a:pt x="1208" y="78"/>
                  </a:lnTo>
                  <a:lnTo>
                    <a:pt x="1202" y="70"/>
                  </a:lnTo>
                  <a:lnTo>
                    <a:pt x="1194" y="63"/>
                  </a:lnTo>
                  <a:lnTo>
                    <a:pt x="1187" y="55"/>
                  </a:lnTo>
                  <a:lnTo>
                    <a:pt x="1179" y="49"/>
                  </a:lnTo>
                  <a:lnTo>
                    <a:pt x="1171" y="44"/>
                  </a:lnTo>
                  <a:lnTo>
                    <a:pt x="1163" y="39"/>
                  </a:lnTo>
                  <a:lnTo>
                    <a:pt x="1153" y="36"/>
                  </a:lnTo>
                  <a:lnTo>
                    <a:pt x="1144" y="34"/>
                  </a:lnTo>
                  <a:lnTo>
                    <a:pt x="1134" y="32"/>
                  </a:lnTo>
                  <a:lnTo>
                    <a:pt x="1134" y="32"/>
                  </a:lnTo>
                  <a:lnTo>
                    <a:pt x="1124" y="32"/>
                  </a:lnTo>
                  <a:lnTo>
                    <a:pt x="1115" y="33"/>
                  </a:lnTo>
                  <a:lnTo>
                    <a:pt x="1104" y="35"/>
                  </a:lnTo>
                  <a:lnTo>
                    <a:pt x="1095" y="38"/>
                  </a:lnTo>
                  <a:lnTo>
                    <a:pt x="1086" y="42"/>
                  </a:lnTo>
                  <a:lnTo>
                    <a:pt x="1078" y="46"/>
                  </a:lnTo>
                  <a:lnTo>
                    <a:pt x="1070" y="52"/>
                  </a:lnTo>
                  <a:lnTo>
                    <a:pt x="1061" y="57"/>
                  </a:lnTo>
                  <a:lnTo>
                    <a:pt x="1054" y="65"/>
                  </a:lnTo>
                  <a:lnTo>
                    <a:pt x="1048" y="71"/>
                  </a:lnTo>
                  <a:lnTo>
                    <a:pt x="1042" y="78"/>
                  </a:lnTo>
                  <a:lnTo>
                    <a:pt x="1037" y="86"/>
                  </a:lnTo>
                  <a:lnTo>
                    <a:pt x="1033" y="94"/>
                  </a:lnTo>
                  <a:lnTo>
                    <a:pt x="1029" y="102"/>
                  </a:lnTo>
                  <a:lnTo>
                    <a:pt x="1027" y="111"/>
                  </a:lnTo>
                  <a:lnTo>
                    <a:pt x="1026" y="119"/>
                  </a:lnTo>
                  <a:lnTo>
                    <a:pt x="1026" y="119"/>
                  </a:lnTo>
                  <a:lnTo>
                    <a:pt x="1025" y="139"/>
                  </a:lnTo>
                  <a:lnTo>
                    <a:pt x="1026" y="158"/>
                  </a:lnTo>
                  <a:lnTo>
                    <a:pt x="1030" y="173"/>
                  </a:lnTo>
                  <a:lnTo>
                    <a:pt x="1035" y="185"/>
                  </a:lnTo>
                  <a:lnTo>
                    <a:pt x="1041" y="195"/>
                  </a:lnTo>
                  <a:lnTo>
                    <a:pt x="1048" y="205"/>
                  </a:lnTo>
                  <a:lnTo>
                    <a:pt x="1056" y="212"/>
                  </a:lnTo>
                  <a:lnTo>
                    <a:pt x="1065" y="217"/>
                  </a:lnTo>
                  <a:lnTo>
                    <a:pt x="1073" y="221"/>
                  </a:lnTo>
                  <a:lnTo>
                    <a:pt x="1081" y="225"/>
                  </a:lnTo>
                  <a:lnTo>
                    <a:pt x="1095" y="230"/>
                  </a:lnTo>
                  <a:lnTo>
                    <a:pt x="1101" y="232"/>
                  </a:lnTo>
                  <a:lnTo>
                    <a:pt x="1104" y="234"/>
                  </a:lnTo>
                  <a:lnTo>
                    <a:pt x="1107" y="237"/>
                  </a:lnTo>
                  <a:lnTo>
                    <a:pt x="1107" y="240"/>
                  </a:lnTo>
                  <a:lnTo>
                    <a:pt x="1107" y="240"/>
                  </a:lnTo>
                  <a:lnTo>
                    <a:pt x="1096" y="276"/>
                  </a:lnTo>
                  <a:lnTo>
                    <a:pt x="1084" y="309"/>
                  </a:lnTo>
                  <a:lnTo>
                    <a:pt x="1071" y="339"/>
                  </a:lnTo>
                  <a:lnTo>
                    <a:pt x="1057" y="365"/>
                  </a:lnTo>
                  <a:lnTo>
                    <a:pt x="1044" y="390"/>
                  </a:lnTo>
                  <a:lnTo>
                    <a:pt x="1031" y="411"/>
                  </a:lnTo>
                  <a:lnTo>
                    <a:pt x="1016" y="431"/>
                  </a:lnTo>
                  <a:lnTo>
                    <a:pt x="1002" y="447"/>
                  </a:lnTo>
                  <a:lnTo>
                    <a:pt x="1002" y="447"/>
                  </a:lnTo>
                  <a:lnTo>
                    <a:pt x="975" y="431"/>
                  </a:lnTo>
                  <a:lnTo>
                    <a:pt x="942" y="411"/>
                  </a:lnTo>
                  <a:lnTo>
                    <a:pt x="942" y="411"/>
                  </a:lnTo>
                  <a:lnTo>
                    <a:pt x="865" y="369"/>
                  </a:lnTo>
                  <a:lnTo>
                    <a:pt x="790" y="328"/>
                  </a:lnTo>
                  <a:lnTo>
                    <a:pt x="717" y="289"/>
                  </a:lnTo>
                  <a:lnTo>
                    <a:pt x="680" y="271"/>
                  </a:lnTo>
                  <a:lnTo>
                    <a:pt x="643" y="254"/>
                  </a:lnTo>
                  <a:lnTo>
                    <a:pt x="606" y="236"/>
                  </a:lnTo>
                  <a:lnTo>
                    <a:pt x="568" y="221"/>
                  </a:lnTo>
                  <a:lnTo>
                    <a:pt x="529" y="205"/>
                  </a:lnTo>
                  <a:lnTo>
                    <a:pt x="489" y="190"/>
                  </a:lnTo>
                  <a:lnTo>
                    <a:pt x="448" y="176"/>
                  </a:lnTo>
                  <a:lnTo>
                    <a:pt x="406" y="164"/>
                  </a:lnTo>
                  <a:lnTo>
                    <a:pt x="362" y="151"/>
                  </a:lnTo>
                  <a:lnTo>
                    <a:pt x="317" y="140"/>
                  </a:lnTo>
                  <a:lnTo>
                    <a:pt x="317" y="140"/>
                  </a:lnTo>
                  <a:lnTo>
                    <a:pt x="334" y="107"/>
                  </a:lnTo>
                  <a:lnTo>
                    <a:pt x="334" y="107"/>
                  </a:lnTo>
                  <a:lnTo>
                    <a:pt x="360" y="63"/>
                  </a:lnTo>
                  <a:lnTo>
                    <a:pt x="378" y="31"/>
                  </a:lnTo>
                  <a:lnTo>
                    <a:pt x="385" y="20"/>
                  </a:lnTo>
                  <a:lnTo>
                    <a:pt x="389" y="10"/>
                  </a:lnTo>
                  <a:lnTo>
                    <a:pt x="391" y="4"/>
                  </a:lnTo>
                  <a:lnTo>
                    <a:pt x="390" y="2"/>
                  </a:lnTo>
                  <a:lnTo>
                    <a:pt x="389" y="0"/>
                  </a:lnTo>
                  <a:lnTo>
                    <a:pt x="389" y="0"/>
                  </a:lnTo>
                  <a:lnTo>
                    <a:pt x="388" y="0"/>
                  </a:lnTo>
                  <a:lnTo>
                    <a:pt x="387" y="0"/>
                  </a:lnTo>
                  <a:lnTo>
                    <a:pt x="381" y="1"/>
                  </a:lnTo>
                  <a:lnTo>
                    <a:pt x="367" y="10"/>
                  </a:lnTo>
                  <a:lnTo>
                    <a:pt x="343" y="26"/>
                  </a:lnTo>
                  <a:lnTo>
                    <a:pt x="326" y="35"/>
                  </a:lnTo>
                  <a:lnTo>
                    <a:pt x="307" y="46"/>
                  </a:lnTo>
                  <a:lnTo>
                    <a:pt x="307" y="46"/>
                  </a:lnTo>
                  <a:lnTo>
                    <a:pt x="285" y="57"/>
                  </a:lnTo>
                  <a:lnTo>
                    <a:pt x="267" y="67"/>
                  </a:lnTo>
                  <a:lnTo>
                    <a:pt x="252" y="73"/>
                  </a:lnTo>
                  <a:lnTo>
                    <a:pt x="237" y="78"/>
                  </a:lnTo>
                  <a:lnTo>
                    <a:pt x="224" y="82"/>
                  </a:lnTo>
                  <a:lnTo>
                    <a:pt x="211" y="85"/>
                  </a:lnTo>
                  <a:lnTo>
                    <a:pt x="183" y="89"/>
                  </a:lnTo>
                  <a:lnTo>
                    <a:pt x="183" y="89"/>
                  </a:lnTo>
                  <a:lnTo>
                    <a:pt x="174" y="89"/>
                  </a:lnTo>
                  <a:lnTo>
                    <a:pt x="165" y="88"/>
                  </a:lnTo>
                  <a:lnTo>
                    <a:pt x="147" y="85"/>
                  </a:lnTo>
                  <a:lnTo>
                    <a:pt x="132" y="81"/>
                  </a:lnTo>
                  <a:lnTo>
                    <a:pt x="125" y="81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14" y="85"/>
                  </a:lnTo>
                  <a:lnTo>
                    <a:pt x="107" y="91"/>
                  </a:lnTo>
                  <a:lnTo>
                    <a:pt x="102" y="98"/>
                  </a:lnTo>
                  <a:lnTo>
                    <a:pt x="97" y="107"/>
                  </a:lnTo>
                  <a:lnTo>
                    <a:pt x="92" y="120"/>
                  </a:lnTo>
                  <a:lnTo>
                    <a:pt x="87" y="134"/>
                  </a:lnTo>
                  <a:lnTo>
                    <a:pt x="74" y="171"/>
                  </a:lnTo>
                  <a:lnTo>
                    <a:pt x="74" y="171"/>
                  </a:lnTo>
                  <a:lnTo>
                    <a:pt x="49" y="242"/>
                  </a:lnTo>
                  <a:lnTo>
                    <a:pt x="42" y="261"/>
                  </a:lnTo>
                  <a:lnTo>
                    <a:pt x="42" y="261"/>
                  </a:lnTo>
                  <a:lnTo>
                    <a:pt x="34" y="279"/>
                  </a:lnTo>
                  <a:lnTo>
                    <a:pt x="27" y="293"/>
                  </a:lnTo>
                  <a:lnTo>
                    <a:pt x="14" y="312"/>
                  </a:lnTo>
                  <a:lnTo>
                    <a:pt x="10" y="320"/>
                  </a:lnTo>
                  <a:lnTo>
                    <a:pt x="6" y="327"/>
                  </a:lnTo>
                  <a:lnTo>
                    <a:pt x="3" y="335"/>
                  </a:lnTo>
                  <a:lnTo>
                    <a:pt x="1" y="34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36" name="Freeform 33"/>
            <p:cNvSpPr>
              <a:spLocks/>
            </p:cNvSpPr>
            <p:nvPr userDrawn="1"/>
          </p:nvSpPr>
          <p:spPr bwMode="auto">
            <a:xfrm>
              <a:off x="741363" y="709613"/>
              <a:ext cx="39688" cy="46038"/>
            </a:xfrm>
            <a:custGeom>
              <a:avLst/>
              <a:gdLst>
                <a:gd name="T0" fmla="*/ 103 w 296"/>
                <a:gd name="T1" fmla="*/ 350 h 350"/>
                <a:gd name="T2" fmla="*/ 103 w 296"/>
                <a:gd name="T3" fmla="*/ 350 h 350"/>
                <a:gd name="T4" fmla="*/ 132 w 296"/>
                <a:gd name="T5" fmla="*/ 349 h 350"/>
                <a:gd name="T6" fmla="*/ 164 w 296"/>
                <a:gd name="T7" fmla="*/ 346 h 350"/>
                <a:gd name="T8" fmla="*/ 196 w 296"/>
                <a:gd name="T9" fmla="*/ 343 h 350"/>
                <a:gd name="T10" fmla="*/ 226 w 296"/>
                <a:gd name="T11" fmla="*/ 339 h 350"/>
                <a:gd name="T12" fmla="*/ 276 w 296"/>
                <a:gd name="T13" fmla="*/ 333 h 350"/>
                <a:gd name="T14" fmla="*/ 296 w 296"/>
                <a:gd name="T15" fmla="*/ 329 h 350"/>
                <a:gd name="T16" fmla="*/ 293 w 296"/>
                <a:gd name="T17" fmla="*/ 25 h 350"/>
                <a:gd name="T18" fmla="*/ 293 w 296"/>
                <a:gd name="T19" fmla="*/ 25 h 350"/>
                <a:gd name="T20" fmla="*/ 244 w 296"/>
                <a:gd name="T21" fmla="*/ 18 h 350"/>
                <a:gd name="T22" fmla="*/ 142 w 296"/>
                <a:gd name="T23" fmla="*/ 2 h 350"/>
                <a:gd name="T24" fmla="*/ 142 w 296"/>
                <a:gd name="T25" fmla="*/ 2 h 350"/>
                <a:gd name="T26" fmla="*/ 129 w 296"/>
                <a:gd name="T27" fmla="*/ 1 h 350"/>
                <a:gd name="T28" fmla="*/ 117 w 296"/>
                <a:gd name="T29" fmla="*/ 0 h 350"/>
                <a:gd name="T30" fmla="*/ 105 w 296"/>
                <a:gd name="T31" fmla="*/ 0 h 350"/>
                <a:gd name="T32" fmla="*/ 94 w 296"/>
                <a:gd name="T33" fmla="*/ 1 h 350"/>
                <a:gd name="T34" fmla="*/ 84 w 296"/>
                <a:gd name="T35" fmla="*/ 3 h 350"/>
                <a:gd name="T36" fmla="*/ 75 w 296"/>
                <a:gd name="T37" fmla="*/ 6 h 350"/>
                <a:gd name="T38" fmla="*/ 66 w 296"/>
                <a:gd name="T39" fmla="*/ 9 h 350"/>
                <a:gd name="T40" fmla="*/ 59 w 296"/>
                <a:gd name="T41" fmla="*/ 13 h 350"/>
                <a:gd name="T42" fmla="*/ 51 w 296"/>
                <a:gd name="T43" fmla="*/ 17 h 350"/>
                <a:gd name="T44" fmla="*/ 44 w 296"/>
                <a:gd name="T45" fmla="*/ 22 h 350"/>
                <a:gd name="T46" fmla="*/ 38 w 296"/>
                <a:gd name="T47" fmla="*/ 27 h 350"/>
                <a:gd name="T48" fmla="*/ 33 w 296"/>
                <a:gd name="T49" fmla="*/ 32 h 350"/>
                <a:gd name="T50" fmla="*/ 24 w 296"/>
                <a:gd name="T51" fmla="*/ 45 h 350"/>
                <a:gd name="T52" fmla="*/ 17 w 296"/>
                <a:gd name="T53" fmla="*/ 57 h 350"/>
                <a:gd name="T54" fmla="*/ 11 w 296"/>
                <a:gd name="T55" fmla="*/ 70 h 350"/>
                <a:gd name="T56" fmla="*/ 6 w 296"/>
                <a:gd name="T57" fmla="*/ 83 h 350"/>
                <a:gd name="T58" fmla="*/ 3 w 296"/>
                <a:gd name="T59" fmla="*/ 96 h 350"/>
                <a:gd name="T60" fmla="*/ 1 w 296"/>
                <a:gd name="T61" fmla="*/ 106 h 350"/>
                <a:gd name="T62" fmla="*/ 0 w 296"/>
                <a:gd name="T63" fmla="*/ 123 h 350"/>
                <a:gd name="T64" fmla="*/ 0 w 296"/>
                <a:gd name="T65" fmla="*/ 129 h 350"/>
                <a:gd name="T66" fmla="*/ 4 w 296"/>
                <a:gd name="T67" fmla="*/ 213 h 350"/>
                <a:gd name="T68" fmla="*/ 4 w 296"/>
                <a:gd name="T69" fmla="*/ 213 h 350"/>
                <a:gd name="T70" fmla="*/ 4 w 296"/>
                <a:gd name="T71" fmla="*/ 219 h 350"/>
                <a:gd name="T72" fmla="*/ 6 w 296"/>
                <a:gd name="T73" fmla="*/ 235 h 350"/>
                <a:gd name="T74" fmla="*/ 11 w 296"/>
                <a:gd name="T75" fmla="*/ 256 h 350"/>
                <a:gd name="T76" fmla="*/ 15 w 296"/>
                <a:gd name="T77" fmla="*/ 268 h 350"/>
                <a:gd name="T78" fmla="*/ 19 w 296"/>
                <a:gd name="T79" fmla="*/ 282 h 350"/>
                <a:gd name="T80" fmla="*/ 24 w 296"/>
                <a:gd name="T81" fmla="*/ 294 h 350"/>
                <a:gd name="T82" fmla="*/ 31 w 296"/>
                <a:gd name="T83" fmla="*/ 306 h 350"/>
                <a:gd name="T84" fmla="*/ 39 w 296"/>
                <a:gd name="T85" fmla="*/ 319 h 350"/>
                <a:gd name="T86" fmla="*/ 48 w 296"/>
                <a:gd name="T87" fmla="*/ 329 h 350"/>
                <a:gd name="T88" fmla="*/ 53 w 296"/>
                <a:gd name="T89" fmla="*/ 333 h 350"/>
                <a:gd name="T90" fmla="*/ 60 w 296"/>
                <a:gd name="T91" fmla="*/ 337 h 350"/>
                <a:gd name="T92" fmla="*/ 66 w 296"/>
                <a:gd name="T93" fmla="*/ 341 h 350"/>
                <a:gd name="T94" fmla="*/ 72 w 296"/>
                <a:gd name="T95" fmla="*/ 344 h 350"/>
                <a:gd name="T96" fmla="*/ 79 w 296"/>
                <a:gd name="T97" fmla="*/ 346 h 350"/>
                <a:gd name="T98" fmla="*/ 86 w 296"/>
                <a:gd name="T99" fmla="*/ 348 h 350"/>
                <a:gd name="T100" fmla="*/ 94 w 296"/>
                <a:gd name="T101" fmla="*/ 349 h 350"/>
                <a:gd name="T102" fmla="*/ 103 w 296"/>
                <a:gd name="T103" fmla="*/ 3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350">
                  <a:moveTo>
                    <a:pt x="103" y="350"/>
                  </a:moveTo>
                  <a:lnTo>
                    <a:pt x="103" y="350"/>
                  </a:lnTo>
                  <a:lnTo>
                    <a:pt x="132" y="349"/>
                  </a:lnTo>
                  <a:lnTo>
                    <a:pt x="164" y="346"/>
                  </a:lnTo>
                  <a:lnTo>
                    <a:pt x="196" y="343"/>
                  </a:lnTo>
                  <a:lnTo>
                    <a:pt x="226" y="339"/>
                  </a:lnTo>
                  <a:lnTo>
                    <a:pt x="276" y="333"/>
                  </a:lnTo>
                  <a:lnTo>
                    <a:pt x="296" y="329"/>
                  </a:lnTo>
                  <a:lnTo>
                    <a:pt x="293" y="25"/>
                  </a:lnTo>
                  <a:lnTo>
                    <a:pt x="293" y="25"/>
                  </a:lnTo>
                  <a:lnTo>
                    <a:pt x="244" y="18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29" y="1"/>
                  </a:lnTo>
                  <a:lnTo>
                    <a:pt x="117" y="0"/>
                  </a:lnTo>
                  <a:lnTo>
                    <a:pt x="105" y="0"/>
                  </a:lnTo>
                  <a:lnTo>
                    <a:pt x="94" y="1"/>
                  </a:lnTo>
                  <a:lnTo>
                    <a:pt x="84" y="3"/>
                  </a:lnTo>
                  <a:lnTo>
                    <a:pt x="75" y="6"/>
                  </a:lnTo>
                  <a:lnTo>
                    <a:pt x="66" y="9"/>
                  </a:lnTo>
                  <a:lnTo>
                    <a:pt x="59" y="13"/>
                  </a:lnTo>
                  <a:lnTo>
                    <a:pt x="51" y="17"/>
                  </a:lnTo>
                  <a:lnTo>
                    <a:pt x="44" y="22"/>
                  </a:lnTo>
                  <a:lnTo>
                    <a:pt x="38" y="27"/>
                  </a:lnTo>
                  <a:lnTo>
                    <a:pt x="33" y="32"/>
                  </a:lnTo>
                  <a:lnTo>
                    <a:pt x="24" y="45"/>
                  </a:lnTo>
                  <a:lnTo>
                    <a:pt x="17" y="57"/>
                  </a:lnTo>
                  <a:lnTo>
                    <a:pt x="11" y="70"/>
                  </a:lnTo>
                  <a:lnTo>
                    <a:pt x="6" y="83"/>
                  </a:lnTo>
                  <a:lnTo>
                    <a:pt x="3" y="96"/>
                  </a:lnTo>
                  <a:lnTo>
                    <a:pt x="1" y="106"/>
                  </a:lnTo>
                  <a:lnTo>
                    <a:pt x="0" y="123"/>
                  </a:lnTo>
                  <a:lnTo>
                    <a:pt x="0" y="129"/>
                  </a:lnTo>
                  <a:lnTo>
                    <a:pt x="4" y="213"/>
                  </a:lnTo>
                  <a:lnTo>
                    <a:pt x="4" y="213"/>
                  </a:lnTo>
                  <a:lnTo>
                    <a:pt x="4" y="219"/>
                  </a:lnTo>
                  <a:lnTo>
                    <a:pt x="6" y="235"/>
                  </a:lnTo>
                  <a:lnTo>
                    <a:pt x="11" y="256"/>
                  </a:lnTo>
                  <a:lnTo>
                    <a:pt x="15" y="268"/>
                  </a:lnTo>
                  <a:lnTo>
                    <a:pt x="19" y="282"/>
                  </a:lnTo>
                  <a:lnTo>
                    <a:pt x="24" y="294"/>
                  </a:lnTo>
                  <a:lnTo>
                    <a:pt x="31" y="306"/>
                  </a:lnTo>
                  <a:lnTo>
                    <a:pt x="39" y="319"/>
                  </a:lnTo>
                  <a:lnTo>
                    <a:pt x="48" y="329"/>
                  </a:lnTo>
                  <a:lnTo>
                    <a:pt x="53" y="333"/>
                  </a:lnTo>
                  <a:lnTo>
                    <a:pt x="60" y="337"/>
                  </a:lnTo>
                  <a:lnTo>
                    <a:pt x="66" y="341"/>
                  </a:lnTo>
                  <a:lnTo>
                    <a:pt x="72" y="344"/>
                  </a:lnTo>
                  <a:lnTo>
                    <a:pt x="79" y="346"/>
                  </a:lnTo>
                  <a:lnTo>
                    <a:pt x="86" y="348"/>
                  </a:lnTo>
                  <a:lnTo>
                    <a:pt x="94" y="349"/>
                  </a:lnTo>
                  <a:lnTo>
                    <a:pt x="103" y="3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37" name="Freeform 34"/>
            <p:cNvSpPr>
              <a:spLocks/>
            </p:cNvSpPr>
            <p:nvPr userDrawn="1"/>
          </p:nvSpPr>
          <p:spPr bwMode="auto">
            <a:xfrm>
              <a:off x="788988" y="698501"/>
              <a:ext cx="60325" cy="57150"/>
            </a:xfrm>
            <a:custGeom>
              <a:avLst/>
              <a:gdLst>
                <a:gd name="T0" fmla="*/ 450 w 450"/>
                <a:gd name="T1" fmla="*/ 290 h 425"/>
                <a:gd name="T2" fmla="*/ 450 w 450"/>
                <a:gd name="T3" fmla="*/ 225 h 425"/>
                <a:gd name="T4" fmla="*/ 449 w 450"/>
                <a:gd name="T5" fmla="*/ 54 h 425"/>
                <a:gd name="T6" fmla="*/ 444 w 450"/>
                <a:gd name="T7" fmla="*/ 20 h 425"/>
                <a:gd name="T8" fmla="*/ 436 w 450"/>
                <a:gd name="T9" fmla="*/ 3 h 425"/>
                <a:gd name="T10" fmla="*/ 429 w 450"/>
                <a:gd name="T11" fmla="*/ 0 h 425"/>
                <a:gd name="T12" fmla="*/ 367 w 450"/>
                <a:gd name="T13" fmla="*/ 2 h 425"/>
                <a:gd name="T14" fmla="*/ 362 w 450"/>
                <a:gd name="T15" fmla="*/ 14 h 425"/>
                <a:gd name="T16" fmla="*/ 347 w 450"/>
                <a:gd name="T17" fmla="*/ 59 h 425"/>
                <a:gd name="T18" fmla="*/ 325 w 450"/>
                <a:gd name="T19" fmla="*/ 2 h 425"/>
                <a:gd name="T20" fmla="*/ 261 w 450"/>
                <a:gd name="T21" fmla="*/ 2 h 425"/>
                <a:gd name="T22" fmla="*/ 242 w 450"/>
                <a:gd name="T23" fmla="*/ 16 h 425"/>
                <a:gd name="T24" fmla="*/ 224 w 450"/>
                <a:gd name="T25" fmla="*/ 64 h 425"/>
                <a:gd name="T26" fmla="*/ 192 w 450"/>
                <a:gd name="T27" fmla="*/ 4 h 425"/>
                <a:gd name="T28" fmla="*/ 135 w 450"/>
                <a:gd name="T29" fmla="*/ 6 h 425"/>
                <a:gd name="T30" fmla="*/ 127 w 450"/>
                <a:gd name="T31" fmla="*/ 11 h 425"/>
                <a:gd name="T32" fmla="*/ 110 w 450"/>
                <a:gd name="T33" fmla="*/ 53 h 425"/>
                <a:gd name="T34" fmla="*/ 86 w 450"/>
                <a:gd name="T35" fmla="*/ 6 h 425"/>
                <a:gd name="T36" fmla="*/ 38 w 450"/>
                <a:gd name="T37" fmla="*/ 6 h 425"/>
                <a:gd name="T38" fmla="*/ 25 w 450"/>
                <a:gd name="T39" fmla="*/ 10 h 425"/>
                <a:gd name="T40" fmla="*/ 10 w 450"/>
                <a:gd name="T41" fmla="*/ 28 h 425"/>
                <a:gd name="T42" fmla="*/ 1 w 450"/>
                <a:gd name="T43" fmla="*/ 55 h 425"/>
                <a:gd name="T44" fmla="*/ 1 w 450"/>
                <a:gd name="T45" fmla="*/ 141 h 425"/>
                <a:gd name="T46" fmla="*/ 5 w 450"/>
                <a:gd name="T47" fmla="*/ 324 h 425"/>
                <a:gd name="T48" fmla="*/ 27 w 450"/>
                <a:gd name="T49" fmla="*/ 401 h 425"/>
                <a:gd name="T50" fmla="*/ 54 w 450"/>
                <a:gd name="T51" fmla="*/ 396 h 425"/>
                <a:gd name="T52" fmla="*/ 74 w 450"/>
                <a:gd name="T53" fmla="*/ 384 h 425"/>
                <a:gd name="T54" fmla="*/ 83 w 450"/>
                <a:gd name="T55" fmla="*/ 374 h 425"/>
                <a:gd name="T56" fmla="*/ 100 w 450"/>
                <a:gd name="T57" fmla="*/ 341 h 425"/>
                <a:gd name="T58" fmla="*/ 105 w 450"/>
                <a:gd name="T59" fmla="*/ 317 h 425"/>
                <a:gd name="T60" fmla="*/ 105 w 450"/>
                <a:gd name="T61" fmla="*/ 367 h 425"/>
                <a:gd name="T62" fmla="*/ 108 w 450"/>
                <a:gd name="T63" fmla="*/ 420 h 425"/>
                <a:gd name="T64" fmla="*/ 116 w 450"/>
                <a:gd name="T65" fmla="*/ 424 h 425"/>
                <a:gd name="T66" fmla="*/ 150 w 450"/>
                <a:gd name="T67" fmla="*/ 423 h 425"/>
                <a:gd name="T68" fmla="*/ 176 w 450"/>
                <a:gd name="T69" fmla="*/ 412 h 425"/>
                <a:gd name="T70" fmla="*/ 189 w 450"/>
                <a:gd name="T71" fmla="*/ 402 h 425"/>
                <a:gd name="T72" fmla="*/ 209 w 450"/>
                <a:gd name="T73" fmla="*/ 368 h 425"/>
                <a:gd name="T74" fmla="*/ 224 w 450"/>
                <a:gd name="T75" fmla="*/ 317 h 425"/>
                <a:gd name="T76" fmla="*/ 225 w 450"/>
                <a:gd name="T77" fmla="*/ 381 h 425"/>
                <a:gd name="T78" fmla="*/ 229 w 450"/>
                <a:gd name="T79" fmla="*/ 419 h 425"/>
                <a:gd name="T80" fmla="*/ 237 w 450"/>
                <a:gd name="T81" fmla="*/ 421 h 425"/>
                <a:gd name="T82" fmla="*/ 266 w 450"/>
                <a:gd name="T83" fmla="*/ 418 h 425"/>
                <a:gd name="T84" fmla="*/ 300 w 450"/>
                <a:gd name="T85" fmla="*/ 405 h 425"/>
                <a:gd name="T86" fmla="*/ 309 w 450"/>
                <a:gd name="T87" fmla="*/ 397 h 425"/>
                <a:gd name="T88" fmla="*/ 331 w 450"/>
                <a:gd name="T89" fmla="*/ 367 h 425"/>
                <a:gd name="T90" fmla="*/ 342 w 450"/>
                <a:gd name="T91" fmla="*/ 334 h 425"/>
                <a:gd name="T92" fmla="*/ 345 w 450"/>
                <a:gd name="T93" fmla="*/ 346 h 425"/>
                <a:gd name="T94" fmla="*/ 348 w 450"/>
                <a:gd name="T95" fmla="*/ 391 h 425"/>
                <a:gd name="T96" fmla="*/ 379 w 450"/>
                <a:gd name="T97" fmla="*/ 386 h 425"/>
                <a:gd name="T98" fmla="*/ 404 w 450"/>
                <a:gd name="T99" fmla="*/ 375 h 425"/>
                <a:gd name="T100" fmla="*/ 425 w 450"/>
                <a:gd name="T101" fmla="*/ 360 h 425"/>
                <a:gd name="T102" fmla="*/ 439 w 450"/>
                <a:gd name="T103" fmla="*/ 342 h 425"/>
                <a:gd name="T104" fmla="*/ 448 w 450"/>
                <a:gd name="T105" fmla="*/ 311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50" h="425">
                  <a:moveTo>
                    <a:pt x="448" y="311"/>
                  </a:moveTo>
                  <a:lnTo>
                    <a:pt x="448" y="311"/>
                  </a:lnTo>
                  <a:lnTo>
                    <a:pt x="450" y="290"/>
                  </a:lnTo>
                  <a:lnTo>
                    <a:pt x="450" y="268"/>
                  </a:lnTo>
                  <a:lnTo>
                    <a:pt x="450" y="225"/>
                  </a:lnTo>
                  <a:lnTo>
                    <a:pt x="450" y="225"/>
                  </a:lnTo>
                  <a:lnTo>
                    <a:pt x="449" y="64"/>
                  </a:lnTo>
                  <a:lnTo>
                    <a:pt x="449" y="64"/>
                  </a:lnTo>
                  <a:lnTo>
                    <a:pt x="449" y="54"/>
                  </a:lnTo>
                  <a:lnTo>
                    <a:pt x="448" y="44"/>
                  </a:lnTo>
                  <a:lnTo>
                    <a:pt x="447" y="33"/>
                  </a:lnTo>
                  <a:lnTo>
                    <a:pt x="444" y="20"/>
                  </a:lnTo>
                  <a:lnTo>
                    <a:pt x="441" y="10"/>
                  </a:lnTo>
                  <a:lnTo>
                    <a:pt x="439" y="6"/>
                  </a:lnTo>
                  <a:lnTo>
                    <a:pt x="436" y="3"/>
                  </a:lnTo>
                  <a:lnTo>
                    <a:pt x="433" y="1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396" y="0"/>
                  </a:lnTo>
                  <a:lnTo>
                    <a:pt x="378" y="1"/>
                  </a:lnTo>
                  <a:lnTo>
                    <a:pt x="367" y="2"/>
                  </a:lnTo>
                  <a:lnTo>
                    <a:pt x="367" y="2"/>
                  </a:lnTo>
                  <a:lnTo>
                    <a:pt x="364" y="7"/>
                  </a:lnTo>
                  <a:lnTo>
                    <a:pt x="362" y="14"/>
                  </a:lnTo>
                  <a:lnTo>
                    <a:pt x="356" y="33"/>
                  </a:lnTo>
                  <a:lnTo>
                    <a:pt x="350" y="52"/>
                  </a:lnTo>
                  <a:lnTo>
                    <a:pt x="347" y="59"/>
                  </a:lnTo>
                  <a:lnTo>
                    <a:pt x="345" y="64"/>
                  </a:lnTo>
                  <a:lnTo>
                    <a:pt x="325" y="2"/>
                  </a:lnTo>
                  <a:lnTo>
                    <a:pt x="325" y="2"/>
                  </a:lnTo>
                  <a:lnTo>
                    <a:pt x="309" y="1"/>
                  </a:lnTo>
                  <a:lnTo>
                    <a:pt x="286" y="1"/>
                  </a:lnTo>
                  <a:lnTo>
                    <a:pt x="261" y="2"/>
                  </a:lnTo>
                  <a:lnTo>
                    <a:pt x="247" y="4"/>
                  </a:lnTo>
                  <a:lnTo>
                    <a:pt x="247" y="4"/>
                  </a:lnTo>
                  <a:lnTo>
                    <a:pt x="242" y="16"/>
                  </a:lnTo>
                  <a:lnTo>
                    <a:pt x="236" y="34"/>
                  </a:lnTo>
                  <a:lnTo>
                    <a:pt x="229" y="52"/>
                  </a:lnTo>
                  <a:lnTo>
                    <a:pt x="224" y="64"/>
                  </a:lnTo>
                  <a:lnTo>
                    <a:pt x="205" y="5"/>
                  </a:lnTo>
                  <a:lnTo>
                    <a:pt x="205" y="5"/>
                  </a:lnTo>
                  <a:lnTo>
                    <a:pt x="192" y="4"/>
                  </a:lnTo>
                  <a:lnTo>
                    <a:pt x="168" y="4"/>
                  </a:lnTo>
                  <a:lnTo>
                    <a:pt x="144" y="5"/>
                  </a:lnTo>
                  <a:lnTo>
                    <a:pt x="135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27" y="11"/>
                  </a:lnTo>
                  <a:lnTo>
                    <a:pt x="124" y="18"/>
                  </a:lnTo>
                  <a:lnTo>
                    <a:pt x="117" y="36"/>
                  </a:lnTo>
                  <a:lnTo>
                    <a:pt x="110" y="53"/>
                  </a:lnTo>
                  <a:lnTo>
                    <a:pt x="105" y="64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6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3" y="7"/>
                  </a:lnTo>
                  <a:lnTo>
                    <a:pt x="29" y="8"/>
                  </a:lnTo>
                  <a:lnTo>
                    <a:pt x="25" y="10"/>
                  </a:lnTo>
                  <a:lnTo>
                    <a:pt x="21" y="12"/>
                  </a:lnTo>
                  <a:lnTo>
                    <a:pt x="15" y="19"/>
                  </a:lnTo>
                  <a:lnTo>
                    <a:pt x="10" y="28"/>
                  </a:lnTo>
                  <a:lnTo>
                    <a:pt x="5" y="36"/>
                  </a:lnTo>
                  <a:lnTo>
                    <a:pt x="2" y="46"/>
                  </a:lnTo>
                  <a:lnTo>
                    <a:pt x="1" y="55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1" y="141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5" y="324"/>
                  </a:lnTo>
                  <a:lnTo>
                    <a:pt x="8" y="402"/>
                  </a:lnTo>
                  <a:lnTo>
                    <a:pt x="8" y="402"/>
                  </a:lnTo>
                  <a:lnTo>
                    <a:pt x="27" y="401"/>
                  </a:lnTo>
                  <a:lnTo>
                    <a:pt x="37" y="399"/>
                  </a:lnTo>
                  <a:lnTo>
                    <a:pt x="45" y="398"/>
                  </a:lnTo>
                  <a:lnTo>
                    <a:pt x="54" y="396"/>
                  </a:lnTo>
                  <a:lnTo>
                    <a:pt x="62" y="393"/>
                  </a:lnTo>
                  <a:lnTo>
                    <a:pt x="68" y="388"/>
                  </a:lnTo>
                  <a:lnTo>
                    <a:pt x="74" y="384"/>
                  </a:lnTo>
                  <a:lnTo>
                    <a:pt x="74" y="384"/>
                  </a:lnTo>
                  <a:lnTo>
                    <a:pt x="79" y="379"/>
                  </a:lnTo>
                  <a:lnTo>
                    <a:pt x="83" y="374"/>
                  </a:lnTo>
                  <a:lnTo>
                    <a:pt x="90" y="363"/>
                  </a:lnTo>
                  <a:lnTo>
                    <a:pt x="95" y="352"/>
                  </a:lnTo>
                  <a:lnTo>
                    <a:pt x="100" y="341"/>
                  </a:lnTo>
                  <a:lnTo>
                    <a:pt x="103" y="331"/>
                  </a:lnTo>
                  <a:lnTo>
                    <a:pt x="104" y="324"/>
                  </a:lnTo>
                  <a:lnTo>
                    <a:pt x="105" y="317"/>
                  </a:lnTo>
                  <a:lnTo>
                    <a:pt x="105" y="317"/>
                  </a:lnTo>
                  <a:lnTo>
                    <a:pt x="105" y="337"/>
                  </a:lnTo>
                  <a:lnTo>
                    <a:pt x="105" y="367"/>
                  </a:lnTo>
                  <a:lnTo>
                    <a:pt x="106" y="397"/>
                  </a:lnTo>
                  <a:lnTo>
                    <a:pt x="108" y="420"/>
                  </a:lnTo>
                  <a:lnTo>
                    <a:pt x="108" y="420"/>
                  </a:lnTo>
                  <a:lnTo>
                    <a:pt x="108" y="421"/>
                  </a:lnTo>
                  <a:lnTo>
                    <a:pt x="110" y="422"/>
                  </a:lnTo>
                  <a:lnTo>
                    <a:pt x="116" y="424"/>
                  </a:lnTo>
                  <a:lnTo>
                    <a:pt x="125" y="425"/>
                  </a:lnTo>
                  <a:lnTo>
                    <a:pt x="136" y="425"/>
                  </a:lnTo>
                  <a:lnTo>
                    <a:pt x="150" y="423"/>
                  </a:lnTo>
                  <a:lnTo>
                    <a:pt x="163" y="418"/>
                  </a:lnTo>
                  <a:lnTo>
                    <a:pt x="169" y="415"/>
                  </a:lnTo>
                  <a:lnTo>
                    <a:pt x="176" y="412"/>
                  </a:lnTo>
                  <a:lnTo>
                    <a:pt x="182" y="407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97" y="392"/>
                  </a:lnTo>
                  <a:lnTo>
                    <a:pt x="204" y="380"/>
                  </a:lnTo>
                  <a:lnTo>
                    <a:pt x="209" y="368"/>
                  </a:lnTo>
                  <a:lnTo>
                    <a:pt x="213" y="356"/>
                  </a:lnTo>
                  <a:lnTo>
                    <a:pt x="220" y="333"/>
                  </a:lnTo>
                  <a:lnTo>
                    <a:pt x="224" y="317"/>
                  </a:lnTo>
                  <a:lnTo>
                    <a:pt x="224" y="317"/>
                  </a:lnTo>
                  <a:lnTo>
                    <a:pt x="224" y="348"/>
                  </a:lnTo>
                  <a:lnTo>
                    <a:pt x="225" y="381"/>
                  </a:lnTo>
                  <a:lnTo>
                    <a:pt x="227" y="408"/>
                  </a:lnTo>
                  <a:lnTo>
                    <a:pt x="228" y="417"/>
                  </a:lnTo>
                  <a:lnTo>
                    <a:pt x="229" y="419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7" y="421"/>
                  </a:lnTo>
                  <a:lnTo>
                    <a:pt x="245" y="421"/>
                  </a:lnTo>
                  <a:lnTo>
                    <a:pt x="255" y="420"/>
                  </a:lnTo>
                  <a:lnTo>
                    <a:pt x="266" y="418"/>
                  </a:lnTo>
                  <a:lnTo>
                    <a:pt x="277" y="415"/>
                  </a:lnTo>
                  <a:lnTo>
                    <a:pt x="289" y="411"/>
                  </a:lnTo>
                  <a:lnTo>
                    <a:pt x="300" y="405"/>
                  </a:lnTo>
                  <a:lnTo>
                    <a:pt x="305" y="401"/>
                  </a:lnTo>
                  <a:lnTo>
                    <a:pt x="309" y="397"/>
                  </a:lnTo>
                  <a:lnTo>
                    <a:pt x="309" y="397"/>
                  </a:lnTo>
                  <a:lnTo>
                    <a:pt x="317" y="387"/>
                  </a:lnTo>
                  <a:lnTo>
                    <a:pt x="325" y="377"/>
                  </a:lnTo>
                  <a:lnTo>
                    <a:pt x="331" y="367"/>
                  </a:lnTo>
                  <a:lnTo>
                    <a:pt x="336" y="356"/>
                  </a:lnTo>
                  <a:lnTo>
                    <a:pt x="339" y="345"/>
                  </a:lnTo>
                  <a:lnTo>
                    <a:pt x="342" y="334"/>
                  </a:lnTo>
                  <a:lnTo>
                    <a:pt x="345" y="317"/>
                  </a:lnTo>
                  <a:lnTo>
                    <a:pt x="345" y="317"/>
                  </a:lnTo>
                  <a:lnTo>
                    <a:pt x="345" y="346"/>
                  </a:lnTo>
                  <a:lnTo>
                    <a:pt x="346" y="370"/>
                  </a:lnTo>
                  <a:lnTo>
                    <a:pt x="348" y="391"/>
                  </a:lnTo>
                  <a:lnTo>
                    <a:pt x="348" y="391"/>
                  </a:lnTo>
                  <a:lnTo>
                    <a:pt x="362" y="390"/>
                  </a:lnTo>
                  <a:lnTo>
                    <a:pt x="371" y="388"/>
                  </a:lnTo>
                  <a:lnTo>
                    <a:pt x="379" y="386"/>
                  </a:lnTo>
                  <a:lnTo>
                    <a:pt x="379" y="386"/>
                  </a:lnTo>
                  <a:lnTo>
                    <a:pt x="393" y="380"/>
                  </a:lnTo>
                  <a:lnTo>
                    <a:pt x="404" y="375"/>
                  </a:lnTo>
                  <a:lnTo>
                    <a:pt x="415" y="368"/>
                  </a:lnTo>
                  <a:lnTo>
                    <a:pt x="415" y="368"/>
                  </a:lnTo>
                  <a:lnTo>
                    <a:pt x="425" y="360"/>
                  </a:lnTo>
                  <a:lnTo>
                    <a:pt x="430" y="355"/>
                  </a:lnTo>
                  <a:lnTo>
                    <a:pt x="435" y="349"/>
                  </a:lnTo>
                  <a:lnTo>
                    <a:pt x="439" y="342"/>
                  </a:lnTo>
                  <a:lnTo>
                    <a:pt x="443" y="333"/>
                  </a:lnTo>
                  <a:lnTo>
                    <a:pt x="446" y="323"/>
                  </a:lnTo>
                  <a:lnTo>
                    <a:pt x="448" y="31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38" name="Freeform 35"/>
            <p:cNvSpPr>
              <a:spLocks/>
            </p:cNvSpPr>
            <p:nvPr userDrawn="1"/>
          </p:nvSpPr>
          <p:spPr bwMode="auto">
            <a:xfrm>
              <a:off x="796926" y="701676"/>
              <a:ext cx="73025" cy="80963"/>
            </a:xfrm>
            <a:custGeom>
              <a:avLst/>
              <a:gdLst>
                <a:gd name="T0" fmla="*/ 554 w 554"/>
                <a:gd name="T1" fmla="*/ 356 h 620"/>
                <a:gd name="T2" fmla="*/ 549 w 554"/>
                <a:gd name="T3" fmla="*/ 350 h 620"/>
                <a:gd name="T4" fmla="*/ 535 w 554"/>
                <a:gd name="T5" fmla="*/ 331 h 620"/>
                <a:gd name="T6" fmla="*/ 525 w 554"/>
                <a:gd name="T7" fmla="*/ 306 h 620"/>
                <a:gd name="T8" fmla="*/ 520 w 554"/>
                <a:gd name="T9" fmla="*/ 285 h 620"/>
                <a:gd name="T10" fmla="*/ 516 w 554"/>
                <a:gd name="T11" fmla="*/ 258 h 620"/>
                <a:gd name="T12" fmla="*/ 515 w 554"/>
                <a:gd name="T13" fmla="*/ 243 h 620"/>
                <a:gd name="T14" fmla="*/ 516 w 554"/>
                <a:gd name="T15" fmla="*/ 222 h 620"/>
                <a:gd name="T16" fmla="*/ 520 w 554"/>
                <a:gd name="T17" fmla="*/ 202 h 620"/>
                <a:gd name="T18" fmla="*/ 532 w 554"/>
                <a:gd name="T19" fmla="*/ 167 h 620"/>
                <a:gd name="T20" fmla="*/ 546 w 554"/>
                <a:gd name="T21" fmla="*/ 142 h 620"/>
                <a:gd name="T22" fmla="*/ 551 w 554"/>
                <a:gd name="T23" fmla="*/ 43 h 620"/>
                <a:gd name="T24" fmla="*/ 542 w 554"/>
                <a:gd name="T25" fmla="*/ 36 h 620"/>
                <a:gd name="T26" fmla="*/ 504 w 554"/>
                <a:gd name="T27" fmla="*/ 13 h 620"/>
                <a:gd name="T28" fmla="*/ 482 w 554"/>
                <a:gd name="T29" fmla="*/ 2 h 620"/>
                <a:gd name="T30" fmla="*/ 470 w 554"/>
                <a:gd name="T31" fmla="*/ 0 h 620"/>
                <a:gd name="T32" fmla="*/ 465 w 554"/>
                <a:gd name="T33" fmla="*/ 327 h 620"/>
                <a:gd name="T34" fmla="*/ 465 w 554"/>
                <a:gd name="T35" fmla="*/ 339 h 620"/>
                <a:gd name="T36" fmla="*/ 458 w 554"/>
                <a:gd name="T37" fmla="*/ 360 h 620"/>
                <a:gd name="T38" fmla="*/ 444 w 554"/>
                <a:gd name="T39" fmla="*/ 382 h 620"/>
                <a:gd name="T40" fmla="*/ 426 w 554"/>
                <a:gd name="T41" fmla="*/ 402 h 620"/>
                <a:gd name="T42" fmla="*/ 405 w 554"/>
                <a:gd name="T43" fmla="*/ 421 h 620"/>
                <a:gd name="T44" fmla="*/ 380 w 554"/>
                <a:gd name="T45" fmla="*/ 437 h 620"/>
                <a:gd name="T46" fmla="*/ 353 w 554"/>
                <a:gd name="T47" fmla="*/ 449 h 620"/>
                <a:gd name="T48" fmla="*/ 327 w 554"/>
                <a:gd name="T49" fmla="*/ 458 h 620"/>
                <a:gd name="T50" fmla="*/ 314 w 554"/>
                <a:gd name="T51" fmla="*/ 461 h 620"/>
                <a:gd name="T52" fmla="*/ 255 w 554"/>
                <a:gd name="T53" fmla="*/ 471 h 620"/>
                <a:gd name="T54" fmla="*/ 199 w 554"/>
                <a:gd name="T55" fmla="*/ 477 h 620"/>
                <a:gd name="T56" fmla="*/ 98 w 554"/>
                <a:gd name="T57" fmla="*/ 482 h 620"/>
                <a:gd name="T58" fmla="*/ 27 w 554"/>
                <a:gd name="T59" fmla="*/ 482 h 620"/>
                <a:gd name="T60" fmla="*/ 0 w 554"/>
                <a:gd name="T61" fmla="*/ 481 h 620"/>
                <a:gd name="T62" fmla="*/ 4 w 554"/>
                <a:gd name="T63" fmla="*/ 508 h 620"/>
                <a:gd name="T64" fmla="*/ 13 w 554"/>
                <a:gd name="T65" fmla="*/ 550 h 620"/>
                <a:gd name="T66" fmla="*/ 18 w 554"/>
                <a:gd name="T67" fmla="*/ 566 h 620"/>
                <a:gd name="T68" fmla="*/ 29 w 554"/>
                <a:gd name="T69" fmla="*/ 586 h 620"/>
                <a:gd name="T70" fmla="*/ 44 w 554"/>
                <a:gd name="T71" fmla="*/ 604 h 620"/>
                <a:gd name="T72" fmla="*/ 62 w 554"/>
                <a:gd name="T73" fmla="*/ 620 h 620"/>
                <a:gd name="T74" fmla="*/ 554 w 554"/>
                <a:gd name="T75" fmla="*/ 45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4" h="620">
                  <a:moveTo>
                    <a:pt x="554" y="450"/>
                  </a:moveTo>
                  <a:lnTo>
                    <a:pt x="554" y="356"/>
                  </a:lnTo>
                  <a:lnTo>
                    <a:pt x="554" y="356"/>
                  </a:lnTo>
                  <a:lnTo>
                    <a:pt x="549" y="350"/>
                  </a:lnTo>
                  <a:lnTo>
                    <a:pt x="543" y="342"/>
                  </a:lnTo>
                  <a:lnTo>
                    <a:pt x="535" y="331"/>
                  </a:lnTo>
                  <a:lnTo>
                    <a:pt x="528" y="315"/>
                  </a:lnTo>
                  <a:lnTo>
                    <a:pt x="525" y="306"/>
                  </a:lnTo>
                  <a:lnTo>
                    <a:pt x="522" y="296"/>
                  </a:lnTo>
                  <a:lnTo>
                    <a:pt x="520" y="285"/>
                  </a:lnTo>
                  <a:lnTo>
                    <a:pt x="517" y="271"/>
                  </a:lnTo>
                  <a:lnTo>
                    <a:pt x="516" y="258"/>
                  </a:lnTo>
                  <a:lnTo>
                    <a:pt x="515" y="243"/>
                  </a:lnTo>
                  <a:lnTo>
                    <a:pt x="515" y="243"/>
                  </a:lnTo>
                  <a:lnTo>
                    <a:pt x="515" y="232"/>
                  </a:lnTo>
                  <a:lnTo>
                    <a:pt x="516" y="222"/>
                  </a:lnTo>
                  <a:lnTo>
                    <a:pt x="517" y="212"/>
                  </a:lnTo>
                  <a:lnTo>
                    <a:pt x="520" y="202"/>
                  </a:lnTo>
                  <a:lnTo>
                    <a:pt x="526" y="183"/>
                  </a:lnTo>
                  <a:lnTo>
                    <a:pt x="532" y="167"/>
                  </a:lnTo>
                  <a:lnTo>
                    <a:pt x="540" y="154"/>
                  </a:lnTo>
                  <a:lnTo>
                    <a:pt x="546" y="142"/>
                  </a:lnTo>
                  <a:lnTo>
                    <a:pt x="552" y="133"/>
                  </a:lnTo>
                  <a:lnTo>
                    <a:pt x="551" y="43"/>
                  </a:lnTo>
                  <a:lnTo>
                    <a:pt x="551" y="43"/>
                  </a:lnTo>
                  <a:lnTo>
                    <a:pt x="542" y="36"/>
                  </a:lnTo>
                  <a:lnTo>
                    <a:pt x="518" y="21"/>
                  </a:lnTo>
                  <a:lnTo>
                    <a:pt x="504" y="13"/>
                  </a:lnTo>
                  <a:lnTo>
                    <a:pt x="489" y="5"/>
                  </a:lnTo>
                  <a:lnTo>
                    <a:pt x="482" y="2"/>
                  </a:lnTo>
                  <a:lnTo>
                    <a:pt x="476" y="1"/>
                  </a:lnTo>
                  <a:lnTo>
                    <a:pt x="470" y="0"/>
                  </a:lnTo>
                  <a:lnTo>
                    <a:pt x="464" y="0"/>
                  </a:lnTo>
                  <a:lnTo>
                    <a:pt x="465" y="327"/>
                  </a:lnTo>
                  <a:lnTo>
                    <a:pt x="465" y="327"/>
                  </a:lnTo>
                  <a:lnTo>
                    <a:pt x="465" y="339"/>
                  </a:lnTo>
                  <a:lnTo>
                    <a:pt x="462" y="349"/>
                  </a:lnTo>
                  <a:lnTo>
                    <a:pt x="458" y="360"/>
                  </a:lnTo>
                  <a:lnTo>
                    <a:pt x="452" y="370"/>
                  </a:lnTo>
                  <a:lnTo>
                    <a:pt x="444" y="382"/>
                  </a:lnTo>
                  <a:lnTo>
                    <a:pt x="436" y="392"/>
                  </a:lnTo>
                  <a:lnTo>
                    <a:pt x="426" y="402"/>
                  </a:lnTo>
                  <a:lnTo>
                    <a:pt x="416" y="411"/>
                  </a:lnTo>
                  <a:lnTo>
                    <a:pt x="405" y="421"/>
                  </a:lnTo>
                  <a:lnTo>
                    <a:pt x="392" y="429"/>
                  </a:lnTo>
                  <a:lnTo>
                    <a:pt x="380" y="437"/>
                  </a:lnTo>
                  <a:lnTo>
                    <a:pt x="367" y="443"/>
                  </a:lnTo>
                  <a:lnTo>
                    <a:pt x="353" y="449"/>
                  </a:lnTo>
                  <a:lnTo>
                    <a:pt x="340" y="454"/>
                  </a:lnTo>
                  <a:lnTo>
                    <a:pt x="327" y="458"/>
                  </a:lnTo>
                  <a:lnTo>
                    <a:pt x="314" y="461"/>
                  </a:lnTo>
                  <a:lnTo>
                    <a:pt x="314" y="461"/>
                  </a:lnTo>
                  <a:lnTo>
                    <a:pt x="284" y="467"/>
                  </a:lnTo>
                  <a:lnTo>
                    <a:pt x="255" y="471"/>
                  </a:lnTo>
                  <a:lnTo>
                    <a:pt x="227" y="474"/>
                  </a:lnTo>
                  <a:lnTo>
                    <a:pt x="199" y="477"/>
                  </a:lnTo>
                  <a:lnTo>
                    <a:pt x="146" y="480"/>
                  </a:lnTo>
                  <a:lnTo>
                    <a:pt x="98" y="482"/>
                  </a:lnTo>
                  <a:lnTo>
                    <a:pt x="58" y="482"/>
                  </a:lnTo>
                  <a:lnTo>
                    <a:pt x="27" y="482"/>
                  </a:lnTo>
                  <a:lnTo>
                    <a:pt x="0" y="481"/>
                  </a:lnTo>
                  <a:lnTo>
                    <a:pt x="0" y="481"/>
                  </a:lnTo>
                  <a:lnTo>
                    <a:pt x="1" y="488"/>
                  </a:lnTo>
                  <a:lnTo>
                    <a:pt x="4" y="508"/>
                  </a:lnTo>
                  <a:lnTo>
                    <a:pt x="10" y="535"/>
                  </a:lnTo>
                  <a:lnTo>
                    <a:pt x="13" y="550"/>
                  </a:lnTo>
                  <a:lnTo>
                    <a:pt x="18" y="566"/>
                  </a:lnTo>
                  <a:lnTo>
                    <a:pt x="18" y="566"/>
                  </a:lnTo>
                  <a:lnTo>
                    <a:pt x="23" y="576"/>
                  </a:lnTo>
                  <a:lnTo>
                    <a:pt x="29" y="586"/>
                  </a:lnTo>
                  <a:lnTo>
                    <a:pt x="36" y="595"/>
                  </a:lnTo>
                  <a:lnTo>
                    <a:pt x="44" y="604"/>
                  </a:lnTo>
                  <a:lnTo>
                    <a:pt x="57" y="616"/>
                  </a:lnTo>
                  <a:lnTo>
                    <a:pt x="62" y="620"/>
                  </a:lnTo>
                  <a:lnTo>
                    <a:pt x="451" y="620"/>
                  </a:lnTo>
                  <a:lnTo>
                    <a:pt x="554" y="4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39" name="Freeform 36"/>
            <p:cNvSpPr>
              <a:spLocks/>
            </p:cNvSpPr>
            <p:nvPr userDrawn="1"/>
          </p:nvSpPr>
          <p:spPr bwMode="auto">
            <a:xfrm>
              <a:off x="803276" y="793751"/>
              <a:ext cx="57150" cy="17463"/>
            </a:xfrm>
            <a:custGeom>
              <a:avLst/>
              <a:gdLst>
                <a:gd name="T0" fmla="*/ 20 w 435"/>
                <a:gd name="T1" fmla="*/ 142 h 142"/>
                <a:gd name="T2" fmla="*/ 411 w 435"/>
                <a:gd name="T3" fmla="*/ 142 h 142"/>
                <a:gd name="T4" fmla="*/ 411 w 435"/>
                <a:gd name="T5" fmla="*/ 142 h 142"/>
                <a:gd name="T6" fmla="*/ 422 w 435"/>
                <a:gd name="T7" fmla="*/ 109 h 142"/>
                <a:gd name="T8" fmla="*/ 430 w 435"/>
                <a:gd name="T9" fmla="*/ 83 h 142"/>
                <a:gd name="T10" fmla="*/ 433 w 435"/>
                <a:gd name="T11" fmla="*/ 72 h 142"/>
                <a:gd name="T12" fmla="*/ 435 w 435"/>
                <a:gd name="T13" fmla="*/ 63 h 142"/>
                <a:gd name="T14" fmla="*/ 417 w 435"/>
                <a:gd name="T15" fmla="*/ 0 h 142"/>
                <a:gd name="T16" fmla="*/ 22 w 435"/>
                <a:gd name="T17" fmla="*/ 0 h 142"/>
                <a:gd name="T18" fmla="*/ 0 w 435"/>
                <a:gd name="T19" fmla="*/ 65 h 142"/>
                <a:gd name="T20" fmla="*/ 20 w 435"/>
                <a:gd name="T2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5" h="142">
                  <a:moveTo>
                    <a:pt x="20" y="142"/>
                  </a:moveTo>
                  <a:lnTo>
                    <a:pt x="411" y="142"/>
                  </a:lnTo>
                  <a:lnTo>
                    <a:pt x="411" y="142"/>
                  </a:lnTo>
                  <a:lnTo>
                    <a:pt x="422" y="109"/>
                  </a:lnTo>
                  <a:lnTo>
                    <a:pt x="430" y="83"/>
                  </a:lnTo>
                  <a:lnTo>
                    <a:pt x="433" y="72"/>
                  </a:lnTo>
                  <a:lnTo>
                    <a:pt x="435" y="63"/>
                  </a:lnTo>
                  <a:lnTo>
                    <a:pt x="417" y="0"/>
                  </a:lnTo>
                  <a:lnTo>
                    <a:pt x="22" y="0"/>
                  </a:lnTo>
                  <a:lnTo>
                    <a:pt x="0" y="65"/>
                  </a:lnTo>
                  <a:lnTo>
                    <a:pt x="20" y="1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40" name="Freeform 37"/>
            <p:cNvSpPr>
              <a:spLocks/>
            </p:cNvSpPr>
            <p:nvPr userDrawn="1"/>
          </p:nvSpPr>
          <p:spPr bwMode="auto">
            <a:xfrm>
              <a:off x="806451" y="822326"/>
              <a:ext cx="57150" cy="66675"/>
            </a:xfrm>
            <a:custGeom>
              <a:avLst/>
              <a:gdLst>
                <a:gd name="T0" fmla="*/ 384 w 436"/>
                <a:gd name="T1" fmla="*/ 0 h 514"/>
                <a:gd name="T2" fmla="*/ 2 w 436"/>
                <a:gd name="T3" fmla="*/ 0 h 514"/>
                <a:gd name="T4" fmla="*/ 0 w 436"/>
                <a:gd name="T5" fmla="*/ 505 h 514"/>
                <a:gd name="T6" fmla="*/ 331 w 436"/>
                <a:gd name="T7" fmla="*/ 514 h 514"/>
                <a:gd name="T8" fmla="*/ 436 w 436"/>
                <a:gd name="T9" fmla="*/ 431 h 514"/>
                <a:gd name="T10" fmla="*/ 384 w 436"/>
                <a:gd name="T11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6" h="514">
                  <a:moveTo>
                    <a:pt x="384" y="0"/>
                  </a:moveTo>
                  <a:lnTo>
                    <a:pt x="2" y="0"/>
                  </a:lnTo>
                  <a:lnTo>
                    <a:pt x="0" y="505"/>
                  </a:lnTo>
                  <a:lnTo>
                    <a:pt x="331" y="514"/>
                  </a:lnTo>
                  <a:lnTo>
                    <a:pt x="436" y="431"/>
                  </a:lnTo>
                  <a:lnTo>
                    <a:pt x="3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41" name="Freeform 38"/>
            <p:cNvSpPr>
              <a:spLocks/>
            </p:cNvSpPr>
            <p:nvPr userDrawn="1"/>
          </p:nvSpPr>
          <p:spPr bwMode="auto">
            <a:xfrm>
              <a:off x="803276" y="887413"/>
              <a:ext cx="77788" cy="68263"/>
            </a:xfrm>
            <a:custGeom>
              <a:avLst/>
              <a:gdLst>
                <a:gd name="T0" fmla="*/ 586 w 586"/>
                <a:gd name="T1" fmla="*/ 139 h 523"/>
                <a:gd name="T2" fmla="*/ 586 w 586"/>
                <a:gd name="T3" fmla="*/ 139 h 523"/>
                <a:gd name="T4" fmla="*/ 552 w 586"/>
                <a:gd name="T5" fmla="*/ 115 h 523"/>
                <a:gd name="T6" fmla="*/ 527 w 586"/>
                <a:gd name="T7" fmla="*/ 97 h 523"/>
                <a:gd name="T8" fmla="*/ 519 w 586"/>
                <a:gd name="T9" fmla="*/ 90 h 523"/>
                <a:gd name="T10" fmla="*/ 514 w 586"/>
                <a:gd name="T11" fmla="*/ 85 h 523"/>
                <a:gd name="T12" fmla="*/ 514 w 586"/>
                <a:gd name="T13" fmla="*/ 85 h 523"/>
                <a:gd name="T14" fmla="*/ 512 w 586"/>
                <a:gd name="T15" fmla="*/ 79 h 523"/>
                <a:gd name="T16" fmla="*/ 510 w 586"/>
                <a:gd name="T17" fmla="*/ 69 h 523"/>
                <a:gd name="T18" fmla="*/ 506 w 586"/>
                <a:gd name="T19" fmla="*/ 40 h 523"/>
                <a:gd name="T20" fmla="*/ 503 w 586"/>
                <a:gd name="T21" fmla="*/ 0 h 523"/>
                <a:gd name="T22" fmla="*/ 381 w 586"/>
                <a:gd name="T23" fmla="*/ 98 h 523"/>
                <a:gd name="T24" fmla="*/ 8 w 586"/>
                <a:gd name="T25" fmla="*/ 97 h 523"/>
                <a:gd name="T26" fmla="*/ 8 w 586"/>
                <a:gd name="T27" fmla="*/ 97 h 523"/>
                <a:gd name="T28" fmla="*/ 8 w 586"/>
                <a:gd name="T29" fmla="*/ 98 h 523"/>
                <a:gd name="T30" fmla="*/ 7 w 586"/>
                <a:gd name="T31" fmla="*/ 100 h 523"/>
                <a:gd name="T32" fmla="*/ 5 w 586"/>
                <a:gd name="T33" fmla="*/ 108 h 523"/>
                <a:gd name="T34" fmla="*/ 3 w 586"/>
                <a:gd name="T35" fmla="*/ 139 h 523"/>
                <a:gd name="T36" fmla="*/ 2 w 586"/>
                <a:gd name="T37" fmla="*/ 183 h 523"/>
                <a:gd name="T38" fmla="*/ 1 w 586"/>
                <a:gd name="T39" fmla="*/ 233 h 523"/>
                <a:gd name="T40" fmla="*/ 0 w 586"/>
                <a:gd name="T41" fmla="*/ 327 h 523"/>
                <a:gd name="T42" fmla="*/ 0 w 586"/>
                <a:gd name="T43" fmla="*/ 369 h 523"/>
                <a:gd name="T44" fmla="*/ 0 w 586"/>
                <a:gd name="T45" fmla="*/ 369 h 523"/>
                <a:gd name="T46" fmla="*/ 29 w 586"/>
                <a:gd name="T47" fmla="*/ 395 h 523"/>
                <a:gd name="T48" fmla="*/ 95 w 586"/>
                <a:gd name="T49" fmla="*/ 448 h 523"/>
                <a:gd name="T50" fmla="*/ 131 w 586"/>
                <a:gd name="T51" fmla="*/ 477 h 523"/>
                <a:gd name="T52" fmla="*/ 162 w 586"/>
                <a:gd name="T53" fmla="*/ 501 h 523"/>
                <a:gd name="T54" fmla="*/ 186 w 586"/>
                <a:gd name="T55" fmla="*/ 517 h 523"/>
                <a:gd name="T56" fmla="*/ 193 w 586"/>
                <a:gd name="T57" fmla="*/ 522 h 523"/>
                <a:gd name="T58" fmla="*/ 195 w 586"/>
                <a:gd name="T59" fmla="*/ 523 h 523"/>
                <a:gd name="T60" fmla="*/ 197 w 586"/>
                <a:gd name="T61" fmla="*/ 523 h 523"/>
                <a:gd name="T62" fmla="*/ 448 w 586"/>
                <a:gd name="T63" fmla="*/ 206 h 523"/>
                <a:gd name="T64" fmla="*/ 586 w 586"/>
                <a:gd name="T65" fmla="*/ 139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86" h="523">
                  <a:moveTo>
                    <a:pt x="586" y="139"/>
                  </a:moveTo>
                  <a:lnTo>
                    <a:pt x="586" y="139"/>
                  </a:lnTo>
                  <a:lnTo>
                    <a:pt x="552" y="115"/>
                  </a:lnTo>
                  <a:lnTo>
                    <a:pt x="527" y="97"/>
                  </a:lnTo>
                  <a:lnTo>
                    <a:pt x="519" y="90"/>
                  </a:lnTo>
                  <a:lnTo>
                    <a:pt x="514" y="85"/>
                  </a:lnTo>
                  <a:lnTo>
                    <a:pt x="514" y="85"/>
                  </a:lnTo>
                  <a:lnTo>
                    <a:pt x="512" y="79"/>
                  </a:lnTo>
                  <a:lnTo>
                    <a:pt x="510" y="69"/>
                  </a:lnTo>
                  <a:lnTo>
                    <a:pt x="506" y="40"/>
                  </a:lnTo>
                  <a:lnTo>
                    <a:pt x="503" y="0"/>
                  </a:lnTo>
                  <a:lnTo>
                    <a:pt x="381" y="98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8" y="98"/>
                  </a:lnTo>
                  <a:lnTo>
                    <a:pt x="7" y="100"/>
                  </a:lnTo>
                  <a:lnTo>
                    <a:pt x="5" y="108"/>
                  </a:lnTo>
                  <a:lnTo>
                    <a:pt x="3" y="139"/>
                  </a:lnTo>
                  <a:lnTo>
                    <a:pt x="2" y="183"/>
                  </a:lnTo>
                  <a:lnTo>
                    <a:pt x="1" y="233"/>
                  </a:lnTo>
                  <a:lnTo>
                    <a:pt x="0" y="327"/>
                  </a:lnTo>
                  <a:lnTo>
                    <a:pt x="0" y="369"/>
                  </a:lnTo>
                  <a:lnTo>
                    <a:pt x="0" y="369"/>
                  </a:lnTo>
                  <a:lnTo>
                    <a:pt x="29" y="395"/>
                  </a:lnTo>
                  <a:lnTo>
                    <a:pt x="95" y="448"/>
                  </a:lnTo>
                  <a:lnTo>
                    <a:pt x="131" y="477"/>
                  </a:lnTo>
                  <a:lnTo>
                    <a:pt x="162" y="501"/>
                  </a:lnTo>
                  <a:lnTo>
                    <a:pt x="186" y="517"/>
                  </a:lnTo>
                  <a:lnTo>
                    <a:pt x="193" y="522"/>
                  </a:lnTo>
                  <a:lnTo>
                    <a:pt x="195" y="523"/>
                  </a:lnTo>
                  <a:lnTo>
                    <a:pt x="197" y="523"/>
                  </a:lnTo>
                  <a:lnTo>
                    <a:pt x="448" y="206"/>
                  </a:lnTo>
                  <a:lnTo>
                    <a:pt x="586" y="13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42" name="Freeform 39"/>
            <p:cNvSpPr>
              <a:spLocks/>
            </p:cNvSpPr>
            <p:nvPr userDrawn="1"/>
          </p:nvSpPr>
          <p:spPr bwMode="auto">
            <a:xfrm>
              <a:off x="839788" y="912813"/>
              <a:ext cx="115888" cy="66675"/>
            </a:xfrm>
            <a:custGeom>
              <a:avLst/>
              <a:gdLst>
                <a:gd name="T0" fmla="*/ 226 w 879"/>
                <a:gd name="T1" fmla="*/ 65 h 509"/>
                <a:gd name="T2" fmla="*/ 0 w 879"/>
                <a:gd name="T3" fmla="*/ 355 h 509"/>
                <a:gd name="T4" fmla="*/ 369 w 879"/>
                <a:gd name="T5" fmla="*/ 509 h 509"/>
                <a:gd name="T6" fmla="*/ 369 w 879"/>
                <a:gd name="T7" fmla="*/ 509 h 509"/>
                <a:gd name="T8" fmla="*/ 409 w 879"/>
                <a:gd name="T9" fmla="*/ 487 h 509"/>
                <a:gd name="T10" fmla="*/ 452 w 879"/>
                <a:gd name="T11" fmla="*/ 464 h 509"/>
                <a:gd name="T12" fmla="*/ 495 w 879"/>
                <a:gd name="T13" fmla="*/ 439 h 509"/>
                <a:gd name="T14" fmla="*/ 538 w 879"/>
                <a:gd name="T15" fmla="*/ 413 h 509"/>
                <a:gd name="T16" fmla="*/ 623 w 879"/>
                <a:gd name="T17" fmla="*/ 361 h 509"/>
                <a:gd name="T18" fmla="*/ 703 w 879"/>
                <a:gd name="T19" fmla="*/ 311 h 509"/>
                <a:gd name="T20" fmla="*/ 773 w 879"/>
                <a:gd name="T21" fmla="*/ 266 h 509"/>
                <a:gd name="T22" fmla="*/ 829 w 879"/>
                <a:gd name="T23" fmla="*/ 229 h 509"/>
                <a:gd name="T24" fmla="*/ 879 w 879"/>
                <a:gd name="T25" fmla="*/ 196 h 509"/>
                <a:gd name="T26" fmla="*/ 359 w 879"/>
                <a:gd name="T27" fmla="*/ 0 h 509"/>
                <a:gd name="T28" fmla="*/ 226 w 879"/>
                <a:gd name="T29" fmla="*/ 65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79" h="509">
                  <a:moveTo>
                    <a:pt x="226" y="65"/>
                  </a:moveTo>
                  <a:lnTo>
                    <a:pt x="0" y="355"/>
                  </a:lnTo>
                  <a:lnTo>
                    <a:pt x="369" y="509"/>
                  </a:lnTo>
                  <a:lnTo>
                    <a:pt x="369" y="509"/>
                  </a:lnTo>
                  <a:lnTo>
                    <a:pt x="409" y="487"/>
                  </a:lnTo>
                  <a:lnTo>
                    <a:pt x="452" y="464"/>
                  </a:lnTo>
                  <a:lnTo>
                    <a:pt x="495" y="439"/>
                  </a:lnTo>
                  <a:lnTo>
                    <a:pt x="538" y="413"/>
                  </a:lnTo>
                  <a:lnTo>
                    <a:pt x="623" y="361"/>
                  </a:lnTo>
                  <a:lnTo>
                    <a:pt x="703" y="311"/>
                  </a:lnTo>
                  <a:lnTo>
                    <a:pt x="773" y="266"/>
                  </a:lnTo>
                  <a:lnTo>
                    <a:pt x="829" y="229"/>
                  </a:lnTo>
                  <a:lnTo>
                    <a:pt x="879" y="196"/>
                  </a:lnTo>
                  <a:lnTo>
                    <a:pt x="359" y="0"/>
                  </a:lnTo>
                  <a:lnTo>
                    <a:pt x="226" y="6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43" name="Freeform 40"/>
            <p:cNvSpPr>
              <a:spLocks/>
            </p:cNvSpPr>
            <p:nvPr userDrawn="1"/>
          </p:nvSpPr>
          <p:spPr bwMode="auto">
            <a:xfrm>
              <a:off x="874713" y="668338"/>
              <a:ext cx="26988" cy="123825"/>
            </a:xfrm>
            <a:custGeom>
              <a:avLst/>
              <a:gdLst>
                <a:gd name="T0" fmla="*/ 170 w 211"/>
                <a:gd name="T1" fmla="*/ 388 h 928"/>
                <a:gd name="T2" fmla="*/ 169 w 211"/>
                <a:gd name="T3" fmla="*/ 133 h 928"/>
                <a:gd name="T4" fmla="*/ 171 w 211"/>
                <a:gd name="T5" fmla="*/ 84 h 928"/>
                <a:gd name="T6" fmla="*/ 172 w 211"/>
                <a:gd name="T7" fmla="*/ 79 h 928"/>
                <a:gd name="T8" fmla="*/ 182 w 211"/>
                <a:gd name="T9" fmla="*/ 64 h 928"/>
                <a:gd name="T10" fmla="*/ 188 w 211"/>
                <a:gd name="T11" fmla="*/ 53 h 928"/>
                <a:gd name="T12" fmla="*/ 192 w 211"/>
                <a:gd name="T13" fmla="*/ 36 h 928"/>
                <a:gd name="T14" fmla="*/ 191 w 211"/>
                <a:gd name="T15" fmla="*/ 18 h 928"/>
                <a:gd name="T16" fmla="*/ 188 w 211"/>
                <a:gd name="T17" fmla="*/ 0 h 928"/>
                <a:gd name="T18" fmla="*/ 6 w 211"/>
                <a:gd name="T19" fmla="*/ 0 h 928"/>
                <a:gd name="T20" fmla="*/ 4 w 211"/>
                <a:gd name="T21" fmla="*/ 8 h 928"/>
                <a:gd name="T22" fmla="*/ 5 w 211"/>
                <a:gd name="T23" fmla="*/ 33 h 928"/>
                <a:gd name="T24" fmla="*/ 7 w 211"/>
                <a:gd name="T25" fmla="*/ 43 h 928"/>
                <a:gd name="T26" fmla="*/ 17 w 211"/>
                <a:gd name="T27" fmla="*/ 65 h 928"/>
                <a:gd name="T28" fmla="*/ 28 w 211"/>
                <a:gd name="T29" fmla="*/ 80 h 928"/>
                <a:gd name="T30" fmla="*/ 33 w 211"/>
                <a:gd name="T31" fmla="*/ 388 h 928"/>
                <a:gd name="T32" fmla="*/ 29 w 211"/>
                <a:gd name="T33" fmla="*/ 395 h 928"/>
                <a:gd name="T34" fmla="*/ 19 w 211"/>
                <a:gd name="T35" fmla="*/ 412 h 928"/>
                <a:gd name="T36" fmla="*/ 9 w 211"/>
                <a:gd name="T37" fmla="*/ 443 h 928"/>
                <a:gd name="T38" fmla="*/ 0 w 211"/>
                <a:gd name="T39" fmla="*/ 487 h 928"/>
                <a:gd name="T40" fmla="*/ 0 w 211"/>
                <a:gd name="T41" fmla="*/ 498 h 928"/>
                <a:gd name="T42" fmla="*/ 1 w 211"/>
                <a:gd name="T43" fmla="*/ 518 h 928"/>
                <a:gd name="T44" fmla="*/ 10 w 211"/>
                <a:gd name="T45" fmla="*/ 546 h 928"/>
                <a:gd name="T46" fmla="*/ 23 w 211"/>
                <a:gd name="T47" fmla="*/ 576 h 928"/>
                <a:gd name="T48" fmla="*/ 35 w 211"/>
                <a:gd name="T49" fmla="*/ 594 h 928"/>
                <a:gd name="T50" fmla="*/ 31 w 211"/>
                <a:gd name="T51" fmla="*/ 850 h 928"/>
                <a:gd name="T52" fmla="*/ 23 w 211"/>
                <a:gd name="T53" fmla="*/ 859 h 928"/>
                <a:gd name="T54" fmla="*/ 18 w 211"/>
                <a:gd name="T55" fmla="*/ 871 h 928"/>
                <a:gd name="T56" fmla="*/ 14 w 211"/>
                <a:gd name="T57" fmla="*/ 888 h 928"/>
                <a:gd name="T58" fmla="*/ 14 w 211"/>
                <a:gd name="T59" fmla="*/ 898 h 928"/>
                <a:gd name="T60" fmla="*/ 15 w 211"/>
                <a:gd name="T61" fmla="*/ 919 h 928"/>
                <a:gd name="T62" fmla="*/ 18 w 211"/>
                <a:gd name="T63" fmla="*/ 928 h 928"/>
                <a:gd name="T64" fmla="*/ 188 w 211"/>
                <a:gd name="T65" fmla="*/ 928 h 928"/>
                <a:gd name="T66" fmla="*/ 191 w 211"/>
                <a:gd name="T67" fmla="*/ 906 h 928"/>
                <a:gd name="T68" fmla="*/ 190 w 211"/>
                <a:gd name="T69" fmla="*/ 881 h 928"/>
                <a:gd name="T70" fmla="*/ 188 w 211"/>
                <a:gd name="T71" fmla="*/ 873 h 928"/>
                <a:gd name="T72" fmla="*/ 179 w 211"/>
                <a:gd name="T73" fmla="*/ 857 h 928"/>
                <a:gd name="T74" fmla="*/ 169 w 211"/>
                <a:gd name="T75" fmla="*/ 846 h 928"/>
                <a:gd name="T76" fmla="*/ 168 w 211"/>
                <a:gd name="T77" fmla="*/ 594 h 928"/>
                <a:gd name="T78" fmla="*/ 190 w 211"/>
                <a:gd name="T79" fmla="*/ 561 h 928"/>
                <a:gd name="T80" fmla="*/ 202 w 211"/>
                <a:gd name="T81" fmla="*/ 537 h 928"/>
                <a:gd name="T82" fmla="*/ 210 w 211"/>
                <a:gd name="T83" fmla="*/ 507 h 928"/>
                <a:gd name="T84" fmla="*/ 211 w 211"/>
                <a:gd name="T85" fmla="*/ 491 h 928"/>
                <a:gd name="T86" fmla="*/ 211 w 211"/>
                <a:gd name="T87" fmla="*/ 482 h 928"/>
                <a:gd name="T88" fmla="*/ 206 w 211"/>
                <a:gd name="T89" fmla="*/ 458 h 928"/>
                <a:gd name="T90" fmla="*/ 195 w 211"/>
                <a:gd name="T91" fmla="*/ 428 h 928"/>
                <a:gd name="T92" fmla="*/ 181 w 211"/>
                <a:gd name="T93" fmla="*/ 405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1" h="928">
                  <a:moveTo>
                    <a:pt x="170" y="388"/>
                  </a:moveTo>
                  <a:lnTo>
                    <a:pt x="170" y="388"/>
                  </a:lnTo>
                  <a:lnTo>
                    <a:pt x="169" y="238"/>
                  </a:lnTo>
                  <a:lnTo>
                    <a:pt x="169" y="133"/>
                  </a:lnTo>
                  <a:lnTo>
                    <a:pt x="170" y="96"/>
                  </a:lnTo>
                  <a:lnTo>
                    <a:pt x="171" y="84"/>
                  </a:lnTo>
                  <a:lnTo>
                    <a:pt x="172" y="79"/>
                  </a:lnTo>
                  <a:lnTo>
                    <a:pt x="172" y="79"/>
                  </a:lnTo>
                  <a:lnTo>
                    <a:pt x="177" y="71"/>
                  </a:lnTo>
                  <a:lnTo>
                    <a:pt x="182" y="64"/>
                  </a:lnTo>
                  <a:lnTo>
                    <a:pt x="188" y="53"/>
                  </a:lnTo>
                  <a:lnTo>
                    <a:pt x="188" y="53"/>
                  </a:lnTo>
                  <a:lnTo>
                    <a:pt x="191" y="45"/>
                  </a:lnTo>
                  <a:lnTo>
                    <a:pt x="192" y="36"/>
                  </a:lnTo>
                  <a:lnTo>
                    <a:pt x="192" y="28"/>
                  </a:lnTo>
                  <a:lnTo>
                    <a:pt x="191" y="18"/>
                  </a:lnTo>
                  <a:lnTo>
                    <a:pt x="189" y="5"/>
                  </a:lnTo>
                  <a:lnTo>
                    <a:pt x="18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4"/>
                  </a:lnTo>
                  <a:lnTo>
                    <a:pt x="4" y="8"/>
                  </a:lnTo>
                  <a:lnTo>
                    <a:pt x="4" y="20"/>
                  </a:lnTo>
                  <a:lnTo>
                    <a:pt x="5" y="3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11" y="54"/>
                  </a:lnTo>
                  <a:lnTo>
                    <a:pt x="17" y="65"/>
                  </a:lnTo>
                  <a:lnTo>
                    <a:pt x="24" y="76"/>
                  </a:lnTo>
                  <a:lnTo>
                    <a:pt x="28" y="80"/>
                  </a:lnTo>
                  <a:lnTo>
                    <a:pt x="33" y="83"/>
                  </a:lnTo>
                  <a:lnTo>
                    <a:pt x="33" y="388"/>
                  </a:lnTo>
                  <a:lnTo>
                    <a:pt x="33" y="388"/>
                  </a:lnTo>
                  <a:lnTo>
                    <a:pt x="29" y="395"/>
                  </a:lnTo>
                  <a:lnTo>
                    <a:pt x="24" y="402"/>
                  </a:lnTo>
                  <a:lnTo>
                    <a:pt x="19" y="412"/>
                  </a:lnTo>
                  <a:lnTo>
                    <a:pt x="14" y="426"/>
                  </a:lnTo>
                  <a:lnTo>
                    <a:pt x="9" y="443"/>
                  </a:lnTo>
                  <a:lnTo>
                    <a:pt x="4" y="463"/>
                  </a:lnTo>
                  <a:lnTo>
                    <a:pt x="0" y="487"/>
                  </a:lnTo>
                  <a:lnTo>
                    <a:pt x="0" y="487"/>
                  </a:lnTo>
                  <a:lnTo>
                    <a:pt x="0" y="498"/>
                  </a:lnTo>
                  <a:lnTo>
                    <a:pt x="0" y="508"/>
                  </a:lnTo>
                  <a:lnTo>
                    <a:pt x="1" y="518"/>
                  </a:lnTo>
                  <a:lnTo>
                    <a:pt x="4" y="529"/>
                  </a:lnTo>
                  <a:lnTo>
                    <a:pt x="10" y="546"/>
                  </a:lnTo>
                  <a:lnTo>
                    <a:pt x="16" y="562"/>
                  </a:lnTo>
                  <a:lnTo>
                    <a:pt x="23" y="576"/>
                  </a:lnTo>
                  <a:lnTo>
                    <a:pt x="29" y="585"/>
                  </a:lnTo>
                  <a:lnTo>
                    <a:pt x="35" y="594"/>
                  </a:lnTo>
                  <a:lnTo>
                    <a:pt x="31" y="850"/>
                  </a:lnTo>
                  <a:lnTo>
                    <a:pt x="31" y="850"/>
                  </a:lnTo>
                  <a:lnTo>
                    <a:pt x="29" y="852"/>
                  </a:lnTo>
                  <a:lnTo>
                    <a:pt x="23" y="859"/>
                  </a:lnTo>
                  <a:lnTo>
                    <a:pt x="20" y="864"/>
                  </a:lnTo>
                  <a:lnTo>
                    <a:pt x="18" y="871"/>
                  </a:lnTo>
                  <a:lnTo>
                    <a:pt x="15" y="879"/>
                  </a:lnTo>
                  <a:lnTo>
                    <a:pt x="14" y="888"/>
                  </a:lnTo>
                  <a:lnTo>
                    <a:pt x="14" y="888"/>
                  </a:lnTo>
                  <a:lnTo>
                    <a:pt x="14" y="898"/>
                  </a:lnTo>
                  <a:lnTo>
                    <a:pt x="14" y="906"/>
                  </a:lnTo>
                  <a:lnTo>
                    <a:pt x="15" y="919"/>
                  </a:lnTo>
                  <a:lnTo>
                    <a:pt x="17" y="926"/>
                  </a:lnTo>
                  <a:lnTo>
                    <a:pt x="18" y="928"/>
                  </a:lnTo>
                  <a:lnTo>
                    <a:pt x="188" y="928"/>
                  </a:lnTo>
                  <a:lnTo>
                    <a:pt x="188" y="928"/>
                  </a:lnTo>
                  <a:lnTo>
                    <a:pt x="190" y="920"/>
                  </a:lnTo>
                  <a:lnTo>
                    <a:pt x="191" y="906"/>
                  </a:lnTo>
                  <a:lnTo>
                    <a:pt x="190" y="889"/>
                  </a:lnTo>
                  <a:lnTo>
                    <a:pt x="190" y="881"/>
                  </a:lnTo>
                  <a:lnTo>
                    <a:pt x="188" y="873"/>
                  </a:lnTo>
                  <a:lnTo>
                    <a:pt x="188" y="873"/>
                  </a:lnTo>
                  <a:lnTo>
                    <a:pt x="185" y="864"/>
                  </a:lnTo>
                  <a:lnTo>
                    <a:pt x="179" y="857"/>
                  </a:lnTo>
                  <a:lnTo>
                    <a:pt x="174" y="851"/>
                  </a:lnTo>
                  <a:lnTo>
                    <a:pt x="169" y="846"/>
                  </a:lnTo>
                  <a:lnTo>
                    <a:pt x="168" y="594"/>
                  </a:lnTo>
                  <a:lnTo>
                    <a:pt x="168" y="594"/>
                  </a:lnTo>
                  <a:lnTo>
                    <a:pt x="181" y="573"/>
                  </a:lnTo>
                  <a:lnTo>
                    <a:pt x="190" y="561"/>
                  </a:lnTo>
                  <a:lnTo>
                    <a:pt x="196" y="550"/>
                  </a:lnTo>
                  <a:lnTo>
                    <a:pt x="202" y="537"/>
                  </a:lnTo>
                  <a:lnTo>
                    <a:pt x="207" y="522"/>
                  </a:lnTo>
                  <a:lnTo>
                    <a:pt x="210" y="507"/>
                  </a:lnTo>
                  <a:lnTo>
                    <a:pt x="211" y="499"/>
                  </a:lnTo>
                  <a:lnTo>
                    <a:pt x="211" y="491"/>
                  </a:lnTo>
                  <a:lnTo>
                    <a:pt x="211" y="491"/>
                  </a:lnTo>
                  <a:lnTo>
                    <a:pt x="211" y="482"/>
                  </a:lnTo>
                  <a:lnTo>
                    <a:pt x="210" y="473"/>
                  </a:lnTo>
                  <a:lnTo>
                    <a:pt x="206" y="458"/>
                  </a:lnTo>
                  <a:lnTo>
                    <a:pt x="201" y="443"/>
                  </a:lnTo>
                  <a:lnTo>
                    <a:pt x="195" y="428"/>
                  </a:lnTo>
                  <a:lnTo>
                    <a:pt x="189" y="416"/>
                  </a:lnTo>
                  <a:lnTo>
                    <a:pt x="181" y="405"/>
                  </a:lnTo>
                  <a:lnTo>
                    <a:pt x="170" y="38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44" name="Freeform 41"/>
            <p:cNvSpPr>
              <a:spLocks/>
            </p:cNvSpPr>
            <p:nvPr userDrawn="1"/>
          </p:nvSpPr>
          <p:spPr bwMode="auto">
            <a:xfrm>
              <a:off x="903288" y="704851"/>
              <a:ext cx="80963" cy="58738"/>
            </a:xfrm>
            <a:custGeom>
              <a:avLst/>
              <a:gdLst>
                <a:gd name="T0" fmla="*/ 617 w 617"/>
                <a:gd name="T1" fmla="*/ 73 h 442"/>
                <a:gd name="T2" fmla="*/ 433 w 617"/>
                <a:gd name="T3" fmla="*/ 70 h 442"/>
                <a:gd name="T4" fmla="*/ 202 w 617"/>
                <a:gd name="T5" fmla="*/ 68 h 442"/>
                <a:gd name="T6" fmla="*/ 195 w 617"/>
                <a:gd name="T7" fmla="*/ 67 h 442"/>
                <a:gd name="T8" fmla="*/ 174 w 617"/>
                <a:gd name="T9" fmla="*/ 61 h 442"/>
                <a:gd name="T10" fmla="*/ 137 w 617"/>
                <a:gd name="T11" fmla="*/ 44 h 442"/>
                <a:gd name="T12" fmla="*/ 84 w 617"/>
                <a:gd name="T13" fmla="*/ 16 h 442"/>
                <a:gd name="T14" fmla="*/ 53 w 617"/>
                <a:gd name="T15" fmla="*/ 2 h 442"/>
                <a:gd name="T16" fmla="*/ 40 w 617"/>
                <a:gd name="T17" fmla="*/ 0 h 442"/>
                <a:gd name="T18" fmla="*/ 37 w 617"/>
                <a:gd name="T19" fmla="*/ 2 h 442"/>
                <a:gd name="T20" fmla="*/ 22 w 617"/>
                <a:gd name="T21" fmla="*/ 38 h 442"/>
                <a:gd name="T22" fmla="*/ 1 w 617"/>
                <a:gd name="T23" fmla="*/ 91 h 442"/>
                <a:gd name="T24" fmla="*/ 19 w 617"/>
                <a:gd name="T25" fmla="*/ 113 h 442"/>
                <a:gd name="T26" fmla="*/ 38 w 617"/>
                <a:gd name="T27" fmla="*/ 147 h 442"/>
                <a:gd name="T28" fmla="*/ 47 w 617"/>
                <a:gd name="T29" fmla="*/ 169 h 442"/>
                <a:gd name="T30" fmla="*/ 52 w 617"/>
                <a:gd name="T31" fmla="*/ 191 h 442"/>
                <a:gd name="T32" fmla="*/ 55 w 617"/>
                <a:gd name="T33" fmla="*/ 216 h 442"/>
                <a:gd name="T34" fmla="*/ 53 w 617"/>
                <a:gd name="T35" fmla="*/ 235 h 442"/>
                <a:gd name="T36" fmla="*/ 48 w 617"/>
                <a:gd name="T37" fmla="*/ 265 h 442"/>
                <a:gd name="T38" fmla="*/ 42 w 617"/>
                <a:gd name="T39" fmla="*/ 283 h 442"/>
                <a:gd name="T40" fmla="*/ 32 w 617"/>
                <a:gd name="T41" fmla="*/ 304 h 442"/>
                <a:gd name="T42" fmla="*/ 19 w 617"/>
                <a:gd name="T43" fmla="*/ 324 h 442"/>
                <a:gd name="T44" fmla="*/ 0 w 617"/>
                <a:gd name="T45" fmla="*/ 345 h 442"/>
                <a:gd name="T46" fmla="*/ 23 w 617"/>
                <a:gd name="T47" fmla="*/ 391 h 442"/>
                <a:gd name="T48" fmla="*/ 47 w 617"/>
                <a:gd name="T49" fmla="*/ 435 h 442"/>
                <a:gd name="T50" fmla="*/ 52 w 617"/>
                <a:gd name="T51" fmla="*/ 442 h 442"/>
                <a:gd name="T52" fmla="*/ 84 w 617"/>
                <a:gd name="T53" fmla="*/ 423 h 442"/>
                <a:gd name="T54" fmla="*/ 129 w 617"/>
                <a:gd name="T55" fmla="*/ 400 h 442"/>
                <a:gd name="T56" fmla="*/ 183 w 617"/>
                <a:gd name="T57" fmla="*/ 378 h 442"/>
                <a:gd name="T58" fmla="*/ 211 w 617"/>
                <a:gd name="T59" fmla="*/ 371 h 442"/>
                <a:gd name="T60" fmla="*/ 224 w 617"/>
                <a:gd name="T61" fmla="*/ 369 h 442"/>
                <a:gd name="T62" fmla="*/ 330 w 617"/>
                <a:gd name="T63" fmla="*/ 363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17" h="442">
                  <a:moveTo>
                    <a:pt x="330" y="363"/>
                  </a:moveTo>
                  <a:lnTo>
                    <a:pt x="617" y="73"/>
                  </a:lnTo>
                  <a:lnTo>
                    <a:pt x="617" y="73"/>
                  </a:lnTo>
                  <a:lnTo>
                    <a:pt x="433" y="70"/>
                  </a:lnTo>
                  <a:lnTo>
                    <a:pt x="324" y="69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195" y="67"/>
                  </a:lnTo>
                  <a:lnTo>
                    <a:pt x="185" y="65"/>
                  </a:lnTo>
                  <a:lnTo>
                    <a:pt x="174" y="61"/>
                  </a:lnTo>
                  <a:lnTo>
                    <a:pt x="163" y="56"/>
                  </a:lnTo>
                  <a:lnTo>
                    <a:pt x="137" y="44"/>
                  </a:lnTo>
                  <a:lnTo>
                    <a:pt x="110" y="30"/>
                  </a:lnTo>
                  <a:lnTo>
                    <a:pt x="84" y="16"/>
                  </a:lnTo>
                  <a:lnTo>
                    <a:pt x="63" y="6"/>
                  </a:lnTo>
                  <a:lnTo>
                    <a:pt x="53" y="2"/>
                  </a:lnTo>
                  <a:lnTo>
                    <a:pt x="45" y="1"/>
                  </a:lnTo>
                  <a:lnTo>
                    <a:pt x="40" y="0"/>
                  </a:lnTo>
                  <a:lnTo>
                    <a:pt x="38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22" y="38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10" y="101"/>
                  </a:lnTo>
                  <a:lnTo>
                    <a:pt x="19" y="113"/>
                  </a:lnTo>
                  <a:lnTo>
                    <a:pt x="29" y="129"/>
                  </a:lnTo>
                  <a:lnTo>
                    <a:pt x="38" y="147"/>
                  </a:lnTo>
                  <a:lnTo>
                    <a:pt x="43" y="157"/>
                  </a:lnTo>
                  <a:lnTo>
                    <a:pt x="47" y="169"/>
                  </a:lnTo>
                  <a:lnTo>
                    <a:pt x="50" y="180"/>
                  </a:lnTo>
                  <a:lnTo>
                    <a:pt x="52" y="191"/>
                  </a:lnTo>
                  <a:lnTo>
                    <a:pt x="55" y="203"/>
                  </a:lnTo>
                  <a:lnTo>
                    <a:pt x="55" y="216"/>
                  </a:lnTo>
                  <a:lnTo>
                    <a:pt x="55" y="216"/>
                  </a:lnTo>
                  <a:lnTo>
                    <a:pt x="53" y="235"/>
                  </a:lnTo>
                  <a:lnTo>
                    <a:pt x="51" y="248"/>
                  </a:lnTo>
                  <a:lnTo>
                    <a:pt x="48" y="265"/>
                  </a:lnTo>
                  <a:lnTo>
                    <a:pt x="45" y="274"/>
                  </a:lnTo>
                  <a:lnTo>
                    <a:pt x="42" y="283"/>
                  </a:lnTo>
                  <a:lnTo>
                    <a:pt x="38" y="293"/>
                  </a:lnTo>
                  <a:lnTo>
                    <a:pt x="32" y="304"/>
                  </a:lnTo>
                  <a:lnTo>
                    <a:pt x="26" y="313"/>
                  </a:lnTo>
                  <a:lnTo>
                    <a:pt x="19" y="324"/>
                  </a:lnTo>
                  <a:lnTo>
                    <a:pt x="11" y="334"/>
                  </a:lnTo>
                  <a:lnTo>
                    <a:pt x="0" y="345"/>
                  </a:lnTo>
                  <a:lnTo>
                    <a:pt x="0" y="345"/>
                  </a:lnTo>
                  <a:lnTo>
                    <a:pt x="23" y="391"/>
                  </a:lnTo>
                  <a:lnTo>
                    <a:pt x="40" y="423"/>
                  </a:lnTo>
                  <a:lnTo>
                    <a:pt x="47" y="435"/>
                  </a:lnTo>
                  <a:lnTo>
                    <a:pt x="52" y="442"/>
                  </a:lnTo>
                  <a:lnTo>
                    <a:pt x="52" y="442"/>
                  </a:lnTo>
                  <a:lnTo>
                    <a:pt x="67" y="433"/>
                  </a:lnTo>
                  <a:lnTo>
                    <a:pt x="84" y="423"/>
                  </a:lnTo>
                  <a:lnTo>
                    <a:pt x="105" y="412"/>
                  </a:lnTo>
                  <a:lnTo>
                    <a:pt x="129" y="400"/>
                  </a:lnTo>
                  <a:lnTo>
                    <a:pt x="156" y="388"/>
                  </a:lnTo>
                  <a:lnTo>
                    <a:pt x="183" y="378"/>
                  </a:lnTo>
                  <a:lnTo>
                    <a:pt x="198" y="374"/>
                  </a:lnTo>
                  <a:lnTo>
                    <a:pt x="211" y="371"/>
                  </a:lnTo>
                  <a:lnTo>
                    <a:pt x="211" y="371"/>
                  </a:lnTo>
                  <a:lnTo>
                    <a:pt x="224" y="369"/>
                  </a:lnTo>
                  <a:lnTo>
                    <a:pt x="248" y="367"/>
                  </a:lnTo>
                  <a:lnTo>
                    <a:pt x="330" y="36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45" name="Freeform 42"/>
            <p:cNvSpPr>
              <a:spLocks/>
            </p:cNvSpPr>
            <p:nvPr userDrawn="1"/>
          </p:nvSpPr>
          <p:spPr bwMode="auto">
            <a:xfrm>
              <a:off x="1004888" y="627063"/>
              <a:ext cx="158750" cy="127000"/>
            </a:xfrm>
            <a:custGeom>
              <a:avLst/>
              <a:gdLst>
                <a:gd name="T0" fmla="*/ 1179 w 1207"/>
                <a:gd name="T1" fmla="*/ 480 h 962"/>
                <a:gd name="T2" fmla="*/ 1115 w 1207"/>
                <a:gd name="T3" fmla="*/ 496 h 962"/>
                <a:gd name="T4" fmla="*/ 1079 w 1207"/>
                <a:gd name="T5" fmla="*/ 532 h 962"/>
                <a:gd name="T6" fmla="*/ 1057 w 1207"/>
                <a:gd name="T7" fmla="*/ 600 h 962"/>
                <a:gd name="T8" fmla="*/ 1046 w 1207"/>
                <a:gd name="T9" fmla="*/ 585 h 962"/>
                <a:gd name="T10" fmla="*/ 1007 w 1207"/>
                <a:gd name="T11" fmla="*/ 556 h 962"/>
                <a:gd name="T12" fmla="*/ 935 w 1207"/>
                <a:gd name="T13" fmla="*/ 562 h 962"/>
                <a:gd name="T14" fmla="*/ 930 w 1207"/>
                <a:gd name="T15" fmla="*/ 613 h 962"/>
                <a:gd name="T16" fmla="*/ 935 w 1207"/>
                <a:gd name="T17" fmla="*/ 696 h 962"/>
                <a:gd name="T18" fmla="*/ 890 w 1207"/>
                <a:gd name="T19" fmla="*/ 725 h 962"/>
                <a:gd name="T20" fmla="*/ 842 w 1207"/>
                <a:gd name="T21" fmla="*/ 709 h 962"/>
                <a:gd name="T22" fmla="*/ 816 w 1207"/>
                <a:gd name="T23" fmla="*/ 658 h 962"/>
                <a:gd name="T24" fmla="*/ 805 w 1207"/>
                <a:gd name="T25" fmla="*/ 643 h 962"/>
                <a:gd name="T26" fmla="*/ 749 w 1207"/>
                <a:gd name="T27" fmla="*/ 659 h 962"/>
                <a:gd name="T28" fmla="*/ 701 w 1207"/>
                <a:gd name="T29" fmla="*/ 634 h 962"/>
                <a:gd name="T30" fmla="*/ 694 w 1207"/>
                <a:gd name="T31" fmla="*/ 581 h 962"/>
                <a:gd name="T32" fmla="*/ 754 w 1207"/>
                <a:gd name="T33" fmla="*/ 540 h 962"/>
                <a:gd name="T34" fmla="*/ 824 w 1207"/>
                <a:gd name="T35" fmla="*/ 520 h 962"/>
                <a:gd name="T36" fmla="*/ 805 w 1207"/>
                <a:gd name="T37" fmla="*/ 460 h 962"/>
                <a:gd name="T38" fmla="*/ 764 w 1207"/>
                <a:gd name="T39" fmla="*/ 421 h 962"/>
                <a:gd name="T40" fmla="*/ 698 w 1207"/>
                <a:gd name="T41" fmla="*/ 414 h 962"/>
                <a:gd name="T42" fmla="*/ 672 w 1207"/>
                <a:gd name="T43" fmla="*/ 415 h 962"/>
                <a:gd name="T44" fmla="*/ 712 w 1207"/>
                <a:gd name="T45" fmla="*/ 360 h 962"/>
                <a:gd name="T46" fmla="*/ 709 w 1207"/>
                <a:gd name="T47" fmla="*/ 285 h 962"/>
                <a:gd name="T48" fmla="*/ 668 w 1207"/>
                <a:gd name="T49" fmla="*/ 214 h 962"/>
                <a:gd name="T50" fmla="*/ 606 w 1207"/>
                <a:gd name="T51" fmla="*/ 224 h 962"/>
                <a:gd name="T52" fmla="*/ 535 w 1207"/>
                <a:gd name="T53" fmla="*/ 272 h 962"/>
                <a:gd name="T54" fmla="*/ 516 w 1207"/>
                <a:gd name="T55" fmla="*/ 334 h 962"/>
                <a:gd name="T56" fmla="*/ 508 w 1207"/>
                <a:gd name="T57" fmla="*/ 341 h 962"/>
                <a:gd name="T58" fmla="*/ 458 w 1207"/>
                <a:gd name="T59" fmla="*/ 287 h 962"/>
                <a:gd name="T60" fmla="*/ 404 w 1207"/>
                <a:gd name="T61" fmla="*/ 278 h 962"/>
                <a:gd name="T62" fmla="*/ 345 w 1207"/>
                <a:gd name="T63" fmla="*/ 300 h 962"/>
                <a:gd name="T64" fmla="*/ 362 w 1207"/>
                <a:gd name="T65" fmla="*/ 357 h 962"/>
                <a:gd name="T66" fmla="*/ 382 w 1207"/>
                <a:gd name="T67" fmla="*/ 432 h 962"/>
                <a:gd name="T68" fmla="*/ 347 w 1207"/>
                <a:gd name="T69" fmla="*/ 472 h 962"/>
                <a:gd name="T70" fmla="*/ 292 w 1207"/>
                <a:gd name="T71" fmla="*/ 462 h 962"/>
                <a:gd name="T72" fmla="*/ 262 w 1207"/>
                <a:gd name="T73" fmla="*/ 417 h 962"/>
                <a:gd name="T74" fmla="*/ 249 w 1207"/>
                <a:gd name="T75" fmla="*/ 398 h 962"/>
                <a:gd name="T76" fmla="*/ 194 w 1207"/>
                <a:gd name="T77" fmla="*/ 421 h 962"/>
                <a:gd name="T78" fmla="*/ 147 w 1207"/>
                <a:gd name="T79" fmla="*/ 404 h 962"/>
                <a:gd name="T80" fmla="*/ 128 w 1207"/>
                <a:gd name="T81" fmla="*/ 354 h 962"/>
                <a:gd name="T82" fmla="*/ 178 w 1207"/>
                <a:gd name="T83" fmla="*/ 300 h 962"/>
                <a:gd name="T84" fmla="*/ 233 w 1207"/>
                <a:gd name="T85" fmla="*/ 262 h 962"/>
                <a:gd name="T86" fmla="*/ 195 w 1207"/>
                <a:gd name="T87" fmla="*/ 203 h 962"/>
                <a:gd name="T88" fmla="*/ 145 w 1207"/>
                <a:gd name="T89" fmla="*/ 185 h 962"/>
                <a:gd name="T90" fmla="*/ 115 w 1207"/>
                <a:gd name="T91" fmla="*/ 191 h 962"/>
                <a:gd name="T92" fmla="*/ 153 w 1207"/>
                <a:gd name="T93" fmla="*/ 136 h 962"/>
                <a:gd name="T94" fmla="*/ 157 w 1207"/>
                <a:gd name="T95" fmla="*/ 76 h 962"/>
                <a:gd name="T96" fmla="*/ 134 w 1207"/>
                <a:gd name="T97" fmla="*/ 28 h 962"/>
                <a:gd name="T98" fmla="*/ 269 w 1207"/>
                <a:gd name="T99" fmla="*/ 712 h 962"/>
                <a:gd name="T100" fmla="*/ 354 w 1207"/>
                <a:gd name="T101" fmla="*/ 656 h 962"/>
                <a:gd name="T102" fmla="*/ 437 w 1207"/>
                <a:gd name="T103" fmla="*/ 636 h 962"/>
                <a:gd name="T104" fmla="*/ 517 w 1207"/>
                <a:gd name="T105" fmla="*/ 643 h 962"/>
                <a:gd name="T106" fmla="*/ 610 w 1207"/>
                <a:gd name="T107" fmla="*/ 683 h 962"/>
                <a:gd name="T108" fmla="*/ 658 w 1207"/>
                <a:gd name="T109" fmla="*/ 735 h 962"/>
                <a:gd name="T110" fmla="*/ 673 w 1207"/>
                <a:gd name="T111" fmla="*/ 793 h 962"/>
                <a:gd name="T112" fmla="*/ 646 w 1207"/>
                <a:gd name="T113" fmla="*/ 877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07" h="962">
                  <a:moveTo>
                    <a:pt x="841" y="962"/>
                  </a:moveTo>
                  <a:lnTo>
                    <a:pt x="1207" y="484"/>
                  </a:lnTo>
                  <a:lnTo>
                    <a:pt x="1207" y="484"/>
                  </a:lnTo>
                  <a:lnTo>
                    <a:pt x="1200" y="482"/>
                  </a:lnTo>
                  <a:lnTo>
                    <a:pt x="1190" y="481"/>
                  </a:lnTo>
                  <a:lnTo>
                    <a:pt x="1179" y="480"/>
                  </a:lnTo>
                  <a:lnTo>
                    <a:pt x="1166" y="480"/>
                  </a:lnTo>
                  <a:lnTo>
                    <a:pt x="1149" y="483"/>
                  </a:lnTo>
                  <a:lnTo>
                    <a:pt x="1141" y="485"/>
                  </a:lnTo>
                  <a:lnTo>
                    <a:pt x="1133" y="488"/>
                  </a:lnTo>
                  <a:lnTo>
                    <a:pt x="1124" y="492"/>
                  </a:lnTo>
                  <a:lnTo>
                    <a:pt x="1115" y="496"/>
                  </a:lnTo>
                  <a:lnTo>
                    <a:pt x="1115" y="496"/>
                  </a:lnTo>
                  <a:lnTo>
                    <a:pt x="1106" y="502"/>
                  </a:lnTo>
                  <a:lnTo>
                    <a:pt x="1097" y="508"/>
                  </a:lnTo>
                  <a:lnTo>
                    <a:pt x="1090" y="515"/>
                  </a:lnTo>
                  <a:lnTo>
                    <a:pt x="1084" y="523"/>
                  </a:lnTo>
                  <a:lnTo>
                    <a:pt x="1079" y="532"/>
                  </a:lnTo>
                  <a:lnTo>
                    <a:pt x="1074" y="540"/>
                  </a:lnTo>
                  <a:lnTo>
                    <a:pt x="1070" y="548"/>
                  </a:lnTo>
                  <a:lnTo>
                    <a:pt x="1067" y="557"/>
                  </a:lnTo>
                  <a:lnTo>
                    <a:pt x="1062" y="574"/>
                  </a:lnTo>
                  <a:lnTo>
                    <a:pt x="1058" y="589"/>
                  </a:lnTo>
                  <a:lnTo>
                    <a:pt x="1057" y="600"/>
                  </a:lnTo>
                  <a:lnTo>
                    <a:pt x="1058" y="605"/>
                  </a:lnTo>
                  <a:lnTo>
                    <a:pt x="1059" y="608"/>
                  </a:lnTo>
                  <a:lnTo>
                    <a:pt x="1059" y="608"/>
                  </a:lnTo>
                  <a:lnTo>
                    <a:pt x="1055" y="599"/>
                  </a:lnTo>
                  <a:lnTo>
                    <a:pt x="1051" y="592"/>
                  </a:lnTo>
                  <a:lnTo>
                    <a:pt x="1046" y="585"/>
                  </a:lnTo>
                  <a:lnTo>
                    <a:pt x="1041" y="579"/>
                  </a:lnTo>
                  <a:lnTo>
                    <a:pt x="1036" y="574"/>
                  </a:lnTo>
                  <a:lnTo>
                    <a:pt x="1031" y="568"/>
                  </a:lnTo>
                  <a:lnTo>
                    <a:pt x="1025" y="564"/>
                  </a:lnTo>
                  <a:lnTo>
                    <a:pt x="1020" y="561"/>
                  </a:lnTo>
                  <a:lnTo>
                    <a:pt x="1007" y="556"/>
                  </a:lnTo>
                  <a:lnTo>
                    <a:pt x="994" y="554"/>
                  </a:lnTo>
                  <a:lnTo>
                    <a:pt x="982" y="553"/>
                  </a:lnTo>
                  <a:lnTo>
                    <a:pt x="970" y="554"/>
                  </a:lnTo>
                  <a:lnTo>
                    <a:pt x="957" y="556"/>
                  </a:lnTo>
                  <a:lnTo>
                    <a:pt x="946" y="558"/>
                  </a:lnTo>
                  <a:lnTo>
                    <a:pt x="935" y="562"/>
                  </a:lnTo>
                  <a:lnTo>
                    <a:pt x="927" y="565"/>
                  </a:lnTo>
                  <a:lnTo>
                    <a:pt x="913" y="572"/>
                  </a:lnTo>
                  <a:lnTo>
                    <a:pt x="908" y="574"/>
                  </a:lnTo>
                  <a:lnTo>
                    <a:pt x="908" y="574"/>
                  </a:lnTo>
                  <a:lnTo>
                    <a:pt x="920" y="594"/>
                  </a:lnTo>
                  <a:lnTo>
                    <a:pt x="930" y="613"/>
                  </a:lnTo>
                  <a:lnTo>
                    <a:pt x="936" y="632"/>
                  </a:lnTo>
                  <a:lnTo>
                    <a:pt x="940" y="647"/>
                  </a:lnTo>
                  <a:lnTo>
                    <a:pt x="941" y="663"/>
                  </a:lnTo>
                  <a:lnTo>
                    <a:pt x="941" y="675"/>
                  </a:lnTo>
                  <a:lnTo>
                    <a:pt x="939" y="687"/>
                  </a:lnTo>
                  <a:lnTo>
                    <a:pt x="935" y="696"/>
                  </a:lnTo>
                  <a:lnTo>
                    <a:pt x="930" y="705"/>
                  </a:lnTo>
                  <a:lnTo>
                    <a:pt x="924" y="712"/>
                  </a:lnTo>
                  <a:lnTo>
                    <a:pt x="915" y="718"/>
                  </a:lnTo>
                  <a:lnTo>
                    <a:pt x="907" y="722"/>
                  </a:lnTo>
                  <a:lnTo>
                    <a:pt x="899" y="724"/>
                  </a:lnTo>
                  <a:lnTo>
                    <a:pt x="890" y="725"/>
                  </a:lnTo>
                  <a:lnTo>
                    <a:pt x="881" y="725"/>
                  </a:lnTo>
                  <a:lnTo>
                    <a:pt x="871" y="724"/>
                  </a:lnTo>
                  <a:lnTo>
                    <a:pt x="871" y="724"/>
                  </a:lnTo>
                  <a:lnTo>
                    <a:pt x="859" y="720"/>
                  </a:lnTo>
                  <a:lnTo>
                    <a:pt x="850" y="715"/>
                  </a:lnTo>
                  <a:lnTo>
                    <a:pt x="842" y="709"/>
                  </a:lnTo>
                  <a:lnTo>
                    <a:pt x="835" y="702"/>
                  </a:lnTo>
                  <a:lnTo>
                    <a:pt x="829" y="695"/>
                  </a:lnTo>
                  <a:lnTo>
                    <a:pt x="825" y="688"/>
                  </a:lnTo>
                  <a:lnTo>
                    <a:pt x="821" y="680"/>
                  </a:lnTo>
                  <a:lnTo>
                    <a:pt x="819" y="673"/>
                  </a:lnTo>
                  <a:lnTo>
                    <a:pt x="816" y="658"/>
                  </a:lnTo>
                  <a:lnTo>
                    <a:pt x="816" y="646"/>
                  </a:lnTo>
                  <a:lnTo>
                    <a:pt x="816" y="638"/>
                  </a:lnTo>
                  <a:lnTo>
                    <a:pt x="816" y="635"/>
                  </a:lnTo>
                  <a:lnTo>
                    <a:pt x="816" y="635"/>
                  </a:lnTo>
                  <a:lnTo>
                    <a:pt x="813" y="637"/>
                  </a:lnTo>
                  <a:lnTo>
                    <a:pt x="805" y="643"/>
                  </a:lnTo>
                  <a:lnTo>
                    <a:pt x="793" y="650"/>
                  </a:lnTo>
                  <a:lnTo>
                    <a:pt x="785" y="653"/>
                  </a:lnTo>
                  <a:lnTo>
                    <a:pt x="777" y="656"/>
                  </a:lnTo>
                  <a:lnTo>
                    <a:pt x="768" y="658"/>
                  </a:lnTo>
                  <a:lnTo>
                    <a:pt x="759" y="659"/>
                  </a:lnTo>
                  <a:lnTo>
                    <a:pt x="749" y="659"/>
                  </a:lnTo>
                  <a:lnTo>
                    <a:pt x="739" y="658"/>
                  </a:lnTo>
                  <a:lnTo>
                    <a:pt x="729" y="655"/>
                  </a:lnTo>
                  <a:lnTo>
                    <a:pt x="720" y="650"/>
                  </a:lnTo>
                  <a:lnTo>
                    <a:pt x="710" y="643"/>
                  </a:lnTo>
                  <a:lnTo>
                    <a:pt x="701" y="634"/>
                  </a:lnTo>
                  <a:lnTo>
                    <a:pt x="701" y="634"/>
                  </a:lnTo>
                  <a:lnTo>
                    <a:pt x="694" y="625"/>
                  </a:lnTo>
                  <a:lnTo>
                    <a:pt x="690" y="616"/>
                  </a:lnTo>
                  <a:lnTo>
                    <a:pt x="688" y="607"/>
                  </a:lnTo>
                  <a:lnTo>
                    <a:pt x="689" y="598"/>
                  </a:lnTo>
                  <a:lnTo>
                    <a:pt x="690" y="589"/>
                  </a:lnTo>
                  <a:lnTo>
                    <a:pt x="694" y="581"/>
                  </a:lnTo>
                  <a:lnTo>
                    <a:pt x="701" y="572"/>
                  </a:lnTo>
                  <a:lnTo>
                    <a:pt x="708" y="564"/>
                  </a:lnTo>
                  <a:lnTo>
                    <a:pt x="717" y="557"/>
                  </a:lnTo>
                  <a:lnTo>
                    <a:pt x="727" y="550"/>
                  </a:lnTo>
                  <a:lnTo>
                    <a:pt x="740" y="544"/>
                  </a:lnTo>
                  <a:lnTo>
                    <a:pt x="754" y="540"/>
                  </a:lnTo>
                  <a:lnTo>
                    <a:pt x="769" y="536"/>
                  </a:lnTo>
                  <a:lnTo>
                    <a:pt x="786" y="533"/>
                  </a:lnTo>
                  <a:lnTo>
                    <a:pt x="804" y="532"/>
                  </a:lnTo>
                  <a:lnTo>
                    <a:pt x="823" y="531"/>
                  </a:lnTo>
                  <a:lnTo>
                    <a:pt x="823" y="531"/>
                  </a:lnTo>
                  <a:lnTo>
                    <a:pt x="824" y="520"/>
                  </a:lnTo>
                  <a:lnTo>
                    <a:pt x="823" y="509"/>
                  </a:lnTo>
                  <a:lnTo>
                    <a:pt x="820" y="494"/>
                  </a:lnTo>
                  <a:lnTo>
                    <a:pt x="817" y="486"/>
                  </a:lnTo>
                  <a:lnTo>
                    <a:pt x="814" y="477"/>
                  </a:lnTo>
                  <a:lnTo>
                    <a:pt x="810" y="469"/>
                  </a:lnTo>
                  <a:lnTo>
                    <a:pt x="805" y="460"/>
                  </a:lnTo>
                  <a:lnTo>
                    <a:pt x="799" y="451"/>
                  </a:lnTo>
                  <a:lnTo>
                    <a:pt x="792" y="443"/>
                  </a:lnTo>
                  <a:lnTo>
                    <a:pt x="782" y="435"/>
                  </a:lnTo>
                  <a:lnTo>
                    <a:pt x="772" y="426"/>
                  </a:lnTo>
                  <a:lnTo>
                    <a:pt x="772" y="426"/>
                  </a:lnTo>
                  <a:lnTo>
                    <a:pt x="764" y="421"/>
                  </a:lnTo>
                  <a:lnTo>
                    <a:pt x="755" y="417"/>
                  </a:lnTo>
                  <a:lnTo>
                    <a:pt x="745" y="415"/>
                  </a:lnTo>
                  <a:lnTo>
                    <a:pt x="735" y="413"/>
                  </a:lnTo>
                  <a:lnTo>
                    <a:pt x="725" y="412"/>
                  </a:lnTo>
                  <a:lnTo>
                    <a:pt x="716" y="412"/>
                  </a:lnTo>
                  <a:lnTo>
                    <a:pt x="698" y="414"/>
                  </a:lnTo>
                  <a:lnTo>
                    <a:pt x="681" y="418"/>
                  </a:lnTo>
                  <a:lnTo>
                    <a:pt x="668" y="421"/>
                  </a:lnTo>
                  <a:lnTo>
                    <a:pt x="657" y="425"/>
                  </a:lnTo>
                  <a:lnTo>
                    <a:pt x="657" y="425"/>
                  </a:lnTo>
                  <a:lnTo>
                    <a:pt x="664" y="421"/>
                  </a:lnTo>
                  <a:lnTo>
                    <a:pt x="672" y="415"/>
                  </a:lnTo>
                  <a:lnTo>
                    <a:pt x="681" y="408"/>
                  </a:lnTo>
                  <a:lnTo>
                    <a:pt x="691" y="397"/>
                  </a:lnTo>
                  <a:lnTo>
                    <a:pt x="701" y="384"/>
                  </a:lnTo>
                  <a:lnTo>
                    <a:pt x="705" y="376"/>
                  </a:lnTo>
                  <a:lnTo>
                    <a:pt x="709" y="369"/>
                  </a:lnTo>
                  <a:lnTo>
                    <a:pt x="712" y="360"/>
                  </a:lnTo>
                  <a:lnTo>
                    <a:pt x="714" y="351"/>
                  </a:lnTo>
                  <a:lnTo>
                    <a:pt x="714" y="351"/>
                  </a:lnTo>
                  <a:lnTo>
                    <a:pt x="716" y="336"/>
                  </a:lnTo>
                  <a:lnTo>
                    <a:pt x="715" y="320"/>
                  </a:lnTo>
                  <a:lnTo>
                    <a:pt x="713" y="303"/>
                  </a:lnTo>
                  <a:lnTo>
                    <a:pt x="709" y="285"/>
                  </a:lnTo>
                  <a:lnTo>
                    <a:pt x="702" y="267"/>
                  </a:lnTo>
                  <a:lnTo>
                    <a:pt x="693" y="249"/>
                  </a:lnTo>
                  <a:lnTo>
                    <a:pt x="682" y="232"/>
                  </a:lnTo>
                  <a:lnTo>
                    <a:pt x="676" y="223"/>
                  </a:lnTo>
                  <a:lnTo>
                    <a:pt x="669" y="216"/>
                  </a:lnTo>
                  <a:lnTo>
                    <a:pt x="668" y="214"/>
                  </a:lnTo>
                  <a:lnTo>
                    <a:pt x="665" y="214"/>
                  </a:lnTo>
                  <a:lnTo>
                    <a:pt x="665" y="214"/>
                  </a:lnTo>
                  <a:lnTo>
                    <a:pt x="655" y="214"/>
                  </a:lnTo>
                  <a:lnTo>
                    <a:pt x="644" y="215"/>
                  </a:lnTo>
                  <a:lnTo>
                    <a:pt x="624" y="219"/>
                  </a:lnTo>
                  <a:lnTo>
                    <a:pt x="606" y="224"/>
                  </a:lnTo>
                  <a:lnTo>
                    <a:pt x="587" y="232"/>
                  </a:lnTo>
                  <a:lnTo>
                    <a:pt x="572" y="240"/>
                  </a:lnTo>
                  <a:lnTo>
                    <a:pt x="557" y="250"/>
                  </a:lnTo>
                  <a:lnTo>
                    <a:pt x="545" y="261"/>
                  </a:lnTo>
                  <a:lnTo>
                    <a:pt x="535" y="272"/>
                  </a:lnTo>
                  <a:lnTo>
                    <a:pt x="535" y="272"/>
                  </a:lnTo>
                  <a:lnTo>
                    <a:pt x="530" y="280"/>
                  </a:lnTo>
                  <a:lnTo>
                    <a:pt x="526" y="288"/>
                  </a:lnTo>
                  <a:lnTo>
                    <a:pt x="523" y="297"/>
                  </a:lnTo>
                  <a:lnTo>
                    <a:pt x="520" y="305"/>
                  </a:lnTo>
                  <a:lnTo>
                    <a:pt x="517" y="320"/>
                  </a:lnTo>
                  <a:lnTo>
                    <a:pt x="516" y="334"/>
                  </a:lnTo>
                  <a:lnTo>
                    <a:pt x="516" y="347"/>
                  </a:lnTo>
                  <a:lnTo>
                    <a:pt x="517" y="357"/>
                  </a:lnTo>
                  <a:lnTo>
                    <a:pt x="519" y="365"/>
                  </a:lnTo>
                  <a:lnTo>
                    <a:pt x="519" y="365"/>
                  </a:lnTo>
                  <a:lnTo>
                    <a:pt x="513" y="354"/>
                  </a:lnTo>
                  <a:lnTo>
                    <a:pt x="508" y="341"/>
                  </a:lnTo>
                  <a:lnTo>
                    <a:pt x="499" y="327"/>
                  </a:lnTo>
                  <a:lnTo>
                    <a:pt x="488" y="313"/>
                  </a:lnTo>
                  <a:lnTo>
                    <a:pt x="482" y="306"/>
                  </a:lnTo>
                  <a:lnTo>
                    <a:pt x="475" y="299"/>
                  </a:lnTo>
                  <a:lnTo>
                    <a:pt x="467" y="292"/>
                  </a:lnTo>
                  <a:lnTo>
                    <a:pt x="458" y="287"/>
                  </a:lnTo>
                  <a:lnTo>
                    <a:pt x="450" y="283"/>
                  </a:lnTo>
                  <a:lnTo>
                    <a:pt x="440" y="281"/>
                  </a:lnTo>
                  <a:lnTo>
                    <a:pt x="440" y="281"/>
                  </a:lnTo>
                  <a:lnTo>
                    <a:pt x="428" y="278"/>
                  </a:lnTo>
                  <a:lnTo>
                    <a:pt x="415" y="278"/>
                  </a:lnTo>
                  <a:lnTo>
                    <a:pt x="404" y="278"/>
                  </a:lnTo>
                  <a:lnTo>
                    <a:pt x="393" y="279"/>
                  </a:lnTo>
                  <a:lnTo>
                    <a:pt x="384" y="281"/>
                  </a:lnTo>
                  <a:lnTo>
                    <a:pt x="374" y="284"/>
                  </a:lnTo>
                  <a:lnTo>
                    <a:pt x="365" y="287"/>
                  </a:lnTo>
                  <a:lnTo>
                    <a:pt x="358" y="291"/>
                  </a:lnTo>
                  <a:lnTo>
                    <a:pt x="345" y="300"/>
                  </a:lnTo>
                  <a:lnTo>
                    <a:pt x="336" y="307"/>
                  </a:lnTo>
                  <a:lnTo>
                    <a:pt x="328" y="314"/>
                  </a:lnTo>
                  <a:lnTo>
                    <a:pt x="328" y="314"/>
                  </a:lnTo>
                  <a:lnTo>
                    <a:pt x="342" y="328"/>
                  </a:lnTo>
                  <a:lnTo>
                    <a:pt x="353" y="343"/>
                  </a:lnTo>
                  <a:lnTo>
                    <a:pt x="362" y="357"/>
                  </a:lnTo>
                  <a:lnTo>
                    <a:pt x="369" y="371"/>
                  </a:lnTo>
                  <a:lnTo>
                    <a:pt x="375" y="384"/>
                  </a:lnTo>
                  <a:lnTo>
                    <a:pt x="380" y="398"/>
                  </a:lnTo>
                  <a:lnTo>
                    <a:pt x="382" y="410"/>
                  </a:lnTo>
                  <a:lnTo>
                    <a:pt x="383" y="421"/>
                  </a:lnTo>
                  <a:lnTo>
                    <a:pt x="382" y="432"/>
                  </a:lnTo>
                  <a:lnTo>
                    <a:pt x="380" y="442"/>
                  </a:lnTo>
                  <a:lnTo>
                    <a:pt x="375" y="451"/>
                  </a:lnTo>
                  <a:lnTo>
                    <a:pt x="370" y="458"/>
                  </a:lnTo>
                  <a:lnTo>
                    <a:pt x="363" y="464"/>
                  </a:lnTo>
                  <a:lnTo>
                    <a:pt x="356" y="469"/>
                  </a:lnTo>
                  <a:lnTo>
                    <a:pt x="347" y="472"/>
                  </a:lnTo>
                  <a:lnTo>
                    <a:pt x="337" y="473"/>
                  </a:lnTo>
                  <a:lnTo>
                    <a:pt x="337" y="473"/>
                  </a:lnTo>
                  <a:lnTo>
                    <a:pt x="322" y="473"/>
                  </a:lnTo>
                  <a:lnTo>
                    <a:pt x="311" y="471"/>
                  </a:lnTo>
                  <a:lnTo>
                    <a:pt x="301" y="467"/>
                  </a:lnTo>
                  <a:lnTo>
                    <a:pt x="292" y="462"/>
                  </a:lnTo>
                  <a:lnTo>
                    <a:pt x="283" y="456"/>
                  </a:lnTo>
                  <a:lnTo>
                    <a:pt x="277" y="449"/>
                  </a:lnTo>
                  <a:lnTo>
                    <a:pt x="272" y="441"/>
                  </a:lnTo>
                  <a:lnTo>
                    <a:pt x="268" y="432"/>
                  </a:lnTo>
                  <a:lnTo>
                    <a:pt x="264" y="424"/>
                  </a:lnTo>
                  <a:lnTo>
                    <a:pt x="262" y="417"/>
                  </a:lnTo>
                  <a:lnTo>
                    <a:pt x="259" y="403"/>
                  </a:lnTo>
                  <a:lnTo>
                    <a:pt x="257" y="393"/>
                  </a:lnTo>
                  <a:lnTo>
                    <a:pt x="257" y="390"/>
                  </a:lnTo>
                  <a:lnTo>
                    <a:pt x="257" y="390"/>
                  </a:lnTo>
                  <a:lnTo>
                    <a:pt x="255" y="392"/>
                  </a:lnTo>
                  <a:lnTo>
                    <a:pt x="249" y="398"/>
                  </a:lnTo>
                  <a:lnTo>
                    <a:pt x="239" y="405"/>
                  </a:lnTo>
                  <a:lnTo>
                    <a:pt x="227" y="413"/>
                  </a:lnTo>
                  <a:lnTo>
                    <a:pt x="220" y="416"/>
                  </a:lnTo>
                  <a:lnTo>
                    <a:pt x="212" y="419"/>
                  </a:lnTo>
                  <a:lnTo>
                    <a:pt x="204" y="420"/>
                  </a:lnTo>
                  <a:lnTo>
                    <a:pt x="194" y="421"/>
                  </a:lnTo>
                  <a:lnTo>
                    <a:pt x="185" y="421"/>
                  </a:lnTo>
                  <a:lnTo>
                    <a:pt x="175" y="419"/>
                  </a:lnTo>
                  <a:lnTo>
                    <a:pt x="165" y="415"/>
                  </a:lnTo>
                  <a:lnTo>
                    <a:pt x="155" y="409"/>
                  </a:lnTo>
                  <a:lnTo>
                    <a:pt x="155" y="409"/>
                  </a:lnTo>
                  <a:lnTo>
                    <a:pt x="147" y="404"/>
                  </a:lnTo>
                  <a:lnTo>
                    <a:pt x="140" y="397"/>
                  </a:lnTo>
                  <a:lnTo>
                    <a:pt x="135" y="390"/>
                  </a:lnTo>
                  <a:lnTo>
                    <a:pt x="131" y="381"/>
                  </a:lnTo>
                  <a:lnTo>
                    <a:pt x="129" y="372"/>
                  </a:lnTo>
                  <a:lnTo>
                    <a:pt x="128" y="363"/>
                  </a:lnTo>
                  <a:lnTo>
                    <a:pt x="128" y="354"/>
                  </a:lnTo>
                  <a:lnTo>
                    <a:pt x="131" y="345"/>
                  </a:lnTo>
                  <a:lnTo>
                    <a:pt x="136" y="334"/>
                  </a:lnTo>
                  <a:lnTo>
                    <a:pt x="142" y="325"/>
                  </a:lnTo>
                  <a:lnTo>
                    <a:pt x="153" y="316"/>
                  </a:lnTo>
                  <a:lnTo>
                    <a:pt x="164" y="308"/>
                  </a:lnTo>
                  <a:lnTo>
                    <a:pt x="178" y="300"/>
                  </a:lnTo>
                  <a:lnTo>
                    <a:pt x="195" y="292"/>
                  </a:lnTo>
                  <a:lnTo>
                    <a:pt x="216" y="286"/>
                  </a:lnTo>
                  <a:lnTo>
                    <a:pt x="239" y="280"/>
                  </a:lnTo>
                  <a:lnTo>
                    <a:pt x="239" y="280"/>
                  </a:lnTo>
                  <a:lnTo>
                    <a:pt x="238" y="275"/>
                  </a:lnTo>
                  <a:lnTo>
                    <a:pt x="233" y="262"/>
                  </a:lnTo>
                  <a:lnTo>
                    <a:pt x="230" y="253"/>
                  </a:lnTo>
                  <a:lnTo>
                    <a:pt x="225" y="242"/>
                  </a:lnTo>
                  <a:lnTo>
                    <a:pt x="220" y="232"/>
                  </a:lnTo>
                  <a:lnTo>
                    <a:pt x="213" y="222"/>
                  </a:lnTo>
                  <a:lnTo>
                    <a:pt x="205" y="213"/>
                  </a:lnTo>
                  <a:lnTo>
                    <a:pt x="195" y="203"/>
                  </a:lnTo>
                  <a:lnTo>
                    <a:pt x="185" y="196"/>
                  </a:lnTo>
                  <a:lnTo>
                    <a:pt x="173" y="190"/>
                  </a:lnTo>
                  <a:lnTo>
                    <a:pt x="167" y="188"/>
                  </a:lnTo>
                  <a:lnTo>
                    <a:pt x="161" y="187"/>
                  </a:lnTo>
                  <a:lnTo>
                    <a:pt x="154" y="186"/>
                  </a:lnTo>
                  <a:lnTo>
                    <a:pt x="145" y="185"/>
                  </a:lnTo>
                  <a:lnTo>
                    <a:pt x="138" y="186"/>
                  </a:lnTo>
                  <a:lnTo>
                    <a:pt x="129" y="187"/>
                  </a:lnTo>
                  <a:lnTo>
                    <a:pt x="121" y="190"/>
                  </a:lnTo>
                  <a:lnTo>
                    <a:pt x="112" y="193"/>
                  </a:lnTo>
                  <a:lnTo>
                    <a:pt x="112" y="193"/>
                  </a:lnTo>
                  <a:lnTo>
                    <a:pt x="115" y="191"/>
                  </a:lnTo>
                  <a:lnTo>
                    <a:pt x="119" y="188"/>
                  </a:lnTo>
                  <a:lnTo>
                    <a:pt x="127" y="180"/>
                  </a:lnTo>
                  <a:lnTo>
                    <a:pt x="136" y="168"/>
                  </a:lnTo>
                  <a:lnTo>
                    <a:pt x="144" y="153"/>
                  </a:lnTo>
                  <a:lnTo>
                    <a:pt x="148" y="144"/>
                  </a:lnTo>
                  <a:lnTo>
                    <a:pt x="153" y="136"/>
                  </a:lnTo>
                  <a:lnTo>
                    <a:pt x="156" y="127"/>
                  </a:lnTo>
                  <a:lnTo>
                    <a:pt x="158" y="117"/>
                  </a:lnTo>
                  <a:lnTo>
                    <a:pt x="159" y="106"/>
                  </a:lnTo>
                  <a:lnTo>
                    <a:pt x="160" y="97"/>
                  </a:lnTo>
                  <a:lnTo>
                    <a:pt x="159" y="86"/>
                  </a:lnTo>
                  <a:lnTo>
                    <a:pt x="157" y="76"/>
                  </a:lnTo>
                  <a:lnTo>
                    <a:pt x="157" y="76"/>
                  </a:lnTo>
                  <a:lnTo>
                    <a:pt x="155" y="66"/>
                  </a:lnTo>
                  <a:lnTo>
                    <a:pt x="150" y="57"/>
                  </a:lnTo>
                  <a:lnTo>
                    <a:pt x="147" y="49"/>
                  </a:lnTo>
                  <a:lnTo>
                    <a:pt x="143" y="41"/>
                  </a:lnTo>
                  <a:lnTo>
                    <a:pt x="134" y="28"/>
                  </a:lnTo>
                  <a:lnTo>
                    <a:pt x="125" y="17"/>
                  </a:lnTo>
                  <a:lnTo>
                    <a:pt x="117" y="9"/>
                  </a:lnTo>
                  <a:lnTo>
                    <a:pt x="110" y="4"/>
                  </a:lnTo>
                  <a:lnTo>
                    <a:pt x="103" y="0"/>
                  </a:lnTo>
                  <a:lnTo>
                    <a:pt x="0" y="593"/>
                  </a:lnTo>
                  <a:lnTo>
                    <a:pt x="269" y="712"/>
                  </a:lnTo>
                  <a:lnTo>
                    <a:pt x="269" y="712"/>
                  </a:lnTo>
                  <a:lnTo>
                    <a:pt x="293" y="693"/>
                  </a:lnTo>
                  <a:lnTo>
                    <a:pt x="315" y="677"/>
                  </a:lnTo>
                  <a:lnTo>
                    <a:pt x="336" y="665"/>
                  </a:lnTo>
                  <a:lnTo>
                    <a:pt x="354" y="656"/>
                  </a:lnTo>
                  <a:lnTo>
                    <a:pt x="354" y="656"/>
                  </a:lnTo>
                  <a:lnTo>
                    <a:pt x="367" y="650"/>
                  </a:lnTo>
                  <a:lnTo>
                    <a:pt x="382" y="646"/>
                  </a:lnTo>
                  <a:lnTo>
                    <a:pt x="396" y="642"/>
                  </a:lnTo>
                  <a:lnTo>
                    <a:pt x="409" y="639"/>
                  </a:lnTo>
                  <a:lnTo>
                    <a:pt x="423" y="637"/>
                  </a:lnTo>
                  <a:lnTo>
                    <a:pt x="437" y="636"/>
                  </a:lnTo>
                  <a:lnTo>
                    <a:pt x="450" y="635"/>
                  </a:lnTo>
                  <a:lnTo>
                    <a:pt x="464" y="635"/>
                  </a:lnTo>
                  <a:lnTo>
                    <a:pt x="478" y="636"/>
                  </a:lnTo>
                  <a:lnTo>
                    <a:pt x="491" y="638"/>
                  </a:lnTo>
                  <a:lnTo>
                    <a:pt x="504" y="640"/>
                  </a:lnTo>
                  <a:lnTo>
                    <a:pt x="517" y="643"/>
                  </a:lnTo>
                  <a:lnTo>
                    <a:pt x="542" y="650"/>
                  </a:lnTo>
                  <a:lnTo>
                    <a:pt x="566" y="658"/>
                  </a:lnTo>
                  <a:lnTo>
                    <a:pt x="566" y="658"/>
                  </a:lnTo>
                  <a:lnTo>
                    <a:pt x="582" y="667"/>
                  </a:lnTo>
                  <a:lnTo>
                    <a:pt x="596" y="675"/>
                  </a:lnTo>
                  <a:lnTo>
                    <a:pt x="610" y="683"/>
                  </a:lnTo>
                  <a:lnTo>
                    <a:pt x="621" y="691"/>
                  </a:lnTo>
                  <a:lnTo>
                    <a:pt x="631" y="699"/>
                  </a:lnTo>
                  <a:lnTo>
                    <a:pt x="639" y="709"/>
                  </a:lnTo>
                  <a:lnTo>
                    <a:pt x="646" y="717"/>
                  </a:lnTo>
                  <a:lnTo>
                    <a:pt x="653" y="726"/>
                  </a:lnTo>
                  <a:lnTo>
                    <a:pt x="658" y="735"/>
                  </a:lnTo>
                  <a:lnTo>
                    <a:pt x="662" y="743"/>
                  </a:lnTo>
                  <a:lnTo>
                    <a:pt x="665" y="753"/>
                  </a:lnTo>
                  <a:lnTo>
                    <a:pt x="668" y="761"/>
                  </a:lnTo>
                  <a:lnTo>
                    <a:pt x="671" y="778"/>
                  </a:lnTo>
                  <a:lnTo>
                    <a:pt x="673" y="793"/>
                  </a:lnTo>
                  <a:lnTo>
                    <a:pt x="673" y="793"/>
                  </a:lnTo>
                  <a:lnTo>
                    <a:pt x="672" y="804"/>
                  </a:lnTo>
                  <a:lnTo>
                    <a:pt x="670" y="815"/>
                  </a:lnTo>
                  <a:lnTo>
                    <a:pt x="667" y="827"/>
                  </a:lnTo>
                  <a:lnTo>
                    <a:pt x="663" y="839"/>
                  </a:lnTo>
                  <a:lnTo>
                    <a:pt x="654" y="863"/>
                  </a:lnTo>
                  <a:lnTo>
                    <a:pt x="646" y="877"/>
                  </a:lnTo>
                  <a:lnTo>
                    <a:pt x="841" y="9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46" name="Freeform 43"/>
            <p:cNvSpPr>
              <a:spLocks/>
            </p:cNvSpPr>
            <p:nvPr userDrawn="1"/>
          </p:nvSpPr>
          <p:spPr bwMode="auto">
            <a:xfrm>
              <a:off x="1133476" y="714376"/>
              <a:ext cx="193675" cy="33338"/>
            </a:xfrm>
            <a:custGeom>
              <a:avLst/>
              <a:gdLst>
                <a:gd name="T0" fmla="*/ 1228 w 1463"/>
                <a:gd name="T1" fmla="*/ 227 h 256"/>
                <a:gd name="T2" fmla="*/ 1463 w 1463"/>
                <a:gd name="T3" fmla="*/ 113 h 256"/>
                <a:gd name="T4" fmla="*/ 1225 w 1463"/>
                <a:gd name="T5" fmla="*/ 14 h 256"/>
                <a:gd name="T6" fmla="*/ 1225 w 1463"/>
                <a:gd name="T7" fmla="*/ 14 h 256"/>
                <a:gd name="T8" fmla="*/ 1152 w 1463"/>
                <a:gd name="T9" fmla="*/ 15 h 256"/>
                <a:gd name="T10" fmla="*/ 1060 w 1463"/>
                <a:gd name="T11" fmla="*/ 16 h 256"/>
                <a:gd name="T12" fmla="*/ 949 w 1463"/>
                <a:gd name="T13" fmla="*/ 15 h 256"/>
                <a:gd name="T14" fmla="*/ 824 w 1463"/>
                <a:gd name="T15" fmla="*/ 13 h 256"/>
                <a:gd name="T16" fmla="*/ 531 w 1463"/>
                <a:gd name="T17" fmla="*/ 7 h 256"/>
                <a:gd name="T18" fmla="*/ 197 w 1463"/>
                <a:gd name="T19" fmla="*/ 0 h 256"/>
                <a:gd name="T20" fmla="*/ 0 w 1463"/>
                <a:gd name="T21" fmla="*/ 256 h 256"/>
                <a:gd name="T22" fmla="*/ 0 w 1463"/>
                <a:gd name="T23" fmla="*/ 256 h 256"/>
                <a:gd name="T24" fmla="*/ 734 w 1463"/>
                <a:gd name="T25" fmla="*/ 240 h 256"/>
                <a:gd name="T26" fmla="*/ 1024 w 1463"/>
                <a:gd name="T27" fmla="*/ 234 h 256"/>
                <a:gd name="T28" fmla="*/ 1228 w 1463"/>
                <a:gd name="T29" fmla="*/ 227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63" h="256">
                  <a:moveTo>
                    <a:pt x="1228" y="227"/>
                  </a:moveTo>
                  <a:lnTo>
                    <a:pt x="1463" y="113"/>
                  </a:lnTo>
                  <a:lnTo>
                    <a:pt x="1225" y="14"/>
                  </a:lnTo>
                  <a:lnTo>
                    <a:pt x="1225" y="14"/>
                  </a:lnTo>
                  <a:lnTo>
                    <a:pt x="1152" y="15"/>
                  </a:lnTo>
                  <a:lnTo>
                    <a:pt x="1060" y="16"/>
                  </a:lnTo>
                  <a:lnTo>
                    <a:pt x="949" y="15"/>
                  </a:lnTo>
                  <a:lnTo>
                    <a:pt x="824" y="13"/>
                  </a:lnTo>
                  <a:lnTo>
                    <a:pt x="531" y="7"/>
                  </a:lnTo>
                  <a:lnTo>
                    <a:pt x="197" y="0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734" y="240"/>
                  </a:lnTo>
                  <a:lnTo>
                    <a:pt x="1024" y="234"/>
                  </a:lnTo>
                  <a:lnTo>
                    <a:pt x="1228" y="2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47" name="Freeform 44"/>
            <p:cNvSpPr>
              <a:spLocks/>
            </p:cNvSpPr>
            <p:nvPr userDrawn="1"/>
          </p:nvSpPr>
          <p:spPr bwMode="auto">
            <a:xfrm>
              <a:off x="1195388" y="796926"/>
              <a:ext cx="114300" cy="112713"/>
            </a:xfrm>
            <a:custGeom>
              <a:avLst/>
              <a:gdLst>
                <a:gd name="T0" fmla="*/ 386 w 869"/>
                <a:gd name="T1" fmla="*/ 818 h 851"/>
                <a:gd name="T2" fmla="*/ 235 w 869"/>
                <a:gd name="T3" fmla="*/ 737 h 851"/>
                <a:gd name="T4" fmla="*/ 156 w 869"/>
                <a:gd name="T5" fmla="*/ 685 h 851"/>
                <a:gd name="T6" fmla="*/ 90 w 869"/>
                <a:gd name="T7" fmla="*/ 626 h 851"/>
                <a:gd name="T8" fmla="*/ 37 w 869"/>
                <a:gd name="T9" fmla="*/ 557 h 851"/>
                <a:gd name="T10" fmla="*/ 24 w 869"/>
                <a:gd name="T11" fmla="*/ 531 h 851"/>
                <a:gd name="T12" fmla="*/ 10 w 869"/>
                <a:gd name="T13" fmla="*/ 487 h 851"/>
                <a:gd name="T14" fmla="*/ 2 w 869"/>
                <a:gd name="T15" fmla="*/ 439 h 851"/>
                <a:gd name="T16" fmla="*/ 0 w 869"/>
                <a:gd name="T17" fmla="*/ 389 h 851"/>
                <a:gd name="T18" fmla="*/ 5 w 869"/>
                <a:gd name="T19" fmla="*/ 336 h 851"/>
                <a:gd name="T20" fmla="*/ 15 w 869"/>
                <a:gd name="T21" fmla="*/ 283 h 851"/>
                <a:gd name="T22" fmla="*/ 34 w 869"/>
                <a:gd name="T23" fmla="*/ 231 h 851"/>
                <a:gd name="T24" fmla="*/ 59 w 869"/>
                <a:gd name="T25" fmla="*/ 182 h 851"/>
                <a:gd name="T26" fmla="*/ 93 w 869"/>
                <a:gd name="T27" fmla="*/ 136 h 851"/>
                <a:gd name="T28" fmla="*/ 134 w 869"/>
                <a:gd name="T29" fmla="*/ 94 h 851"/>
                <a:gd name="T30" fmla="*/ 183 w 869"/>
                <a:gd name="T31" fmla="*/ 59 h 851"/>
                <a:gd name="T32" fmla="*/ 198 w 869"/>
                <a:gd name="T33" fmla="*/ 75 h 851"/>
                <a:gd name="T34" fmla="*/ 217 w 869"/>
                <a:gd name="T35" fmla="*/ 106 h 851"/>
                <a:gd name="T36" fmla="*/ 227 w 869"/>
                <a:gd name="T37" fmla="*/ 141 h 851"/>
                <a:gd name="T38" fmla="*/ 247 w 869"/>
                <a:gd name="T39" fmla="*/ 150 h 851"/>
                <a:gd name="T40" fmla="*/ 379 w 869"/>
                <a:gd name="T41" fmla="*/ 144 h 851"/>
                <a:gd name="T42" fmla="*/ 424 w 869"/>
                <a:gd name="T43" fmla="*/ 143 h 851"/>
                <a:gd name="T44" fmla="*/ 424 w 869"/>
                <a:gd name="T45" fmla="*/ 94 h 851"/>
                <a:gd name="T46" fmla="*/ 414 w 869"/>
                <a:gd name="T47" fmla="*/ 37 h 851"/>
                <a:gd name="T48" fmla="*/ 397 w 869"/>
                <a:gd name="T49" fmla="*/ 0 h 851"/>
                <a:gd name="T50" fmla="*/ 431 w 869"/>
                <a:gd name="T51" fmla="*/ 27 h 851"/>
                <a:gd name="T52" fmla="*/ 459 w 869"/>
                <a:gd name="T53" fmla="*/ 55 h 851"/>
                <a:gd name="T54" fmla="*/ 475 w 869"/>
                <a:gd name="T55" fmla="*/ 82 h 851"/>
                <a:gd name="T56" fmla="*/ 487 w 869"/>
                <a:gd name="T57" fmla="*/ 116 h 851"/>
                <a:gd name="T58" fmla="*/ 493 w 869"/>
                <a:gd name="T59" fmla="*/ 143 h 851"/>
                <a:gd name="T60" fmla="*/ 671 w 869"/>
                <a:gd name="T61" fmla="*/ 133 h 851"/>
                <a:gd name="T62" fmla="*/ 662 w 869"/>
                <a:gd name="T63" fmla="*/ 88 h 851"/>
                <a:gd name="T64" fmla="*/ 643 w 869"/>
                <a:gd name="T65" fmla="*/ 50 h 851"/>
                <a:gd name="T66" fmla="*/ 651 w 869"/>
                <a:gd name="T67" fmla="*/ 46 h 851"/>
                <a:gd name="T68" fmla="*/ 699 w 869"/>
                <a:gd name="T69" fmla="*/ 73 h 851"/>
                <a:gd name="T70" fmla="*/ 740 w 869"/>
                <a:gd name="T71" fmla="*/ 104 h 851"/>
                <a:gd name="T72" fmla="*/ 775 w 869"/>
                <a:gd name="T73" fmla="*/ 138 h 851"/>
                <a:gd name="T74" fmla="*/ 803 w 869"/>
                <a:gd name="T75" fmla="*/ 175 h 851"/>
                <a:gd name="T76" fmla="*/ 837 w 869"/>
                <a:gd name="T77" fmla="*/ 238 h 851"/>
                <a:gd name="T78" fmla="*/ 861 w 869"/>
                <a:gd name="T79" fmla="*/ 312 h 851"/>
                <a:gd name="T80" fmla="*/ 869 w 869"/>
                <a:gd name="T81" fmla="*/ 379 h 851"/>
                <a:gd name="T82" fmla="*/ 869 w 869"/>
                <a:gd name="T83" fmla="*/ 423 h 851"/>
                <a:gd name="T84" fmla="*/ 859 w 869"/>
                <a:gd name="T85" fmla="*/ 499 h 851"/>
                <a:gd name="T86" fmla="*/ 834 w 869"/>
                <a:gd name="T87" fmla="*/ 569 h 851"/>
                <a:gd name="T88" fmla="*/ 796 w 869"/>
                <a:gd name="T89" fmla="*/ 631 h 851"/>
                <a:gd name="T90" fmla="*/ 749 w 869"/>
                <a:gd name="T91" fmla="*/ 684 h 851"/>
                <a:gd name="T92" fmla="*/ 693 w 869"/>
                <a:gd name="T93" fmla="*/ 727 h 851"/>
                <a:gd name="T94" fmla="*/ 626 w 869"/>
                <a:gd name="T95" fmla="*/ 766 h 851"/>
                <a:gd name="T96" fmla="*/ 506 w 869"/>
                <a:gd name="T97" fmla="*/ 826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9" h="851">
                  <a:moveTo>
                    <a:pt x="452" y="851"/>
                  </a:moveTo>
                  <a:lnTo>
                    <a:pt x="452" y="851"/>
                  </a:lnTo>
                  <a:lnTo>
                    <a:pt x="386" y="818"/>
                  </a:lnTo>
                  <a:lnTo>
                    <a:pt x="323" y="785"/>
                  </a:lnTo>
                  <a:lnTo>
                    <a:pt x="264" y="754"/>
                  </a:lnTo>
                  <a:lnTo>
                    <a:pt x="235" y="737"/>
                  </a:lnTo>
                  <a:lnTo>
                    <a:pt x="207" y="720"/>
                  </a:lnTo>
                  <a:lnTo>
                    <a:pt x="181" y="703"/>
                  </a:lnTo>
                  <a:lnTo>
                    <a:pt x="156" y="685"/>
                  </a:lnTo>
                  <a:lnTo>
                    <a:pt x="133" y="666"/>
                  </a:lnTo>
                  <a:lnTo>
                    <a:pt x="110" y="646"/>
                  </a:lnTo>
                  <a:lnTo>
                    <a:pt x="90" y="626"/>
                  </a:lnTo>
                  <a:lnTo>
                    <a:pt x="70" y="605"/>
                  </a:lnTo>
                  <a:lnTo>
                    <a:pt x="53" y="581"/>
                  </a:lnTo>
                  <a:lnTo>
                    <a:pt x="37" y="557"/>
                  </a:lnTo>
                  <a:lnTo>
                    <a:pt x="37" y="557"/>
                  </a:lnTo>
                  <a:lnTo>
                    <a:pt x="31" y="544"/>
                  </a:lnTo>
                  <a:lnTo>
                    <a:pt x="24" y="531"/>
                  </a:lnTo>
                  <a:lnTo>
                    <a:pt x="19" y="517"/>
                  </a:lnTo>
                  <a:lnTo>
                    <a:pt x="14" y="502"/>
                  </a:lnTo>
                  <a:lnTo>
                    <a:pt x="10" y="487"/>
                  </a:lnTo>
                  <a:lnTo>
                    <a:pt x="7" y="472"/>
                  </a:lnTo>
                  <a:lnTo>
                    <a:pt x="4" y="455"/>
                  </a:lnTo>
                  <a:lnTo>
                    <a:pt x="2" y="439"/>
                  </a:lnTo>
                  <a:lnTo>
                    <a:pt x="1" y="423"/>
                  </a:lnTo>
                  <a:lnTo>
                    <a:pt x="0" y="405"/>
                  </a:lnTo>
                  <a:lnTo>
                    <a:pt x="0" y="389"/>
                  </a:lnTo>
                  <a:lnTo>
                    <a:pt x="1" y="371"/>
                  </a:lnTo>
                  <a:lnTo>
                    <a:pt x="2" y="353"/>
                  </a:lnTo>
                  <a:lnTo>
                    <a:pt x="5" y="336"/>
                  </a:lnTo>
                  <a:lnTo>
                    <a:pt x="7" y="318"/>
                  </a:lnTo>
                  <a:lnTo>
                    <a:pt x="11" y="301"/>
                  </a:lnTo>
                  <a:lnTo>
                    <a:pt x="15" y="283"/>
                  </a:lnTo>
                  <a:lnTo>
                    <a:pt x="21" y="266"/>
                  </a:lnTo>
                  <a:lnTo>
                    <a:pt x="26" y="249"/>
                  </a:lnTo>
                  <a:lnTo>
                    <a:pt x="34" y="231"/>
                  </a:lnTo>
                  <a:lnTo>
                    <a:pt x="42" y="215"/>
                  </a:lnTo>
                  <a:lnTo>
                    <a:pt x="50" y="199"/>
                  </a:lnTo>
                  <a:lnTo>
                    <a:pt x="59" y="182"/>
                  </a:lnTo>
                  <a:lnTo>
                    <a:pt x="69" y="166"/>
                  </a:lnTo>
                  <a:lnTo>
                    <a:pt x="81" y="151"/>
                  </a:lnTo>
                  <a:lnTo>
                    <a:pt x="93" y="136"/>
                  </a:lnTo>
                  <a:lnTo>
                    <a:pt x="105" y="122"/>
                  </a:lnTo>
                  <a:lnTo>
                    <a:pt x="120" y="108"/>
                  </a:lnTo>
                  <a:lnTo>
                    <a:pt x="134" y="94"/>
                  </a:lnTo>
                  <a:lnTo>
                    <a:pt x="149" y="82"/>
                  </a:lnTo>
                  <a:lnTo>
                    <a:pt x="166" y="70"/>
                  </a:lnTo>
                  <a:lnTo>
                    <a:pt x="183" y="59"/>
                  </a:lnTo>
                  <a:lnTo>
                    <a:pt x="183" y="59"/>
                  </a:lnTo>
                  <a:lnTo>
                    <a:pt x="191" y="67"/>
                  </a:lnTo>
                  <a:lnTo>
                    <a:pt x="198" y="75"/>
                  </a:lnTo>
                  <a:lnTo>
                    <a:pt x="203" y="82"/>
                  </a:lnTo>
                  <a:lnTo>
                    <a:pt x="208" y="90"/>
                  </a:lnTo>
                  <a:lnTo>
                    <a:pt x="217" y="106"/>
                  </a:lnTo>
                  <a:lnTo>
                    <a:pt x="222" y="120"/>
                  </a:lnTo>
                  <a:lnTo>
                    <a:pt x="225" y="132"/>
                  </a:lnTo>
                  <a:lnTo>
                    <a:pt x="227" y="141"/>
                  </a:lnTo>
                  <a:lnTo>
                    <a:pt x="227" y="150"/>
                  </a:lnTo>
                  <a:lnTo>
                    <a:pt x="227" y="150"/>
                  </a:lnTo>
                  <a:lnTo>
                    <a:pt x="247" y="150"/>
                  </a:lnTo>
                  <a:lnTo>
                    <a:pt x="272" y="150"/>
                  </a:lnTo>
                  <a:lnTo>
                    <a:pt x="325" y="146"/>
                  </a:lnTo>
                  <a:lnTo>
                    <a:pt x="379" y="144"/>
                  </a:lnTo>
                  <a:lnTo>
                    <a:pt x="404" y="143"/>
                  </a:lnTo>
                  <a:lnTo>
                    <a:pt x="424" y="143"/>
                  </a:lnTo>
                  <a:lnTo>
                    <a:pt x="424" y="143"/>
                  </a:lnTo>
                  <a:lnTo>
                    <a:pt x="425" y="129"/>
                  </a:lnTo>
                  <a:lnTo>
                    <a:pt x="425" y="112"/>
                  </a:lnTo>
                  <a:lnTo>
                    <a:pt x="424" y="94"/>
                  </a:lnTo>
                  <a:lnTo>
                    <a:pt x="422" y="76"/>
                  </a:lnTo>
                  <a:lnTo>
                    <a:pt x="419" y="56"/>
                  </a:lnTo>
                  <a:lnTo>
                    <a:pt x="414" y="37"/>
                  </a:lnTo>
                  <a:lnTo>
                    <a:pt x="407" y="19"/>
                  </a:lnTo>
                  <a:lnTo>
                    <a:pt x="402" y="9"/>
                  </a:lnTo>
                  <a:lnTo>
                    <a:pt x="397" y="0"/>
                  </a:lnTo>
                  <a:lnTo>
                    <a:pt x="397" y="0"/>
                  </a:lnTo>
                  <a:lnTo>
                    <a:pt x="415" y="14"/>
                  </a:lnTo>
                  <a:lnTo>
                    <a:pt x="431" y="27"/>
                  </a:lnTo>
                  <a:lnTo>
                    <a:pt x="446" y="40"/>
                  </a:lnTo>
                  <a:lnTo>
                    <a:pt x="453" y="47"/>
                  </a:lnTo>
                  <a:lnTo>
                    <a:pt x="459" y="55"/>
                  </a:lnTo>
                  <a:lnTo>
                    <a:pt x="465" y="64"/>
                  </a:lnTo>
                  <a:lnTo>
                    <a:pt x="470" y="73"/>
                  </a:lnTo>
                  <a:lnTo>
                    <a:pt x="475" y="82"/>
                  </a:lnTo>
                  <a:lnTo>
                    <a:pt x="479" y="92"/>
                  </a:lnTo>
                  <a:lnTo>
                    <a:pt x="484" y="104"/>
                  </a:lnTo>
                  <a:lnTo>
                    <a:pt x="487" y="116"/>
                  </a:lnTo>
                  <a:lnTo>
                    <a:pt x="490" y="129"/>
                  </a:lnTo>
                  <a:lnTo>
                    <a:pt x="493" y="143"/>
                  </a:lnTo>
                  <a:lnTo>
                    <a:pt x="493" y="143"/>
                  </a:lnTo>
                  <a:lnTo>
                    <a:pt x="671" y="150"/>
                  </a:lnTo>
                  <a:lnTo>
                    <a:pt x="671" y="150"/>
                  </a:lnTo>
                  <a:lnTo>
                    <a:pt x="671" y="133"/>
                  </a:lnTo>
                  <a:lnTo>
                    <a:pt x="670" y="118"/>
                  </a:lnTo>
                  <a:lnTo>
                    <a:pt x="667" y="103"/>
                  </a:lnTo>
                  <a:lnTo>
                    <a:pt x="662" y="88"/>
                  </a:lnTo>
                  <a:lnTo>
                    <a:pt x="657" y="75"/>
                  </a:lnTo>
                  <a:lnTo>
                    <a:pt x="651" y="62"/>
                  </a:lnTo>
                  <a:lnTo>
                    <a:pt x="643" y="50"/>
                  </a:lnTo>
                  <a:lnTo>
                    <a:pt x="634" y="38"/>
                  </a:lnTo>
                  <a:lnTo>
                    <a:pt x="634" y="38"/>
                  </a:lnTo>
                  <a:lnTo>
                    <a:pt x="651" y="46"/>
                  </a:lnTo>
                  <a:lnTo>
                    <a:pt x="669" y="54"/>
                  </a:lnTo>
                  <a:lnTo>
                    <a:pt x="684" y="64"/>
                  </a:lnTo>
                  <a:lnTo>
                    <a:pt x="699" y="73"/>
                  </a:lnTo>
                  <a:lnTo>
                    <a:pt x="714" y="83"/>
                  </a:lnTo>
                  <a:lnTo>
                    <a:pt x="728" y="93"/>
                  </a:lnTo>
                  <a:lnTo>
                    <a:pt x="740" y="104"/>
                  </a:lnTo>
                  <a:lnTo>
                    <a:pt x="752" y="115"/>
                  </a:lnTo>
                  <a:lnTo>
                    <a:pt x="764" y="126"/>
                  </a:lnTo>
                  <a:lnTo>
                    <a:pt x="775" y="138"/>
                  </a:lnTo>
                  <a:lnTo>
                    <a:pt x="785" y="151"/>
                  </a:lnTo>
                  <a:lnTo>
                    <a:pt x="794" y="163"/>
                  </a:lnTo>
                  <a:lnTo>
                    <a:pt x="803" y="175"/>
                  </a:lnTo>
                  <a:lnTo>
                    <a:pt x="811" y="187"/>
                  </a:lnTo>
                  <a:lnTo>
                    <a:pt x="825" y="213"/>
                  </a:lnTo>
                  <a:lnTo>
                    <a:pt x="837" y="238"/>
                  </a:lnTo>
                  <a:lnTo>
                    <a:pt x="848" y="263"/>
                  </a:lnTo>
                  <a:lnTo>
                    <a:pt x="855" y="289"/>
                  </a:lnTo>
                  <a:lnTo>
                    <a:pt x="861" y="312"/>
                  </a:lnTo>
                  <a:lnTo>
                    <a:pt x="865" y="336"/>
                  </a:lnTo>
                  <a:lnTo>
                    <a:pt x="868" y="358"/>
                  </a:lnTo>
                  <a:lnTo>
                    <a:pt x="869" y="379"/>
                  </a:lnTo>
                  <a:lnTo>
                    <a:pt x="869" y="397"/>
                  </a:lnTo>
                  <a:lnTo>
                    <a:pt x="869" y="397"/>
                  </a:lnTo>
                  <a:lnTo>
                    <a:pt x="869" y="423"/>
                  </a:lnTo>
                  <a:lnTo>
                    <a:pt x="868" y="449"/>
                  </a:lnTo>
                  <a:lnTo>
                    <a:pt x="864" y="474"/>
                  </a:lnTo>
                  <a:lnTo>
                    <a:pt x="859" y="499"/>
                  </a:lnTo>
                  <a:lnTo>
                    <a:pt x="852" y="523"/>
                  </a:lnTo>
                  <a:lnTo>
                    <a:pt x="843" y="546"/>
                  </a:lnTo>
                  <a:lnTo>
                    <a:pt x="834" y="569"/>
                  </a:lnTo>
                  <a:lnTo>
                    <a:pt x="823" y="590"/>
                  </a:lnTo>
                  <a:lnTo>
                    <a:pt x="811" y="612"/>
                  </a:lnTo>
                  <a:lnTo>
                    <a:pt x="796" y="631"/>
                  </a:lnTo>
                  <a:lnTo>
                    <a:pt x="782" y="651"/>
                  </a:lnTo>
                  <a:lnTo>
                    <a:pt x="766" y="668"/>
                  </a:lnTo>
                  <a:lnTo>
                    <a:pt x="749" y="684"/>
                  </a:lnTo>
                  <a:lnTo>
                    <a:pt x="731" y="700"/>
                  </a:lnTo>
                  <a:lnTo>
                    <a:pt x="713" y="714"/>
                  </a:lnTo>
                  <a:lnTo>
                    <a:pt x="693" y="727"/>
                  </a:lnTo>
                  <a:lnTo>
                    <a:pt x="693" y="727"/>
                  </a:lnTo>
                  <a:lnTo>
                    <a:pt x="658" y="748"/>
                  </a:lnTo>
                  <a:lnTo>
                    <a:pt x="626" y="766"/>
                  </a:lnTo>
                  <a:lnTo>
                    <a:pt x="594" y="783"/>
                  </a:lnTo>
                  <a:lnTo>
                    <a:pt x="563" y="799"/>
                  </a:lnTo>
                  <a:lnTo>
                    <a:pt x="506" y="826"/>
                  </a:lnTo>
                  <a:lnTo>
                    <a:pt x="452" y="85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48" name="Freeform 45"/>
            <p:cNvSpPr>
              <a:spLocks/>
            </p:cNvSpPr>
            <p:nvPr userDrawn="1"/>
          </p:nvSpPr>
          <p:spPr bwMode="auto">
            <a:xfrm>
              <a:off x="1228726" y="1074738"/>
              <a:ext cx="1588" cy="0"/>
            </a:xfrm>
            <a:custGeom>
              <a:avLst/>
              <a:gdLst>
                <a:gd name="T0" fmla="*/ 22 w 22"/>
                <a:gd name="T1" fmla="*/ 9 h 9"/>
                <a:gd name="T2" fmla="*/ 22 w 22"/>
                <a:gd name="T3" fmla="*/ 9 h 9"/>
                <a:gd name="T4" fmla="*/ 3 w 22"/>
                <a:gd name="T5" fmla="*/ 2 h 9"/>
                <a:gd name="T6" fmla="*/ 3 w 22"/>
                <a:gd name="T7" fmla="*/ 2 h 9"/>
                <a:gd name="T8" fmla="*/ 0 w 22"/>
                <a:gd name="T9" fmla="*/ 0 h 9"/>
                <a:gd name="T10" fmla="*/ 0 w 22"/>
                <a:gd name="T11" fmla="*/ 0 h 9"/>
                <a:gd name="T12" fmla="*/ 22 w 2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9">
                  <a:moveTo>
                    <a:pt x="22" y="9"/>
                  </a:moveTo>
                  <a:lnTo>
                    <a:pt x="22" y="9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2" y="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49" name="Freeform 46"/>
            <p:cNvSpPr>
              <a:spLocks/>
            </p:cNvSpPr>
            <p:nvPr userDrawn="1"/>
          </p:nvSpPr>
          <p:spPr bwMode="auto">
            <a:xfrm>
              <a:off x="981076" y="757238"/>
              <a:ext cx="20638" cy="12700"/>
            </a:xfrm>
            <a:custGeom>
              <a:avLst/>
              <a:gdLst>
                <a:gd name="T0" fmla="*/ 166 w 166"/>
                <a:gd name="T1" fmla="*/ 69 h 96"/>
                <a:gd name="T2" fmla="*/ 166 w 166"/>
                <a:gd name="T3" fmla="*/ 69 h 96"/>
                <a:gd name="T4" fmla="*/ 166 w 166"/>
                <a:gd name="T5" fmla="*/ 70 h 96"/>
                <a:gd name="T6" fmla="*/ 165 w 166"/>
                <a:gd name="T7" fmla="*/ 72 h 96"/>
                <a:gd name="T8" fmla="*/ 161 w 166"/>
                <a:gd name="T9" fmla="*/ 74 h 96"/>
                <a:gd name="T10" fmla="*/ 155 w 166"/>
                <a:gd name="T11" fmla="*/ 77 h 96"/>
                <a:gd name="T12" fmla="*/ 145 w 166"/>
                <a:gd name="T13" fmla="*/ 79 h 96"/>
                <a:gd name="T14" fmla="*/ 123 w 166"/>
                <a:gd name="T15" fmla="*/ 85 h 96"/>
                <a:gd name="T16" fmla="*/ 95 w 166"/>
                <a:gd name="T17" fmla="*/ 90 h 96"/>
                <a:gd name="T18" fmla="*/ 68 w 166"/>
                <a:gd name="T19" fmla="*/ 94 h 96"/>
                <a:gd name="T20" fmla="*/ 42 w 166"/>
                <a:gd name="T21" fmla="*/ 96 h 96"/>
                <a:gd name="T22" fmla="*/ 24 w 166"/>
                <a:gd name="T23" fmla="*/ 96 h 96"/>
                <a:gd name="T24" fmla="*/ 17 w 166"/>
                <a:gd name="T25" fmla="*/ 95 h 96"/>
                <a:gd name="T26" fmla="*/ 13 w 166"/>
                <a:gd name="T27" fmla="*/ 94 h 96"/>
                <a:gd name="T28" fmla="*/ 13 w 166"/>
                <a:gd name="T29" fmla="*/ 94 h 96"/>
                <a:gd name="T30" fmla="*/ 10 w 166"/>
                <a:gd name="T31" fmla="*/ 92 h 96"/>
                <a:gd name="T32" fmla="*/ 8 w 166"/>
                <a:gd name="T33" fmla="*/ 88 h 96"/>
                <a:gd name="T34" fmla="*/ 5 w 166"/>
                <a:gd name="T35" fmla="*/ 77 h 96"/>
                <a:gd name="T36" fmla="*/ 2 w 166"/>
                <a:gd name="T37" fmla="*/ 65 h 96"/>
                <a:gd name="T38" fmla="*/ 0 w 166"/>
                <a:gd name="T39" fmla="*/ 51 h 96"/>
                <a:gd name="T40" fmla="*/ 0 w 166"/>
                <a:gd name="T41" fmla="*/ 36 h 96"/>
                <a:gd name="T42" fmla="*/ 0 w 166"/>
                <a:gd name="T43" fmla="*/ 23 h 96"/>
                <a:gd name="T44" fmla="*/ 1 w 166"/>
                <a:gd name="T45" fmla="*/ 13 h 96"/>
                <a:gd name="T46" fmla="*/ 2 w 166"/>
                <a:gd name="T47" fmla="*/ 8 h 96"/>
                <a:gd name="T48" fmla="*/ 4 w 166"/>
                <a:gd name="T49" fmla="*/ 5 h 96"/>
                <a:gd name="T50" fmla="*/ 4 w 166"/>
                <a:gd name="T51" fmla="*/ 5 h 96"/>
                <a:gd name="T52" fmla="*/ 5 w 166"/>
                <a:gd name="T53" fmla="*/ 4 h 96"/>
                <a:gd name="T54" fmla="*/ 7 w 166"/>
                <a:gd name="T55" fmla="*/ 2 h 96"/>
                <a:gd name="T56" fmla="*/ 13 w 166"/>
                <a:gd name="T57" fmla="*/ 1 h 96"/>
                <a:gd name="T58" fmla="*/ 22 w 166"/>
                <a:gd name="T59" fmla="*/ 0 h 96"/>
                <a:gd name="T60" fmla="*/ 32 w 166"/>
                <a:gd name="T61" fmla="*/ 0 h 96"/>
                <a:gd name="T62" fmla="*/ 43 w 166"/>
                <a:gd name="T63" fmla="*/ 1 h 96"/>
                <a:gd name="T64" fmla="*/ 55 w 166"/>
                <a:gd name="T65" fmla="*/ 3 h 96"/>
                <a:gd name="T66" fmla="*/ 69 w 166"/>
                <a:gd name="T67" fmla="*/ 6 h 96"/>
                <a:gd name="T68" fmla="*/ 83 w 166"/>
                <a:gd name="T69" fmla="*/ 10 h 96"/>
                <a:gd name="T70" fmla="*/ 96 w 166"/>
                <a:gd name="T71" fmla="*/ 15 h 96"/>
                <a:gd name="T72" fmla="*/ 110 w 166"/>
                <a:gd name="T73" fmla="*/ 20 h 96"/>
                <a:gd name="T74" fmla="*/ 123 w 166"/>
                <a:gd name="T75" fmla="*/ 27 h 96"/>
                <a:gd name="T76" fmla="*/ 135 w 166"/>
                <a:gd name="T77" fmla="*/ 34 h 96"/>
                <a:gd name="T78" fmla="*/ 145 w 166"/>
                <a:gd name="T79" fmla="*/ 42 h 96"/>
                <a:gd name="T80" fmla="*/ 155 w 166"/>
                <a:gd name="T81" fmla="*/ 51 h 96"/>
                <a:gd name="T82" fmla="*/ 162 w 166"/>
                <a:gd name="T83" fmla="*/ 60 h 96"/>
                <a:gd name="T84" fmla="*/ 164 w 166"/>
                <a:gd name="T85" fmla="*/ 64 h 96"/>
                <a:gd name="T86" fmla="*/ 166 w 166"/>
                <a:gd name="T87" fmla="*/ 6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6" h="96">
                  <a:moveTo>
                    <a:pt x="166" y="69"/>
                  </a:moveTo>
                  <a:lnTo>
                    <a:pt x="166" y="69"/>
                  </a:lnTo>
                  <a:lnTo>
                    <a:pt x="166" y="70"/>
                  </a:lnTo>
                  <a:lnTo>
                    <a:pt x="165" y="72"/>
                  </a:lnTo>
                  <a:lnTo>
                    <a:pt x="161" y="74"/>
                  </a:lnTo>
                  <a:lnTo>
                    <a:pt x="155" y="77"/>
                  </a:lnTo>
                  <a:lnTo>
                    <a:pt x="145" y="79"/>
                  </a:lnTo>
                  <a:lnTo>
                    <a:pt x="123" y="85"/>
                  </a:lnTo>
                  <a:lnTo>
                    <a:pt x="95" y="90"/>
                  </a:lnTo>
                  <a:lnTo>
                    <a:pt x="68" y="94"/>
                  </a:lnTo>
                  <a:lnTo>
                    <a:pt x="42" y="96"/>
                  </a:lnTo>
                  <a:lnTo>
                    <a:pt x="24" y="96"/>
                  </a:lnTo>
                  <a:lnTo>
                    <a:pt x="17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0" y="92"/>
                  </a:lnTo>
                  <a:lnTo>
                    <a:pt x="8" y="88"/>
                  </a:lnTo>
                  <a:lnTo>
                    <a:pt x="5" y="77"/>
                  </a:lnTo>
                  <a:lnTo>
                    <a:pt x="2" y="65"/>
                  </a:lnTo>
                  <a:lnTo>
                    <a:pt x="0" y="51"/>
                  </a:lnTo>
                  <a:lnTo>
                    <a:pt x="0" y="36"/>
                  </a:lnTo>
                  <a:lnTo>
                    <a:pt x="0" y="23"/>
                  </a:lnTo>
                  <a:lnTo>
                    <a:pt x="1" y="13"/>
                  </a:lnTo>
                  <a:lnTo>
                    <a:pt x="2" y="8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4"/>
                  </a:lnTo>
                  <a:lnTo>
                    <a:pt x="7" y="2"/>
                  </a:lnTo>
                  <a:lnTo>
                    <a:pt x="13" y="1"/>
                  </a:lnTo>
                  <a:lnTo>
                    <a:pt x="22" y="0"/>
                  </a:lnTo>
                  <a:lnTo>
                    <a:pt x="32" y="0"/>
                  </a:lnTo>
                  <a:lnTo>
                    <a:pt x="43" y="1"/>
                  </a:lnTo>
                  <a:lnTo>
                    <a:pt x="55" y="3"/>
                  </a:lnTo>
                  <a:lnTo>
                    <a:pt x="69" y="6"/>
                  </a:lnTo>
                  <a:lnTo>
                    <a:pt x="83" y="10"/>
                  </a:lnTo>
                  <a:lnTo>
                    <a:pt x="96" y="15"/>
                  </a:lnTo>
                  <a:lnTo>
                    <a:pt x="110" y="20"/>
                  </a:lnTo>
                  <a:lnTo>
                    <a:pt x="123" y="27"/>
                  </a:lnTo>
                  <a:lnTo>
                    <a:pt x="135" y="34"/>
                  </a:lnTo>
                  <a:lnTo>
                    <a:pt x="145" y="42"/>
                  </a:lnTo>
                  <a:lnTo>
                    <a:pt x="155" y="51"/>
                  </a:lnTo>
                  <a:lnTo>
                    <a:pt x="162" y="60"/>
                  </a:lnTo>
                  <a:lnTo>
                    <a:pt x="164" y="64"/>
                  </a:lnTo>
                  <a:lnTo>
                    <a:pt x="166" y="6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0" name="Freeform 47"/>
            <p:cNvSpPr>
              <a:spLocks/>
            </p:cNvSpPr>
            <p:nvPr userDrawn="1"/>
          </p:nvSpPr>
          <p:spPr bwMode="auto">
            <a:xfrm>
              <a:off x="703263" y="714376"/>
              <a:ext cx="657225" cy="776288"/>
            </a:xfrm>
            <a:custGeom>
              <a:avLst/>
              <a:gdLst>
                <a:gd name="T0" fmla="*/ 4703 w 4973"/>
                <a:gd name="T1" fmla="*/ 1877 h 5865"/>
                <a:gd name="T2" fmla="*/ 4733 w 4973"/>
                <a:gd name="T3" fmla="*/ 1183 h 5865"/>
                <a:gd name="T4" fmla="*/ 4302 w 4973"/>
                <a:gd name="T5" fmla="*/ 476 h 5865"/>
                <a:gd name="T6" fmla="*/ 3581 w 4973"/>
                <a:gd name="T7" fmla="*/ 813 h 5865"/>
                <a:gd name="T8" fmla="*/ 3899 w 4973"/>
                <a:gd name="T9" fmla="*/ 1529 h 5865"/>
                <a:gd name="T10" fmla="*/ 3757 w 4973"/>
                <a:gd name="T11" fmla="*/ 2227 h 5865"/>
                <a:gd name="T12" fmla="*/ 3939 w 4973"/>
                <a:gd name="T13" fmla="*/ 2068 h 5865"/>
                <a:gd name="T14" fmla="*/ 4069 w 4973"/>
                <a:gd name="T15" fmla="*/ 1928 h 5865"/>
                <a:gd name="T16" fmla="*/ 4545 w 4973"/>
                <a:gd name="T17" fmla="*/ 1985 h 5865"/>
                <a:gd name="T18" fmla="*/ 4487 w 4973"/>
                <a:gd name="T19" fmla="*/ 2697 h 5865"/>
                <a:gd name="T20" fmla="*/ 3601 w 4973"/>
                <a:gd name="T21" fmla="*/ 2477 h 5865"/>
                <a:gd name="T22" fmla="*/ 3285 w 4973"/>
                <a:gd name="T23" fmla="*/ 1581 h 5865"/>
                <a:gd name="T24" fmla="*/ 3364 w 4973"/>
                <a:gd name="T25" fmla="*/ 1421 h 5865"/>
                <a:gd name="T26" fmla="*/ 3101 w 4973"/>
                <a:gd name="T27" fmla="*/ 996 h 5865"/>
                <a:gd name="T28" fmla="*/ 3251 w 4973"/>
                <a:gd name="T29" fmla="*/ 599 h 5865"/>
                <a:gd name="T30" fmla="*/ 2863 w 4973"/>
                <a:gd name="T31" fmla="*/ 144 h 5865"/>
                <a:gd name="T32" fmla="*/ 1960 w 4973"/>
                <a:gd name="T33" fmla="*/ 304 h 5865"/>
                <a:gd name="T34" fmla="*/ 1819 w 4973"/>
                <a:gd name="T35" fmla="*/ 748 h 5865"/>
                <a:gd name="T36" fmla="*/ 2202 w 4973"/>
                <a:gd name="T37" fmla="*/ 626 h 5865"/>
                <a:gd name="T38" fmla="*/ 2215 w 4973"/>
                <a:gd name="T39" fmla="*/ 803 h 5865"/>
                <a:gd name="T40" fmla="*/ 1623 w 4973"/>
                <a:gd name="T41" fmla="*/ 851 h 5865"/>
                <a:gd name="T42" fmla="*/ 1602 w 4973"/>
                <a:gd name="T43" fmla="*/ 1055 h 5865"/>
                <a:gd name="T44" fmla="*/ 2246 w 4973"/>
                <a:gd name="T45" fmla="*/ 924 h 5865"/>
                <a:gd name="T46" fmla="*/ 2036 w 4973"/>
                <a:gd name="T47" fmla="*/ 981 h 5865"/>
                <a:gd name="T48" fmla="*/ 1754 w 4973"/>
                <a:gd name="T49" fmla="*/ 1278 h 5865"/>
                <a:gd name="T50" fmla="*/ 2105 w 4973"/>
                <a:gd name="T51" fmla="*/ 1619 h 5865"/>
                <a:gd name="T52" fmla="*/ 863 w 4973"/>
                <a:gd name="T53" fmla="*/ 2239 h 5865"/>
                <a:gd name="T54" fmla="*/ 310 w 4973"/>
                <a:gd name="T55" fmla="*/ 2027 h 5865"/>
                <a:gd name="T56" fmla="*/ 319 w 4973"/>
                <a:gd name="T57" fmla="*/ 2172 h 5865"/>
                <a:gd name="T58" fmla="*/ 380 w 4973"/>
                <a:gd name="T59" fmla="*/ 2295 h 5865"/>
                <a:gd name="T60" fmla="*/ 39 w 4973"/>
                <a:gd name="T61" fmla="*/ 2396 h 5865"/>
                <a:gd name="T62" fmla="*/ 189 w 4973"/>
                <a:gd name="T63" fmla="*/ 2511 h 5865"/>
                <a:gd name="T64" fmla="*/ 322 w 4973"/>
                <a:gd name="T65" fmla="*/ 2588 h 5865"/>
                <a:gd name="T66" fmla="*/ 272 w 4973"/>
                <a:gd name="T67" fmla="*/ 2893 h 5865"/>
                <a:gd name="T68" fmla="*/ 630 w 4973"/>
                <a:gd name="T69" fmla="*/ 2730 h 5865"/>
                <a:gd name="T70" fmla="*/ 811 w 4973"/>
                <a:gd name="T71" fmla="*/ 2843 h 5865"/>
                <a:gd name="T72" fmla="*/ 1024 w 4973"/>
                <a:gd name="T73" fmla="*/ 2773 h 5865"/>
                <a:gd name="T74" fmla="*/ 1290 w 4973"/>
                <a:gd name="T75" fmla="*/ 2556 h 5865"/>
                <a:gd name="T76" fmla="*/ 1713 w 4973"/>
                <a:gd name="T77" fmla="*/ 2519 h 5865"/>
                <a:gd name="T78" fmla="*/ 2306 w 4973"/>
                <a:gd name="T79" fmla="*/ 2641 h 5865"/>
                <a:gd name="T80" fmla="*/ 3357 w 4973"/>
                <a:gd name="T81" fmla="*/ 3092 h 5865"/>
                <a:gd name="T82" fmla="*/ 3742 w 4973"/>
                <a:gd name="T83" fmla="*/ 3928 h 5865"/>
                <a:gd name="T84" fmla="*/ 3685 w 4973"/>
                <a:gd name="T85" fmla="*/ 4224 h 5865"/>
                <a:gd name="T86" fmla="*/ 4224 w 4973"/>
                <a:gd name="T87" fmla="*/ 4337 h 5865"/>
                <a:gd name="T88" fmla="*/ 4264 w 4973"/>
                <a:gd name="T89" fmla="*/ 5017 h 5865"/>
                <a:gd name="T90" fmla="*/ 3761 w 4973"/>
                <a:gd name="T91" fmla="*/ 5058 h 5865"/>
                <a:gd name="T92" fmla="*/ 3894 w 4973"/>
                <a:gd name="T93" fmla="*/ 5210 h 5865"/>
                <a:gd name="T94" fmla="*/ 3894 w 4973"/>
                <a:gd name="T95" fmla="*/ 5294 h 5865"/>
                <a:gd name="T96" fmla="*/ 3751 w 4973"/>
                <a:gd name="T97" fmla="*/ 5644 h 5865"/>
                <a:gd name="T98" fmla="*/ 3926 w 4973"/>
                <a:gd name="T99" fmla="*/ 5586 h 5865"/>
                <a:gd name="T100" fmla="*/ 4212 w 4973"/>
                <a:gd name="T101" fmla="*/ 5447 h 5865"/>
                <a:gd name="T102" fmla="*/ 4257 w 4973"/>
                <a:gd name="T103" fmla="*/ 5812 h 5865"/>
                <a:gd name="T104" fmla="*/ 4352 w 4973"/>
                <a:gd name="T105" fmla="*/ 5675 h 5865"/>
                <a:gd name="T106" fmla="*/ 4557 w 4973"/>
                <a:gd name="T107" fmla="*/ 5328 h 5865"/>
                <a:gd name="T108" fmla="*/ 4736 w 4973"/>
                <a:gd name="T109" fmla="*/ 5505 h 5865"/>
                <a:gd name="T110" fmla="*/ 4753 w 4973"/>
                <a:gd name="T111" fmla="*/ 5108 h 5865"/>
                <a:gd name="T112" fmla="*/ 4693 w 4973"/>
                <a:gd name="T113" fmla="*/ 4810 h 5865"/>
                <a:gd name="T114" fmla="*/ 4677 w 4973"/>
                <a:gd name="T115" fmla="*/ 4437 h 5865"/>
                <a:gd name="T116" fmla="*/ 4640 w 4973"/>
                <a:gd name="T117" fmla="*/ 4108 h 5865"/>
                <a:gd name="T118" fmla="*/ 4297 w 4973"/>
                <a:gd name="T119" fmla="*/ 3793 h 5865"/>
                <a:gd name="T120" fmla="*/ 4267 w 4973"/>
                <a:gd name="T121" fmla="*/ 3366 h 5865"/>
                <a:gd name="T122" fmla="*/ 4428 w 4973"/>
                <a:gd name="T123" fmla="*/ 2994 h 5865"/>
                <a:gd name="T124" fmla="*/ 4923 w 4973"/>
                <a:gd name="T125" fmla="*/ 2543 h 5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3" h="5865">
                  <a:moveTo>
                    <a:pt x="4842" y="2253"/>
                  </a:moveTo>
                  <a:lnTo>
                    <a:pt x="4842" y="2253"/>
                  </a:lnTo>
                  <a:lnTo>
                    <a:pt x="4862" y="2257"/>
                  </a:lnTo>
                  <a:lnTo>
                    <a:pt x="4881" y="2259"/>
                  </a:lnTo>
                  <a:lnTo>
                    <a:pt x="4900" y="2260"/>
                  </a:lnTo>
                  <a:lnTo>
                    <a:pt x="4916" y="2259"/>
                  </a:lnTo>
                  <a:lnTo>
                    <a:pt x="4932" y="2257"/>
                  </a:lnTo>
                  <a:lnTo>
                    <a:pt x="4946" y="2254"/>
                  </a:lnTo>
                  <a:lnTo>
                    <a:pt x="4958" y="2249"/>
                  </a:lnTo>
                  <a:lnTo>
                    <a:pt x="4969" y="2243"/>
                  </a:lnTo>
                  <a:lnTo>
                    <a:pt x="4969" y="2243"/>
                  </a:lnTo>
                  <a:lnTo>
                    <a:pt x="4967" y="2217"/>
                  </a:lnTo>
                  <a:lnTo>
                    <a:pt x="4960" y="2157"/>
                  </a:lnTo>
                  <a:lnTo>
                    <a:pt x="4951" y="2084"/>
                  </a:lnTo>
                  <a:lnTo>
                    <a:pt x="4946" y="2052"/>
                  </a:lnTo>
                  <a:lnTo>
                    <a:pt x="4940" y="2024"/>
                  </a:lnTo>
                  <a:lnTo>
                    <a:pt x="4940" y="2024"/>
                  </a:lnTo>
                  <a:lnTo>
                    <a:pt x="4922" y="2027"/>
                  </a:lnTo>
                  <a:lnTo>
                    <a:pt x="4902" y="2030"/>
                  </a:lnTo>
                  <a:lnTo>
                    <a:pt x="4891" y="2030"/>
                  </a:lnTo>
                  <a:lnTo>
                    <a:pt x="4879" y="2030"/>
                  </a:lnTo>
                  <a:lnTo>
                    <a:pt x="4867" y="2029"/>
                  </a:lnTo>
                  <a:lnTo>
                    <a:pt x="4855" y="2027"/>
                  </a:lnTo>
                  <a:lnTo>
                    <a:pt x="4843" y="2024"/>
                  </a:lnTo>
                  <a:lnTo>
                    <a:pt x="4830" y="2020"/>
                  </a:lnTo>
                  <a:lnTo>
                    <a:pt x="4818" y="2015"/>
                  </a:lnTo>
                  <a:lnTo>
                    <a:pt x="4806" y="2008"/>
                  </a:lnTo>
                  <a:lnTo>
                    <a:pt x="4794" y="1998"/>
                  </a:lnTo>
                  <a:lnTo>
                    <a:pt x="4782" y="1988"/>
                  </a:lnTo>
                  <a:lnTo>
                    <a:pt x="4771" y="1976"/>
                  </a:lnTo>
                  <a:lnTo>
                    <a:pt x="4761" y="1962"/>
                  </a:lnTo>
                  <a:lnTo>
                    <a:pt x="4761" y="1962"/>
                  </a:lnTo>
                  <a:lnTo>
                    <a:pt x="4743" y="1933"/>
                  </a:lnTo>
                  <a:lnTo>
                    <a:pt x="4724" y="1905"/>
                  </a:lnTo>
                  <a:lnTo>
                    <a:pt x="4724" y="1905"/>
                  </a:lnTo>
                  <a:lnTo>
                    <a:pt x="4703" y="1877"/>
                  </a:lnTo>
                  <a:lnTo>
                    <a:pt x="4680" y="1849"/>
                  </a:lnTo>
                  <a:lnTo>
                    <a:pt x="4658" y="1823"/>
                  </a:lnTo>
                  <a:lnTo>
                    <a:pt x="4634" y="1797"/>
                  </a:lnTo>
                  <a:lnTo>
                    <a:pt x="4611" y="1773"/>
                  </a:lnTo>
                  <a:lnTo>
                    <a:pt x="4586" y="1750"/>
                  </a:lnTo>
                  <a:lnTo>
                    <a:pt x="4562" y="1727"/>
                  </a:lnTo>
                  <a:lnTo>
                    <a:pt x="4538" y="1707"/>
                  </a:lnTo>
                  <a:lnTo>
                    <a:pt x="4513" y="1687"/>
                  </a:lnTo>
                  <a:lnTo>
                    <a:pt x="4489" y="1667"/>
                  </a:lnTo>
                  <a:lnTo>
                    <a:pt x="4463" y="1649"/>
                  </a:lnTo>
                  <a:lnTo>
                    <a:pt x="4439" y="1630"/>
                  </a:lnTo>
                  <a:lnTo>
                    <a:pt x="4413" y="1614"/>
                  </a:lnTo>
                  <a:lnTo>
                    <a:pt x="4389" y="1598"/>
                  </a:lnTo>
                  <a:lnTo>
                    <a:pt x="4337" y="1566"/>
                  </a:lnTo>
                  <a:lnTo>
                    <a:pt x="4337" y="1566"/>
                  </a:lnTo>
                  <a:lnTo>
                    <a:pt x="4381" y="1543"/>
                  </a:lnTo>
                  <a:lnTo>
                    <a:pt x="4422" y="1521"/>
                  </a:lnTo>
                  <a:lnTo>
                    <a:pt x="4459" y="1498"/>
                  </a:lnTo>
                  <a:lnTo>
                    <a:pt x="4492" y="1477"/>
                  </a:lnTo>
                  <a:lnTo>
                    <a:pt x="4523" y="1455"/>
                  </a:lnTo>
                  <a:lnTo>
                    <a:pt x="4549" y="1434"/>
                  </a:lnTo>
                  <a:lnTo>
                    <a:pt x="4574" y="1414"/>
                  </a:lnTo>
                  <a:lnTo>
                    <a:pt x="4595" y="1393"/>
                  </a:lnTo>
                  <a:lnTo>
                    <a:pt x="4615" y="1374"/>
                  </a:lnTo>
                  <a:lnTo>
                    <a:pt x="4632" y="1355"/>
                  </a:lnTo>
                  <a:lnTo>
                    <a:pt x="4647" y="1337"/>
                  </a:lnTo>
                  <a:lnTo>
                    <a:pt x="4661" y="1319"/>
                  </a:lnTo>
                  <a:lnTo>
                    <a:pt x="4673" y="1303"/>
                  </a:lnTo>
                  <a:lnTo>
                    <a:pt x="4683" y="1288"/>
                  </a:lnTo>
                  <a:lnTo>
                    <a:pt x="4700" y="1260"/>
                  </a:lnTo>
                  <a:lnTo>
                    <a:pt x="4700" y="1260"/>
                  </a:lnTo>
                  <a:lnTo>
                    <a:pt x="4708" y="1248"/>
                  </a:lnTo>
                  <a:lnTo>
                    <a:pt x="4714" y="1234"/>
                  </a:lnTo>
                  <a:lnTo>
                    <a:pt x="4721" y="1218"/>
                  </a:lnTo>
                  <a:lnTo>
                    <a:pt x="4727" y="1202"/>
                  </a:lnTo>
                  <a:lnTo>
                    <a:pt x="4733" y="1183"/>
                  </a:lnTo>
                  <a:lnTo>
                    <a:pt x="4739" y="1164"/>
                  </a:lnTo>
                  <a:lnTo>
                    <a:pt x="4743" y="1144"/>
                  </a:lnTo>
                  <a:lnTo>
                    <a:pt x="4749" y="1123"/>
                  </a:lnTo>
                  <a:lnTo>
                    <a:pt x="4753" y="1101"/>
                  </a:lnTo>
                  <a:lnTo>
                    <a:pt x="4756" y="1078"/>
                  </a:lnTo>
                  <a:lnTo>
                    <a:pt x="4758" y="1054"/>
                  </a:lnTo>
                  <a:lnTo>
                    <a:pt x="4759" y="1030"/>
                  </a:lnTo>
                  <a:lnTo>
                    <a:pt x="4760" y="1005"/>
                  </a:lnTo>
                  <a:lnTo>
                    <a:pt x="4759" y="980"/>
                  </a:lnTo>
                  <a:lnTo>
                    <a:pt x="4758" y="954"/>
                  </a:lnTo>
                  <a:lnTo>
                    <a:pt x="4755" y="928"/>
                  </a:lnTo>
                  <a:lnTo>
                    <a:pt x="4751" y="902"/>
                  </a:lnTo>
                  <a:lnTo>
                    <a:pt x="4745" y="876"/>
                  </a:lnTo>
                  <a:lnTo>
                    <a:pt x="4738" y="849"/>
                  </a:lnTo>
                  <a:lnTo>
                    <a:pt x="4730" y="824"/>
                  </a:lnTo>
                  <a:lnTo>
                    <a:pt x="4720" y="797"/>
                  </a:lnTo>
                  <a:lnTo>
                    <a:pt x="4709" y="771"/>
                  </a:lnTo>
                  <a:lnTo>
                    <a:pt x="4695" y="746"/>
                  </a:lnTo>
                  <a:lnTo>
                    <a:pt x="4681" y="721"/>
                  </a:lnTo>
                  <a:lnTo>
                    <a:pt x="4665" y="697"/>
                  </a:lnTo>
                  <a:lnTo>
                    <a:pt x="4646" y="672"/>
                  </a:lnTo>
                  <a:lnTo>
                    <a:pt x="4625" y="649"/>
                  </a:lnTo>
                  <a:lnTo>
                    <a:pt x="4602" y="626"/>
                  </a:lnTo>
                  <a:lnTo>
                    <a:pt x="4578" y="605"/>
                  </a:lnTo>
                  <a:lnTo>
                    <a:pt x="4551" y="584"/>
                  </a:lnTo>
                  <a:lnTo>
                    <a:pt x="4522" y="565"/>
                  </a:lnTo>
                  <a:lnTo>
                    <a:pt x="4490" y="545"/>
                  </a:lnTo>
                  <a:lnTo>
                    <a:pt x="4490" y="545"/>
                  </a:lnTo>
                  <a:lnTo>
                    <a:pt x="4466" y="533"/>
                  </a:lnTo>
                  <a:lnTo>
                    <a:pt x="4443" y="522"/>
                  </a:lnTo>
                  <a:lnTo>
                    <a:pt x="4419" y="512"/>
                  </a:lnTo>
                  <a:lnTo>
                    <a:pt x="4396" y="503"/>
                  </a:lnTo>
                  <a:lnTo>
                    <a:pt x="4372" y="494"/>
                  </a:lnTo>
                  <a:lnTo>
                    <a:pt x="4348" y="487"/>
                  </a:lnTo>
                  <a:lnTo>
                    <a:pt x="4325" y="481"/>
                  </a:lnTo>
                  <a:lnTo>
                    <a:pt x="4302" y="476"/>
                  </a:lnTo>
                  <a:lnTo>
                    <a:pt x="4278" y="471"/>
                  </a:lnTo>
                  <a:lnTo>
                    <a:pt x="4256" y="468"/>
                  </a:lnTo>
                  <a:lnTo>
                    <a:pt x="4233" y="465"/>
                  </a:lnTo>
                  <a:lnTo>
                    <a:pt x="4211" y="463"/>
                  </a:lnTo>
                  <a:lnTo>
                    <a:pt x="4188" y="461"/>
                  </a:lnTo>
                  <a:lnTo>
                    <a:pt x="4167" y="461"/>
                  </a:lnTo>
                  <a:lnTo>
                    <a:pt x="4145" y="461"/>
                  </a:lnTo>
                  <a:lnTo>
                    <a:pt x="4124" y="461"/>
                  </a:lnTo>
                  <a:lnTo>
                    <a:pt x="4083" y="464"/>
                  </a:lnTo>
                  <a:lnTo>
                    <a:pt x="4044" y="468"/>
                  </a:lnTo>
                  <a:lnTo>
                    <a:pt x="4007" y="474"/>
                  </a:lnTo>
                  <a:lnTo>
                    <a:pt x="3973" y="482"/>
                  </a:lnTo>
                  <a:lnTo>
                    <a:pt x="3941" y="490"/>
                  </a:lnTo>
                  <a:lnTo>
                    <a:pt x="3912" y="499"/>
                  </a:lnTo>
                  <a:lnTo>
                    <a:pt x="3887" y="510"/>
                  </a:lnTo>
                  <a:lnTo>
                    <a:pt x="3864" y="519"/>
                  </a:lnTo>
                  <a:lnTo>
                    <a:pt x="3864" y="519"/>
                  </a:lnTo>
                  <a:lnTo>
                    <a:pt x="3844" y="529"/>
                  </a:lnTo>
                  <a:lnTo>
                    <a:pt x="3824" y="539"/>
                  </a:lnTo>
                  <a:lnTo>
                    <a:pt x="3806" y="551"/>
                  </a:lnTo>
                  <a:lnTo>
                    <a:pt x="3787" y="562"/>
                  </a:lnTo>
                  <a:lnTo>
                    <a:pt x="3769" y="575"/>
                  </a:lnTo>
                  <a:lnTo>
                    <a:pt x="3752" y="587"/>
                  </a:lnTo>
                  <a:lnTo>
                    <a:pt x="3735" y="602"/>
                  </a:lnTo>
                  <a:lnTo>
                    <a:pt x="3719" y="616"/>
                  </a:lnTo>
                  <a:lnTo>
                    <a:pt x="3703" y="631"/>
                  </a:lnTo>
                  <a:lnTo>
                    <a:pt x="3687" y="647"/>
                  </a:lnTo>
                  <a:lnTo>
                    <a:pt x="3673" y="663"/>
                  </a:lnTo>
                  <a:lnTo>
                    <a:pt x="3659" y="679"/>
                  </a:lnTo>
                  <a:lnTo>
                    <a:pt x="3645" y="697"/>
                  </a:lnTo>
                  <a:lnTo>
                    <a:pt x="3633" y="715"/>
                  </a:lnTo>
                  <a:lnTo>
                    <a:pt x="3621" y="734"/>
                  </a:lnTo>
                  <a:lnTo>
                    <a:pt x="3609" y="753"/>
                  </a:lnTo>
                  <a:lnTo>
                    <a:pt x="3599" y="772"/>
                  </a:lnTo>
                  <a:lnTo>
                    <a:pt x="3589" y="793"/>
                  </a:lnTo>
                  <a:lnTo>
                    <a:pt x="3581" y="813"/>
                  </a:lnTo>
                  <a:lnTo>
                    <a:pt x="3573" y="835"/>
                  </a:lnTo>
                  <a:lnTo>
                    <a:pt x="3565" y="856"/>
                  </a:lnTo>
                  <a:lnTo>
                    <a:pt x="3559" y="879"/>
                  </a:lnTo>
                  <a:lnTo>
                    <a:pt x="3554" y="901"/>
                  </a:lnTo>
                  <a:lnTo>
                    <a:pt x="3550" y="924"/>
                  </a:lnTo>
                  <a:lnTo>
                    <a:pt x="3547" y="947"/>
                  </a:lnTo>
                  <a:lnTo>
                    <a:pt x="3545" y="972"/>
                  </a:lnTo>
                  <a:lnTo>
                    <a:pt x="3544" y="996"/>
                  </a:lnTo>
                  <a:lnTo>
                    <a:pt x="3543" y="1021"/>
                  </a:lnTo>
                  <a:lnTo>
                    <a:pt x="3544" y="1046"/>
                  </a:lnTo>
                  <a:lnTo>
                    <a:pt x="3546" y="1072"/>
                  </a:lnTo>
                  <a:lnTo>
                    <a:pt x="3550" y="1098"/>
                  </a:lnTo>
                  <a:lnTo>
                    <a:pt x="3554" y="1124"/>
                  </a:lnTo>
                  <a:lnTo>
                    <a:pt x="3554" y="1124"/>
                  </a:lnTo>
                  <a:lnTo>
                    <a:pt x="3559" y="1148"/>
                  </a:lnTo>
                  <a:lnTo>
                    <a:pt x="3564" y="1169"/>
                  </a:lnTo>
                  <a:lnTo>
                    <a:pt x="3571" y="1191"/>
                  </a:lnTo>
                  <a:lnTo>
                    <a:pt x="3577" y="1211"/>
                  </a:lnTo>
                  <a:lnTo>
                    <a:pt x="3585" y="1231"/>
                  </a:lnTo>
                  <a:lnTo>
                    <a:pt x="3592" y="1249"/>
                  </a:lnTo>
                  <a:lnTo>
                    <a:pt x="3601" y="1267"/>
                  </a:lnTo>
                  <a:lnTo>
                    <a:pt x="3610" y="1285"/>
                  </a:lnTo>
                  <a:lnTo>
                    <a:pt x="3620" y="1301"/>
                  </a:lnTo>
                  <a:lnTo>
                    <a:pt x="3631" y="1316"/>
                  </a:lnTo>
                  <a:lnTo>
                    <a:pt x="3641" y="1332"/>
                  </a:lnTo>
                  <a:lnTo>
                    <a:pt x="3652" y="1347"/>
                  </a:lnTo>
                  <a:lnTo>
                    <a:pt x="3665" y="1361"/>
                  </a:lnTo>
                  <a:lnTo>
                    <a:pt x="3677" y="1375"/>
                  </a:lnTo>
                  <a:lnTo>
                    <a:pt x="3690" y="1388"/>
                  </a:lnTo>
                  <a:lnTo>
                    <a:pt x="3704" y="1400"/>
                  </a:lnTo>
                  <a:lnTo>
                    <a:pt x="3732" y="1425"/>
                  </a:lnTo>
                  <a:lnTo>
                    <a:pt x="3763" y="1447"/>
                  </a:lnTo>
                  <a:lnTo>
                    <a:pt x="3795" y="1469"/>
                  </a:lnTo>
                  <a:lnTo>
                    <a:pt x="3828" y="1489"/>
                  </a:lnTo>
                  <a:lnTo>
                    <a:pt x="3863" y="1510"/>
                  </a:lnTo>
                  <a:lnTo>
                    <a:pt x="3899" y="1529"/>
                  </a:lnTo>
                  <a:lnTo>
                    <a:pt x="3976" y="1567"/>
                  </a:lnTo>
                  <a:lnTo>
                    <a:pt x="3976" y="1567"/>
                  </a:lnTo>
                  <a:lnTo>
                    <a:pt x="3945" y="1584"/>
                  </a:lnTo>
                  <a:lnTo>
                    <a:pt x="3916" y="1601"/>
                  </a:lnTo>
                  <a:lnTo>
                    <a:pt x="3890" y="1618"/>
                  </a:lnTo>
                  <a:lnTo>
                    <a:pt x="3864" y="1636"/>
                  </a:lnTo>
                  <a:lnTo>
                    <a:pt x="3840" y="1656"/>
                  </a:lnTo>
                  <a:lnTo>
                    <a:pt x="3817" y="1675"/>
                  </a:lnTo>
                  <a:lnTo>
                    <a:pt x="3797" y="1696"/>
                  </a:lnTo>
                  <a:lnTo>
                    <a:pt x="3778" y="1717"/>
                  </a:lnTo>
                  <a:lnTo>
                    <a:pt x="3761" y="1741"/>
                  </a:lnTo>
                  <a:lnTo>
                    <a:pt x="3754" y="1753"/>
                  </a:lnTo>
                  <a:lnTo>
                    <a:pt x="3746" y="1765"/>
                  </a:lnTo>
                  <a:lnTo>
                    <a:pt x="3739" y="1778"/>
                  </a:lnTo>
                  <a:lnTo>
                    <a:pt x="3733" y="1791"/>
                  </a:lnTo>
                  <a:lnTo>
                    <a:pt x="3728" y="1804"/>
                  </a:lnTo>
                  <a:lnTo>
                    <a:pt x="3723" y="1818"/>
                  </a:lnTo>
                  <a:lnTo>
                    <a:pt x="3718" y="1833"/>
                  </a:lnTo>
                  <a:lnTo>
                    <a:pt x="3714" y="1848"/>
                  </a:lnTo>
                  <a:lnTo>
                    <a:pt x="3711" y="1863"/>
                  </a:lnTo>
                  <a:lnTo>
                    <a:pt x="3708" y="1879"/>
                  </a:lnTo>
                  <a:lnTo>
                    <a:pt x="3706" y="1895"/>
                  </a:lnTo>
                  <a:lnTo>
                    <a:pt x="3705" y="1912"/>
                  </a:lnTo>
                  <a:lnTo>
                    <a:pt x="3704" y="1930"/>
                  </a:lnTo>
                  <a:lnTo>
                    <a:pt x="3703" y="1947"/>
                  </a:lnTo>
                  <a:lnTo>
                    <a:pt x="3703" y="1947"/>
                  </a:lnTo>
                  <a:lnTo>
                    <a:pt x="3704" y="1970"/>
                  </a:lnTo>
                  <a:lnTo>
                    <a:pt x="3707" y="1993"/>
                  </a:lnTo>
                  <a:lnTo>
                    <a:pt x="3711" y="2016"/>
                  </a:lnTo>
                  <a:lnTo>
                    <a:pt x="3716" y="2039"/>
                  </a:lnTo>
                  <a:lnTo>
                    <a:pt x="3729" y="2087"/>
                  </a:lnTo>
                  <a:lnTo>
                    <a:pt x="3736" y="2113"/>
                  </a:lnTo>
                  <a:lnTo>
                    <a:pt x="3742" y="2139"/>
                  </a:lnTo>
                  <a:lnTo>
                    <a:pt x="3749" y="2168"/>
                  </a:lnTo>
                  <a:lnTo>
                    <a:pt x="3753" y="2197"/>
                  </a:lnTo>
                  <a:lnTo>
                    <a:pt x="3757" y="2227"/>
                  </a:lnTo>
                  <a:lnTo>
                    <a:pt x="3758" y="2260"/>
                  </a:lnTo>
                  <a:lnTo>
                    <a:pt x="3758" y="2295"/>
                  </a:lnTo>
                  <a:lnTo>
                    <a:pt x="3757" y="2313"/>
                  </a:lnTo>
                  <a:lnTo>
                    <a:pt x="3755" y="2332"/>
                  </a:lnTo>
                  <a:lnTo>
                    <a:pt x="3753" y="2350"/>
                  </a:lnTo>
                  <a:lnTo>
                    <a:pt x="3750" y="2371"/>
                  </a:lnTo>
                  <a:lnTo>
                    <a:pt x="3745" y="2391"/>
                  </a:lnTo>
                  <a:lnTo>
                    <a:pt x="3741" y="2411"/>
                  </a:lnTo>
                  <a:lnTo>
                    <a:pt x="3741" y="2411"/>
                  </a:lnTo>
                  <a:lnTo>
                    <a:pt x="3741" y="2413"/>
                  </a:lnTo>
                  <a:lnTo>
                    <a:pt x="3741" y="2414"/>
                  </a:lnTo>
                  <a:lnTo>
                    <a:pt x="3743" y="2414"/>
                  </a:lnTo>
                  <a:lnTo>
                    <a:pt x="3745" y="2416"/>
                  </a:lnTo>
                  <a:lnTo>
                    <a:pt x="3753" y="2413"/>
                  </a:lnTo>
                  <a:lnTo>
                    <a:pt x="3762" y="2411"/>
                  </a:lnTo>
                  <a:lnTo>
                    <a:pt x="3785" y="2401"/>
                  </a:lnTo>
                  <a:lnTo>
                    <a:pt x="3814" y="2389"/>
                  </a:lnTo>
                  <a:lnTo>
                    <a:pt x="3842" y="2374"/>
                  </a:lnTo>
                  <a:lnTo>
                    <a:pt x="3867" y="2360"/>
                  </a:lnTo>
                  <a:lnTo>
                    <a:pt x="3886" y="2349"/>
                  </a:lnTo>
                  <a:lnTo>
                    <a:pt x="3891" y="2345"/>
                  </a:lnTo>
                  <a:lnTo>
                    <a:pt x="3894" y="2343"/>
                  </a:lnTo>
                  <a:lnTo>
                    <a:pt x="3894" y="2343"/>
                  </a:lnTo>
                  <a:lnTo>
                    <a:pt x="3903" y="2319"/>
                  </a:lnTo>
                  <a:lnTo>
                    <a:pt x="3910" y="2296"/>
                  </a:lnTo>
                  <a:lnTo>
                    <a:pt x="3916" y="2272"/>
                  </a:lnTo>
                  <a:lnTo>
                    <a:pt x="3921" y="2248"/>
                  </a:lnTo>
                  <a:lnTo>
                    <a:pt x="3925" y="2224"/>
                  </a:lnTo>
                  <a:lnTo>
                    <a:pt x="3928" y="2201"/>
                  </a:lnTo>
                  <a:lnTo>
                    <a:pt x="3930" y="2178"/>
                  </a:lnTo>
                  <a:lnTo>
                    <a:pt x="3932" y="2156"/>
                  </a:lnTo>
                  <a:lnTo>
                    <a:pt x="3932" y="2117"/>
                  </a:lnTo>
                  <a:lnTo>
                    <a:pt x="3931" y="2086"/>
                  </a:lnTo>
                  <a:lnTo>
                    <a:pt x="3928" y="2059"/>
                  </a:lnTo>
                  <a:lnTo>
                    <a:pt x="3928" y="2059"/>
                  </a:lnTo>
                  <a:lnTo>
                    <a:pt x="3939" y="2068"/>
                  </a:lnTo>
                  <a:lnTo>
                    <a:pt x="3947" y="2079"/>
                  </a:lnTo>
                  <a:lnTo>
                    <a:pt x="3954" y="2091"/>
                  </a:lnTo>
                  <a:lnTo>
                    <a:pt x="3960" y="2105"/>
                  </a:lnTo>
                  <a:lnTo>
                    <a:pt x="3964" y="2120"/>
                  </a:lnTo>
                  <a:lnTo>
                    <a:pt x="3968" y="2135"/>
                  </a:lnTo>
                  <a:lnTo>
                    <a:pt x="3971" y="2152"/>
                  </a:lnTo>
                  <a:lnTo>
                    <a:pt x="3973" y="2168"/>
                  </a:lnTo>
                  <a:lnTo>
                    <a:pt x="3975" y="2185"/>
                  </a:lnTo>
                  <a:lnTo>
                    <a:pt x="3976" y="2203"/>
                  </a:lnTo>
                  <a:lnTo>
                    <a:pt x="3976" y="2219"/>
                  </a:lnTo>
                  <a:lnTo>
                    <a:pt x="3975" y="2237"/>
                  </a:lnTo>
                  <a:lnTo>
                    <a:pt x="3971" y="2268"/>
                  </a:lnTo>
                  <a:lnTo>
                    <a:pt x="3965" y="2297"/>
                  </a:lnTo>
                  <a:lnTo>
                    <a:pt x="3965" y="2297"/>
                  </a:lnTo>
                  <a:lnTo>
                    <a:pt x="3982" y="2288"/>
                  </a:lnTo>
                  <a:lnTo>
                    <a:pt x="3998" y="2276"/>
                  </a:lnTo>
                  <a:lnTo>
                    <a:pt x="4016" y="2263"/>
                  </a:lnTo>
                  <a:lnTo>
                    <a:pt x="4036" y="2249"/>
                  </a:lnTo>
                  <a:lnTo>
                    <a:pt x="4053" y="2234"/>
                  </a:lnTo>
                  <a:lnTo>
                    <a:pt x="4061" y="2226"/>
                  </a:lnTo>
                  <a:lnTo>
                    <a:pt x="4068" y="2219"/>
                  </a:lnTo>
                  <a:lnTo>
                    <a:pt x="4072" y="2212"/>
                  </a:lnTo>
                  <a:lnTo>
                    <a:pt x="4075" y="2206"/>
                  </a:lnTo>
                  <a:lnTo>
                    <a:pt x="4075" y="2206"/>
                  </a:lnTo>
                  <a:lnTo>
                    <a:pt x="4083" y="2176"/>
                  </a:lnTo>
                  <a:lnTo>
                    <a:pt x="4090" y="2148"/>
                  </a:lnTo>
                  <a:lnTo>
                    <a:pt x="4094" y="2121"/>
                  </a:lnTo>
                  <a:lnTo>
                    <a:pt x="4096" y="2095"/>
                  </a:lnTo>
                  <a:lnTo>
                    <a:pt x="4096" y="2071"/>
                  </a:lnTo>
                  <a:lnTo>
                    <a:pt x="4095" y="2047"/>
                  </a:lnTo>
                  <a:lnTo>
                    <a:pt x="4093" y="2025"/>
                  </a:lnTo>
                  <a:lnTo>
                    <a:pt x="4090" y="2003"/>
                  </a:lnTo>
                  <a:lnTo>
                    <a:pt x="4085" y="1983"/>
                  </a:lnTo>
                  <a:lnTo>
                    <a:pt x="4080" y="1964"/>
                  </a:lnTo>
                  <a:lnTo>
                    <a:pt x="4075" y="1945"/>
                  </a:lnTo>
                  <a:lnTo>
                    <a:pt x="4069" y="1928"/>
                  </a:lnTo>
                  <a:lnTo>
                    <a:pt x="4055" y="1894"/>
                  </a:lnTo>
                  <a:lnTo>
                    <a:pt x="4043" y="1862"/>
                  </a:lnTo>
                  <a:lnTo>
                    <a:pt x="4043" y="1862"/>
                  </a:lnTo>
                  <a:lnTo>
                    <a:pt x="4038" y="1847"/>
                  </a:lnTo>
                  <a:lnTo>
                    <a:pt x="4035" y="1832"/>
                  </a:lnTo>
                  <a:lnTo>
                    <a:pt x="4034" y="1817"/>
                  </a:lnTo>
                  <a:lnTo>
                    <a:pt x="4035" y="1802"/>
                  </a:lnTo>
                  <a:lnTo>
                    <a:pt x="4037" y="1788"/>
                  </a:lnTo>
                  <a:lnTo>
                    <a:pt x="4041" y="1773"/>
                  </a:lnTo>
                  <a:lnTo>
                    <a:pt x="4046" y="1759"/>
                  </a:lnTo>
                  <a:lnTo>
                    <a:pt x="4053" y="1746"/>
                  </a:lnTo>
                  <a:lnTo>
                    <a:pt x="4061" y="1733"/>
                  </a:lnTo>
                  <a:lnTo>
                    <a:pt x="4071" y="1719"/>
                  </a:lnTo>
                  <a:lnTo>
                    <a:pt x="4081" y="1707"/>
                  </a:lnTo>
                  <a:lnTo>
                    <a:pt x="4092" y="1696"/>
                  </a:lnTo>
                  <a:lnTo>
                    <a:pt x="4103" y="1684"/>
                  </a:lnTo>
                  <a:lnTo>
                    <a:pt x="4117" y="1673"/>
                  </a:lnTo>
                  <a:lnTo>
                    <a:pt x="4130" y="1664"/>
                  </a:lnTo>
                  <a:lnTo>
                    <a:pt x="4145" y="1655"/>
                  </a:lnTo>
                  <a:lnTo>
                    <a:pt x="4145" y="1655"/>
                  </a:lnTo>
                  <a:lnTo>
                    <a:pt x="4180" y="1674"/>
                  </a:lnTo>
                  <a:lnTo>
                    <a:pt x="4215" y="1695"/>
                  </a:lnTo>
                  <a:lnTo>
                    <a:pt x="4251" y="1716"/>
                  </a:lnTo>
                  <a:lnTo>
                    <a:pt x="4286" y="1740"/>
                  </a:lnTo>
                  <a:lnTo>
                    <a:pt x="4286" y="1740"/>
                  </a:lnTo>
                  <a:lnTo>
                    <a:pt x="4307" y="1754"/>
                  </a:lnTo>
                  <a:lnTo>
                    <a:pt x="4341" y="1779"/>
                  </a:lnTo>
                  <a:lnTo>
                    <a:pt x="4361" y="1794"/>
                  </a:lnTo>
                  <a:lnTo>
                    <a:pt x="4382" y="1812"/>
                  </a:lnTo>
                  <a:lnTo>
                    <a:pt x="4405" y="1832"/>
                  </a:lnTo>
                  <a:lnTo>
                    <a:pt x="4430" y="1853"/>
                  </a:lnTo>
                  <a:lnTo>
                    <a:pt x="4453" y="1877"/>
                  </a:lnTo>
                  <a:lnTo>
                    <a:pt x="4478" y="1901"/>
                  </a:lnTo>
                  <a:lnTo>
                    <a:pt x="4501" y="1928"/>
                  </a:lnTo>
                  <a:lnTo>
                    <a:pt x="4524" y="1956"/>
                  </a:lnTo>
                  <a:lnTo>
                    <a:pt x="4545" y="1985"/>
                  </a:lnTo>
                  <a:lnTo>
                    <a:pt x="4564" y="2016"/>
                  </a:lnTo>
                  <a:lnTo>
                    <a:pt x="4574" y="2031"/>
                  </a:lnTo>
                  <a:lnTo>
                    <a:pt x="4582" y="2047"/>
                  </a:lnTo>
                  <a:lnTo>
                    <a:pt x="4590" y="2064"/>
                  </a:lnTo>
                  <a:lnTo>
                    <a:pt x="4596" y="2080"/>
                  </a:lnTo>
                  <a:lnTo>
                    <a:pt x="4596" y="2080"/>
                  </a:lnTo>
                  <a:lnTo>
                    <a:pt x="4606" y="2106"/>
                  </a:lnTo>
                  <a:lnTo>
                    <a:pt x="4616" y="2130"/>
                  </a:lnTo>
                  <a:lnTo>
                    <a:pt x="4624" y="2155"/>
                  </a:lnTo>
                  <a:lnTo>
                    <a:pt x="4630" y="2178"/>
                  </a:lnTo>
                  <a:lnTo>
                    <a:pt x="4636" y="2202"/>
                  </a:lnTo>
                  <a:lnTo>
                    <a:pt x="4641" y="2224"/>
                  </a:lnTo>
                  <a:lnTo>
                    <a:pt x="4645" y="2246"/>
                  </a:lnTo>
                  <a:lnTo>
                    <a:pt x="4649" y="2266"/>
                  </a:lnTo>
                  <a:lnTo>
                    <a:pt x="4651" y="2287"/>
                  </a:lnTo>
                  <a:lnTo>
                    <a:pt x="4653" y="2306"/>
                  </a:lnTo>
                  <a:lnTo>
                    <a:pt x="4654" y="2325"/>
                  </a:lnTo>
                  <a:lnTo>
                    <a:pt x="4655" y="2343"/>
                  </a:lnTo>
                  <a:lnTo>
                    <a:pt x="4654" y="2377"/>
                  </a:lnTo>
                  <a:lnTo>
                    <a:pt x="4652" y="2408"/>
                  </a:lnTo>
                  <a:lnTo>
                    <a:pt x="4648" y="2437"/>
                  </a:lnTo>
                  <a:lnTo>
                    <a:pt x="4642" y="2464"/>
                  </a:lnTo>
                  <a:lnTo>
                    <a:pt x="4635" y="2487"/>
                  </a:lnTo>
                  <a:lnTo>
                    <a:pt x="4628" y="2509"/>
                  </a:lnTo>
                  <a:lnTo>
                    <a:pt x="4620" y="2527"/>
                  </a:lnTo>
                  <a:lnTo>
                    <a:pt x="4612" y="2544"/>
                  </a:lnTo>
                  <a:lnTo>
                    <a:pt x="4603" y="2559"/>
                  </a:lnTo>
                  <a:lnTo>
                    <a:pt x="4596" y="2570"/>
                  </a:lnTo>
                  <a:lnTo>
                    <a:pt x="4596" y="2570"/>
                  </a:lnTo>
                  <a:lnTo>
                    <a:pt x="4582" y="2590"/>
                  </a:lnTo>
                  <a:lnTo>
                    <a:pt x="4568" y="2611"/>
                  </a:lnTo>
                  <a:lnTo>
                    <a:pt x="4553" y="2629"/>
                  </a:lnTo>
                  <a:lnTo>
                    <a:pt x="4538" y="2648"/>
                  </a:lnTo>
                  <a:lnTo>
                    <a:pt x="4522" y="2665"/>
                  </a:lnTo>
                  <a:lnTo>
                    <a:pt x="4505" y="2681"/>
                  </a:lnTo>
                  <a:lnTo>
                    <a:pt x="4487" y="2697"/>
                  </a:lnTo>
                  <a:lnTo>
                    <a:pt x="4469" y="2711"/>
                  </a:lnTo>
                  <a:lnTo>
                    <a:pt x="4450" y="2724"/>
                  </a:lnTo>
                  <a:lnTo>
                    <a:pt x="4430" y="2736"/>
                  </a:lnTo>
                  <a:lnTo>
                    <a:pt x="4409" y="2747"/>
                  </a:lnTo>
                  <a:lnTo>
                    <a:pt x="4388" y="2756"/>
                  </a:lnTo>
                  <a:lnTo>
                    <a:pt x="4364" y="2764"/>
                  </a:lnTo>
                  <a:lnTo>
                    <a:pt x="4341" y="2771"/>
                  </a:lnTo>
                  <a:lnTo>
                    <a:pt x="4316" y="2776"/>
                  </a:lnTo>
                  <a:lnTo>
                    <a:pt x="4290" y="2779"/>
                  </a:lnTo>
                  <a:lnTo>
                    <a:pt x="4290" y="2779"/>
                  </a:lnTo>
                  <a:lnTo>
                    <a:pt x="4283" y="2778"/>
                  </a:lnTo>
                  <a:lnTo>
                    <a:pt x="4275" y="2778"/>
                  </a:lnTo>
                  <a:lnTo>
                    <a:pt x="4275" y="2778"/>
                  </a:lnTo>
                  <a:lnTo>
                    <a:pt x="4242" y="2779"/>
                  </a:lnTo>
                  <a:lnTo>
                    <a:pt x="4213" y="2779"/>
                  </a:lnTo>
                  <a:lnTo>
                    <a:pt x="4185" y="2778"/>
                  </a:lnTo>
                  <a:lnTo>
                    <a:pt x="4159" y="2775"/>
                  </a:lnTo>
                  <a:lnTo>
                    <a:pt x="4159" y="2775"/>
                  </a:lnTo>
                  <a:lnTo>
                    <a:pt x="4131" y="2770"/>
                  </a:lnTo>
                  <a:lnTo>
                    <a:pt x="4103" y="2765"/>
                  </a:lnTo>
                  <a:lnTo>
                    <a:pt x="4077" y="2758"/>
                  </a:lnTo>
                  <a:lnTo>
                    <a:pt x="4052" y="2751"/>
                  </a:lnTo>
                  <a:lnTo>
                    <a:pt x="4052" y="2751"/>
                  </a:lnTo>
                  <a:lnTo>
                    <a:pt x="4009" y="2736"/>
                  </a:lnTo>
                  <a:lnTo>
                    <a:pt x="3965" y="2717"/>
                  </a:lnTo>
                  <a:lnTo>
                    <a:pt x="3965" y="2717"/>
                  </a:lnTo>
                  <a:lnTo>
                    <a:pt x="3925" y="2697"/>
                  </a:lnTo>
                  <a:lnTo>
                    <a:pt x="3874" y="2669"/>
                  </a:lnTo>
                  <a:lnTo>
                    <a:pt x="3846" y="2652"/>
                  </a:lnTo>
                  <a:lnTo>
                    <a:pt x="3815" y="2632"/>
                  </a:lnTo>
                  <a:lnTo>
                    <a:pt x="3782" y="2612"/>
                  </a:lnTo>
                  <a:lnTo>
                    <a:pt x="3748" y="2588"/>
                  </a:lnTo>
                  <a:lnTo>
                    <a:pt x="3712" y="2564"/>
                  </a:lnTo>
                  <a:lnTo>
                    <a:pt x="3676" y="2536"/>
                  </a:lnTo>
                  <a:lnTo>
                    <a:pt x="3638" y="2508"/>
                  </a:lnTo>
                  <a:lnTo>
                    <a:pt x="3601" y="2477"/>
                  </a:lnTo>
                  <a:lnTo>
                    <a:pt x="3563" y="2444"/>
                  </a:lnTo>
                  <a:lnTo>
                    <a:pt x="3526" y="2409"/>
                  </a:lnTo>
                  <a:lnTo>
                    <a:pt x="3488" y="2373"/>
                  </a:lnTo>
                  <a:lnTo>
                    <a:pt x="3451" y="2335"/>
                  </a:lnTo>
                  <a:lnTo>
                    <a:pt x="3451" y="2335"/>
                  </a:lnTo>
                  <a:lnTo>
                    <a:pt x="3394" y="2271"/>
                  </a:lnTo>
                  <a:lnTo>
                    <a:pt x="3342" y="2212"/>
                  </a:lnTo>
                  <a:lnTo>
                    <a:pt x="3295" y="2157"/>
                  </a:lnTo>
                  <a:lnTo>
                    <a:pt x="3253" y="2107"/>
                  </a:lnTo>
                  <a:lnTo>
                    <a:pt x="3215" y="2060"/>
                  </a:lnTo>
                  <a:lnTo>
                    <a:pt x="3180" y="2017"/>
                  </a:lnTo>
                  <a:lnTo>
                    <a:pt x="3120" y="1940"/>
                  </a:lnTo>
                  <a:lnTo>
                    <a:pt x="3120" y="1940"/>
                  </a:lnTo>
                  <a:lnTo>
                    <a:pt x="3138" y="1947"/>
                  </a:lnTo>
                  <a:lnTo>
                    <a:pt x="3156" y="1953"/>
                  </a:lnTo>
                  <a:lnTo>
                    <a:pt x="3175" y="1958"/>
                  </a:lnTo>
                  <a:lnTo>
                    <a:pt x="3193" y="1963"/>
                  </a:lnTo>
                  <a:lnTo>
                    <a:pt x="3211" y="1966"/>
                  </a:lnTo>
                  <a:lnTo>
                    <a:pt x="3229" y="1968"/>
                  </a:lnTo>
                  <a:lnTo>
                    <a:pt x="3262" y="1971"/>
                  </a:lnTo>
                  <a:lnTo>
                    <a:pt x="3289" y="1971"/>
                  </a:lnTo>
                  <a:lnTo>
                    <a:pt x="3312" y="1970"/>
                  </a:lnTo>
                  <a:lnTo>
                    <a:pt x="3332" y="1968"/>
                  </a:lnTo>
                  <a:lnTo>
                    <a:pt x="3332" y="1968"/>
                  </a:lnTo>
                  <a:lnTo>
                    <a:pt x="3336" y="1918"/>
                  </a:lnTo>
                  <a:lnTo>
                    <a:pt x="3338" y="1873"/>
                  </a:lnTo>
                  <a:lnTo>
                    <a:pt x="3340" y="1833"/>
                  </a:lnTo>
                  <a:lnTo>
                    <a:pt x="3346" y="1698"/>
                  </a:lnTo>
                  <a:lnTo>
                    <a:pt x="3346" y="1698"/>
                  </a:lnTo>
                  <a:lnTo>
                    <a:pt x="3349" y="1661"/>
                  </a:lnTo>
                  <a:lnTo>
                    <a:pt x="3351" y="1626"/>
                  </a:lnTo>
                  <a:lnTo>
                    <a:pt x="3352" y="1589"/>
                  </a:lnTo>
                  <a:lnTo>
                    <a:pt x="3352" y="1589"/>
                  </a:lnTo>
                  <a:lnTo>
                    <a:pt x="3340" y="1588"/>
                  </a:lnTo>
                  <a:lnTo>
                    <a:pt x="3307" y="1584"/>
                  </a:lnTo>
                  <a:lnTo>
                    <a:pt x="3285" y="1581"/>
                  </a:lnTo>
                  <a:lnTo>
                    <a:pt x="3260" y="1576"/>
                  </a:lnTo>
                  <a:lnTo>
                    <a:pt x="3233" y="1571"/>
                  </a:lnTo>
                  <a:lnTo>
                    <a:pt x="3206" y="1564"/>
                  </a:lnTo>
                  <a:lnTo>
                    <a:pt x="3176" y="1555"/>
                  </a:lnTo>
                  <a:lnTo>
                    <a:pt x="3147" y="1544"/>
                  </a:lnTo>
                  <a:lnTo>
                    <a:pt x="3120" y="1532"/>
                  </a:lnTo>
                  <a:lnTo>
                    <a:pt x="3106" y="1526"/>
                  </a:lnTo>
                  <a:lnTo>
                    <a:pt x="3093" y="1519"/>
                  </a:lnTo>
                  <a:lnTo>
                    <a:pt x="3081" y="1511"/>
                  </a:lnTo>
                  <a:lnTo>
                    <a:pt x="3070" y="1502"/>
                  </a:lnTo>
                  <a:lnTo>
                    <a:pt x="3058" y="1493"/>
                  </a:lnTo>
                  <a:lnTo>
                    <a:pt x="3049" y="1484"/>
                  </a:lnTo>
                  <a:lnTo>
                    <a:pt x="3040" y="1474"/>
                  </a:lnTo>
                  <a:lnTo>
                    <a:pt x="3032" y="1463"/>
                  </a:lnTo>
                  <a:lnTo>
                    <a:pt x="3025" y="1451"/>
                  </a:lnTo>
                  <a:lnTo>
                    <a:pt x="3019" y="1439"/>
                  </a:lnTo>
                  <a:lnTo>
                    <a:pt x="3019" y="1439"/>
                  </a:lnTo>
                  <a:lnTo>
                    <a:pt x="3030" y="1445"/>
                  </a:lnTo>
                  <a:lnTo>
                    <a:pt x="3042" y="1450"/>
                  </a:lnTo>
                  <a:lnTo>
                    <a:pt x="3059" y="1457"/>
                  </a:lnTo>
                  <a:lnTo>
                    <a:pt x="3081" y="1465"/>
                  </a:lnTo>
                  <a:lnTo>
                    <a:pt x="3106" y="1472"/>
                  </a:lnTo>
                  <a:lnTo>
                    <a:pt x="3136" y="1477"/>
                  </a:lnTo>
                  <a:lnTo>
                    <a:pt x="3152" y="1479"/>
                  </a:lnTo>
                  <a:lnTo>
                    <a:pt x="3169" y="1480"/>
                  </a:lnTo>
                  <a:lnTo>
                    <a:pt x="3169" y="1480"/>
                  </a:lnTo>
                  <a:lnTo>
                    <a:pt x="3201" y="1481"/>
                  </a:lnTo>
                  <a:lnTo>
                    <a:pt x="3234" y="1481"/>
                  </a:lnTo>
                  <a:lnTo>
                    <a:pt x="3266" y="1479"/>
                  </a:lnTo>
                  <a:lnTo>
                    <a:pt x="3295" y="1477"/>
                  </a:lnTo>
                  <a:lnTo>
                    <a:pt x="3340" y="1471"/>
                  </a:lnTo>
                  <a:lnTo>
                    <a:pt x="3357" y="1469"/>
                  </a:lnTo>
                  <a:lnTo>
                    <a:pt x="3357" y="1469"/>
                  </a:lnTo>
                  <a:lnTo>
                    <a:pt x="3359" y="1463"/>
                  </a:lnTo>
                  <a:lnTo>
                    <a:pt x="3361" y="1451"/>
                  </a:lnTo>
                  <a:lnTo>
                    <a:pt x="3364" y="1421"/>
                  </a:lnTo>
                  <a:lnTo>
                    <a:pt x="3367" y="1381"/>
                  </a:lnTo>
                  <a:lnTo>
                    <a:pt x="3369" y="1337"/>
                  </a:lnTo>
                  <a:lnTo>
                    <a:pt x="3373" y="1257"/>
                  </a:lnTo>
                  <a:lnTo>
                    <a:pt x="3375" y="1222"/>
                  </a:lnTo>
                  <a:lnTo>
                    <a:pt x="3375" y="1222"/>
                  </a:lnTo>
                  <a:lnTo>
                    <a:pt x="3376" y="1194"/>
                  </a:lnTo>
                  <a:lnTo>
                    <a:pt x="3377" y="1154"/>
                  </a:lnTo>
                  <a:lnTo>
                    <a:pt x="3377" y="1105"/>
                  </a:lnTo>
                  <a:lnTo>
                    <a:pt x="3377" y="1105"/>
                  </a:lnTo>
                  <a:lnTo>
                    <a:pt x="3369" y="1107"/>
                  </a:lnTo>
                  <a:lnTo>
                    <a:pt x="3359" y="1108"/>
                  </a:lnTo>
                  <a:lnTo>
                    <a:pt x="3338" y="1110"/>
                  </a:lnTo>
                  <a:lnTo>
                    <a:pt x="3315" y="1109"/>
                  </a:lnTo>
                  <a:lnTo>
                    <a:pt x="3290" y="1107"/>
                  </a:lnTo>
                  <a:lnTo>
                    <a:pt x="3264" y="1104"/>
                  </a:lnTo>
                  <a:lnTo>
                    <a:pt x="3236" y="1100"/>
                  </a:lnTo>
                  <a:lnTo>
                    <a:pt x="3208" y="1094"/>
                  </a:lnTo>
                  <a:lnTo>
                    <a:pt x="3178" y="1086"/>
                  </a:lnTo>
                  <a:lnTo>
                    <a:pt x="3178" y="1086"/>
                  </a:lnTo>
                  <a:lnTo>
                    <a:pt x="3158" y="1080"/>
                  </a:lnTo>
                  <a:lnTo>
                    <a:pt x="3135" y="1071"/>
                  </a:lnTo>
                  <a:lnTo>
                    <a:pt x="3112" y="1059"/>
                  </a:lnTo>
                  <a:lnTo>
                    <a:pt x="3088" y="1044"/>
                  </a:lnTo>
                  <a:lnTo>
                    <a:pt x="3064" y="1028"/>
                  </a:lnTo>
                  <a:lnTo>
                    <a:pt x="3053" y="1019"/>
                  </a:lnTo>
                  <a:lnTo>
                    <a:pt x="3043" y="1010"/>
                  </a:lnTo>
                  <a:lnTo>
                    <a:pt x="3034" y="999"/>
                  </a:lnTo>
                  <a:lnTo>
                    <a:pt x="3025" y="990"/>
                  </a:lnTo>
                  <a:lnTo>
                    <a:pt x="3017" y="980"/>
                  </a:lnTo>
                  <a:lnTo>
                    <a:pt x="3010" y="969"/>
                  </a:lnTo>
                  <a:lnTo>
                    <a:pt x="3010" y="969"/>
                  </a:lnTo>
                  <a:lnTo>
                    <a:pt x="3022" y="974"/>
                  </a:lnTo>
                  <a:lnTo>
                    <a:pt x="3035" y="978"/>
                  </a:lnTo>
                  <a:lnTo>
                    <a:pt x="3052" y="984"/>
                  </a:lnTo>
                  <a:lnTo>
                    <a:pt x="3075" y="990"/>
                  </a:lnTo>
                  <a:lnTo>
                    <a:pt x="3101" y="996"/>
                  </a:lnTo>
                  <a:lnTo>
                    <a:pt x="3132" y="1003"/>
                  </a:lnTo>
                  <a:lnTo>
                    <a:pt x="3167" y="1008"/>
                  </a:lnTo>
                  <a:lnTo>
                    <a:pt x="3167" y="1008"/>
                  </a:lnTo>
                  <a:lnTo>
                    <a:pt x="3187" y="1010"/>
                  </a:lnTo>
                  <a:lnTo>
                    <a:pt x="3207" y="1011"/>
                  </a:lnTo>
                  <a:lnTo>
                    <a:pt x="3226" y="1012"/>
                  </a:lnTo>
                  <a:lnTo>
                    <a:pt x="3245" y="1012"/>
                  </a:lnTo>
                  <a:lnTo>
                    <a:pt x="3283" y="1010"/>
                  </a:lnTo>
                  <a:lnTo>
                    <a:pt x="3317" y="1007"/>
                  </a:lnTo>
                  <a:lnTo>
                    <a:pt x="3346" y="1001"/>
                  </a:lnTo>
                  <a:lnTo>
                    <a:pt x="3369" y="996"/>
                  </a:lnTo>
                  <a:lnTo>
                    <a:pt x="3377" y="993"/>
                  </a:lnTo>
                  <a:lnTo>
                    <a:pt x="3383" y="991"/>
                  </a:lnTo>
                  <a:lnTo>
                    <a:pt x="3388" y="988"/>
                  </a:lnTo>
                  <a:lnTo>
                    <a:pt x="3390" y="985"/>
                  </a:lnTo>
                  <a:lnTo>
                    <a:pt x="3390" y="985"/>
                  </a:lnTo>
                  <a:lnTo>
                    <a:pt x="3392" y="959"/>
                  </a:lnTo>
                  <a:lnTo>
                    <a:pt x="3393" y="925"/>
                  </a:lnTo>
                  <a:lnTo>
                    <a:pt x="3394" y="848"/>
                  </a:lnTo>
                  <a:lnTo>
                    <a:pt x="3394" y="750"/>
                  </a:lnTo>
                  <a:lnTo>
                    <a:pt x="3394" y="750"/>
                  </a:lnTo>
                  <a:lnTo>
                    <a:pt x="3399" y="686"/>
                  </a:lnTo>
                  <a:lnTo>
                    <a:pt x="3400" y="642"/>
                  </a:lnTo>
                  <a:lnTo>
                    <a:pt x="3400" y="627"/>
                  </a:lnTo>
                  <a:lnTo>
                    <a:pt x="3399" y="623"/>
                  </a:lnTo>
                  <a:lnTo>
                    <a:pt x="3398" y="622"/>
                  </a:lnTo>
                  <a:lnTo>
                    <a:pt x="3398" y="622"/>
                  </a:lnTo>
                  <a:lnTo>
                    <a:pt x="3392" y="622"/>
                  </a:lnTo>
                  <a:lnTo>
                    <a:pt x="3381" y="623"/>
                  </a:lnTo>
                  <a:lnTo>
                    <a:pt x="3368" y="623"/>
                  </a:lnTo>
                  <a:lnTo>
                    <a:pt x="3354" y="622"/>
                  </a:lnTo>
                  <a:lnTo>
                    <a:pt x="3336" y="620"/>
                  </a:lnTo>
                  <a:lnTo>
                    <a:pt x="3317" y="617"/>
                  </a:lnTo>
                  <a:lnTo>
                    <a:pt x="3297" y="612"/>
                  </a:lnTo>
                  <a:lnTo>
                    <a:pt x="3274" y="607"/>
                  </a:lnTo>
                  <a:lnTo>
                    <a:pt x="3251" y="599"/>
                  </a:lnTo>
                  <a:lnTo>
                    <a:pt x="3226" y="589"/>
                  </a:lnTo>
                  <a:lnTo>
                    <a:pt x="3200" y="578"/>
                  </a:lnTo>
                  <a:lnTo>
                    <a:pt x="3175" y="564"/>
                  </a:lnTo>
                  <a:lnTo>
                    <a:pt x="3149" y="548"/>
                  </a:lnTo>
                  <a:lnTo>
                    <a:pt x="3123" y="529"/>
                  </a:lnTo>
                  <a:lnTo>
                    <a:pt x="3110" y="519"/>
                  </a:lnTo>
                  <a:lnTo>
                    <a:pt x="3097" y="508"/>
                  </a:lnTo>
                  <a:lnTo>
                    <a:pt x="3085" y="495"/>
                  </a:lnTo>
                  <a:lnTo>
                    <a:pt x="3073" y="483"/>
                  </a:lnTo>
                  <a:lnTo>
                    <a:pt x="3073" y="483"/>
                  </a:lnTo>
                  <a:lnTo>
                    <a:pt x="3071" y="481"/>
                  </a:lnTo>
                  <a:lnTo>
                    <a:pt x="3065" y="476"/>
                  </a:lnTo>
                  <a:lnTo>
                    <a:pt x="3059" y="467"/>
                  </a:lnTo>
                  <a:lnTo>
                    <a:pt x="3056" y="461"/>
                  </a:lnTo>
                  <a:lnTo>
                    <a:pt x="3053" y="454"/>
                  </a:lnTo>
                  <a:lnTo>
                    <a:pt x="3051" y="447"/>
                  </a:lnTo>
                  <a:lnTo>
                    <a:pt x="3050" y="439"/>
                  </a:lnTo>
                  <a:lnTo>
                    <a:pt x="3049" y="430"/>
                  </a:lnTo>
                  <a:lnTo>
                    <a:pt x="3050" y="420"/>
                  </a:lnTo>
                  <a:lnTo>
                    <a:pt x="3053" y="410"/>
                  </a:lnTo>
                  <a:lnTo>
                    <a:pt x="3056" y="398"/>
                  </a:lnTo>
                  <a:lnTo>
                    <a:pt x="3062" y="386"/>
                  </a:lnTo>
                  <a:lnTo>
                    <a:pt x="3071" y="373"/>
                  </a:lnTo>
                  <a:lnTo>
                    <a:pt x="3071" y="373"/>
                  </a:lnTo>
                  <a:lnTo>
                    <a:pt x="2806" y="254"/>
                  </a:lnTo>
                  <a:lnTo>
                    <a:pt x="2806" y="254"/>
                  </a:lnTo>
                  <a:lnTo>
                    <a:pt x="2815" y="245"/>
                  </a:lnTo>
                  <a:lnTo>
                    <a:pt x="2824" y="234"/>
                  </a:lnTo>
                  <a:lnTo>
                    <a:pt x="2834" y="219"/>
                  </a:lnTo>
                  <a:lnTo>
                    <a:pt x="2845" y="203"/>
                  </a:lnTo>
                  <a:lnTo>
                    <a:pt x="2850" y="194"/>
                  </a:lnTo>
                  <a:lnTo>
                    <a:pt x="2854" y="185"/>
                  </a:lnTo>
                  <a:lnTo>
                    <a:pt x="2858" y="174"/>
                  </a:lnTo>
                  <a:lnTo>
                    <a:pt x="2861" y="164"/>
                  </a:lnTo>
                  <a:lnTo>
                    <a:pt x="2863" y="154"/>
                  </a:lnTo>
                  <a:lnTo>
                    <a:pt x="2863" y="144"/>
                  </a:lnTo>
                  <a:lnTo>
                    <a:pt x="2863" y="144"/>
                  </a:lnTo>
                  <a:lnTo>
                    <a:pt x="2863" y="132"/>
                  </a:lnTo>
                  <a:lnTo>
                    <a:pt x="2860" y="122"/>
                  </a:lnTo>
                  <a:lnTo>
                    <a:pt x="2855" y="112"/>
                  </a:lnTo>
                  <a:lnTo>
                    <a:pt x="2849" y="103"/>
                  </a:lnTo>
                  <a:lnTo>
                    <a:pt x="2841" y="94"/>
                  </a:lnTo>
                  <a:lnTo>
                    <a:pt x="2830" y="86"/>
                  </a:lnTo>
                  <a:lnTo>
                    <a:pt x="2820" y="79"/>
                  </a:lnTo>
                  <a:lnTo>
                    <a:pt x="2808" y="73"/>
                  </a:lnTo>
                  <a:lnTo>
                    <a:pt x="2795" y="68"/>
                  </a:lnTo>
                  <a:lnTo>
                    <a:pt x="2781" y="64"/>
                  </a:lnTo>
                  <a:lnTo>
                    <a:pt x="2767" y="60"/>
                  </a:lnTo>
                  <a:lnTo>
                    <a:pt x="2753" y="58"/>
                  </a:lnTo>
                  <a:lnTo>
                    <a:pt x="2738" y="56"/>
                  </a:lnTo>
                  <a:lnTo>
                    <a:pt x="2723" y="56"/>
                  </a:lnTo>
                  <a:lnTo>
                    <a:pt x="2709" y="57"/>
                  </a:lnTo>
                  <a:lnTo>
                    <a:pt x="2694" y="59"/>
                  </a:lnTo>
                  <a:lnTo>
                    <a:pt x="2694" y="59"/>
                  </a:lnTo>
                  <a:lnTo>
                    <a:pt x="2681" y="62"/>
                  </a:lnTo>
                  <a:lnTo>
                    <a:pt x="2669" y="66"/>
                  </a:lnTo>
                  <a:lnTo>
                    <a:pt x="2656" y="71"/>
                  </a:lnTo>
                  <a:lnTo>
                    <a:pt x="2644" y="77"/>
                  </a:lnTo>
                  <a:lnTo>
                    <a:pt x="2634" y="84"/>
                  </a:lnTo>
                  <a:lnTo>
                    <a:pt x="2623" y="92"/>
                  </a:lnTo>
                  <a:lnTo>
                    <a:pt x="2604" y="107"/>
                  </a:lnTo>
                  <a:lnTo>
                    <a:pt x="2589" y="122"/>
                  </a:lnTo>
                  <a:lnTo>
                    <a:pt x="2578" y="134"/>
                  </a:lnTo>
                  <a:lnTo>
                    <a:pt x="2569" y="147"/>
                  </a:lnTo>
                  <a:lnTo>
                    <a:pt x="2238" y="0"/>
                  </a:lnTo>
                  <a:lnTo>
                    <a:pt x="1977" y="263"/>
                  </a:lnTo>
                  <a:lnTo>
                    <a:pt x="1977" y="263"/>
                  </a:lnTo>
                  <a:lnTo>
                    <a:pt x="1972" y="268"/>
                  </a:lnTo>
                  <a:lnTo>
                    <a:pt x="1966" y="280"/>
                  </a:lnTo>
                  <a:lnTo>
                    <a:pt x="1963" y="287"/>
                  </a:lnTo>
                  <a:lnTo>
                    <a:pt x="1961" y="295"/>
                  </a:lnTo>
                  <a:lnTo>
                    <a:pt x="1960" y="304"/>
                  </a:lnTo>
                  <a:lnTo>
                    <a:pt x="1960" y="313"/>
                  </a:lnTo>
                  <a:lnTo>
                    <a:pt x="1964" y="337"/>
                  </a:lnTo>
                  <a:lnTo>
                    <a:pt x="1964" y="337"/>
                  </a:lnTo>
                  <a:lnTo>
                    <a:pt x="1964" y="343"/>
                  </a:lnTo>
                  <a:lnTo>
                    <a:pt x="1963" y="349"/>
                  </a:lnTo>
                  <a:lnTo>
                    <a:pt x="1962" y="354"/>
                  </a:lnTo>
                  <a:lnTo>
                    <a:pt x="1961" y="358"/>
                  </a:lnTo>
                  <a:lnTo>
                    <a:pt x="1957" y="366"/>
                  </a:lnTo>
                  <a:lnTo>
                    <a:pt x="1955" y="370"/>
                  </a:lnTo>
                  <a:lnTo>
                    <a:pt x="1955" y="370"/>
                  </a:lnTo>
                  <a:lnTo>
                    <a:pt x="1936" y="392"/>
                  </a:lnTo>
                  <a:lnTo>
                    <a:pt x="1916" y="416"/>
                  </a:lnTo>
                  <a:lnTo>
                    <a:pt x="1896" y="438"/>
                  </a:lnTo>
                  <a:lnTo>
                    <a:pt x="1876" y="461"/>
                  </a:lnTo>
                  <a:lnTo>
                    <a:pt x="1876" y="461"/>
                  </a:lnTo>
                  <a:lnTo>
                    <a:pt x="1847" y="499"/>
                  </a:lnTo>
                  <a:lnTo>
                    <a:pt x="1836" y="515"/>
                  </a:lnTo>
                  <a:lnTo>
                    <a:pt x="1828" y="527"/>
                  </a:lnTo>
                  <a:lnTo>
                    <a:pt x="1828" y="527"/>
                  </a:lnTo>
                  <a:lnTo>
                    <a:pt x="1819" y="542"/>
                  </a:lnTo>
                  <a:lnTo>
                    <a:pt x="1811" y="558"/>
                  </a:lnTo>
                  <a:lnTo>
                    <a:pt x="1799" y="583"/>
                  </a:lnTo>
                  <a:lnTo>
                    <a:pt x="1789" y="607"/>
                  </a:lnTo>
                  <a:lnTo>
                    <a:pt x="1781" y="628"/>
                  </a:lnTo>
                  <a:lnTo>
                    <a:pt x="1781" y="628"/>
                  </a:lnTo>
                  <a:lnTo>
                    <a:pt x="1780" y="631"/>
                  </a:lnTo>
                  <a:lnTo>
                    <a:pt x="1778" y="642"/>
                  </a:lnTo>
                  <a:lnTo>
                    <a:pt x="1778" y="649"/>
                  </a:lnTo>
                  <a:lnTo>
                    <a:pt x="1777" y="657"/>
                  </a:lnTo>
                  <a:lnTo>
                    <a:pt x="1778" y="666"/>
                  </a:lnTo>
                  <a:lnTo>
                    <a:pt x="1780" y="677"/>
                  </a:lnTo>
                  <a:lnTo>
                    <a:pt x="1784" y="690"/>
                  </a:lnTo>
                  <a:lnTo>
                    <a:pt x="1789" y="703"/>
                  </a:lnTo>
                  <a:lnTo>
                    <a:pt x="1797" y="716"/>
                  </a:lnTo>
                  <a:lnTo>
                    <a:pt x="1807" y="732"/>
                  </a:lnTo>
                  <a:lnTo>
                    <a:pt x="1819" y="748"/>
                  </a:lnTo>
                  <a:lnTo>
                    <a:pt x="1833" y="764"/>
                  </a:lnTo>
                  <a:lnTo>
                    <a:pt x="1852" y="782"/>
                  </a:lnTo>
                  <a:lnTo>
                    <a:pt x="1874" y="800"/>
                  </a:lnTo>
                  <a:lnTo>
                    <a:pt x="1881" y="806"/>
                  </a:lnTo>
                  <a:lnTo>
                    <a:pt x="1881" y="806"/>
                  </a:lnTo>
                  <a:lnTo>
                    <a:pt x="1894" y="789"/>
                  </a:lnTo>
                  <a:lnTo>
                    <a:pt x="1905" y="800"/>
                  </a:lnTo>
                  <a:lnTo>
                    <a:pt x="1905" y="800"/>
                  </a:lnTo>
                  <a:lnTo>
                    <a:pt x="1914" y="809"/>
                  </a:lnTo>
                  <a:lnTo>
                    <a:pt x="1926" y="820"/>
                  </a:lnTo>
                  <a:lnTo>
                    <a:pt x="1941" y="832"/>
                  </a:lnTo>
                  <a:lnTo>
                    <a:pt x="1957" y="842"/>
                  </a:lnTo>
                  <a:lnTo>
                    <a:pt x="1957" y="842"/>
                  </a:lnTo>
                  <a:lnTo>
                    <a:pt x="1959" y="835"/>
                  </a:lnTo>
                  <a:lnTo>
                    <a:pt x="1964" y="815"/>
                  </a:lnTo>
                  <a:lnTo>
                    <a:pt x="1969" y="802"/>
                  </a:lnTo>
                  <a:lnTo>
                    <a:pt x="1975" y="789"/>
                  </a:lnTo>
                  <a:lnTo>
                    <a:pt x="1983" y="775"/>
                  </a:lnTo>
                  <a:lnTo>
                    <a:pt x="1991" y="760"/>
                  </a:lnTo>
                  <a:lnTo>
                    <a:pt x="1991" y="760"/>
                  </a:lnTo>
                  <a:lnTo>
                    <a:pt x="2000" y="748"/>
                  </a:lnTo>
                  <a:lnTo>
                    <a:pt x="2011" y="736"/>
                  </a:lnTo>
                  <a:lnTo>
                    <a:pt x="2025" y="722"/>
                  </a:lnTo>
                  <a:lnTo>
                    <a:pt x="2038" y="709"/>
                  </a:lnTo>
                  <a:lnTo>
                    <a:pt x="2052" y="697"/>
                  </a:lnTo>
                  <a:lnTo>
                    <a:pt x="2065" y="686"/>
                  </a:lnTo>
                  <a:lnTo>
                    <a:pt x="2080" y="675"/>
                  </a:lnTo>
                  <a:lnTo>
                    <a:pt x="2092" y="667"/>
                  </a:lnTo>
                  <a:lnTo>
                    <a:pt x="2092" y="667"/>
                  </a:lnTo>
                  <a:lnTo>
                    <a:pt x="2107" y="658"/>
                  </a:lnTo>
                  <a:lnTo>
                    <a:pt x="2123" y="650"/>
                  </a:lnTo>
                  <a:lnTo>
                    <a:pt x="2138" y="643"/>
                  </a:lnTo>
                  <a:lnTo>
                    <a:pt x="2154" y="636"/>
                  </a:lnTo>
                  <a:lnTo>
                    <a:pt x="2170" y="632"/>
                  </a:lnTo>
                  <a:lnTo>
                    <a:pt x="2186" y="629"/>
                  </a:lnTo>
                  <a:lnTo>
                    <a:pt x="2202" y="626"/>
                  </a:lnTo>
                  <a:lnTo>
                    <a:pt x="2220" y="625"/>
                  </a:lnTo>
                  <a:lnTo>
                    <a:pt x="2220" y="625"/>
                  </a:lnTo>
                  <a:lnTo>
                    <a:pt x="2234" y="626"/>
                  </a:lnTo>
                  <a:lnTo>
                    <a:pt x="2247" y="627"/>
                  </a:lnTo>
                  <a:lnTo>
                    <a:pt x="2261" y="630"/>
                  </a:lnTo>
                  <a:lnTo>
                    <a:pt x="2272" y="635"/>
                  </a:lnTo>
                  <a:lnTo>
                    <a:pt x="2283" y="642"/>
                  </a:lnTo>
                  <a:lnTo>
                    <a:pt x="2295" y="649"/>
                  </a:lnTo>
                  <a:lnTo>
                    <a:pt x="2305" y="658"/>
                  </a:lnTo>
                  <a:lnTo>
                    <a:pt x="2316" y="668"/>
                  </a:lnTo>
                  <a:lnTo>
                    <a:pt x="2316" y="668"/>
                  </a:lnTo>
                  <a:lnTo>
                    <a:pt x="2323" y="676"/>
                  </a:lnTo>
                  <a:lnTo>
                    <a:pt x="2330" y="687"/>
                  </a:lnTo>
                  <a:lnTo>
                    <a:pt x="2336" y="698"/>
                  </a:lnTo>
                  <a:lnTo>
                    <a:pt x="2342" y="710"/>
                  </a:lnTo>
                  <a:lnTo>
                    <a:pt x="2347" y="722"/>
                  </a:lnTo>
                  <a:lnTo>
                    <a:pt x="2351" y="736"/>
                  </a:lnTo>
                  <a:lnTo>
                    <a:pt x="2355" y="750"/>
                  </a:lnTo>
                  <a:lnTo>
                    <a:pt x="2358" y="764"/>
                  </a:lnTo>
                  <a:lnTo>
                    <a:pt x="2360" y="778"/>
                  </a:lnTo>
                  <a:lnTo>
                    <a:pt x="2362" y="792"/>
                  </a:lnTo>
                  <a:lnTo>
                    <a:pt x="2363" y="805"/>
                  </a:lnTo>
                  <a:lnTo>
                    <a:pt x="2364" y="818"/>
                  </a:lnTo>
                  <a:lnTo>
                    <a:pt x="2364" y="831"/>
                  </a:lnTo>
                  <a:lnTo>
                    <a:pt x="2363" y="842"/>
                  </a:lnTo>
                  <a:lnTo>
                    <a:pt x="2361" y="852"/>
                  </a:lnTo>
                  <a:lnTo>
                    <a:pt x="2359" y="861"/>
                  </a:lnTo>
                  <a:lnTo>
                    <a:pt x="2359" y="861"/>
                  </a:lnTo>
                  <a:lnTo>
                    <a:pt x="2330" y="843"/>
                  </a:lnTo>
                  <a:lnTo>
                    <a:pt x="2330" y="843"/>
                  </a:lnTo>
                  <a:lnTo>
                    <a:pt x="2309" y="832"/>
                  </a:lnTo>
                  <a:lnTo>
                    <a:pt x="2281" y="822"/>
                  </a:lnTo>
                  <a:lnTo>
                    <a:pt x="2266" y="815"/>
                  </a:lnTo>
                  <a:lnTo>
                    <a:pt x="2251" y="811"/>
                  </a:lnTo>
                  <a:lnTo>
                    <a:pt x="2233" y="807"/>
                  </a:lnTo>
                  <a:lnTo>
                    <a:pt x="2215" y="803"/>
                  </a:lnTo>
                  <a:lnTo>
                    <a:pt x="2195" y="801"/>
                  </a:lnTo>
                  <a:lnTo>
                    <a:pt x="2175" y="800"/>
                  </a:lnTo>
                  <a:lnTo>
                    <a:pt x="2154" y="800"/>
                  </a:lnTo>
                  <a:lnTo>
                    <a:pt x="2132" y="802"/>
                  </a:lnTo>
                  <a:lnTo>
                    <a:pt x="2109" y="805"/>
                  </a:lnTo>
                  <a:lnTo>
                    <a:pt x="2086" y="810"/>
                  </a:lnTo>
                  <a:lnTo>
                    <a:pt x="2062" y="818"/>
                  </a:lnTo>
                  <a:lnTo>
                    <a:pt x="2037" y="829"/>
                  </a:lnTo>
                  <a:lnTo>
                    <a:pt x="2037" y="829"/>
                  </a:lnTo>
                  <a:lnTo>
                    <a:pt x="1995" y="847"/>
                  </a:lnTo>
                  <a:lnTo>
                    <a:pt x="1967" y="859"/>
                  </a:lnTo>
                  <a:lnTo>
                    <a:pt x="1936" y="872"/>
                  </a:lnTo>
                  <a:lnTo>
                    <a:pt x="1900" y="886"/>
                  </a:lnTo>
                  <a:lnTo>
                    <a:pt x="1860" y="900"/>
                  </a:lnTo>
                  <a:lnTo>
                    <a:pt x="1814" y="916"/>
                  </a:lnTo>
                  <a:lnTo>
                    <a:pt x="1764" y="931"/>
                  </a:lnTo>
                  <a:lnTo>
                    <a:pt x="1764" y="931"/>
                  </a:lnTo>
                  <a:lnTo>
                    <a:pt x="1737" y="938"/>
                  </a:lnTo>
                  <a:lnTo>
                    <a:pt x="1725" y="940"/>
                  </a:lnTo>
                  <a:lnTo>
                    <a:pt x="1713" y="941"/>
                  </a:lnTo>
                  <a:lnTo>
                    <a:pt x="1701" y="941"/>
                  </a:lnTo>
                  <a:lnTo>
                    <a:pt x="1691" y="941"/>
                  </a:lnTo>
                  <a:lnTo>
                    <a:pt x="1681" y="940"/>
                  </a:lnTo>
                  <a:lnTo>
                    <a:pt x="1672" y="938"/>
                  </a:lnTo>
                  <a:lnTo>
                    <a:pt x="1664" y="935"/>
                  </a:lnTo>
                  <a:lnTo>
                    <a:pt x="1655" y="930"/>
                  </a:lnTo>
                  <a:lnTo>
                    <a:pt x="1649" y="925"/>
                  </a:lnTo>
                  <a:lnTo>
                    <a:pt x="1642" y="919"/>
                  </a:lnTo>
                  <a:lnTo>
                    <a:pt x="1637" y="912"/>
                  </a:lnTo>
                  <a:lnTo>
                    <a:pt x="1633" y="902"/>
                  </a:lnTo>
                  <a:lnTo>
                    <a:pt x="1629" y="892"/>
                  </a:lnTo>
                  <a:lnTo>
                    <a:pt x="1626" y="881"/>
                  </a:lnTo>
                  <a:lnTo>
                    <a:pt x="1626" y="881"/>
                  </a:lnTo>
                  <a:lnTo>
                    <a:pt x="1624" y="871"/>
                  </a:lnTo>
                  <a:lnTo>
                    <a:pt x="1623" y="860"/>
                  </a:lnTo>
                  <a:lnTo>
                    <a:pt x="1623" y="851"/>
                  </a:lnTo>
                  <a:lnTo>
                    <a:pt x="1623" y="842"/>
                  </a:lnTo>
                  <a:lnTo>
                    <a:pt x="1625" y="826"/>
                  </a:lnTo>
                  <a:lnTo>
                    <a:pt x="1629" y="811"/>
                  </a:lnTo>
                  <a:lnTo>
                    <a:pt x="1633" y="800"/>
                  </a:lnTo>
                  <a:lnTo>
                    <a:pt x="1636" y="792"/>
                  </a:lnTo>
                  <a:lnTo>
                    <a:pt x="1640" y="784"/>
                  </a:lnTo>
                  <a:lnTo>
                    <a:pt x="1640" y="784"/>
                  </a:lnTo>
                  <a:lnTo>
                    <a:pt x="1636" y="785"/>
                  </a:lnTo>
                  <a:lnTo>
                    <a:pt x="1626" y="788"/>
                  </a:lnTo>
                  <a:lnTo>
                    <a:pt x="1610" y="794"/>
                  </a:lnTo>
                  <a:lnTo>
                    <a:pt x="1601" y="797"/>
                  </a:lnTo>
                  <a:lnTo>
                    <a:pt x="1592" y="802"/>
                  </a:lnTo>
                  <a:lnTo>
                    <a:pt x="1582" y="808"/>
                  </a:lnTo>
                  <a:lnTo>
                    <a:pt x="1573" y="814"/>
                  </a:lnTo>
                  <a:lnTo>
                    <a:pt x="1563" y="823"/>
                  </a:lnTo>
                  <a:lnTo>
                    <a:pt x="1554" y="832"/>
                  </a:lnTo>
                  <a:lnTo>
                    <a:pt x="1546" y="842"/>
                  </a:lnTo>
                  <a:lnTo>
                    <a:pt x="1539" y="853"/>
                  </a:lnTo>
                  <a:lnTo>
                    <a:pt x="1533" y="867"/>
                  </a:lnTo>
                  <a:lnTo>
                    <a:pt x="1528" y="881"/>
                  </a:lnTo>
                  <a:lnTo>
                    <a:pt x="1528" y="881"/>
                  </a:lnTo>
                  <a:lnTo>
                    <a:pt x="1525" y="896"/>
                  </a:lnTo>
                  <a:lnTo>
                    <a:pt x="1523" y="912"/>
                  </a:lnTo>
                  <a:lnTo>
                    <a:pt x="1523" y="927"/>
                  </a:lnTo>
                  <a:lnTo>
                    <a:pt x="1523" y="941"/>
                  </a:lnTo>
                  <a:lnTo>
                    <a:pt x="1524" y="954"/>
                  </a:lnTo>
                  <a:lnTo>
                    <a:pt x="1527" y="969"/>
                  </a:lnTo>
                  <a:lnTo>
                    <a:pt x="1531" y="981"/>
                  </a:lnTo>
                  <a:lnTo>
                    <a:pt x="1536" y="993"/>
                  </a:lnTo>
                  <a:lnTo>
                    <a:pt x="1542" y="1006"/>
                  </a:lnTo>
                  <a:lnTo>
                    <a:pt x="1549" y="1016"/>
                  </a:lnTo>
                  <a:lnTo>
                    <a:pt x="1557" y="1026"/>
                  </a:lnTo>
                  <a:lnTo>
                    <a:pt x="1568" y="1034"/>
                  </a:lnTo>
                  <a:lnTo>
                    <a:pt x="1578" y="1042"/>
                  </a:lnTo>
                  <a:lnTo>
                    <a:pt x="1590" y="1049"/>
                  </a:lnTo>
                  <a:lnTo>
                    <a:pt x="1602" y="1055"/>
                  </a:lnTo>
                  <a:lnTo>
                    <a:pt x="1617" y="1059"/>
                  </a:lnTo>
                  <a:lnTo>
                    <a:pt x="1617" y="1059"/>
                  </a:lnTo>
                  <a:lnTo>
                    <a:pt x="1630" y="1062"/>
                  </a:lnTo>
                  <a:lnTo>
                    <a:pt x="1644" y="1063"/>
                  </a:lnTo>
                  <a:lnTo>
                    <a:pt x="1660" y="1062"/>
                  </a:lnTo>
                  <a:lnTo>
                    <a:pt x="1676" y="1060"/>
                  </a:lnTo>
                  <a:lnTo>
                    <a:pt x="1692" y="1058"/>
                  </a:lnTo>
                  <a:lnTo>
                    <a:pt x="1710" y="1054"/>
                  </a:lnTo>
                  <a:lnTo>
                    <a:pt x="1727" y="1049"/>
                  </a:lnTo>
                  <a:lnTo>
                    <a:pt x="1744" y="1043"/>
                  </a:lnTo>
                  <a:lnTo>
                    <a:pt x="1779" y="1029"/>
                  </a:lnTo>
                  <a:lnTo>
                    <a:pt x="1815" y="1014"/>
                  </a:lnTo>
                  <a:lnTo>
                    <a:pt x="1849" y="997"/>
                  </a:lnTo>
                  <a:lnTo>
                    <a:pt x="1880" y="981"/>
                  </a:lnTo>
                  <a:lnTo>
                    <a:pt x="1880" y="981"/>
                  </a:lnTo>
                  <a:lnTo>
                    <a:pt x="1942" y="949"/>
                  </a:lnTo>
                  <a:lnTo>
                    <a:pt x="1979" y="931"/>
                  </a:lnTo>
                  <a:lnTo>
                    <a:pt x="2013" y="915"/>
                  </a:lnTo>
                  <a:lnTo>
                    <a:pt x="2013" y="915"/>
                  </a:lnTo>
                  <a:lnTo>
                    <a:pt x="2041" y="903"/>
                  </a:lnTo>
                  <a:lnTo>
                    <a:pt x="2054" y="899"/>
                  </a:lnTo>
                  <a:lnTo>
                    <a:pt x="2068" y="895"/>
                  </a:lnTo>
                  <a:lnTo>
                    <a:pt x="2081" y="892"/>
                  </a:lnTo>
                  <a:lnTo>
                    <a:pt x="2093" y="890"/>
                  </a:lnTo>
                  <a:lnTo>
                    <a:pt x="2105" y="888"/>
                  </a:lnTo>
                  <a:lnTo>
                    <a:pt x="2119" y="888"/>
                  </a:lnTo>
                  <a:lnTo>
                    <a:pt x="2131" y="888"/>
                  </a:lnTo>
                  <a:lnTo>
                    <a:pt x="2143" y="889"/>
                  </a:lnTo>
                  <a:lnTo>
                    <a:pt x="2156" y="891"/>
                  </a:lnTo>
                  <a:lnTo>
                    <a:pt x="2170" y="893"/>
                  </a:lnTo>
                  <a:lnTo>
                    <a:pt x="2183" y="897"/>
                  </a:lnTo>
                  <a:lnTo>
                    <a:pt x="2196" y="901"/>
                  </a:lnTo>
                  <a:lnTo>
                    <a:pt x="2211" y="907"/>
                  </a:lnTo>
                  <a:lnTo>
                    <a:pt x="2226" y="914"/>
                  </a:lnTo>
                  <a:lnTo>
                    <a:pt x="2226" y="914"/>
                  </a:lnTo>
                  <a:lnTo>
                    <a:pt x="2246" y="924"/>
                  </a:lnTo>
                  <a:lnTo>
                    <a:pt x="2265" y="934"/>
                  </a:lnTo>
                  <a:lnTo>
                    <a:pt x="2281" y="945"/>
                  </a:lnTo>
                  <a:lnTo>
                    <a:pt x="2295" y="954"/>
                  </a:lnTo>
                  <a:lnTo>
                    <a:pt x="2305" y="964"/>
                  </a:lnTo>
                  <a:lnTo>
                    <a:pt x="2312" y="971"/>
                  </a:lnTo>
                  <a:lnTo>
                    <a:pt x="2319" y="977"/>
                  </a:lnTo>
                  <a:lnTo>
                    <a:pt x="2319" y="977"/>
                  </a:lnTo>
                  <a:lnTo>
                    <a:pt x="2317" y="980"/>
                  </a:lnTo>
                  <a:lnTo>
                    <a:pt x="2313" y="987"/>
                  </a:lnTo>
                  <a:lnTo>
                    <a:pt x="2305" y="998"/>
                  </a:lnTo>
                  <a:lnTo>
                    <a:pt x="2300" y="1005"/>
                  </a:lnTo>
                  <a:lnTo>
                    <a:pt x="2293" y="1012"/>
                  </a:lnTo>
                  <a:lnTo>
                    <a:pt x="2285" y="1018"/>
                  </a:lnTo>
                  <a:lnTo>
                    <a:pt x="2276" y="1025"/>
                  </a:lnTo>
                  <a:lnTo>
                    <a:pt x="2267" y="1031"/>
                  </a:lnTo>
                  <a:lnTo>
                    <a:pt x="2255" y="1036"/>
                  </a:lnTo>
                  <a:lnTo>
                    <a:pt x="2242" y="1041"/>
                  </a:lnTo>
                  <a:lnTo>
                    <a:pt x="2228" y="1045"/>
                  </a:lnTo>
                  <a:lnTo>
                    <a:pt x="2212" y="1049"/>
                  </a:lnTo>
                  <a:lnTo>
                    <a:pt x="2194" y="1050"/>
                  </a:lnTo>
                  <a:lnTo>
                    <a:pt x="2194" y="1050"/>
                  </a:lnTo>
                  <a:lnTo>
                    <a:pt x="2180" y="1051"/>
                  </a:lnTo>
                  <a:lnTo>
                    <a:pt x="2166" y="1050"/>
                  </a:lnTo>
                  <a:lnTo>
                    <a:pt x="2152" y="1048"/>
                  </a:lnTo>
                  <a:lnTo>
                    <a:pt x="2139" y="1044"/>
                  </a:lnTo>
                  <a:lnTo>
                    <a:pt x="2127" y="1041"/>
                  </a:lnTo>
                  <a:lnTo>
                    <a:pt x="2115" y="1037"/>
                  </a:lnTo>
                  <a:lnTo>
                    <a:pt x="2103" y="1033"/>
                  </a:lnTo>
                  <a:lnTo>
                    <a:pt x="2092" y="1027"/>
                  </a:lnTo>
                  <a:lnTo>
                    <a:pt x="2082" y="1022"/>
                  </a:lnTo>
                  <a:lnTo>
                    <a:pt x="2073" y="1016"/>
                  </a:lnTo>
                  <a:lnTo>
                    <a:pt x="2064" y="1010"/>
                  </a:lnTo>
                  <a:lnTo>
                    <a:pt x="2056" y="1003"/>
                  </a:lnTo>
                  <a:lnTo>
                    <a:pt x="2048" y="995"/>
                  </a:lnTo>
                  <a:lnTo>
                    <a:pt x="2042" y="988"/>
                  </a:lnTo>
                  <a:lnTo>
                    <a:pt x="2036" y="981"/>
                  </a:lnTo>
                  <a:lnTo>
                    <a:pt x="2031" y="974"/>
                  </a:lnTo>
                  <a:lnTo>
                    <a:pt x="2031" y="974"/>
                  </a:lnTo>
                  <a:lnTo>
                    <a:pt x="2022" y="996"/>
                  </a:lnTo>
                  <a:lnTo>
                    <a:pt x="2013" y="1014"/>
                  </a:lnTo>
                  <a:lnTo>
                    <a:pt x="2007" y="1027"/>
                  </a:lnTo>
                  <a:lnTo>
                    <a:pt x="2007" y="1027"/>
                  </a:lnTo>
                  <a:lnTo>
                    <a:pt x="2003" y="1035"/>
                  </a:lnTo>
                  <a:lnTo>
                    <a:pt x="2000" y="1042"/>
                  </a:lnTo>
                  <a:lnTo>
                    <a:pt x="1998" y="1051"/>
                  </a:lnTo>
                  <a:lnTo>
                    <a:pt x="1997" y="1057"/>
                  </a:lnTo>
                  <a:lnTo>
                    <a:pt x="1997" y="1064"/>
                  </a:lnTo>
                  <a:lnTo>
                    <a:pt x="1997" y="1070"/>
                  </a:lnTo>
                  <a:lnTo>
                    <a:pt x="1999" y="1082"/>
                  </a:lnTo>
                  <a:lnTo>
                    <a:pt x="2001" y="1094"/>
                  </a:lnTo>
                  <a:lnTo>
                    <a:pt x="2003" y="1104"/>
                  </a:lnTo>
                  <a:lnTo>
                    <a:pt x="2004" y="1115"/>
                  </a:lnTo>
                  <a:lnTo>
                    <a:pt x="2003" y="1121"/>
                  </a:lnTo>
                  <a:lnTo>
                    <a:pt x="2001" y="1126"/>
                  </a:lnTo>
                  <a:lnTo>
                    <a:pt x="2001" y="1126"/>
                  </a:lnTo>
                  <a:lnTo>
                    <a:pt x="1999" y="1132"/>
                  </a:lnTo>
                  <a:lnTo>
                    <a:pt x="1995" y="1138"/>
                  </a:lnTo>
                  <a:lnTo>
                    <a:pt x="1986" y="1151"/>
                  </a:lnTo>
                  <a:lnTo>
                    <a:pt x="1973" y="1163"/>
                  </a:lnTo>
                  <a:lnTo>
                    <a:pt x="1960" y="1175"/>
                  </a:lnTo>
                  <a:lnTo>
                    <a:pt x="1945" y="1187"/>
                  </a:lnTo>
                  <a:lnTo>
                    <a:pt x="1931" y="1198"/>
                  </a:lnTo>
                  <a:lnTo>
                    <a:pt x="1904" y="1216"/>
                  </a:lnTo>
                  <a:lnTo>
                    <a:pt x="1904" y="1216"/>
                  </a:lnTo>
                  <a:lnTo>
                    <a:pt x="1886" y="1227"/>
                  </a:lnTo>
                  <a:lnTo>
                    <a:pt x="1864" y="1239"/>
                  </a:lnTo>
                  <a:lnTo>
                    <a:pt x="1842" y="1249"/>
                  </a:lnTo>
                  <a:lnTo>
                    <a:pt x="1819" y="1257"/>
                  </a:lnTo>
                  <a:lnTo>
                    <a:pt x="1798" y="1264"/>
                  </a:lnTo>
                  <a:lnTo>
                    <a:pt x="1779" y="1270"/>
                  </a:lnTo>
                  <a:lnTo>
                    <a:pt x="1754" y="1278"/>
                  </a:lnTo>
                  <a:lnTo>
                    <a:pt x="1754" y="1278"/>
                  </a:lnTo>
                  <a:lnTo>
                    <a:pt x="1779" y="1336"/>
                  </a:lnTo>
                  <a:lnTo>
                    <a:pt x="1811" y="1404"/>
                  </a:lnTo>
                  <a:lnTo>
                    <a:pt x="1811" y="1404"/>
                  </a:lnTo>
                  <a:lnTo>
                    <a:pt x="1833" y="1449"/>
                  </a:lnTo>
                  <a:lnTo>
                    <a:pt x="1862" y="1504"/>
                  </a:lnTo>
                  <a:lnTo>
                    <a:pt x="1877" y="1531"/>
                  </a:lnTo>
                  <a:lnTo>
                    <a:pt x="1893" y="1557"/>
                  </a:lnTo>
                  <a:lnTo>
                    <a:pt x="1909" y="1578"/>
                  </a:lnTo>
                  <a:lnTo>
                    <a:pt x="1916" y="1588"/>
                  </a:lnTo>
                  <a:lnTo>
                    <a:pt x="1924" y="1597"/>
                  </a:lnTo>
                  <a:lnTo>
                    <a:pt x="1924" y="1597"/>
                  </a:lnTo>
                  <a:lnTo>
                    <a:pt x="1940" y="1592"/>
                  </a:lnTo>
                  <a:lnTo>
                    <a:pt x="1957" y="1587"/>
                  </a:lnTo>
                  <a:lnTo>
                    <a:pt x="1980" y="1581"/>
                  </a:lnTo>
                  <a:lnTo>
                    <a:pt x="2004" y="1573"/>
                  </a:lnTo>
                  <a:lnTo>
                    <a:pt x="2031" y="1563"/>
                  </a:lnTo>
                  <a:lnTo>
                    <a:pt x="2057" y="1551"/>
                  </a:lnTo>
                  <a:lnTo>
                    <a:pt x="2071" y="1544"/>
                  </a:lnTo>
                  <a:lnTo>
                    <a:pt x="2083" y="1537"/>
                  </a:lnTo>
                  <a:lnTo>
                    <a:pt x="2083" y="1537"/>
                  </a:lnTo>
                  <a:lnTo>
                    <a:pt x="2105" y="1524"/>
                  </a:lnTo>
                  <a:lnTo>
                    <a:pt x="2126" y="1510"/>
                  </a:lnTo>
                  <a:lnTo>
                    <a:pt x="2145" y="1495"/>
                  </a:lnTo>
                  <a:lnTo>
                    <a:pt x="2162" y="1480"/>
                  </a:lnTo>
                  <a:lnTo>
                    <a:pt x="2177" y="1466"/>
                  </a:lnTo>
                  <a:lnTo>
                    <a:pt x="2189" y="1451"/>
                  </a:lnTo>
                  <a:lnTo>
                    <a:pt x="2199" y="1437"/>
                  </a:lnTo>
                  <a:lnTo>
                    <a:pt x="2207" y="1424"/>
                  </a:lnTo>
                  <a:lnTo>
                    <a:pt x="2207" y="1424"/>
                  </a:lnTo>
                  <a:lnTo>
                    <a:pt x="2190" y="1460"/>
                  </a:lnTo>
                  <a:lnTo>
                    <a:pt x="2175" y="1493"/>
                  </a:lnTo>
                  <a:lnTo>
                    <a:pt x="2161" y="1523"/>
                  </a:lnTo>
                  <a:lnTo>
                    <a:pt x="2146" y="1551"/>
                  </a:lnTo>
                  <a:lnTo>
                    <a:pt x="2132" y="1576"/>
                  </a:lnTo>
                  <a:lnTo>
                    <a:pt x="2119" y="1599"/>
                  </a:lnTo>
                  <a:lnTo>
                    <a:pt x="2105" y="1619"/>
                  </a:lnTo>
                  <a:lnTo>
                    <a:pt x="2092" y="1637"/>
                  </a:lnTo>
                  <a:lnTo>
                    <a:pt x="2080" y="1655"/>
                  </a:lnTo>
                  <a:lnTo>
                    <a:pt x="2068" y="1669"/>
                  </a:lnTo>
                  <a:lnTo>
                    <a:pt x="2055" y="1682"/>
                  </a:lnTo>
                  <a:lnTo>
                    <a:pt x="2044" y="1694"/>
                  </a:lnTo>
                  <a:lnTo>
                    <a:pt x="2033" y="1705"/>
                  </a:lnTo>
                  <a:lnTo>
                    <a:pt x="2022" y="1714"/>
                  </a:lnTo>
                  <a:lnTo>
                    <a:pt x="2011" y="1721"/>
                  </a:lnTo>
                  <a:lnTo>
                    <a:pt x="2000" y="1729"/>
                  </a:lnTo>
                  <a:lnTo>
                    <a:pt x="2000" y="1729"/>
                  </a:lnTo>
                  <a:lnTo>
                    <a:pt x="1907" y="1790"/>
                  </a:lnTo>
                  <a:lnTo>
                    <a:pt x="1797" y="1862"/>
                  </a:lnTo>
                  <a:lnTo>
                    <a:pt x="1735" y="1901"/>
                  </a:lnTo>
                  <a:lnTo>
                    <a:pt x="1671" y="1940"/>
                  </a:lnTo>
                  <a:lnTo>
                    <a:pt x="1602" y="1980"/>
                  </a:lnTo>
                  <a:lnTo>
                    <a:pt x="1532" y="2020"/>
                  </a:lnTo>
                  <a:lnTo>
                    <a:pt x="1459" y="2058"/>
                  </a:lnTo>
                  <a:lnTo>
                    <a:pt x="1422" y="2077"/>
                  </a:lnTo>
                  <a:lnTo>
                    <a:pt x="1384" y="2094"/>
                  </a:lnTo>
                  <a:lnTo>
                    <a:pt x="1347" y="2112"/>
                  </a:lnTo>
                  <a:lnTo>
                    <a:pt x="1308" y="2129"/>
                  </a:lnTo>
                  <a:lnTo>
                    <a:pt x="1269" y="2146"/>
                  </a:lnTo>
                  <a:lnTo>
                    <a:pt x="1230" y="2161"/>
                  </a:lnTo>
                  <a:lnTo>
                    <a:pt x="1190" y="2175"/>
                  </a:lnTo>
                  <a:lnTo>
                    <a:pt x="1151" y="2189"/>
                  </a:lnTo>
                  <a:lnTo>
                    <a:pt x="1111" y="2202"/>
                  </a:lnTo>
                  <a:lnTo>
                    <a:pt x="1072" y="2213"/>
                  </a:lnTo>
                  <a:lnTo>
                    <a:pt x="1032" y="2223"/>
                  </a:lnTo>
                  <a:lnTo>
                    <a:pt x="992" y="2231"/>
                  </a:lnTo>
                  <a:lnTo>
                    <a:pt x="952" y="2240"/>
                  </a:lnTo>
                  <a:lnTo>
                    <a:pt x="913" y="2246"/>
                  </a:lnTo>
                  <a:lnTo>
                    <a:pt x="913" y="2246"/>
                  </a:lnTo>
                  <a:lnTo>
                    <a:pt x="901" y="2246"/>
                  </a:lnTo>
                  <a:lnTo>
                    <a:pt x="889" y="2245"/>
                  </a:lnTo>
                  <a:lnTo>
                    <a:pt x="876" y="2242"/>
                  </a:lnTo>
                  <a:lnTo>
                    <a:pt x="863" y="2239"/>
                  </a:lnTo>
                  <a:lnTo>
                    <a:pt x="850" y="2236"/>
                  </a:lnTo>
                  <a:lnTo>
                    <a:pt x="836" y="2230"/>
                  </a:lnTo>
                  <a:lnTo>
                    <a:pt x="809" y="2218"/>
                  </a:lnTo>
                  <a:lnTo>
                    <a:pt x="781" y="2204"/>
                  </a:lnTo>
                  <a:lnTo>
                    <a:pt x="754" y="2188"/>
                  </a:lnTo>
                  <a:lnTo>
                    <a:pt x="726" y="2170"/>
                  </a:lnTo>
                  <a:lnTo>
                    <a:pt x="698" y="2151"/>
                  </a:lnTo>
                  <a:lnTo>
                    <a:pt x="672" y="2130"/>
                  </a:lnTo>
                  <a:lnTo>
                    <a:pt x="646" y="2110"/>
                  </a:lnTo>
                  <a:lnTo>
                    <a:pt x="623" y="2089"/>
                  </a:lnTo>
                  <a:lnTo>
                    <a:pt x="600" y="2069"/>
                  </a:lnTo>
                  <a:lnTo>
                    <a:pt x="581" y="2049"/>
                  </a:lnTo>
                  <a:lnTo>
                    <a:pt x="563" y="2032"/>
                  </a:lnTo>
                  <a:lnTo>
                    <a:pt x="548" y="2017"/>
                  </a:lnTo>
                  <a:lnTo>
                    <a:pt x="537" y="2003"/>
                  </a:lnTo>
                  <a:lnTo>
                    <a:pt x="537" y="2003"/>
                  </a:lnTo>
                  <a:lnTo>
                    <a:pt x="533" y="1999"/>
                  </a:lnTo>
                  <a:lnTo>
                    <a:pt x="530" y="1995"/>
                  </a:lnTo>
                  <a:lnTo>
                    <a:pt x="520" y="1990"/>
                  </a:lnTo>
                  <a:lnTo>
                    <a:pt x="512" y="1988"/>
                  </a:lnTo>
                  <a:lnTo>
                    <a:pt x="502" y="1987"/>
                  </a:lnTo>
                  <a:lnTo>
                    <a:pt x="493" y="1987"/>
                  </a:lnTo>
                  <a:lnTo>
                    <a:pt x="483" y="1989"/>
                  </a:lnTo>
                  <a:lnTo>
                    <a:pt x="473" y="1992"/>
                  </a:lnTo>
                  <a:lnTo>
                    <a:pt x="464" y="1996"/>
                  </a:lnTo>
                  <a:lnTo>
                    <a:pt x="447" y="2004"/>
                  </a:lnTo>
                  <a:lnTo>
                    <a:pt x="433" y="2014"/>
                  </a:lnTo>
                  <a:lnTo>
                    <a:pt x="419" y="2024"/>
                  </a:lnTo>
                  <a:lnTo>
                    <a:pt x="419" y="2024"/>
                  </a:lnTo>
                  <a:lnTo>
                    <a:pt x="412" y="2023"/>
                  </a:lnTo>
                  <a:lnTo>
                    <a:pt x="393" y="2021"/>
                  </a:lnTo>
                  <a:lnTo>
                    <a:pt x="379" y="2021"/>
                  </a:lnTo>
                  <a:lnTo>
                    <a:pt x="364" y="2021"/>
                  </a:lnTo>
                  <a:lnTo>
                    <a:pt x="348" y="2022"/>
                  </a:lnTo>
                  <a:lnTo>
                    <a:pt x="329" y="2024"/>
                  </a:lnTo>
                  <a:lnTo>
                    <a:pt x="310" y="2027"/>
                  </a:lnTo>
                  <a:lnTo>
                    <a:pt x="290" y="2032"/>
                  </a:lnTo>
                  <a:lnTo>
                    <a:pt x="271" y="2038"/>
                  </a:lnTo>
                  <a:lnTo>
                    <a:pt x="252" y="2047"/>
                  </a:lnTo>
                  <a:lnTo>
                    <a:pt x="242" y="2053"/>
                  </a:lnTo>
                  <a:lnTo>
                    <a:pt x="233" y="2058"/>
                  </a:lnTo>
                  <a:lnTo>
                    <a:pt x="224" y="2064"/>
                  </a:lnTo>
                  <a:lnTo>
                    <a:pt x="216" y="2071"/>
                  </a:lnTo>
                  <a:lnTo>
                    <a:pt x="207" y="2079"/>
                  </a:lnTo>
                  <a:lnTo>
                    <a:pt x="199" y="2087"/>
                  </a:lnTo>
                  <a:lnTo>
                    <a:pt x="191" y="2097"/>
                  </a:lnTo>
                  <a:lnTo>
                    <a:pt x="184" y="2106"/>
                  </a:lnTo>
                  <a:lnTo>
                    <a:pt x="184" y="2106"/>
                  </a:lnTo>
                  <a:lnTo>
                    <a:pt x="183" y="2109"/>
                  </a:lnTo>
                  <a:lnTo>
                    <a:pt x="185" y="2111"/>
                  </a:lnTo>
                  <a:lnTo>
                    <a:pt x="188" y="2112"/>
                  </a:lnTo>
                  <a:lnTo>
                    <a:pt x="193" y="2112"/>
                  </a:lnTo>
                  <a:lnTo>
                    <a:pt x="210" y="2110"/>
                  </a:lnTo>
                  <a:lnTo>
                    <a:pt x="230" y="2108"/>
                  </a:lnTo>
                  <a:lnTo>
                    <a:pt x="255" y="2106"/>
                  </a:lnTo>
                  <a:lnTo>
                    <a:pt x="280" y="2105"/>
                  </a:lnTo>
                  <a:lnTo>
                    <a:pt x="293" y="2106"/>
                  </a:lnTo>
                  <a:lnTo>
                    <a:pt x="307" y="2107"/>
                  </a:lnTo>
                  <a:lnTo>
                    <a:pt x="319" y="2109"/>
                  </a:lnTo>
                  <a:lnTo>
                    <a:pt x="331" y="2112"/>
                  </a:lnTo>
                  <a:lnTo>
                    <a:pt x="331" y="2112"/>
                  </a:lnTo>
                  <a:lnTo>
                    <a:pt x="338" y="2115"/>
                  </a:lnTo>
                  <a:lnTo>
                    <a:pt x="343" y="2118"/>
                  </a:lnTo>
                  <a:lnTo>
                    <a:pt x="346" y="2121"/>
                  </a:lnTo>
                  <a:lnTo>
                    <a:pt x="347" y="2124"/>
                  </a:lnTo>
                  <a:lnTo>
                    <a:pt x="347" y="2127"/>
                  </a:lnTo>
                  <a:lnTo>
                    <a:pt x="345" y="2131"/>
                  </a:lnTo>
                  <a:lnTo>
                    <a:pt x="339" y="2139"/>
                  </a:lnTo>
                  <a:lnTo>
                    <a:pt x="332" y="2149"/>
                  </a:lnTo>
                  <a:lnTo>
                    <a:pt x="325" y="2160"/>
                  </a:lnTo>
                  <a:lnTo>
                    <a:pt x="321" y="2166"/>
                  </a:lnTo>
                  <a:lnTo>
                    <a:pt x="319" y="2172"/>
                  </a:lnTo>
                  <a:lnTo>
                    <a:pt x="317" y="2178"/>
                  </a:lnTo>
                  <a:lnTo>
                    <a:pt x="317" y="2185"/>
                  </a:lnTo>
                  <a:lnTo>
                    <a:pt x="317" y="2185"/>
                  </a:lnTo>
                  <a:lnTo>
                    <a:pt x="317" y="2191"/>
                  </a:lnTo>
                  <a:lnTo>
                    <a:pt x="319" y="2197"/>
                  </a:lnTo>
                  <a:lnTo>
                    <a:pt x="321" y="2202"/>
                  </a:lnTo>
                  <a:lnTo>
                    <a:pt x="324" y="2207"/>
                  </a:lnTo>
                  <a:lnTo>
                    <a:pt x="328" y="2212"/>
                  </a:lnTo>
                  <a:lnTo>
                    <a:pt x="333" y="2217"/>
                  </a:lnTo>
                  <a:lnTo>
                    <a:pt x="346" y="2227"/>
                  </a:lnTo>
                  <a:lnTo>
                    <a:pt x="361" y="2237"/>
                  </a:lnTo>
                  <a:lnTo>
                    <a:pt x="377" y="2246"/>
                  </a:lnTo>
                  <a:lnTo>
                    <a:pt x="397" y="2255"/>
                  </a:lnTo>
                  <a:lnTo>
                    <a:pt x="416" y="2263"/>
                  </a:lnTo>
                  <a:lnTo>
                    <a:pt x="458" y="2279"/>
                  </a:lnTo>
                  <a:lnTo>
                    <a:pt x="500" y="2293"/>
                  </a:lnTo>
                  <a:lnTo>
                    <a:pt x="571" y="2314"/>
                  </a:lnTo>
                  <a:lnTo>
                    <a:pt x="571" y="2314"/>
                  </a:lnTo>
                  <a:lnTo>
                    <a:pt x="579" y="2318"/>
                  </a:lnTo>
                  <a:lnTo>
                    <a:pt x="585" y="2322"/>
                  </a:lnTo>
                  <a:lnTo>
                    <a:pt x="588" y="2328"/>
                  </a:lnTo>
                  <a:lnTo>
                    <a:pt x="590" y="2333"/>
                  </a:lnTo>
                  <a:lnTo>
                    <a:pt x="590" y="2337"/>
                  </a:lnTo>
                  <a:lnTo>
                    <a:pt x="588" y="2341"/>
                  </a:lnTo>
                  <a:lnTo>
                    <a:pt x="585" y="2343"/>
                  </a:lnTo>
                  <a:lnTo>
                    <a:pt x="581" y="2344"/>
                  </a:lnTo>
                  <a:lnTo>
                    <a:pt x="581" y="2344"/>
                  </a:lnTo>
                  <a:lnTo>
                    <a:pt x="556" y="2343"/>
                  </a:lnTo>
                  <a:lnTo>
                    <a:pt x="532" y="2340"/>
                  </a:lnTo>
                  <a:lnTo>
                    <a:pt x="509" y="2337"/>
                  </a:lnTo>
                  <a:lnTo>
                    <a:pt x="488" y="2332"/>
                  </a:lnTo>
                  <a:lnTo>
                    <a:pt x="467" y="2327"/>
                  </a:lnTo>
                  <a:lnTo>
                    <a:pt x="448" y="2320"/>
                  </a:lnTo>
                  <a:lnTo>
                    <a:pt x="429" y="2314"/>
                  </a:lnTo>
                  <a:lnTo>
                    <a:pt x="412" y="2308"/>
                  </a:lnTo>
                  <a:lnTo>
                    <a:pt x="380" y="2295"/>
                  </a:lnTo>
                  <a:lnTo>
                    <a:pt x="352" y="2283"/>
                  </a:lnTo>
                  <a:lnTo>
                    <a:pt x="327" y="2271"/>
                  </a:lnTo>
                  <a:lnTo>
                    <a:pt x="316" y="2267"/>
                  </a:lnTo>
                  <a:lnTo>
                    <a:pt x="305" y="2263"/>
                  </a:lnTo>
                  <a:lnTo>
                    <a:pt x="305" y="2263"/>
                  </a:lnTo>
                  <a:lnTo>
                    <a:pt x="286" y="2258"/>
                  </a:lnTo>
                  <a:lnTo>
                    <a:pt x="268" y="2254"/>
                  </a:lnTo>
                  <a:lnTo>
                    <a:pt x="253" y="2251"/>
                  </a:lnTo>
                  <a:lnTo>
                    <a:pt x="237" y="2249"/>
                  </a:lnTo>
                  <a:lnTo>
                    <a:pt x="224" y="2248"/>
                  </a:lnTo>
                  <a:lnTo>
                    <a:pt x="213" y="2249"/>
                  </a:lnTo>
                  <a:lnTo>
                    <a:pt x="202" y="2250"/>
                  </a:lnTo>
                  <a:lnTo>
                    <a:pt x="192" y="2252"/>
                  </a:lnTo>
                  <a:lnTo>
                    <a:pt x="185" y="2256"/>
                  </a:lnTo>
                  <a:lnTo>
                    <a:pt x="178" y="2260"/>
                  </a:lnTo>
                  <a:lnTo>
                    <a:pt x="172" y="2265"/>
                  </a:lnTo>
                  <a:lnTo>
                    <a:pt x="167" y="2271"/>
                  </a:lnTo>
                  <a:lnTo>
                    <a:pt x="163" y="2277"/>
                  </a:lnTo>
                  <a:lnTo>
                    <a:pt x="160" y="2286"/>
                  </a:lnTo>
                  <a:lnTo>
                    <a:pt x="156" y="2294"/>
                  </a:lnTo>
                  <a:lnTo>
                    <a:pt x="155" y="2303"/>
                  </a:lnTo>
                  <a:lnTo>
                    <a:pt x="155" y="2303"/>
                  </a:lnTo>
                  <a:lnTo>
                    <a:pt x="154" y="2306"/>
                  </a:lnTo>
                  <a:lnTo>
                    <a:pt x="152" y="2309"/>
                  </a:lnTo>
                  <a:lnTo>
                    <a:pt x="150" y="2312"/>
                  </a:lnTo>
                  <a:lnTo>
                    <a:pt x="147" y="2314"/>
                  </a:lnTo>
                  <a:lnTo>
                    <a:pt x="140" y="2318"/>
                  </a:lnTo>
                  <a:lnTo>
                    <a:pt x="132" y="2323"/>
                  </a:lnTo>
                  <a:lnTo>
                    <a:pt x="109" y="2333"/>
                  </a:lnTo>
                  <a:lnTo>
                    <a:pt x="97" y="2339"/>
                  </a:lnTo>
                  <a:lnTo>
                    <a:pt x="84" y="2347"/>
                  </a:lnTo>
                  <a:lnTo>
                    <a:pt x="71" y="2357"/>
                  </a:lnTo>
                  <a:lnTo>
                    <a:pt x="57" y="2371"/>
                  </a:lnTo>
                  <a:lnTo>
                    <a:pt x="51" y="2378"/>
                  </a:lnTo>
                  <a:lnTo>
                    <a:pt x="45" y="2386"/>
                  </a:lnTo>
                  <a:lnTo>
                    <a:pt x="39" y="2396"/>
                  </a:lnTo>
                  <a:lnTo>
                    <a:pt x="33" y="2406"/>
                  </a:lnTo>
                  <a:lnTo>
                    <a:pt x="28" y="2418"/>
                  </a:lnTo>
                  <a:lnTo>
                    <a:pt x="22" y="2430"/>
                  </a:lnTo>
                  <a:lnTo>
                    <a:pt x="17" y="2444"/>
                  </a:lnTo>
                  <a:lnTo>
                    <a:pt x="13" y="2458"/>
                  </a:lnTo>
                  <a:lnTo>
                    <a:pt x="9" y="2475"/>
                  </a:lnTo>
                  <a:lnTo>
                    <a:pt x="6" y="2492"/>
                  </a:lnTo>
                  <a:lnTo>
                    <a:pt x="3" y="2512"/>
                  </a:lnTo>
                  <a:lnTo>
                    <a:pt x="0" y="2532"/>
                  </a:lnTo>
                  <a:lnTo>
                    <a:pt x="0" y="2532"/>
                  </a:lnTo>
                  <a:lnTo>
                    <a:pt x="1" y="2533"/>
                  </a:lnTo>
                  <a:lnTo>
                    <a:pt x="2" y="2534"/>
                  </a:lnTo>
                  <a:lnTo>
                    <a:pt x="6" y="2532"/>
                  </a:lnTo>
                  <a:lnTo>
                    <a:pt x="12" y="2527"/>
                  </a:lnTo>
                  <a:lnTo>
                    <a:pt x="20" y="2519"/>
                  </a:lnTo>
                  <a:lnTo>
                    <a:pt x="43" y="2496"/>
                  </a:lnTo>
                  <a:lnTo>
                    <a:pt x="69" y="2472"/>
                  </a:lnTo>
                  <a:lnTo>
                    <a:pt x="82" y="2459"/>
                  </a:lnTo>
                  <a:lnTo>
                    <a:pt x="95" y="2448"/>
                  </a:lnTo>
                  <a:lnTo>
                    <a:pt x="107" y="2439"/>
                  </a:lnTo>
                  <a:lnTo>
                    <a:pt x="119" y="2432"/>
                  </a:lnTo>
                  <a:lnTo>
                    <a:pt x="124" y="2429"/>
                  </a:lnTo>
                  <a:lnTo>
                    <a:pt x="129" y="2428"/>
                  </a:lnTo>
                  <a:lnTo>
                    <a:pt x="133" y="2427"/>
                  </a:lnTo>
                  <a:lnTo>
                    <a:pt x="137" y="2427"/>
                  </a:lnTo>
                  <a:lnTo>
                    <a:pt x="140" y="2429"/>
                  </a:lnTo>
                  <a:lnTo>
                    <a:pt x="143" y="2431"/>
                  </a:lnTo>
                  <a:lnTo>
                    <a:pt x="144" y="2435"/>
                  </a:lnTo>
                  <a:lnTo>
                    <a:pt x="146" y="2439"/>
                  </a:lnTo>
                  <a:lnTo>
                    <a:pt x="146" y="2439"/>
                  </a:lnTo>
                  <a:lnTo>
                    <a:pt x="149" y="2455"/>
                  </a:lnTo>
                  <a:lnTo>
                    <a:pt x="154" y="2470"/>
                  </a:lnTo>
                  <a:lnTo>
                    <a:pt x="162" y="2483"/>
                  </a:lnTo>
                  <a:lnTo>
                    <a:pt x="170" y="2493"/>
                  </a:lnTo>
                  <a:lnTo>
                    <a:pt x="179" y="2503"/>
                  </a:lnTo>
                  <a:lnTo>
                    <a:pt x="189" y="2511"/>
                  </a:lnTo>
                  <a:lnTo>
                    <a:pt x="200" y="2518"/>
                  </a:lnTo>
                  <a:lnTo>
                    <a:pt x="214" y="2523"/>
                  </a:lnTo>
                  <a:lnTo>
                    <a:pt x="227" y="2527"/>
                  </a:lnTo>
                  <a:lnTo>
                    <a:pt x="241" y="2529"/>
                  </a:lnTo>
                  <a:lnTo>
                    <a:pt x="256" y="2531"/>
                  </a:lnTo>
                  <a:lnTo>
                    <a:pt x="271" y="2532"/>
                  </a:lnTo>
                  <a:lnTo>
                    <a:pt x="287" y="2533"/>
                  </a:lnTo>
                  <a:lnTo>
                    <a:pt x="304" y="2532"/>
                  </a:lnTo>
                  <a:lnTo>
                    <a:pt x="337" y="2530"/>
                  </a:lnTo>
                  <a:lnTo>
                    <a:pt x="371" y="2526"/>
                  </a:lnTo>
                  <a:lnTo>
                    <a:pt x="405" y="2521"/>
                  </a:lnTo>
                  <a:lnTo>
                    <a:pt x="438" y="2516"/>
                  </a:lnTo>
                  <a:lnTo>
                    <a:pt x="468" y="2512"/>
                  </a:lnTo>
                  <a:lnTo>
                    <a:pt x="496" y="2510"/>
                  </a:lnTo>
                  <a:lnTo>
                    <a:pt x="509" y="2509"/>
                  </a:lnTo>
                  <a:lnTo>
                    <a:pt x="520" y="2509"/>
                  </a:lnTo>
                  <a:lnTo>
                    <a:pt x="531" y="2510"/>
                  </a:lnTo>
                  <a:lnTo>
                    <a:pt x="541" y="2512"/>
                  </a:lnTo>
                  <a:lnTo>
                    <a:pt x="549" y="2515"/>
                  </a:lnTo>
                  <a:lnTo>
                    <a:pt x="555" y="2519"/>
                  </a:lnTo>
                  <a:lnTo>
                    <a:pt x="555" y="2519"/>
                  </a:lnTo>
                  <a:lnTo>
                    <a:pt x="558" y="2522"/>
                  </a:lnTo>
                  <a:lnTo>
                    <a:pt x="559" y="2524"/>
                  </a:lnTo>
                  <a:lnTo>
                    <a:pt x="557" y="2527"/>
                  </a:lnTo>
                  <a:lnTo>
                    <a:pt x="554" y="2529"/>
                  </a:lnTo>
                  <a:lnTo>
                    <a:pt x="549" y="2532"/>
                  </a:lnTo>
                  <a:lnTo>
                    <a:pt x="542" y="2534"/>
                  </a:lnTo>
                  <a:lnTo>
                    <a:pt x="525" y="2538"/>
                  </a:lnTo>
                  <a:lnTo>
                    <a:pt x="475" y="2547"/>
                  </a:lnTo>
                  <a:lnTo>
                    <a:pt x="447" y="2553"/>
                  </a:lnTo>
                  <a:lnTo>
                    <a:pt x="417" y="2559"/>
                  </a:lnTo>
                  <a:lnTo>
                    <a:pt x="388" y="2566"/>
                  </a:lnTo>
                  <a:lnTo>
                    <a:pt x="359" y="2574"/>
                  </a:lnTo>
                  <a:lnTo>
                    <a:pt x="346" y="2578"/>
                  </a:lnTo>
                  <a:lnTo>
                    <a:pt x="333" y="2583"/>
                  </a:lnTo>
                  <a:lnTo>
                    <a:pt x="322" y="2588"/>
                  </a:lnTo>
                  <a:lnTo>
                    <a:pt x="312" y="2594"/>
                  </a:lnTo>
                  <a:lnTo>
                    <a:pt x="303" y="2601"/>
                  </a:lnTo>
                  <a:lnTo>
                    <a:pt x="294" y="2607"/>
                  </a:lnTo>
                  <a:lnTo>
                    <a:pt x="288" y="2614"/>
                  </a:lnTo>
                  <a:lnTo>
                    <a:pt x="284" y="2622"/>
                  </a:lnTo>
                  <a:lnTo>
                    <a:pt x="282" y="2630"/>
                  </a:lnTo>
                  <a:lnTo>
                    <a:pt x="281" y="2638"/>
                  </a:lnTo>
                  <a:lnTo>
                    <a:pt x="283" y="2649"/>
                  </a:lnTo>
                  <a:lnTo>
                    <a:pt x="287" y="2659"/>
                  </a:lnTo>
                  <a:lnTo>
                    <a:pt x="287" y="2659"/>
                  </a:lnTo>
                  <a:lnTo>
                    <a:pt x="287" y="2660"/>
                  </a:lnTo>
                  <a:lnTo>
                    <a:pt x="286" y="2663"/>
                  </a:lnTo>
                  <a:lnTo>
                    <a:pt x="283" y="2669"/>
                  </a:lnTo>
                  <a:lnTo>
                    <a:pt x="268" y="2686"/>
                  </a:lnTo>
                  <a:lnTo>
                    <a:pt x="258" y="2699"/>
                  </a:lnTo>
                  <a:lnTo>
                    <a:pt x="247" y="2712"/>
                  </a:lnTo>
                  <a:lnTo>
                    <a:pt x="237" y="2727"/>
                  </a:lnTo>
                  <a:lnTo>
                    <a:pt x="228" y="2744"/>
                  </a:lnTo>
                  <a:lnTo>
                    <a:pt x="220" y="2761"/>
                  </a:lnTo>
                  <a:lnTo>
                    <a:pt x="217" y="2770"/>
                  </a:lnTo>
                  <a:lnTo>
                    <a:pt x="214" y="2781"/>
                  </a:lnTo>
                  <a:lnTo>
                    <a:pt x="213" y="2790"/>
                  </a:lnTo>
                  <a:lnTo>
                    <a:pt x="212" y="2801"/>
                  </a:lnTo>
                  <a:lnTo>
                    <a:pt x="212" y="2811"/>
                  </a:lnTo>
                  <a:lnTo>
                    <a:pt x="213" y="2821"/>
                  </a:lnTo>
                  <a:lnTo>
                    <a:pt x="215" y="2833"/>
                  </a:lnTo>
                  <a:lnTo>
                    <a:pt x="219" y="2844"/>
                  </a:lnTo>
                  <a:lnTo>
                    <a:pt x="223" y="2856"/>
                  </a:lnTo>
                  <a:lnTo>
                    <a:pt x="229" y="2867"/>
                  </a:lnTo>
                  <a:lnTo>
                    <a:pt x="237" y="2880"/>
                  </a:lnTo>
                  <a:lnTo>
                    <a:pt x="246" y="2892"/>
                  </a:lnTo>
                  <a:lnTo>
                    <a:pt x="257" y="2904"/>
                  </a:lnTo>
                  <a:lnTo>
                    <a:pt x="270" y="2917"/>
                  </a:lnTo>
                  <a:lnTo>
                    <a:pt x="270" y="2917"/>
                  </a:lnTo>
                  <a:lnTo>
                    <a:pt x="270" y="2910"/>
                  </a:lnTo>
                  <a:lnTo>
                    <a:pt x="272" y="2893"/>
                  </a:lnTo>
                  <a:lnTo>
                    <a:pt x="277" y="2868"/>
                  </a:lnTo>
                  <a:lnTo>
                    <a:pt x="281" y="2855"/>
                  </a:lnTo>
                  <a:lnTo>
                    <a:pt x="285" y="2841"/>
                  </a:lnTo>
                  <a:lnTo>
                    <a:pt x="291" y="2828"/>
                  </a:lnTo>
                  <a:lnTo>
                    <a:pt x="298" y="2814"/>
                  </a:lnTo>
                  <a:lnTo>
                    <a:pt x="306" y="2801"/>
                  </a:lnTo>
                  <a:lnTo>
                    <a:pt x="315" y="2791"/>
                  </a:lnTo>
                  <a:lnTo>
                    <a:pt x="321" y="2786"/>
                  </a:lnTo>
                  <a:lnTo>
                    <a:pt x="326" y="2782"/>
                  </a:lnTo>
                  <a:lnTo>
                    <a:pt x="332" y="2777"/>
                  </a:lnTo>
                  <a:lnTo>
                    <a:pt x="339" y="2774"/>
                  </a:lnTo>
                  <a:lnTo>
                    <a:pt x="346" y="2772"/>
                  </a:lnTo>
                  <a:lnTo>
                    <a:pt x="354" y="2770"/>
                  </a:lnTo>
                  <a:lnTo>
                    <a:pt x="361" y="2770"/>
                  </a:lnTo>
                  <a:lnTo>
                    <a:pt x="369" y="2770"/>
                  </a:lnTo>
                  <a:lnTo>
                    <a:pt x="369" y="2770"/>
                  </a:lnTo>
                  <a:lnTo>
                    <a:pt x="383" y="2771"/>
                  </a:lnTo>
                  <a:lnTo>
                    <a:pt x="396" y="2774"/>
                  </a:lnTo>
                  <a:lnTo>
                    <a:pt x="408" y="2778"/>
                  </a:lnTo>
                  <a:lnTo>
                    <a:pt x="420" y="2783"/>
                  </a:lnTo>
                  <a:lnTo>
                    <a:pt x="443" y="2793"/>
                  </a:lnTo>
                  <a:lnTo>
                    <a:pt x="454" y="2797"/>
                  </a:lnTo>
                  <a:lnTo>
                    <a:pt x="465" y="2801"/>
                  </a:lnTo>
                  <a:lnTo>
                    <a:pt x="476" y="2804"/>
                  </a:lnTo>
                  <a:lnTo>
                    <a:pt x="489" y="2806"/>
                  </a:lnTo>
                  <a:lnTo>
                    <a:pt x="501" y="2807"/>
                  </a:lnTo>
                  <a:lnTo>
                    <a:pt x="514" y="2805"/>
                  </a:lnTo>
                  <a:lnTo>
                    <a:pt x="528" y="2802"/>
                  </a:lnTo>
                  <a:lnTo>
                    <a:pt x="542" y="2796"/>
                  </a:lnTo>
                  <a:lnTo>
                    <a:pt x="558" y="2788"/>
                  </a:lnTo>
                  <a:lnTo>
                    <a:pt x="575" y="2775"/>
                  </a:lnTo>
                  <a:lnTo>
                    <a:pt x="575" y="2775"/>
                  </a:lnTo>
                  <a:lnTo>
                    <a:pt x="588" y="2766"/>
                  </a:lnTo>
                  <a:lnTo>
                    <a:pt x="600" y="2755"/>
                  </a:lnTo>
                  <a:lnTo>
                    <a:pt x="614" y="2743"/>
                  </a:lnTo>
                  <a:lnTo>
                    <a:pt x="630" y="2730"/>
                  </a:lnTo>
                  <a:lnTo>
                    <a:pt x="651" y="2718"/>
                  </a:lnTo>
                  <a:lnTo>
                    <a:pt x="664" y="2711"/>
                  </a:lnTo>
                  <a:lnTo>
                    <a:pt x="678" y="2705"/>
                  </a:lnTo>
                  <a:lnTo>
                    <a:pt x="693" y="2698"/>
                  </a:lnTo>
                  <a:lnTo>
                    <a:pt x="712" y="2692"/>
                  </a:lnTo>
                  <a:lnTo>
                    <a:pt x="732" y="2684"/>
                  </a:lnTo>
                  <a:lnTo>
                    <a:pt x="754" y="2677"/>
                  </a:lnTo>
                  <a:lnTo>
                    <a:pt x="754" y="2677"/>
                  </a:lnTo>
                  <a:lnTo>
                    <a:pt x="756" y="2677"/>
                  </a:lnTo>
                  <a:lnTo>
                    <a:pt x="757" y="2678"/>
                  </a:lnTo>
                  <a:lnTo>
                    <a:pt x="760" y="2683"/>
                  </a:lnTo>
                  <a:lnTo>
                    <a:pt x="762" y="2692"/>
                  </a:lnTo>
                  <a:lnTo>
                    <a:pt x="765" y="2701"/>
                  </a:lnTo>
                  <a:lnTo>
                    <a:pt x="768" y="2713"/>
                  </a:lnTo>
                  <a:lnTo>
                    <a:pt x="772" y="2725"/>
                  </a:lnTo>
                  <a:lnTo>
                    <a:pt x="777" y="2738"/>
                  </a:lnTo>
                  <a:lnTo>
                    <a:pt x="783" y="2750"/>
                  </a:lnTo>
                  <a:lnTo>
                    <a:pt x="783" y="2750"/>
                  </a:lnTo>
                  <a:lnTo>
                    <a:pt x="786" y="2753"/>
                  </a:lnTo>
                  <a:lnTo>
                    <a:pt x="789" y="2755"/>
                  </a:lnTo>
                  <a:lnTo>
                    <a:pt x="797" y="2760"/>
                  </a:lnTo>
                  <a:lnTo>
                    <a:pt x="805" y="2763"/>
                  </a:lnTo>
                  <a:lnTo>
                    <a:pt x="813" y="2767"/>
                  </a:lnTo>
                  <a:lnTo>
                    <a:pt x="821" y="2770"/>
                  </a:lnTo>
                  <a:lnTo>
                    <a:pt x="827" y="2773"/>
                  </a:lnTo>
                  <a:lnTo>
                    <a:pt x="830" y="2775"/>
                  </a:lnTo>
                  <a:lnTo>
                    <a:pt x="831" y="2777"/>
                  </a:lnTo>
                  <a:lnTo>
                    <a:pt x="833" y="2781"/>
                  </a:lnTo>
                  <a:lnTo>
                    <a:pt x="833" y="2784"/>
                  </a:lnTo>
                  <a:lnTo>
                    <a:pt x="833" y="2784"/>
                  </a:lnTo>
                  <a:lnTo>
                    <a:pt x="832" y="2794"/>
                  </a:lnTo>
                  <a:lnTo>
                    <a:pt x="830" y="2805"/>
                  </a:lnTo>
                  <a:lnTo>
                    <a:pt x="826" y="2815"/>
                  </a:lnTo>
                  <a:lnTo>
                    <a:pt x="822" y="2824"/>
                  </a:lnTo>
                  <a:lnTo>
                    <a:pt x="817" y="2834"/>
                  </a:lnTo>
                  <a:lnTo>
                    <a:pt x="811" y="2843"/>
                  </a:lnTo>
                  <a:lnTo>
                    <a:pt x="798" y="2859"/>
                  </a:lnTo>
                  <a:lnTo>
                    <a:pt x="784" y="2873"/>
                  </a:lnTo>
                  <a:lnTo>
                    <a:pt x="773" y="2884"/>
                  </a:lnTo>
                  <a:lnTo>
                    <a:pt x="765" y="2890"/>
                  </a:lnTo>
                  <a:lnTo>
                    <a:pt x="763" y="2893"/>
                  </a:lnTo>
                  <a:lnTo>
                    <a:pt x="763" y="2893"/>
                  </a:lnTo>
                  <a:lnTo>
                    <a:pt x="767" y="2896"/>
                  </a:lnTo>
                  <a:lnTo>
                    <a:pt x="778" y="2899"/>
                  </a:lnTo>
                  <a:lnTo>
                    <a:pt x="785" y="2900"/>
                  </a:lnTo>
                  <a:lnTo>
                    <a:pt x="794" y="2901"/>
                  </a:lnTo>
                  <a:lnTo>
                    <a:pt x="804" y="2901"/>
                  </a:lnTo>
                  <a:lnTo>
                    <a:pt x="815" y="2899"/>
                  </a:lnTo>
                  <a:lnTo>
                    <a:pt x="826" y="2896"/>
                  </a:lnTo>
                  <a:lnTo>
                    <a:pt x="839" y="2891"/>
                  </a:lnTo>
                  <a:lnTo>
                    <a:pt x="852" y="2884"/>
                  </a:lnTo>
                  <a:lnTo>
                    <a:pt x="865" y="2874"/>
                  </a:lnTo>
                  <a:lnTo>
                    <a:pt x="879" y="2860"/>
                  </a:lnTo>
                  <a:lnTo>
                    <a:pt x="894" y="2844"/>
                  </a:lnTo>
                  <a:lnTo>
                    <a:pt x="907" y="2824"/>
                  </a:lnTo>
                  <a:lnTo>
                    <a:pt x="921" y="2801"/>
                  </a:lnTo>
                  <a:lnTo>
                    <a:pt x="921" y="2801"/>
                  </a:lnTo>
                  <a:lnTo>
                    <a:pt x="924" y="2797"/>
                  </a:lnTo>
                  <a:lnTo>
                    <a:pt x="927" y="2793"/>
                  </a:lnTo>
                  <a:lnTo>
                    <a:pt x="930" y="2791"/>
                  </a:lnTo>
                  <a:lnTo>
                    <a:pt x="935" y="2789"/>
                  </a:lnTo>
                  <a:lnTo>
                    <a:pt x="939" y="2788"/>
                  </a:lnTo>
                  <a:lnTo>
                    <a:pt x="943" y="2788"/>
                  </a:lnTo>
                  <a:lnTo>
                    <a:pt x="951" y="2788"/>
                  </a:lnTo>
                  <a:lnTo>
                    <a:pt x="970" y="2790"/>
                  </a:lnTo>
                  <a:lnTo>
                    <a:pt x="982" y="2790"/>
                  </a:lnTo>
                  <a:lnTo>
                    <a:pt x="987" y="2789"/>
                  </a:lnTo>
                  <a:lnTo>
                    <a:pt x="992" y="2788"/>
                  </a:lnTo>
                  <a:lnTo>
                    <a:pt x="992" y="2788"/>
                  </a:lnTo>
                  <a:lnTo>
                    <a:pt x="1010" y="2782"/>
                  </a:lnTo>
                  <a:lnTo>
                    <a:pt x="1017" y="2777"/>
                  </a:lnTo>
                  <a:lnTo>
                    <a:pt x="1024" y="2773"/>
                  </a:lnTo>
                  <a:lnTo>
                    <a:pt x="1029" y="2770"/>
                  </a:lnTo>
                  <a:lnTo>
                    <a:pt x="1033" y="2766"/>
                  </a:lnTo>
                  <a:lnTo>
                    <a:pt x="1036" y="2762"/>
                  </a:lnTo>
                  <a:lnTo>
                    <a:pt x="1039" y="2757"/>
                  </a:lnTo>
                  <a:lnTo>
                    <a:pt x="1041" y="2753"/>
                  </a:lnTo>
                  <a:lnTo>
                    <a:pt x="1042" y="2748"/>
                  </a:lnTo>
                  <a:lnTo>
                    <a:pt x="1043" y="2739"/>
                  </a:lnTo>
                  <a:lnTo>
                    <a:pt x="1042" y="2728"/>
                  </a:lnTo>
                  <a:lnTo>
                    <a:pt x="1040" y="2718"/>
                  </a:lnTo>
                  <a:lnTo>
                    <a:pt x="1035" y="2696"/>
                  </a:lnTo>
                  <a:lnTo>
                    <a:pt x="1034" y="2685"/>
                  </a:lnTo>
                  <a:lnTo>
                    <a:pt x="1033" y="2673"/>
                  </a:lnTo>
                  <a:lnTo>
                    <a:pt x="1034" y="2662"/>
                  </a:lnTo>
                  <a:lnTo>
                    <a:pt x="1036" y="2657"/>
                  </a:lnTo>
                  <a:lnTo>
                    <a:pt x="1038" y="2651"/>
                  </a:lnTo>
                  <a:lnTo>
                    <a:pt x="1040" y="2646"/>
                  </a:lnTo>
                  <a:lnTo>
                    <a:pt x="1044" y="2640"/>
                  </a:lnTo>
                  <a:lnTo>
                    <a:pt x="1048" y="2634"/>
                  </a:lnTo>
                  <a:lnTo>
                    <a:pt x="1054" y="2629"/>
                  </a:lnTo>
                  <a:lnTo>
                    <a:pt x="1054" y="2629"/>
                  </a:lnTo>
                  <a:lnTo>
                    <a:pt x="1069" y="2616"/>
                  </a:lnTo>
                  <a:lnTo>
                    <a:pt x="1084" y="2603"/>
                  </a:lnTo>
                  <a:lnTo>
                    <a:pt x="1099" y="2591"/>
                  </a:lnTo>
                  <a:lnTo>
                    <a:pt x="1115" y="2579"/>
                  </a:lnTo>
                  <a:lnTo>
                    <a:pt x="1146" y="2559"/>
                  </a:lnTo>
                  <a:lnTo>
                    <a:pt x="1178" y="2540"/>
                  </a:lnTo>
                  <a:lnTo>
                    <a:pt x="1210" y="2524"/>
                  </a:lnTo>
                  <a:lnTo>
                    <a:pt x="1241" y="2509"/>
                  </a:lnTo>
                  <a:lnTo>
                    <a:pt x="1273" y="2494"/>
                  </a:lnTo>
                  <a:lnTo>
                    <a:pt x="1304" y="2482"/>
                  </a:lnTo>
                  <a:lnTo>
                    <a:pt x="1304" y="2482"/>
                  </a:lnTo>
                  <a:lnTo>
                    <a:pt x="1303" y="2486"/>
                  </a:lnTo>
                  <a:lnTo>
                    <a:pt x="1299" y="2498"/>
                  </a:lnTo>
                  <a:lnTo>
                    <a:pt x="1294" y="2518"/>
                  </a:lnTo>
                  <a:lnTo>
                    <a:pt x="1291" y="2541"/>
                  </a:lnTo>
                  <a:lnTo>
                    <a:pt x="1290" y="2556"/>
                  </a:lnTo>
                  <a:lnTo>
                    <a:pt x="1290" y="2570"/>
                  </a:lnTo>
                  <a:lnTo>
                    <a:pt x="1291" y="2585"/>
                  </a:lnTo>
                  <a:lnTo>
                    <a:pt x="1292" y="2602"/>
                  </a:lnTo>
                  <a:lnTo>
                    <a:pt x="1296" y="2618"/>
                  </a:lnTo>
                  <a:lnTo>
                    <a:pt x="1301" y="2634"/>
                  </a:lnTo>
                  <a:lnTo>
                    <a:pt x="1306" y="2652"/>
                  </a:lnTo>
                  <a:lnTo>
                    <a:pt x="1314" y="2669"/>
                  </a:lnTo>
                  <a:lnTo>
                    <a:pt x="1640" y="2585"/>
                  </a:lnTo>
                  <a:lnTo>
                    <a:pt x="1640" y="2585"/>
                  </a:lnTo>
                  <a:lnTo>
                    <a:pt x="1634" y="2569"/>
                  </a:lnTo>
                  <a:lnTo>
                    <a:pt x="1631" y="2553"/>
                  </a:lnTo>
                  <a:lnTo>
                    <a:pt x="1629" y="2535"/>
                  </a:lnTo>
                  <a:lnTo>
                    <a:pt x="1629" y="2518"/>
                  </a:lnTo>
                  <a:lnTo>
                    <a:pt x="1631" y="2500"/>
                  </a:lnTo>
                  <a:lnTo>
                    <a:pt x="1634" y="2483"/>
                  </a:lnTo>
                  <a:lnTo>
                    <a:pt x="1638" y="2466"/>
                  </a:lnTo>
                  <a:lnTo>
                    <a:pt x="1644" y="2447"/>
                  </a:lnTo>
                  <a:lnTo>
                    <a:pt x="1651" y="2430"/>
                  </a:lnTo>
                  <a:lnTo>
                    <a:pt x="1660" y="2411"/>
                  </a:lnTo>
                  <a:lnTo>
                    <a:pt x="1669" y="2394"/>
                  </a:lnTo>
                  <a:lnTo>
                    <a:pt x="1679" y="2377"/>
                  </a:lnTo>
                  <a:lnTo>
                    <a:pt x="1689" y="2359"/>
                  </a:lnTo>
                  <a:lnTo>
                    <a:pt x="1701" y="2342"/>
                  </a:lnTo>
                  <a:lnTo>
                    <a:pt x="1725" y="2310"/>
                  </a:lnTo>
                  <a:lnTo>
                    <a:pt x="1725" y="2310"/>
                  </a:lnTo>
                  <a:lnTo>
                    <a:pt x="1726" y="2309"/>
                  </a:lnTo>
                  <a:lnTo>
                    <a:pt x="1727" y="2309"/>
                  </a:lnTo>
                  <a:lnTo>
                    <a:pt x="1728" y="2313"/>
                  </a:lnTo>
                  <a:lnTo>
                    <a:pt x="1725" y="2335"/>
                  </a:lnTo>
                  <a:lnTo>
                    <a:pt x="1721" y="2368"/>
                  </a:lnTo>
                  <a:lnTo>
                    <a:pt x="1715" y="2410"/>
                  </a:lnTo>
                  <a:lnTo>
                    <a:pt x="1713" y="2433"/>
                  </a:lnTo>
                  <a:lnTo>
                    <a:pt x="1711" y="2456"/>
                  </a:lnTo>
                  <a:lnTo>
                    <a:pt x="1711" y="2478"/>
                  </a:lnTo>
                  <a:lnTo>
                    <a:pt x="1711" y="2499"/>
                  </a:lnTo>
                  <a:lnTo>
                    <a:pt x="1713" y="2519"/>
                  </a:lnTo>
                  <a:lnTo>
                    <a:pt x="1716" y="2536"/>
                  </a:lnTo>
                  <a:lnTo>
                    <a:pt x="1719" y="2544"/>
                  </a:lnTo>
                  <a:lnTo>
                    <a:pt x="1722" y="2551"/>
                  </a:lnTo>
                  <a:lnTo>
                    <a:pt x="1726" y="2557"/>
                  </a:lnTo>
                  <a:lnTo>
                    <a:pt x="1730" y="2562"/>
                  </a:lnTo>
                  <a:lnTo>
                    <a:pt x="2050" y="2479"/>
                  </a:lnTo>
                  <a:lnTo>
                    <a:pt x="2050" y="2479"/>
                  </a:lnTo>
                  <a:lnTo>
                    <a:pt x="2046" y="2469"/>
                  </a:lnTo>
                  <a:lnTo>
                    <a:pt x="2043" y="2457"/>
                  </a:lnTo>
                  <a:lnTo>
                    <a:pt x="2041" y="2446"/>
                  </a:lnTo>
                  <a:lnTo>
                    <a:pt x="2039" y="2434"/>
                  </a:lnTo>
                  <a:lnTo>
                    <a:pt x="2038" y="2422"/>
                  </a:lnTo>
                  <a:lnTo>
                    <a:pt x="2038" y="2409"/>
                  </a:lnTo>
                  <a:lnTo>
                    <a:pt x="2039" y="2383"/>
                  </a:lnTo>
                  <a:lnTo>
                    <a:pt x="2043" y="2356"/>
                  </a:lnTo>
                  <a:lnTo>
                    <a:pt x="2048" y="2330"/>
                  </a:lnTo>
                  <a:lnTo>
                    <a:pt x="2055" y="2303"/>
                  </a:lnTo>
                  <a:lnTo>
                    <a:pt x="2064" y="2279"/>
                  </a:lnTo>
                  <a:lnTo>
                    <a:pt x="2064" y="2279"/>
                  </a:lnTo>
                  <a:lnTo>
                    <a:pt x="2072" y="2306"/>
                  </a:lnTo>
                  <a:lnTo>
                    <a:pt x="2079" y="2335"/>
                  </a:lnTo>
                  <a:lnTo>
                    <a:pt x="2088" y="2362"/>
                  </a:lnTo>
                  <a:lnTo>
                    <a:pt x="2098" y="2390"/>
                  </a:lnTo>
                  <a:lnTo>
                    <a:pt x="2108" y="2417"/>
                  </a:lnTo>
                  <a:lnTo>
                    <a:pt x="2121" y="2443"/>
                  </a:lnTo>
                  <a:lnTo>
                    <a:pt x="2135" y="2469"/>
                  </a:lnTo>
                  <a:lnTo>
                    <a:pt x="2149" y="2494"/>
                  </a:lnTo>
                  <a:lnTo>
                    <a:pt x="2166" y="2519"/>
                  </a:lnTo>
                  <a:lnTo>
                    <a:pt x="2183" y="2541"/>
                  </a:lnTo>
                  <a:lnTo>
                    <a:pt x="2201" y="2563"/>
                  </a:lnTo>
                  <a:lnTo>
                    <a:pt x="2222" y="2583"/>
                  </a:lnTo>
                  <a:lnTo>
                    <a:pt x="2244" y="2603"/>
                  </a:lnTo>
                  <a:lnTo>
                    <a:pt x="2268" y="2619"/>
                  </a:lnTo>
                  <a:lnTo>
                    <a:pt x="2280" y="2627"/>
                  </a:lnTo>
                  <a:lnTo>
                    <a:pt x="2292" y="2634"/>
                  </a:lnTo>
                  <a:lnTo>
                    <a:pt x="2306" y="2641"/>
                  </a:lnTo>
                  <a:lnTo>
                    <a:pt x="2320" y="2648"/>
                  </a:lnTo>
                  <a:lnTo>
                    <a:pt x="2320" y="2648"/>
                  </a:lnTo>
                  <a:lnTo>
                    <a:pt x="2365" y="2667"/>
                  </a:lnTo>
                  <a:lnTo>
                    <a:pt x="2410" y="2685"/>
                  </a:lnTo>
                  <a:lnTo>
                    <a:pt x="2454" y="2702"/>
                  </a:lnTo>
                  <a:lnTo>
                    <a:pt x="2499" y="2718"/>
                  </a:lnTo>
                  <a:lnTo>
                    <a:pt x="2544" y="2733"/>
                  </a:lnTo>
                  <a:lnTo>
                    <a:pt x="2589" y="2749"/>
                  </a:lnTo>
                  <a:lnTo>
                    <a:pt x="2683" y="2778"/>
                  </a:lnTo>
                  <a:lnTo>
                    <a:pt x="2782" y="2807"/>
                  </a:lnTo>
                  <a:lnTo>
                    <a:pt x="2889" y="2838"/>
                  </a:lnTo>
                  <a:lnTo>
                    <a:pt x="3005" y="2872"/>
                  </a:lnTo>
                  <a:lnTo>
                    <a:pt x="3133" y="2908"/>
                  </a:lnTo>
                  <a:lnTo>
                    <a:pt x="3133" y="2908"/>
                  </a:lnTo>
                  <a:lnTo>
                    <a:pt x="3205" y="2931"/>
                  </a:lnTo>
                  <a:lnTo>
                    <a:pt x="3273" y="2954"/>
                  </a:lnTo>
                  <a:lnTo>
                    <a:pt x="3305" y="2966"/>
                  </a:lnTo>
                  <a:lnTo>
                    <a:pt x="3333" y="2977"/>
                  </a:lnTo>
                  <a:lnTo>
                    <a:pt x="3358" y="2987"/>
                  </a:lnTo>
                  <a:lnTo>
                    <a:pt x="3377" y="2996"/>
                  </a:lnTo>
                  <a:lnTo>
                    <a:pt x="3377" y="2996"/>
                  </a:lnTo>
                  <a:lnTo>
                    <a:pt x="3383" y="2999"/>
                  </a:lnTo>
                  <a:lnTo>
                    <a:pt x="3389" y="3003"/>
                  </a:lnTo>
                  <a:lnTo>
                    <a:pt x="3393" y="3006"/>
                  </a:lnTo>
                  <a:lnTo>
                    <a:pt x="3397" y="3011"/>
                  </a:lnTo>
                  <a:lnTo>
                    <a:pt x="3399" y="3015"/>
                  </a:lnTo>
                  <a:lnTo>
                    <a:pt x="3401" y="3020"/>
                  </a:lnTo>
                  <a:lnTo>
                    <a:pt x="3402" y="3024"/>
                  </a:lnTo>
                  <a:lnTo>
                    <a:pt x="3402" y="3028"/>
                  </a:lnTo>
                  <a:lnTo>
                    <a:pt x="3401" y="3037"/>
                  </a:lnTo>
                  <a:lnTo>
                    <a:pt x="3397" y="3046"/>
                  </a:lnTo>
                  <a:lnTo>
                    <a:pt x="3392" y="3055"/>
                  </a:lnTo>
                  <a:lnTo>
                    <a:pt x="3386" y="3064"/>
                  </a:lnTo>
                  <a:lnTo>
                    <a:pt x="3378" y="3072"/>
                  </a:lnTo>
                  <a:lnTo>
                    <a:pt x="3371" y="3080"/>
                  </a:lnTo>
                  <a:lnTo>
                    <a:pt x="3357" y="3092"/>
                  </a:lnTo>
                  <a:lnTo>
                    <a:pt x="3346" y="3102"/>
                  </a:lnTo>
                  <a:lnTo>
                    <a:pt x="3341" y="3105"/>
                  </a:lnTo>
                  <a:lnTo>
                    <a:pt x="3341" y="3105"/>
                  </a:lnTo>
                  <a:lnTo>
                    <a:pt x="3355" y="3113"/>
                  </a:lnTo>
                  <a:lnTo>
                    <a:pt x="3371" y="3121"/>
                  </a:lnTo>
                  <a:lnTo>
                    <a:pt x="3411" y="3139"/>
                  </a:lnTo>
                  <a:lnTo>
                    <a:pt x="3435" y="3152"/>
                  </a:lnTo>
                  <a:lnTo>
                    <a:pt x="3461" y="3167"/>
                  </a:lnTo>
                  <a:lnTo>
                    <a:pt x="3492" y="3186"/>
                  </a:lnTo>
                  <a:lnTo>
                    <a:pt x="3527" y="3211"/>
                  </a:lnTo>
                  <a:lnTo>
                    <a:pt x="3527" y="3211"/>
                  </a:lnTo>
                  <a:lnTo>
                    <a:pt x="3545" y="3226"/>
                  </a:lnTo>
                  <a:lnTo>
                    <a:pt x="3563" y="3244"/>
                  </a:lnTo>
                  <a:lnTo>
                    <a:pt x="3580" y="3263"/>
                  </a:lnTo>
                  <a:lnTo>
                    <a:pt x="3595" y="3284"/>
                  </a:lnTo>
                  <a:lnTo>
                    <a:pt x="3608" y="3305"/>
                  </a:lnTo>
                  <a:lnTo>
                    <a:pt x="3622" y="3329"/>
                  </a:lnTo>
                  <a:lnTo>
                    <a:pt x="3634" y="3352"/>
                  </a:lnTo>
                  <a:lnTo>
                    <a:pt x="3645" y="3378"/>
                  </a:lnTo>
                  <a:lnTo>
                    <a:pt x="3655" y="3404"/>
                  </a:lnTo>
                  <a:lnTo>
                    <a:pt x="3665" y="3432"/>
                  </a:lnTo>
                  <a:lnTo>
                    <a:pt x="3674" y="3460"/>
                  </a:lnTo>
                  <a:lnTo>
                    <a:pt x="3682" y="3489"/>
                  </a:lnTo>
                  <a:lnTo>
                    <a:pt x="3698" y="3549"/>
                  </a:lnTo>
                  <a:lnTo>
                    <a:pt x="3714" y="3612"/>
                  </a:lnTo>
                  <a:lnTo>
                    <a:pt x="3714" y="3612"/>
                  </a:lnTo>
                  <a:lnTo>
                    <a:pt x="3725" y="3662"/>
                  </a:lnTo>
                  <a:lnTo>
                    <a:pt x="3734" y="3715"/>
                  </a:lnTo>
                  <a:lnTo>
                    <a:pt x="3742" y="3768"/>
                  </a:lnTo>
                  <a:lnTo>
                    <a:pt x="3744" y="3795"/>
                  </a:lnTo>
                  <a:lnTo>
                    <a:pt x="3746" y="3819"/>
                  </a:lnTo>
                  <a:lnTo>
                    <a:pt x="3748" y="3844"/>
                  </a:lnTo>
                  <a:lnTo>
                    <a:pt x="3749" y="3867"/>
                  </a:lnTo>
                  <a:lnTo>
                    <a:pt x="3748" y="3889"/>
                  </a:lnTo>
                  <a:lnTo>
                    <a:pt x="3745" y="3909"/>
                  </a:lnTo>
                  <a:lnTo>
                    <a:pt x="3742" y="3928"/>
                  </a:lnTo>
                  <a:lnTo>
                    <a:pt x="3737" y="3944"/>
                  </a:lnTo>
                  <a:lnTo>
                    <a:pt x="3731" y="3957"/>
                  </a:lnTo>
                  <a:lnTo>
                    <a:pt x="3728" y="3963"/>
                  </a:lnTo>
                  <a:lnTo>
                    <a:pt x="3724" y="3969"/>
                  </a:lnTo>
                  <a:lnTo>
                    <a:pt x="3724" y="3969"/>
                  </a:lnTo>
                  <a:lnTo>
                    <a:pt x="3715" y="3979"/>
                  </a:lnTo>
                  <a:lnTo>
                    <a:pt x="3705" y="3989"/>
                  </a:lnTo>
                  <a:lnTo>
                    <a:pt x="3691" y="3998"/>
                  </a:lnTo>
                  <a:lnTo>
                    <a:pt x="3683" y="4003"/>
                  </a:lnTo>
                  <a:lnTo>
                    <a:pt x="3673" y="4008"/>
                  </a:lnTo>
                  <a:lnTo>
                    <a:pt x="3663" y="4014"/>
                  </a:lnTo>
                  <a:lnTo>
                    <a:pt x="3650" y="4019"/>
                  </a:lnTo>
                  <a:lnTo>
                    <a:pt x="3621" y="4028"/>
                  </a:lnTo>
                  <a:lnTo>
                    <a:pt x="3582" y="4038"/>
                  </a:lnTo>
                  <a:lnTo>
                    <a:pt x="3535" y="4048"/>
                  </a:lnTo>
                  <a:lnTo>
                    <a:pt x="3560" y="4171"/>
                  </a:lnTo>
                  <a:lnTo>
                    <a:pt x="3560" y="4171"/>
                  </a:lnTo>
                  <a:lnTo>
                    <a:pt x="3579" y="4172"/>
                  </a:lnTo>
                  <a:lnTo>
                    <a:pt x="3597" y="4172"/>
                  </a:lnTo>
                  <a:lnTo>
                    <a:pt x="3615" y="4171"/>
                  </a:lnTo>
                  <a:lnTo>
                    <a:pt x="3631" y="4169"/>
                  </a:lnTo>
                  <a:lnTo>
                    <a:pt x="3646" y="4167"/>
                  </a:lnTo>
                  <a:lnTo>
                    <a:pt x="3662" y="4164"/>
                  </a:lnTo>
                  <a:lnTo>
                    <a:pt x="3688" y="4157"/>
                  </a:lnTo>
                  <a:lnTo>
                    <a:pt x="3711" y="4150"/>
                  </a:lnTo>
                  <a:lnTo>
                    <a:pt x="3728" y="4143"/>
                  </a:lnTo>
                  <a:lnTo>
                    <a:pt x="3742" y="4137"/>
                  </a:lnTo>
                  <a:lnTo>
                    <a:pt x="3742" y="4137"/>
                  </a:lnTo>
                  <a:lnTo>
                    <a:pt x="3736" y="4143"/>
                  </a:lnTo>
                  <a:lnTo>
                    <a:pt x="3730" y="4151"/>
                  </a:lnTo>
                  <a:lnTo>
                    <a:pt x="3722" y="4161"/>
                  </a:lnTo>
                  <a:lnTo>
                    <a:pt x="3722" y="4161"/>
                  </a:lnTo>
                  <a:lnTo>
                    <a:pt x="3711" y="4177"/>
                  </a:lnTo>
                  <a:lnTo>
                    <a:pt x="3700" y="4194"/>
                  </a:lnTo>
                  <a:lnTo>
                    <a:pt x="3692" y="4209"/>
                  </a:lnTo>
                  <a:lnTo>
                    <a:pt x="3685" y="4224"/>
                  </a:lnTo>
                  <a:lnTo>
                    <a:pt x="3680" y="4240"/>
                  </a:lnTo>
                  <a:lnTo>
                    <a:pt x="3675" y="4257"/>
                  </a:lnTo>
                  <a:lnTo>
                    <a:pt x="3672" y="4274"/>
                  </a:lnTo>
                  <a:lnTo>
                    <a:pt x="3669" y="4295"/>
                  </a:lnTo>
                  <a:lnTo>
                    <a:pt x="3799" y="4379"/>
                  </a:lnTo>
                  <a:lnTo>
                    <a:pt x="3799" y="4379"/>
                  </a:lnTo>
                  <a:lnTo>
                    <a:pt x="3812" y="4338"/>
                  </a:lnTo>
                  <a:lnTo>
                    <a:pt x="3826" y="4298"/>
                  </a:lnTo>
                  <a:lnTo>
                    <a:pt x="3841" y="4262"/>
                  </a:lnTo>
                  <a:lnTo>
                    <a:pt x="3855" y="4229"/>
                  </a:lnTo>
                  <a:lnTo>
                    <a:pt x="3870" y="4202"/>
                  </a:lnTo>
                  <a:lnTo>
                    <a:pt x="3877" y="4189"/>
                  </a:lnTo>
                  <a:lnTo>
                    <a:pt x="3885" y="4179"/>
                  </a:lnTo>
                  <a:lnTo>
                    <a:pt x="3892" y="4170"/>
                  </a:lnTo>
                  <a:lnTo>
                    <a:pt x="3899" y="4163"/>
                  </a:lnTo>
                  <a:lnTo>
                    <a:pt x="3906" y="4158"/>
                  </a:lnTo>
                  <a:lnTo>
                    <a:pt x="3913" y="4154"/>
                  </a:lnTo>
                  <a:lnTo>
                    <a:pt x="3913" y="4154"/>
                  </a:lnTo>
                  <a:lnTo>
                    <a:pt x="3919" y="4152"/>
                  </a:lnTo>
                  <a:lnTo>
                    <a:pt x="3926" y="4152"/>
                  </a:lnTo>
                  <a:lnTo>
                    <a:pt x="3935" y="4152"/>
                  </a:lnTo>
                  <a:lnTo>
                    <a:pt x="3944" y="4153"/>
                  </a:lnTo>
                  <a:lnTo>
                    <a:pt x="3954" y="4155"/>
                  </a:lnTo>
                  <a:lnTo>
                    <a:pt x="3965" y="4157"/>
                  </a:lnTo>
                  <a:lnTo>
                    <a:pt x="3990" y="4166"/>
                  </a:lnTo>
                  <a:lnTo>
                    <a:pt x="4017" y="4177"/>
                  </a:lnTo>
                  <a:lnTo>
                    <a:pt x="4047" y="4192"/>
                  </a:lnTo>
                  <a:lnTo>
                    <a:pt x="4078" y="4212"/>
                  </a:lnTo>
                  <a:lnTo>
                    <a:pt x="4110" y="4233"/>
                  </a:lnTo>
                  <a:lnTo>
                    <a:pt x="4127" y="4246"/>
                  </a:lnTo>
                  <a:lnTo>
                    <a:pt x="4143" y="4259"/>
                  </a:lnTo>
                  <a:lnTo>
                    <a:pt x="4160" y="4273"/>
                  </a:lnTo>
                  <a:lnTo>
                    <a:pt x="4176" y="4288"/>
                  </a:lnTo>
                  <a:lnTo>
                    <a:pt x="4192" y="4303"/>
                  </a:lnTo>
                  <a:lnTo>
                    <a:pt x="4208" y="4319"/>
                  </a:lnTo>
                  <a:lnTo>
                    <a:pt x="4224" y="4337"/>
                  </a:lnTo>
                  <a:lnTo>
                    <a:pt x="4239" y="4355"/>
                  </a:lnTo>
                  <a:lnTo>
                    <a:pt x="4254" y="4373"/>
                  </a:lnTo>
                  <a:lnTo>
                    <a:pt x="4268" y="4393"/>
                  </a:lnTo>
                  <a:lnTo>
                    <a:pt x="4282" y="4413"/>
                  </a:lnTo>
                  <a:lnTo>
                    <a:pt x="4296" y="4435"/>
                  </a:lnTo>
                  <a:lnTo>
                    <a:pt x="4308" y="4456"/>
                  </a:lnTo>
                  <a:lnTo>
                    <a:pt x="4320" y="4479"/>
                  </a:lnTo>
                  <a:lnTo>
                    <a:pt x="4331" y="4502"/>
                  </a:lnTo>
                  <a:lnTo>
                    <a:pt x="4342" y="4527"/>
                  </a:lnTo>
                  <a:lnTo>
                    <a:pt x="4342" y="4527"/>
                  </a:lnTo>
                  <a:lnTo>
                    <a:pt x="4347" y="4541"/>
                  </a:lnTo>
                  <a:lnTo>
                    <a:pt x="4352" y="4558"/>
                  </a:lnTo>
                  <a:lnTo>
                    <a:pt x="4356" y="4574"/>
                  </a:lnTo>
                  <a:lnTo>
                    <a:pt x="4360" y="4591"/>
                  </a:lnTo>
                  <a:lnTo>
                    <a:pt x="4363" y="4610"/>
                  </a:lnTo>
                  <a:lnTo>
                    <a:pt x="4366" y="4628"/>
                  </a:lnTo>
                  <a:lnTo>
                    <a:pt x="4370" y="4667"/>
                  </a:lnTo>
                  <a:lnTo>
                    <a:pt x="4372" y="4706"/>
                  </a:lnTo>
                  <a:lnTo>
                    <a:pt x="4371" y="4747"/>
                  </a:lnTo>
                  <a:lnTo>
                    <a:pt x="4370" y="4767"/>
                  </a:lnTo>
                  <a:lnTo>
                    <a:pt x="4369" y="4787"/>
                  </a:lnTo>
                  <a:lnTo>
                    <a:pt x="4366" y="4807"/>
                  </a:lnTo>
                  <a:lnTo>
                    <a:pt x="4363" y="4826"/>
                  </a:lnTo>
                  <a:lnTo>
                    <a:pt x="4360" y="4846"/>
                  </a:lnTo>
                  <a:lnTo>
                    <a:pt x="4356" y="4864"/>
                  </a:lnTo>
                  <a:lnTo>
                    <a:pt x="4351" y="4883"/>
                  </a:lnTo>
                  <a:lnTo>
                    <a:pt x="4345" y="4900"/>
                  </a:lnTo>
                  <a:lnTo>
                    <a:pt x="4339" y="4917"/>
                  </a:lnTo>
                  <a:lnTo>
                    <a:pt x="4332" y="4933"/>
                  </a:lnTo>
                  <a:lnTo>
                    <a:pt x="4324" y="4948"/>
                  </a:lnTo>
                  <a:lnTo>
                    <a:pt x="4316" y="4962"/>
                  </a:lnTo>
                  <a:lnTo>
                    <a:pt x="4307" y="4976"/>
                  </a:lnTo>
                  <a:lnTo>
                    <a:pt x="4298" y="4988"/>
                  </a:lnTo>
                  <a:lnTo>
                    <a:pt x="4287" y="4999"/>
                  </a:lnTo>
                  <a:lnTo>
                    <a:pt x="4276" y="5008"/>
                  </a:lnTo>
                  <a:lnTo>
                    <a:pt x="4264" y="5017"/>
                  </a:lnTo>
                  <a:lnTo>
                    <a:pt x="4252" y="5024"/>
                  </a:lnTo>
                  <a:lnTo>
                    <a:pt x="4238" y="5029"/>
                  </a:lnTo>
                  <a:lnTo>
                    <a:pt x="4224" y="5032"/>
                  </a:lnTo>
                  <a:lnTo>
                    <a:pt x="4224" y="5032"/>
                  </a:lnTo>
                  <a:lnTo>
                    <a:pt x="4216" y="5033"/>
                  </a:lnTo>
                  <a:lnTo>
                    <a:pt x="4208" y="5033"/>
                  </a:lnTo>
                  <a:lnTo>
                    <a:pt x="4198" y="5032"/>
                  </a:lnTo>
                  <a:lnTo>
                    <a:pt x="4188" y="5030"/>
                  </a:lnTo>
                  <a:lnTo>
                    <a:pt x="4168" y="5025"/>
                  </a:lnTo>
                  <a:lnTo>
                    <a:pt x="4145" y="5017"/>
                  </a:lnTo>
                  <a:lnTo>
                    <a:pt x="4123" y="5006"/>
                  </a:lnTo>
                  <a:lnTo>
                    <a:pt x="4099" y="4995"/>
                  </a:lnTo>
                  <a:lnTo>
                    <a:pt x="4051" y="4973"/>
                  </a:lnTo>
                  <a:lnTo>
                    <a:pt x="4028" y="4961"/>
                  </a:lnTo>
                  <a:lnTo>
                    <a:pt x="4005" y="4952"/>
                  </a:lnTo>
                  <a:lnTo>
                    <a:pt x="3984" y="4945"/>
                  </a:lnTo>
                  <a:lnTo>
                    <a:pt x="3964" y="4940"/>
                  </a:lnTo>
                  <a:lnTo>
                    <a:pt x="3955" y="4939"/>
                  </a:lnTo>
                  <a:lnTo>
                    <a:pt x="3947" y="4938"/>
                  </a:lnTo>
                  <a:lnTo>
                    <a:pt x="3939" y="4939"/>
                  </a:lnTo>
                  <a:lnTo>
                    <a:pt x="3932" y="4940"/>
                  </a:lnTo>
                  <a:lnTo>
                    <a:pt x="3924" y="4943"/>
                  </a:lnTo>
                  <a:lnTo>
                    <a:pt x="3919" y="4947"/>
                  </a:lnTo>
                  <a:lnTo>
                    <a:pt x="3914" y="4952"/>
                  </a:lnTo>
                  <a:lnTo>
                    <a:pt x="3909" y="4958"/>
                  </a:lnTo>
                  <a:lnTo>
                    <a:pt x="3909" y="4958"/>
                  </a:lnTo>
                  <a:lnTo>
                    <a:pt x="3905" y="4965"/>
                  </a:lnTo>
                  <a:lnTo>
                    <a:pt x="3900" y="4973"/>
                  </a:lnTo>
                  <a:lnTo>
                    <a:pt x="3893" y="4979"/>
                  </a:lnTo>
                  <a:lnTo>
                    <a:pt x="3886" y="4985"/>
                  </a:lnTo>
                  <a:lnTo>
                    <a:pt x="3869" y="4996"/>
                  </a:lnTo>
                  <a:lnTo>
                    <a:pt x="3851" y="5006"/>
                  </a:lnTo>
                  <a:lnTo>
                    <a:pt x="3810" y="5028"/>
                  </a:lnTo>
                  <a:lnTo>
                    <a:pt x="3789" y="5039"/>
                  </a:lnTo>
                  <a:lnTo>
                    <a:pt x="3770" y="5052"/>
                  </a:lnTo>
                  <a:lnTo>
                    <a:pt x="3761" y="5058"/>
                  </a:lnTo>
                  <a:lnTo>
                    <a:pt x="3752" y="5067"/>
                  </a:lnTo>
                  <a:lnTo>
                    <a:pt x="3743" y="5074"/>
                  </a:lnTo>
                  <a:lnTo>
                    <a:pt x="3735" y="5083"/>
                  </a:lnTo>
                  <a:lnTo>
                    <a:pt x="3728" y="5092"/>
                  </a:lnTo>
                  <a:lnTo>
                    <a:pt x="3722" y="5102"/>
                  </a:lnTo>
                  <a:lnTo>
                    <a:pt x="3717" y="5113"/>
                  </a:lnTo>
                  <a:lnTo>
                    <a:pt x="3713" y="5125"/>
                  </a:lnTo>
                  <a:lnTo>
                    <a:pt x="3710" y="5137"/>
                  </a:lnTo>
                  <a:lnTo>
                    <a:pt x="3708" y="5151"/>
                  </a:lnTo>
                  <a:lnTo>
                    <a:pt x="3707" y="5165"/>
                  </a:lnTo>
                  <a:lnTo>
                    <a:pt x="3707" y="5181"/>
                  </a:lnTo>
                  <a:lnTo>
                    <a:pt x="3709" y="5198"/>
                  </a:lnTo>
                  <a:lnTo>
                    <a:pt x="3713" y="5215"/>
                  </a:lnTo>
                  <a:lnTo>
                    <a:pt x="3718" y="5234"/>
                  </a:lnTo>
                  <a:lnTo>
                    <a:pt x="3724" y="5255"/>
                  </a:lnTo>
                  <a:lnTo>
                    <a:pt x="3724" y="5255"/>
                  </a:lnTo>
                  <a:lnTo>
                    <a:pt x="3741" y="5234"/>
                  </a:lnTo>
                  <a:lnTo>
                    <a:pt x="3759" y="5213"/>
                  </a:lnTo>
                  <a:lnTo>
                    <a:pt x="3776" y="5194"/>
                  </a:lnTo>
                  <a:lnTo>
                    <a:pt x="3794" y="5178"/>
                  </a:lnTo>
                  <a:lnTo>
                    <a:pt x="3802" y="5171"/>
                  </a:lnTo>
                  <a:lnTo>
                    <a:pt x="3811" y="5165"/>
                  </a:lnTo>
                  <a:lnTo>
                    <a:pt x="3819" y="5159"/>
                  </a:lnTo>
                  <a:lnTo>
                    <a:pt x="3827" y="5155"/>
                  </a:lnTo>
                  <a:lnTo>
                    <a:pt x="3835" y="5153"/>
                  </a:lnTo>
                  <a:lnTo>
                    <a:pt x="3843" y="5151"/>
                  </a:lnTo>
                  <a:lnTo>
                    <a:pt x="3850" y="5151"/>
                  </a:lnTo>
                  <a:lnTo>
                    <a:pt x="3857" y="5153"/>
                  </a:lnTo>
                  <a:lnTo>
                    <a:pt x="3857" y="5153"/>
                  </a:lnTo>
                  <a:lnTo>
                    <a:pt x="3861" y="5155"/>
                  </a:lnTo>
                  <a:lnTo>
                    <a:pt x="3864" y="5157"/>
                  </a:lnTo>
                  <a:lnTo>
                    <a:pt x="3870" y="5163"/>
                  </a:lnTo>
                  <a:lnTo>
                    <a:pt x="3875" y="5171"/>
                  </a:lnTo>
                  <a:lnTo>
                    <a:pt x="3879" y="5179"/>
                  </a:lnTo>
                  <a:lnTo>
                    <a:pt x="3888" y="5200"/>
                  </a:lnTo>
                  <a:lnTo>
                    <a:pt x="3894" y="5210"/>
                  </a:lnTo>
                  <a:lnTo>
                    <a:pt x="3901" y="5220"/>
                  </a:lnTo>
                  <a:lnTo>
                    <a:pt x="3901" y="5220"/>
                  </a:lnTo>
                  <a:lnTo>
                    <a:pt x="3904" y="5223"/>
                  </a:lnTo>
                  <a:lnTo>
                    <a:pt x="3908" y="5225"/>
                  </a:lnTo>
                  <a:lnTo>
                    <a:pt x="3913" y="5227"/>
                  </a:lnTo>
                  <a:lnTo>
                    <a:pt x="3919" y="5228"/>
                  </a:lnTo>
                  <a:lnTo>
                    <a:pt x="3934" y="5230"/>
                  </a:lnTo>
                  <a:lnTo>
                    <a:pt x="3950" y="5230"/>
                  </a:lnTo>
                  <a:lnTo>
                    <a:pt x="3968" y="5229"/>
                  </a:lnTo>
                  <a:lnTo>
                    <a:pt x="3989" y="5227"/>
                  </a:lnTo>
                  <a:lnTo>
                    <a:pt x="4032" y="5223"/>
                  </a:lnTo>
                  <a:lnTo>
                    <a:pt x="4074" y="5219"/>
                  </a:lnTo>
                  <a:lnTo>
                    <a:pt x="4093" y="5217"/>
                  </a:lnTo>
                  <a:lnTo>
                    <a:pt x="4110" y="5217"/>
                  </a:lnTo>
                  <a:lnTo>
                    <a:pt x="4126" y="5217"/>
                  </a:lnTo>
                  <a:lnTo>
                    <a:pt x="4137" y="5219"/>
                  </a:lnTo>
                  <a:lnTo>
                    <a:pt x="4142" y="5221"/>
                  </a:lnTo>
                  <a:lnTo>
                    <a:pt x="4146" y="5223"/>
                  </a:lnTo>
                  <a:lnTo>
                    <a:pt x="4148" y="5225"/>
                  </a:lnTo>
                  <a:lnTo>
                    <a:pt x="4150" y="5228"/>
                  </a:lnTo>
                  <a:lnTo>
                    <a:pt x="4150" y="5228"/>
                  </a:lnTo>
                  <a:lnTo>
                    <a:pt x="4151" y="5231"/>
                  </a:lnTo>
                  <a:lnTo>
                    <a:pt x="4150" y="5234"/>
                  </a:lnTo>
                  <a:lnTo>
                    <a:pt x="4149" y="5236"/>
                  </a:lnTo>
                  <a:lnTo>
                    <a:pt x="4148" y="5238"/>
                  </a:lnTo>
                  <a:lnTo>
                    <a:pt x="4143" y="5242"/>
                  </a:lnTo>
                  <a:lnTo>
                    <a:pt x="4136" y="5243"/>
                  </a:lnTo>
                  <a:lnTo>
                    <a:pt x="4118" y="5246"/>
                  </a:lnTo>
                  <a:lnTo>
                    <a:pt x="4100" y="5248"/>
                  </a:lnTo>
                  <a:lnTo>
                    <a:pt x="4100" y="5248"/>
                  </a:lnTo>
                  <a:lnTo>
                    <a:pt x="4021" y="5262"/>
                  </a:lnTo>
                  <a:lnTo>
                    <a:pt x="3981" y="5269"/>
                  </a:lnTo>
                  <a:lnTo>
                    <a:pt x="3943" y="5277"/>
                  </a:lnTo>
                  <a:lnTo>
                    <a:pt x="3925" y="5282"/>
                  </a:lnTo>
                  <a:lnTo>
                    <a:pt x="3909" y="5288"/>
                  </a:lnTo>
                  <a:lnTo>
                    <a:pt x="3894" y="5294"/>
                  </a:lnTo>
                  <a:lnTo>
                    <a:pt x="3881" y="5300"/>
                  </a:lnTo>
                  <a:lnTo>
                    <a:pt x="3869" y="5306"/>
                  </a:lnTo>
                  <a:lnTo>
                    <a:pt x="3860" y="5314"/>
                  </a:lnTo>
                  <a:lnTo>
                    <a:pt x="3853" y="5322"/>
                  </a:lnTo>
                  <a:lnTo>
                    <a:pt x="3850" y="5326"/>
                  </a:lnTo>
                  <a:lnTo>
                    <a:pt x="3848" y="5331"/>
                  </a:lnTo>
                  <a:lnTo>
                    <a:pt x="3848" y="5331"/>
                  </a:lnTo>
                  <a:lnTo>
                    <a:pt x="3846" y="5338"/>
                  </a:lnTo>
                  <a:lnTo>
                    <a:pt x="3846" y="5342"/>
                  </a:lnTo>
                  <a:lnTo>
                    <a:pt x="3847" y="5352"/>
                  </a:lnTo>
                  <a:lnTo>
                    <a:pt x="3847" y="5357"/>
                  </a:lnTo>
                  <a:lnTo>
                    <a:pt x="3846" y="5363"/>
                  </a:lnTo>
                  <a:lnTo>
                    <a:pt x="3845" y="5371"/>
                  </a:lnTo>
                  <a:lnTo>
                    <a:pt x="3842" y="5382"/>
                  </a:lnTo>
                  <a:lnTo>
                    <a:pt x="3842" y="5382"/>
                  </a:lnTo>
                  <a:lnTo>
                    <a:pt x="3837" y="5393"/>
                  </a:lnTo>
                  <a:lnTo>
                    <a:pt x="3831" y="5402"/>
                  </a:lnTo>
                  <a:lnTo>
                    <a:pt x="3823" y="5410"/>
                  </a:lnTo>
                  <a:lnTo>
                    <a:pt x="3815" y="5418"/>
                  </a:lnTo>
                  <a:lnTo>
                    <a:pt x="3796" y="5434"/>
                  </a:lnTo>
                  <a:lnTo>
                    <a:pt x="3786" y="5442"/>
                  </a:lnTo>
                  <a:lnTo>
                    <a:pt x="3776" y="5451"/>
                  </a:lnTo>
                  <a:lnTo>
                    <a:pt x="3767" y="5460"/>
                  </a:lnTo>
                  <a:lnTo>
                    <a:pt x="3758" y="5472"/>
                  </a:lnTo>
                  <a:lnTo>
                    <a:pt x="3750" y="5485"/>
                  </a:lnTo>
                  <a:lnTo>
                    <a:pt x="3742" y="5499"/>
                  </a:lnTo>
                  <a:lnTo>
                    <a:pt x="3736" y="5517"/>
                  </a:lnTo>
                  <a:lnTo>
                    <a:pt x="3732" y="5536"/>
                  </a:lnTo>
                  <a:lnTo>
                    <a:pt x="3730" y="5558"/>
                  </a:lnTo>
                  <a:lnTo>
                    <a:pt x="3730" y="5584"/>
                  </a:lnTo>
                  <a:lnTo>
                    <a:pt x="3730" y="5584"/>
                  </a:lnTo>
                  <a:lnTo>
                    <a:pt x="3732" y="5597"/>
                  </a:lnTo>
                  <a:lnTo>
                    <a:pt x="3735" y="5610"/>
                  </a:lnTo>
                  <a:lnTo>
                    <a:pt x="3739" y="5622"/>
                  </a:lnTo>
                  <a:lnTo>
                    <a:pt x="3744" y="5634"/>
                  </a:lnTo>
                  <a:lnTo>
                    <a:pt x="3751" y="5644"/>
                  </a:lnTo>
                  <a:lnTo>
                    <a:pt x="3757" y="5656"/>
                  </a:lnTo>
                  <a:lnTo>
                    <a:pt x="3763" y="5665"/>
                  </a:lnTo>
                  <a:lnTo>
                    <a:pt x="3770" y="5674"/>
                  </a:lnTo>
                  <a:lnTo>
                    <a:pt x="3784" y="5689"/>
                  </a:lnTo>
                  <a:lnTo>
                    <a:pt x="3797" y="5701"/>
                  </a:lnTo>
                  <a:lnTo>
                    <a:pt x="3807" y="5708"/>
                  </a:lnTo>
                  <a:lnTo>
                    <a:pt x="3810" y="5710"/>
                  </a:lnTo>
                  <a:lnTo>
                    <a:pt x="3813" y="5711"/>
                  </a:lnTo>
                  <a:lnTo>
                    <a:pt x="3813" y="5711"/>
                  </a:lnTo>
                  <a:lnTo>
                    <a:pt x="3814" y="5710"/>
                  </a:lnTo>
                  <a:lnTo>
                    <a:pt x="3815" y="5709"/>
                  </a:lnTo>
                  <a:lnTo>
                    <a:pt x="3816" y="5704"/>
                  </a:lnTo>
                  <a:lnTo>
                    <a:pt x="3818" y="5696"/>
                  </a:lnTo>
                  <a:lnTo>
                    <a:pt x="3818" y="5686"/>
                  </a:lnTo>
                  <a:lnTo>
                    <a:pt x="3820" y="5662"/>
                  </a:lnTo>
                  <a:lnTo>
                    <a:pt x="3823" y="5633"/>
                  </a:lnTo>
                  <a:lnTo>
                    <a:pt x="3825" y="5619"/>
                  </a:lnTo>
                  <a:lnTo>
                    <a:pt x="3828" y="5603"/>
                  </a:lnTo>
                  <a:lnTo>
                    <a:pt x="3831" y="5590"/>
                  </a:lnTo>
                  <a:lnTo>
                    <a:pt x="3836" y="5577"/>
                  </a:lnTo>
                  <a:lnTo>
                    <a:pt x="3843" y="5566"/>
                  </a:lnTo>
                  <a:lnTo>
                    <a:pt x="3847" y="5562"/>
                  </a:lnTo>
                  <a:lnTo>
                    <a:pt x="3851" y="5556"/>
                  </a:lnTo>
                  <a:lnTo>
                    <a:pt x="3855" y="5553"/>
                  </a:lnTo>
                  <a:lnTo>
                    <a:pt x="3860" y="5550"/>
                  </a:lnTo>
                  <a:lnTo>
                    <a:pt x="3865" y="5547"/>
                  </a:lnTo>
                  <a:lnTo>
                    <a:pt x="3871" y="5546"/>
                  </a:lnTo>
                  <a:lnTo>
                    <a:pt x="3871" y="5546"/>
                  </a:lnTo>
                  <a:lnTo>
                    <a:pt x="3877" y="5545"/>
                  </a:lnTo>
                  <a:lnTo>
                    <a:pt x="3882" y="5546"/>
                  </a:lnTo>
                  <a:lnTo>
                    <a:pt x="3888" y="5548"/>
                  </a:lnTo>
                  <a:lnTo>
                    <a:pt x="3892" y="5552"/>
                  </a:lnTo>
                  <a:lnTo>
                    <a:pt x="3902" y="5561"/>
                  </a:lnTo>
                  <a:lnTo>
                    <a:pt x="3911" y="5571"/>
                  </a:lnTo>
                  <a:lnTo>
                    <a:pt x="3921" y="5581"/>
                  </a:lnTo>
                  <a:lnTo>
                    <a:pt x="3926" y="5586"/>
                  </a:lnTo>
                  <a:lnTo>
                    <a:pt x="3933" y="5590"/>
                  </a:lnTo>
                  <a:lnTo>
                    <a:pt x="3940" y="5594"/>
                  </a:lnTo>
                  <a:lnTo>
                    <a:pt x="3946" y="5597"/>
                  </a:lnTo>
                  <a:lnTo>
                    <a:pt x="3954" y="5598"/>
                  </a:lnTo>
                  <a:lnTo>
                    <a:pt x="3962" y="5599"/>
                  </a:lnTo>
                  <a:lnTo>
                    <a:pt x="3962" y="5599"/>
                  </a:lnTo>
                  <a:lnTo>
                    <a:pt x="3970" y="5598"/>
                  </a:lnTo>
                  <a:lnTo>
                    <a:pt x="3979" y="5595"/>
                  </a:lnTo>
                  <a:lnTo>
                    <a:pt x="3987" y="5592"/>
                  </a:lnTo>
                  <a:lnTo>
                    <a:pt x="3996" y="5588"/>
                  </a:lnTo>
                  <a:lnTo>
                    <a:pt x="4005" y="5582"/>
                  </a:lnTo>
                  <a:lnTo>
                    <a:pt x="4014" y="5576"/>
                  </a:lnTo>
                  <a:lnTo>
                    <a:pt x="4035" y="5559"/>
                  </a:lnTo>
                  <a:lnTo>
                    <a:pt x="4055" y="5542"/>
                  </a:lnTo>
                  <a:lnTo>
                    <a:pt x="4077" y="5522"/>
                  </a:lnTo>
                  <a:lnTo>
                    <a:pt x="4122" y="5479"/>
                  </a:lnTo>
                  <a:lnTo>
                    <a:pt x="4144" y="5457"/>
                  </a:lnTo>
                  <a:lnTo>
                    <a:pt x="4166" y="5437"/>
                  </a:lnTo>
                  <a:lnTo>
                    <a:pt x="4187" y="5417"/>
                  </a:lnTo>
                  <a:lnTo>
                    <a:pt x="4208" y="5402"/>
                  </a:lnTo>
                  <a:lnTo>
                    <a:pt x="4227" y="5389"/>
                  </a:lnTo>
                  <a:lnTo>
                    <a:pt x="4236" y="5384"/>
                  </a:lnTo>
                  <a:lnTo>
                    <a:pt x="4245" y="5380"/>
                  </a:lnTo>
                  <a:lnTo>
                    <a:pt x="4254" y="5376"/>
                  </a:lnTo>
                  <a:lnTo>
                    <a:pt x="4262" y="5374"/>
                  </a:lnTo>
                  <a:lnTo>
                    <a:pt x="4270" y="5374"/>
                  </a:lnTo>
                  <a:lnTo>
                    <a:pt x="4277" y="5375"/>
                  </a:lnTo>
                  <a:lnTo>
                    <a:pt x="4277" y="5375"/>
                  </a:lnTo>
                  <a:lnTo>
                    <a:pt x="4278" y="5376"/>
                  </a:lnTo>
                  <a:lnTo>
                    <a:pt x="4279" y="5379"/>
                  </a:lnTo>
                  <a:lnTo>
                    <a:pt x="4278" y="5382"/>
                  </a:lnTo>
                  <a:lnTo>
                    <a:pt x="4277" y="5384"/>
                  </a:lnTo>
                  <a:lnTo>
                    <a:pt x="4272" y="5391"/>
                  </a:lnTo>
                  <a:lnTo>
                    <a:pt x="4264" y="5399"/>
                  </a:lnTo>
                  <a:lnTo>
                    <a:pt x="4241" y="5420"/>
                  </a:lnTo>
                  <a:lnTo>
                    <a:pt x="4212" y="5447"/>
                  </a:lnTo>
                  <a:lnTo>
                    <a:pt x="4181" y="5477"/>
                  </a:lnTo>
                  <a:lnTo>
                    <a:pt x="4167" y="5492"/>
                  </a:lnTo>
                  <a:lnTo>
                    <a:pt x="4152" y="5508"/>
                  </a:lnTo>
                  <a:lnTo>
                    <a:pt x="4140" y="5525"/>
                  </a:lnTo>
                  <a:lnTo>
                    <a:pt x="4129" y="5542"/>
                  </a:lnTo>
                  <a:lnTo>
                    <a:pt x="4121" y="5558"/>
                  </a:lnTo>
                  <a:lnTo>
                    <a:pt x="4118" y="5567"/>
                  </a:lnTo>
                  <a:lnTo>
                    <a:pt x="4116" y="5576"/>
                  </a:lnTo>
                  <a:lnTo>
                    <a:pt x="4116" y="5576"/>
                  </a:lnTo>
                  <a:lnTo>
                    <a:pt x="4114" y="5588"/>
                  </a:lnTo>
                  <a:lnTo>
                    <a:pt x="4114" y="5599"/>
                  </a:lnTo>
                  <a:lnTo>
                    <a:pt x="4115" y="5611"/>
                  </a:lnTo>
                  <a:lnTo>
                    <a:pt x="4119" y="5620"/>
                  </a:lnTo>
                  <a:lnTo>
                    <a:pt x="4123" y="5628"/>
                  </a:lnTo>
                  <a:lnTo>
                    <a:pt x="4129" y="5636"/>
                  </a:lnTo>
                  <a:lnTo>
                    <a:pt x="4135" y="5643"/>
                  </a:lnTo>
                  <a:lnTo>
                    <a:pt x="4142" y="5649"/>
                  </a:lnTo>
                  <a:lnTo>
                    <a:pt x="4157" y="5663"/>
                  </a:lnTo>
                  <a:lnTo>
                    <a:pt x="4163" y="5669"/>
                  </a:lnTo>
                  <a:lnTo>
                    <a:pt x="4169" y="5676"/>
                  </a:lnTo>
                  <a:lnTo>
                    <a:pt x="4175" y="5683"/>
                  </a:lnTo>
                  <a:lnTo>
                    <a:pt x="4179" y="5690"/>
                  </a:lnTo>
                  <a:lnTo>
                    <a:pt x="4182" y="5699"/>
                  </a:lnTo>
                  <a:lnTo>
                    <a:pt x="4183" y="5708"/>
                  </a:lnTo>
                  <a:lnTo>
                    <a:pt x="4183" y="5708"/>
                  </a:lnTo>
                  <a:lnTo>
                    <a:pt x="4184" y="5718"/>
                  </a:lnTo>
                  <a:lnTo>
                    <a:pt x="4186" y="5729"/>
                  </a:lnTo>
                  <a:lnTo>
                    <a:pt x="4189" y="5738"/>
                  </a:lnTo>
                  <a:lnTo>
                    <a:pt x="4193" y="5749"/>
                  </a:lnTo>
                  <a:lnTo>
                    <a:pt x="4198" y="5758"/>
                  </a:lnTo>
                  <a:lnTo>
                    <a:pt x="4205" y="5767"/>
                  </a:lnTo>
                  <a:lnTo>
                    <a:pt x="4212" y="5775"/>
                  </a:lnTo>
                  <a:lnTo>
                    <a:pt x="4220" y="5783"/>
                  </a:lnTo>
                  <a:lnTo>
                    <a:pt x="4228" y="5792"/>
                  </a:lnTo>
                  <a:lnTo>
                    <a:pt x="4237" y="5799"/>
                  </a:lnTo>
                  <a:lnTo>
                    <a:pt x="4257" y="5812"/>
                  </a:lnTo>
                  <a:lnTo>
                    <a:pt x="4278" y="5824"/>
                  </a:lnTo>
                  <a:lnTo>
                    <a:pt x="4300" y="5835"/>
                  </a:lnTo>
                  <a:lnTo>
                    <a:pt x="4322" y="5844"/>
                  </a:lnTo>
                  <a:lnTo>
                    <a:pt x="4344" y="5852"/>
                  </a:lnTo>
                  <a:lnTo>
                    <a:pt x="4364" y="5857"/>
                  </a:lnTo>
                  <a:lnTo>
                    <a:pt x="4382" y="5862"/>
                  </a:lnTo>
                  <a:lnTo>
                    <a:pt x="4399" y="5864"/>
                  </a:lnTo>
                  <a:lnTo>
                    <a:pt x="4412" y="5865"/>
                  </a:lnTo>
                  <a:lnTo>
                    <a:pt x="4421" y="5865"/>
                  </a:lnTo>
                  <a:lnTo>
                    <a:pt x="4424" y="5864"/>
                  </a:lnTo>
                  <a:lnTo>
                    <a:pt x="4426" y="5863"/>
                  </a:lnTo>
                  <a:lnTo>
                    <a:pt x="4426" y="5863"/>
                  </a:lnTo>
                  <a:lnTo>
                    <a:pt x="4427" y="5861"/>
                  </a:lnTo>
                  <a:lnTo>
                    <a:pt x="4427" y="5859"/>
                  </a:lnTo>
                  <a:lnTo>
                    <a:pt x="4425" y="5853"/>
                  </a:lnTo>
                  <a:lnTo>
                    <a:pt x="4420" y="5846"/>
                  </a:lnTo>
                  <a:lnTo>
                    <a:pt x="4412" y="5836"/>
                  </a:lnTo>
                  <a:lnTo>
                    <a:pt x="4393" y="5813"/>
                  </a:lnTo>
                  <a:lnTo>
                    <a:pt x="4369" y="5786"/>
                  </a:lnTo>
                  <a:lnTo>
                    <a:pt x="4358" y="5773"/>
                  </a:lnTo>
                  <a:lnTo>
                    <a:pt x="4348" y="5759"/>
                  </a:lnTo>
                  <a:lnTo>
                    <a:pt x="4339" y="5745"/>
                  </a:lnTo>
                  <a:lnTo>
                    <a:pt x="4330" y="5731"/>
                  </a:lnTo>
                  <a:lnTo>
                    <a:pt x="4325" y="5718"/>
                  </a:lnTo>
                  <a:lnTo>
                    <a:pt x="4324" y="5712"/>
                  </a:lnTo>
                  <a:lnTo>
                    <a:pt x="4323" y="5706"/>
                  </a:lnTo>
                  <a:lnTo>
                    <a:pt x="4323" y="5700"/>
                  </a:lnTo>
                  <a:lnTo>
                    <a:pt x="4324" y="5694"/>
                  </a:lnTo>
                  <a:lnTo>
                    <a:pt x="4326" y="5689"/>
                  </a:lnTo>
                  <a:lnTo>
                    <a:pt x="4329" y="5684"/>
                  </a:lnTo>
                  <a:lnTo>
                    <a:pt x="4329" y="5684"/>
                  </a:lnTo>
                  <a:lnTo>
                    <a:pt x="4333" y="5680"/>
                  </a:lnTo>
                  <a:lnTo>
                    <a:pt x="4337" y="5677"/>
                  </a:lnTo>
                  <a:lnTo>
                    <a:pt x="4343" y="5676"/>
                  </a:lnTo>
                  <a:lnTo>
                    <a:pt x="4347" y="5675"/>
                  </a:lnTo>
                  <a:lnTo>
                    <a:pt x="4352" y="5675"/>
                  </a:lnTo>
                  <a:lnTo>
                    <a:pt x="4358" y="5676"/>
                  </a:lnTo>
                  <a:lnTo>
                    <a:pt x="4370" y="5678"/>
                  </a:lnTo>
                  <a:lnTo>
                    <a:pt x="4384" y="5681"/>
                  </a:lnTo>
                  <a:lnTo>
                    <a:pt x="4392" y="5682"/>
                  </a:lnTo>
                  <a:lnTo>
                    <a:pt x="4399" y="5682"/>
                  </a:lnTo>
                  <a:lnTo>
                    <a:pt x="4408" y="5682"/>
                  </a:lnTo>
                  <a:lnTo>
                    <a:pt x="4416" y="5681"/>
                  </a:lnTo>
                  <a:lnTo>
                    <a:pt x="4425" y="5679"/>
                  </a:lnTo>
                  <a:lnTo>
                    <a:pt x="4436" y="5675"/>
                  </a:lnTo>
                  <a:lnTo>
                    <a:pt x="4436" y="5675"/>
                  </a:lnTo>
                  <a:lnTo>
                    <a:pt x="4437" y="5673"/>
                  </a:lnTo>
                  <a:lnTo>
                    <a:pt x="4438" y="5670"/>
                  </a:lnTo>
                  <a:lnTo>
                    <a:pt x="4438" y="5663"/>
                  </a:lnTo>
                  <a:lnTo>
                    <a:pt x="4436" y="5652"/>
                  </a:lnTo>
                  <a:lnTo>
                    <a:pt x="4434" y="5637"/>
                  </a:lnTo>
                  <a:lnTo>
                    <a:pt x="4431" y="5621"/>
                  </a:lnTo>
                  <a:lnTo>
                    <a:pt x="4428" y="5602"/>
                  </a:lnTo>
                  <a:lnTo>
                    <a:pt x="4426" y="5581"/>
                  </a:lnTo>
                  <a:lnTo>
                    <a:pt x="4426" y="5557"/>
                  </a:lnTo>
                  <a:lnTo>
                    <a:pt x="4428" y="5533"/>
                  </a:lnTo>
                  <a:lnTo>
                    <a:pt x="4431" y="5520"/>
                  </a:lnTo>
                  <a:lnTo>
                    <a:pt x="4434" y="5505"/>
                  </a:lnTo>
                  <a:lnTo>
                    <a:pt x="4437" y="5492"/>
                  </a:lnTo>
                  <a:lnTo>
                    <a:pt x="4441" y="5477"/>
                  </a:lnTo>
                  <a:lnTo>
                    <a:pt x="4446" y="5462"/>
                  </a:lnTo>
                  <a:lnTo>
                    <a:pt x="4453" y="5447"/>
                  </a:lnTo>
                  <a:lnTo>
                    <a:pt x="4460" y="5432"/>
                  </a:lnTo>
                  <a:lnTo>
                    <a:pt x="4469" y="5416"/>
                  </a:lnTo>
                  <a:lnTo>
                    <a:pt x="4479" y="5400"/>
                  </a:lnTo>
                  <a:lnTo>
                    <a:pt x="4490" y="5384"/>
                  </a:lnTo>
                  <a:lnTo>
                    <a:pt x="4503" y="5367"/>
                  </a:lnTo>
                  <a:lnTo>
                    <a:pt x="4516" y="5351"/>
                  </a:lnTo>
                  <a:lnTo>
                    <a:pt x="4533" y="5334"/>
                  </a:lnTo>
                  <a:lnTo>
                    <a:pt x="4550" y="5317"/>
                  </a:lnTo>
                  <a:lnTo>
                    <a:pt x="4550" y="5317"/>
                  </a:lnTo>
                  <a:lnTo>
                    <a:pt x="4557" y="5328"/>
                  </a:lnTo>
                  <a:lnTo>
                    <a:pt x="4566" y="5340"/>
                  </a:lnTo>
                  <a:lnTo>
                    <a:pt x="4578" y="5353"/>
                  </a:lnTo>
                  <a:lnTo>
                    <a:pt x="4586" y="5360"/>
                  </a:lnTo>
                  <a:lnTo>
                    <a:pt x="4594" y="5367"/>
                  </a:lnTo>
                  <a:lnTo>
                    <a:pt x="4603" y="5373"/>
                  </a:lnTo>
                  <a:lnTo>
                    <a:pt x="4614" y="5381"/>
                  </a:lnTo>
                  <a:lnTo>
                    <a:pt x="4624" y="5386"/>
                  </a:lnTo>
                  <a:lnTo>
                    <a:pt x="4636" y="5390"/>
                  </a:lnTo>
                  <a:lnTo>
                    <a:pt x="4648" y="5394"/>
                  </a:lnTo>
                  <a:lnTo>
                    <a:pt x="4662" y="5396"/>
                  </a:lnTo>
                  <a:lnTo>
                    <a:pt x="4662" y="5396"/>
                  </a:lnTo>
                  <a:lnTo>
                    <a:pt x="4668" y="5397"/>
                  </a:lnTo>
                  <a:lnTo>
                    <a:pt x="4673" y="5399"/>
                  </a:lnTo>
                  <a:lnTo>
                    <a:pt x="4677" y="5402"/>
                  </a:lnTo>
                  <a:lnTo>
                    <a:pt x="4681" y="5405"/>
                  </a:lnTo>
                  <a:lnTo>
                    <a:pt x="4685" y="5409"/>
                  </a:lnTo>
                  <a:lnTo>
                    <a:pt x="4688" y="5413"/>
                  </a:lnTo>
                  <a:lnTo>
                    <a:pt x="4692" y="5425"/>
                  </a:lnTo>
                  <a:lnTo>
                    <a:pt x="4696" y="5437"/>
                  </a:lnTo>
                  <a:lnTo>
                    <a:pt x="4698" y="5450"/>
                  </a:lnTo>
                  <a:lnTo>
                    <a:pt x="4698" y="5463"/>
                  </a:lnTo>
                  <a:lnTo>
                    <a:pt x="4698" y="5478"/>
                  </a:lnTo>
                  <a:lnTo>
                    <a:pt x="4696" y="5506"/>
                  </a:lnTo>
                  <a:lnTo>
                    <a:pt x="4694" y="5531"/>
                  </a:lnTo>
                  <a:lnTo>
                    <a:pt x="4692" y="5548"/>
                  </a:lnTo>
                  <a:lnTo>
                    <a:pt x="4692" y="5553"/>
                  </a:lnTo>
                  <a:lnTo>
                    <a:pt x="4693" y="5554"/>
                  </a:lnTo>
                  <a:lnTo>
                    <a:pt x="4694" y="5554"/>
                  </a:lnTo>
                  <a:lnTo>
                    <a:pt x="4694" y="5554"/>
                  </a:lnTo>
                  <a:lnTo>
                    <a:pt x="4697" y="5553"/>
                  </a:lnTo>
                  <a:lnTo>
                    <a:pt x="4702" y="5550"/>
                  </a:lnTo>
                  <a:lnTo>
                    <a:pt x="4708" y="5545"/>
                  </a:lnTo>
                  <a:lnTo>
                    <a:pt x="4714" y="5538"/>
                  </a:lnTo>
                  <a:lnTo>
                    <a:pt x="4721" y="5529"/>
                  </a:lnTo>
                  <a:lnTo>
                    <a:pt x="4729" y="5519"/>
                  </a:lnTo>
                  <a:lnTo>
                    <a:pt x="4736" y="5505"/>
                  </a:lnTo>
                  <a:lnTo>
                    <a:pt x="4743" y="5492"/>
                  </a:lnTo>
                  <a:lnTo>
                    <a:pt x="4751" y="5477"/>
                  </a:lnTo>
                  <a:lnTo>
                    <a:pt x="4758" y="5459"/>
                  </a:lnTo>
                  <a:lnTo>
                    <a:pt x="4763" y="5442"/>
                  </a:lnTo>
                  <a:lnTo>
                    <a:pt x="4768" y="5422"/>
                  </a:lnTo>
                  <a:lnTo>
                    <a:pt x="4771" y="5402"/>
                  </a:lnTo>
                  <a:lnTo>
                    <a:pt x="4773" y="5382"/>
                  </a:lnTo>
                  <a:lnTo>
                    <a:pt x="4772" y="5360"/>
                  </a:lnTo>
                  <a:lnTo>
                    <a:pt x="4770" y="5338"/>
                  </a:lnTo>
                  <a:lnTo>
                    <a:pt x="4770" y="5338"/>
                  </a:lnTo>
                  <a:lnTo>
                    <a:pt x="4778" y="5330"/>
                  </a:lnTo>
                  <a:lnTo>
                    <a:pt x="4798" y="5313"/>
                  </a:lnTo>
                  <a:lnTo>
                    <a:pt x="4809" y="5302"/>
                  </a:lnTo>
                  <a:lnTo>
                    <a:pt x="4819" y="5290"/>
                  </a:lnTo>
                  <a:lnTo>
                    <a:pt x="4827" y="5276"/>
                  </a:lnTo>
                  <a:lnTo>
                    <a:pt x="4830" y="5270"/>
                  </a:lnTo>
                  <a:lnTo>
                    <a:pt x="4832" y="5264"/>
                  </a:lnTo>
                  <a:lnTo>
                    <a:pt x="4832" y="5264"/>
                  </a:lnTo>
                  <a:lnTo>
                    <a:pt x="4834" y="5255"/>
                  </a:lnTo>
                  <a:lnTo>
                    <a:pt x="4835" y="5246"/>
                  </a:lnTo>
                  <a:lnTo>
                    <a:pt x="4836" y="5237"/>
                  </a:lnTo>
                  <a:lnTo>
                    <a:pt x="4835" y="5230"/>
                  </a:lnTo>
                  <a:lnTo>
                    <a:pt x="4834" y="5224"/>
                  </a:lnTo>
                  <a:lnTo>
                    <a:pt x="4832" y="5218"/>
                  </a:lnTo>
                  <a:lnTo>
                    <a:pt x="4830" y="5213"/>
                  </a:lnTo>
                  <a:lnTo>
                    <a:pt x="4827" y="5208"/>
                  </a:lnTo>
                  <a:lnTo>
                    <a:pt x="4819" y="5199"/>
                  </a:lnTo>
                  <a:lnTo>
                    <a:pt x="4810" y="5189"/>
                  </a:lnTo>
                  <a:lnTo>
                    <a:pt x="4800" y="5180"/>
                  </a:lnTo>
                  <a:lnTo>
                    <a:pt x="4789" y="5169"/>
                  </a:lnTo>
                  <a:lnTo>
                    <a:pt x="4778" y="5156"/>
                  </a:lnTo>
                  <a:lnTo>
                    <a:pt x="4772" y="5148"/>
                  </a:lnTo>
                  <a:lnTo>
                    <a:pt x="4767" y="5139"/>
                  </a:lnTo>
                  <a:lnTo>
                    <a:pt x="4762" y="5130"/>
                  </a:lnTo>
                  <a:lnTo>
                    <a:pt x="4757" y="5120"/>
                  </a:lnTo>
                  <a:lnTo>
                    <a:pt x="4753" y="5108"/>
                  </a:lnTo>
                  <a:lnTo>
                    <a:pt x="4749" y="5095"/>
                  </a:lnTo>
                  <a:lnTo>
                    <a:pt x="4744" y="5081"/>
                  </a:lnTo>
                  <a:lnTo>
                    <a:pt x="4741" y="5065"/>
                  </a:lnTo>
                  <a:lnTo>
                    <a:pt x="4738" y="5048"/>
                  </a:lnTo>
                  <a:lnTo>
                    <a:pt x="4736" y="5029"/>
                  </a:lnTo>
                  <a:lnTo>
                    <a:pt x="4735" y="5008"/>
                  </a:lnTo>
                  <a:lnTo>
                    <a:pt x="4734" y="4986"/>
                  </a:lnTo>
                  <a:lnTo>
                    <a:pt x="4734" y="4961"/>
                  </a:lnTo>
                  <a:lnTo>
                    <a:pt x="4735" y="4935"/>
                  </a:lnTo>
                  <a:lnTo>
                    <a:pt x="4735" y="4935"/>
                  </a:lnTo>
                  <a:lnTo>
                    <a:pt x="4735" y="4917"/>
                  </a:lnTo>
                  <a:lnTo>
                    <a:pt x="4734" y="4911"/>
                  </a:lnTo>
                  <a:lnTo>
                    <a:pt x="4733" y="4906"/>
                  </a:lnTo>
                  <a:lnTo>
                    <a:pt x="4731" y="4901"/>
                  </a:lnTo>
                  <a:lnTo>
                    <a:pt x="4729" y="4897"/>
                  </a:lnTo>
                  <a:lnTo>
                    <a:pt x="4727" y="4894"/>
                  </a:lnTo>
                  <a:lnTo>
                    <a:pt x="4724" y="4891"/>
                  </a:lnTo>
                  <a:lnTo>
                    <a:pt x="4716" y="4885"/>
                  </a:lnTo>
                  <a:lnTo>
                    <a:pt x="4706" y="4878"/>
                  </a:lnTo>
                  <a:lnTo>
                    <a:pt x="4693" y="4868"/>
                  </a:lnTo>
                  <a:lnTo>
                    <a:pt x="4679" y="4856"/>
                  </a:lnTo>
                  <a:lnTo>
                    <a:pt x="4679" y="4856"/>
                  </a:lnTo>
                  <a:lnTo>
                    <a:pt x="4671" y="4846"/>
                  </a:lnTo>
                  <a:lnTo>
                    <a:pt x="4664" y="4836"/>
                  </a:lnTo>
                  <a:lnTo>
                    <a:pt x="4659" y="4825"/>
                  </a:lnTo>
                  <a:lnTo>
                    <a:pt x="4655" y="4815"/>
                  </a:lnTo>
                  <a:lnTo>
                    <a:pt x="4654" y="4807"/>
                  </a:lnTo>
                  <a:lnTo>
                    <a:pt x="4654" y="4804"/>
                  </a:lnTo>
                  <a:lnTo>
                    <a:pt x="4654" y="4802"/>
                  </a:lnTo>
                  <a:lnTo>
                    <a:pt x="4657" y="4800"/>
                  </a:lnTo>
                  <a:lnTo>
                    <a:pt x="4659" y="4799"/>
                  </a:lnTo>
                  <a:lnTo>
                    <a:pt x="4661" y="4799"/>
                  </a:lnTo>
                  <a:lnTo>
                    <a:pt x="4665" y="4800"/>
                  </a:lnTo>
                  <a:lnTo>
                    <a:pt x="4665" y="4800"/>
                  </a:lnTo>
                  <a:lnTo>
                    <a:pt x="4679" y="4806"/>
                  </a:lnTo>
                  <a:lnTo>
                    <a:pt x="4693" y="4810"/>
                  </a:lnTo>
                  <a:lnTo>
                    <a:pt x="4708" y="4813"/>
                  </a:lnTo>
                  <a:lnTo>
                    <a:pt x="4723" y="4814"/>
                  </a:lnTo>
                  <a:lnTo>
                    <a:pt x="4737" y="4815"/>
                  </a:lnTo>
                  <a:lnTo>
                    <a:pt x="4752" y="4816"/>
                  </a:lnTo>
                  <a:lnTo>
                    <a:pt x="4765" y="4815"/>
                  </a:lnTo>
                  <a:lnTo>
                    <a:pt x="4778" y="4814"/>
                  </a:lnTo>
                  <a:lnTo>
                    <a:pt x="4802" y="4811"/>
                  </a:lnTo>
                  <a:lnTo>
                    <a:pt x="4819" y="4807"/>
                  </a:lnTo>
                  <a:lnTo>
                    <a:pt x="4835" y="4803"/>
                  </a:lnTo>
                  <a:lnTo>
                    <a:pt x="4835" y="4803"/>
                  </a:lnTo>
                  <a:lnTo>
                    <a:pt x="4844" y="4707"/>
                  </a:lnTo>
                  <a:lnTo>
                    <a:pt x="4849" y="4632"/>
                  </a:lnTo>
                  <a:lnTo>
                    <a:pt x="4851" y="4577"/>
                  </a:lnTo>
                  <a:lnTo>
                    <a:pt x="4851" y="4539"/>
                  </a:lnTo>
                  <a:lnTo>
                    <a:pt x="4849" y="4514"/>
                  </a:lnTo>
                  <a:lnTo>
                    <a:pt x="4847" y="4499"/>
                  </a:lnTo>
                  <a:lnTo>
                    <a:pt x="4845" y="4493"/>
                  </a:lnTo>
                  <a:lnTo>
                    <a:pt x="4844" y="4491"/>
                  </a:lnTo>
                  <a:lnTo>
                    <a:pt x="4844" y="4491"/>
                  </a:lnTo>
                  <a:lnTo>
                    <a:pt x="4825" y="4492"/>
                  </a:lnTo>
                  <a:lnTo>
                    <a:pt x="4808" y="4491"/>
                  </a:lnTo>
                  <a:lnTo>
                    <a:pt x="4791" y="4490"/>
                  </a:lnTo>
                  <a:lnTo>
                    <a:pt x="4776" y="4489"/>
                  </a:lnTo>
                  <a:lnTo>
                    <a:pt x="4763" y="4487"/>
                  </a:lnTo>
                  <a:lnTo>
                    <a:pt x="4750" y="4484"/>
                  </a:lnTo>
                  <a:lnTo>
                    <a:pt x="4737" y="4481"/>
                  </a:lnTo>
                  <a:lnTo>
                    <a:pt x="4726" y="4477"/>
                  </a:lnTo>
                  <a:lnTo>
                    <a:pt x="4716" y="4473"/>
                  </a:lnTo>
                  <a:lnTo>
                    <a:pt x="4707" y="4469"/>
                  </a:lnTo>
                  <a:lnTo>
                    <a:pt x="4698" y="4463"/>
                  </a:lnTo>
                  <a:lnTo>
                    <a:pt x="4690" y="4458"/>
                  </a:lnTo>
                  <a:lnTo>
                    <a:pt x="4683" y="4452"/>
                  </a:lnTo>
                  <a:lnTo>
                    <a:pt x="4676" y="4447"/>
                  </a:lnTo>
                  <a:lnTo>
                    <a:pt x="4665" y="4434"/>
                  </a:lnTo>
                  <a:lnTo>
                    <a:pt x="4665" y="4434"/>
                  </a:lnTo>
                  <a:lnTo>
                    <a:pt x="4677" y="4437"/>
                  </a:lnTo>
                  <a:lnTo>
                    <a:pt x="4690" y="4439"/>
                  </a:lnTo>
                  <a:lnTo>
                    <a:pt x="4717" y="4441"/>
                  </a:lnTo>
                  <a:lnTo>
                    <a:pt x="4742" y="4441"/>
                  </a:lnTo>
                  <a:lnTo>
                    <a:pt x="4768" y="4439"/>
                  </a:lnTo>
                  <a:lnTo>
                    <a:pt x="4790" y="4435"/>
                  </a:lnTo>
                  <a:lnTo>
                    <a:pt x="4812" y="4429"/>
                  </a:lnTo>
                  <a:lnTo>
                    <a:pt x="4821" y="4426"/>
                  </a:lnTo>
                  <a:lnTo>
                    <a:pt x="4829" y="4422"/>
                  </a:lnTo>
                  <a:lnTo>
                    <a:pt x="4838" y="4416"/>
                  </a:lnTo>
                  <a:lnTo>
                    <a:pt x="4844" y="4412"/>
                  </a:lnTo>
                  <a:lnTo>
                    <a:pt x="4844" y="4412"/>
                  </a:lnTo>
                  <a:lnTo>
                    <a:pt x="4843" y="4364"/>
                  </a:lnTo>
                  <a:lnTo>
                    <a:pt x="4841" y="4316"/>
                  </a:lnTo>
                  <a:lnTo>
                    <a:pt x="4838" y="4261"/>
                  </a:lnTo>
                  <a:lnTo>
                    <a:pt x="4833" y="4206"/>
                  </a:lnTo>
                  <a:lnTo>
                    <a:pt x="4831" y="4181"/>
                  </a:lnTo>
                  <a:lnTo>
                    <a:pt x="4828" y="4159"/>
                  </a:lnTo>
                  <a:lnTo>
                    <a:pt x="4825" y="4140"/>
                  </a:lnTo>
                  <a:lnTo>
                    <a:pt x="4822" y="4126"/>
                  </a:lnTo>
                  <a:lnTo>
                    <a:pt x="4820" y="4121"/>
                  </a:lnTo>
                  <a:lnTo>
                    <a:pt x="4818" y="4118"/>
                  </a:lnTo>
                  <a:lnTo>
                    <a:pt x="4816" y="4116"/>
                  </a:lnTo>
                  <a:lnTo>
                    <a:pt x="4814" y="4116"/>
                  </a:lnTo>
                  <a:lnTo>
                    <a:pt x="4814" y="4116"/>
                  </a:lnTo>
                  <a:lnTo>
                    <a:pt x="4786" y="4123"/>
                  </a:lnTo>
                  <a:lnTo>
                    <a:pt x="4760" y="4128"/>
                  </a:lnTo>
                  <a:lnTo>
                    <a:pt x="4746" y="4129"/>
                  </a:lnTo>
                  <a:lnTo>
                    <a:pt x="4734" y="4130"/>
                  </a:lnTo>
                  <a:lnTo>
                    <a:pt x="4722" y="4130"/>
                  </a:lnTo>
                  <a:lnTo>
                    <a:pt x="4711" y="4129"/>
                  </a:lnTo>
                  <a:lnTo>
                    <a:pt x="4698" y="4127"/>
                  </a:lnTo>
                  <a:lnTo>
                    <a:pt x="4687" y="4125"/>
                  </a:lnTo>
                  <a:lnTo>
                    <a:pt x="4675" y="4122"/>
                  </a:lnTo>
                  <a:lnTo>
                    <a:pt x="4664" y="4118"/>
                  </a:lnTo>
                  <a:lnTo>
                    <a:pt x="4652" y="4113"/>
                  </a:lnTo>
                  <a:lnTo>
                    <a:pt x="4640" y="4108"/>
                  </a:lnTo>
                  <a:lnTo>
                    <a:pt x="4629" y="4100"/>
                  </a:lnTo>
                  <a:lnTo>
                    <a:pt x="4618" y="4093"/>
                  </a:lnTo>
                  <a:lnTo>
                    <a:pt x="4618" y="4093"/>
                  </a:lnTo>
                  <a:lnTo>
                    <a:pt x="4613" y="4090"/>
                  </a:lnTo>
                  <a:lnTo>
                    <a:pt x="4608" y="4086"/>
                  </a:lnTo>
                  <a:lnTo>
                    <a:pt x="4602" y="4078"/>
                  </a:lnTo>
                  <a:lnTo>
                    <a:pt x="4597" y="4069"/>
                  </a:lnTo>
                  <a:lnTo>
                    <a:pt x="4594" y="4059"/>
                  </a:lnTo>
                  <a:lnTo>
                    <a:pt x="4592" y="4047"/>
                  </a:lnTo>
                  <a:lnTo>
                    <a:pt x="4591" y="4037"/>
                  </a:lnTo>
                  <a:lnTo>
                    <a:pt x="4590" y="4015"/>
                  </a:lnTo>
                  <a:lnTo>
                    <a:pt x="4589" y="3993"/>
                  </a:lnTo>
                  <a:lnTo>
                    <a:pt x="4587" y="3984"/>
                  </a:lnTo>
                  <a:lnTo>
                    <a:pt x="4585" y="3976"/>
                  </a:lnTo>
                  <a:lnTo>
                    <a:pt x="4581" y="3969"/>
                  </a:lnTo>
                  <a:lnTo>
                    <a:pt x="4575" y="3962"/>
                  </a:lnTo>
                  <a:lnTo>
                    <a:pt x="4571" y="3959"/>
                  </a:lnTo>
                  <a:lnTo>
                    <a:pt x="4567" y="3957"/>
                  </a:lnTo>
                  <a:lnTo>
                    <a:pt x="4561" y="3956"/>
                  </a:lnTo>
                  <a:lnTo>
                    <a:pt x="4556" y="3955"/>
                  </a:lnTo>
                  <a:lnTo>
                    <a:pt x="4556" y="3955"/>
                  </a:lnTo>
                  <a:lnTo>
                    <a:pt x="4534" y="3948"/>
                  </a:lnTo>
                  <a:lnTo>
                    <a:pt x="4511" y="3941"/>
                  </a:lnTo>
                  <a:lnTo>
                    <a:pt x="4489" y="3933"/>
                  </a:lnTo>
                  <a:lnTo>
                    <a:pt x="4468" y="3923"/>
                  </a:lnTo>
                  <a:lnTo>
                    <a:pt x="4448" y="3913"/>
                  </a:lnTo>
                  <a:lnTo>
                    <a:pt x="4428" y="3902"/>
                  </a:lnTo>
                  <a:lnTo>
                    <a:pt x="4410" y="3892"/>
                  </a:lnTo>
                  <a:lnTo>
                    <a:pt x="4394" y="3881"/>
                  </a:lnTo>
                  <a:lnTo>
                    <a:pt x="4377" y="3869"/>
                  </a:lnTo>
                  <a:lnTo>
                    <a:pt x="4363" y="3859"/>
                  </a:lnTo>
                  <a:lnTo>
                    <a:pt x="4337" y="3839"/>
                  </a:lnTo>
                  <a:lnTo>
                    <a:pt x="4318" y="3820"/>
                  </a:lnTo>
                  <a:lnTo>
                    <a:pt x="4306" y="3805"/>
                  </a:lnTo>
                  <a:lnTo>
                    <a:pt x="4306" y="3805"/>
                  </a:lnTo>
                  <a:lnTo>
                    <a:pt x="4297" y="3793"/>
                  </a:lnTo>
                  <a:lnTo>
                    <a:pt x="4288" y="3780"/>
                  </a:lnTo>
                  <a:lnTo>
                    <a:pt x="4282" y="3769"/>
                  </a:lnTo>
                  <a:lnTo>
                    <a:pt x="4277" y="3758"/>
                  </a:lnTo>
                  <a:lnTo>
                    <a:pt x="4273" y="3748"/>
                  </a:lnTo>
                  <a:lnTo>
                    <a:pt x="4270" y="3739"/>
                  </a:lnTo>
                  <a:lnTo>
                    <a:pt x="4266" y="3722"/>
                  </a:lnTo>
                  <a:lnTo>
                    <a:pt x="4265" y="3709"/>
                  </a:lnTo>
                  <a:lnTo>
                    <a:pt x="4265" y="3699"/>
                  </a:lnTo>
                  <a:lnTo>
                    <a:pt x="4266" y="3690"/>
                  </a:lnTo>
                  <a:lnTo>
                    <a:pt x="4266" y="3690"/>
                  </a:lnTo>
                  <a:lnTo>
                    <a:pt x="4284" y="3700"/>
                  </a:lnTo>
                  <a:lnTo>
                    <a:pt x="4302" y="3706"/>
                  </a:lnTo>
                  <a:lnTo>
                    <a:pt x="4321" y="3711"/>
                  </a:lnTo>
                  <a:lnTo>
                    <a:pt x="4340" y="3714"/>
                  </a:lnTo>
                  <a:lnTo>
                    <a:pt x="4358" y="3716"/>
                  </a:lnTo>
                  <a:lnTo>
                    <a:pt x="4377" y="3715"/>
                  </a:lnTo>
                  <a:lnTo>
                    <a:pt x="4396" y="3712"/>
                  </a:lnTo>
                  <a:lnTo>
                    <a:pt x="4414" y="3708"/>
                  </a:lnTo>
                  <a:lnTo>
                    <a:pt x="4434" y="3468"/>
                  </a:lnTo>
                  <a:lnTo>
                    <a:pt x="4434" y="3468"/>
                  </a:lnTo>
                  <a:lnTo>
                    <a:pt x="4425" y="3467"/>
                  </a:lnTo>
                  <a:lnTo>
                    <a:pt x="4405" y="3464"/>
                  </a:lnTo>
                  <a:lnTo>
                    <a:pt x="4392" y="3461"/>
                  </a:lnTo>
                  <a:lnTo>
                    <a:pt x="4377" y="3457"/>
                  </a:lnTo>
                  <a:lnTo>
                    <a:pt x="4362" y="3453"/>
                  </a:lnTo>
                  <a:lnTo>
                    <a:pt x="4348" y="3447"/>
                  </a:lnTo>
                  <a:lnTo>
                    <a:pt x="4348" y="3447"/>
                  </a:lnTo>
                  <a:lnTo>
                    <a:pt x="4339" y="3443"/>
                  </a:lnTo>
                  <a:lnTo>
                    <a:pt x="4331" y="3438"/>
                  </a:lnTo>
                  <a:lnTo>
                    <a:pt x="4323" y="3432"/>
                  </a:lnTo>
                  <a:lnTo>
                    <a:pt x="4316" y="3426"/>
                  </a:lnTo>
                  <a:lnTo>
                    <a:pt x="4302" y="3412"/>
                  </a:lnTo>
                  <a:lnTo>
                    <a:pt x="4289" y="3399"/>
                  </a:lnTo>
                  <a:lnTo>
                    <a:pt x="4280" y="3386"/>
                  </a:lnTo>
                  <a:lnTo>
                    <a:pt x="4273" y="3376"/>
                  </a:lnTo>
                  <a:lnTo>
                    <a:pt x="4267" y="3366"/>
                  </a:lnTo>
                  <a:lnTo>
                    <a:pt x="4267" y="3366"/>
                  </a:lnTo>
                  <a:lnTo>
                    <a:pt x="4274" y="3369"/>
                  </a:lnTo>
                  <a:lnTo>
                    <a:pt x="4293" y="3377"/>
                  </a:lnTo>
                  <a:lnTo>
                    <a:pt x="4321" y="3385"/>
                  </a:lnTo>
                  <a:lnTo>
                    <a:pt x="4339" y="3389"/>
                  </a:lnTo>
                  <a:lnTo>
                    <a:pt x="4356" y="3392"/>
                  </a:lnTo>
                  <a:lnTo>
                    <a:pt x="4356" y="3392"/>
                  </a:lnTo>
                  <a:lnTo>
                    <a:pt x="4375" y="3394"/>
                  </a:lnTo>
                  <a:lnTo>
                    <a:pt x="4392" y="3395"/>
                  </a:lnTo>
                  <a:lnTo>
                    <a:pt x="4407" y="3393"/>
                  </a:lnTo>
                  <a:lnTo>
                    <a:pt x="4419" y="3391"/>
                  </a:lnTo>
                  <a:lnTo>
                    <a:pt x="4430" y="3389"/>
                  </a:lnTo>
                  <a:lnTo>
                    <a:pt x="4438" y="3387"/>
                  </a:lnTo>
                  <a:lnTo>
                    <a:pt x="4444" y="3384"/>
                  </a:lnTo>
                  <a:lnTo>
                    <a:pt x="4477" y="3113"/>
                  </a:lnTo>
                  <a:lnTo>
                    <a:pt x="4477" y="3113"/>
                  </a:lnTo>
                  <a:lnTo>
                    <a:pt x="4451" y="3114"/>
                  </a:lnTo>
                  <a:lnTo>
                    <a:pt x="4427" y="3113"/>
                  </a:lnTo>
                  <a:lnTo>
                    <a:pt x="4408" y="3111"/>
                  </a:lnTo>
                  <a:lnTo>
                    <a:pt x="4392" y="3106"/>
                  </a:lnTo>
                  <a:lnTo>
                    <a:pt x="4377" y="3100"/>
                  </a:lnTo>
                  <a:lnTo>
                    <a:pt x="4365" y="3093"/>
                  </a:lnTo>
                  <a:lnTo>
                    <a:pt x="4356" y="3085"/>
                  </a:lnTo>
                  <a:lnTo>
                    <a:pt x="4348" y="3077"/>
                  </a:lnTo>
                  <a:lnTo>
                    <a:pt x="4343" y="3069"/>
                  </a:lnTo>
                  <a:lnTo>
                    <a:pt x="4337" y="3060"/>
                  </a:lnTo>
                  <a:lnTo>
                    <a:pt x="4335" y="3051"/>
                  </a:lnTo>
                  <a:lnTo>
                    <a:pt x="4333" y="3043"/>
                  </a:lnTo>
                  <a:lnTo>
                    <a:pt x="4332" y="3035"/>
                  </a:lnTo>
                  <a:lnTo>
                    <a:pt x="4331" y="3029"/>
                  </a:lnTo>
                  <a:lnTo>
                    <a:pt x="4332" y="3020"/>
                  </a:lnTo>
                  <a:lnTo>
                    <a:pt x="4332" y="3020"/>
                  </a:lnTo>
                  <a:lnTo>
                    <a:pt x="4357" y="3015"/>
                  </a:lnTo>
                  <a:lnTo>
                    <a:pt x="4381" y="3009"/>
                  </a:lnTo>
                  <a:lnTo>
                    <a:pt x="4405" y="3001"/>
                  </a:lnTo>
                  <a:lnTo>
                    <a:pt x="4428" y="2994"/>
                  </a:lnTo>
                  <a:lnTo>
                    <a:pt x="4451" y="2985"/>
                  </a:lnTo>
                  <a:lnTo>
                    <a:pt x="4473" y="2975"/>
                  </a:lnTo>
                  <a:lnTo>
                    <a:pt x="4495" y="2964"/>
                  </a:lnTo>
                  <a:lnTo>
                    <a:pt x="4515" y="2951"/>
                  </a:lnTo>
                  <a:lnTo>
                    <a:pt x="4536" y="2939"/>
                  </a:lnTo>
                  <a:lnTo>
                    <a:pt x="4555" y="2926"/>
                  </a:lnTo>
                  <a:lnTo>
                    <a:pt x="4574" y="2911"/>
                  </a:lnTo>
                  <a:lnTo>
                    <a:pt x="4592" y="2896"/>
                  </a:lnTo>
                  <a:lnTo>
                    <a:pt x="4609" y="2881"/>
                  </a:lnTo>
                  <a:lnTo>
                    <a:pt x="4627" y="2864"/>
                  </a:lnTo>
                  <a:lnTo>
                    <a:pt x="4642" y="2848"/>
                  </a:lnTo>
                  <a:lnTo>
                    <a:pt x="4659" y="2831"/>
                  </a:lnTo>
                  <a:lnTo>
                    <a:pt x="4673" y="2812"/>
                  </a:lnTo>
                  <a:lnTo>
                    <a:pt x="4688" y="2794"/>
                  </a:lnTo>
                  <a:lnTo>
                    <a:pt x="4702" y="2775"/>
                  </a:lnTo>
                  <a:lnTo>
                    <a:pt x="4715" y="2756"/>
                  </a:lnTo>
                  <a:lnTo>
                    <a:pt x="4727" y="2737"/>
                  </a:lnTo>
                  <a:lnTo>
                    <a:pt x="4738" y="2717"/>
                  </a:lnTo>
                  <a:lnTo>
                    <a:pt x="4750" y="2698"/>
                  </a:lnTo>
                  <a:lnTo>
                    <a:pt x="4760" y="2677"/>
                  </a:lnTo>
                  <a:lnTo>
                    <a:pt x="4770" y="2657"/>
                  </a:lnTo>
                  <a:lnTo>
                    <a:pt x="4779" y="2636"/>
                  </a:lnTo>
                  <a:lnTo>
                    <a:pt x="4787" y="2616"/>
                  </a:lnTo>
                  <a:lnTo>
                    <a:pt x="4796" y="2595"/>
                  </a:lnTo>
                  <a:lnTo>
                    <a:pt x="4803" y="2575"/>
                  </a:lnTo>
                  <a:lnTo>
                    <a:pt x="4809" y="2555"/>
                  </a:lnTo>
                  <a:lnTo>
                    <a:pt x="4815" y="2534"/>
                  </a:lnTo>
                  <a:lnTo>
                    <a:pt x="4820" y="2515"/>
                  </a:lnTo>
                  <a:lnTo>
                    <a:pt x="4820" y="2515"/>
                  </a:lnTo>
                  <a:lnTo>
                    <a:pt x="4831" y="2521"/>
                  </a:lnTo>
                  <a:lnTo>
                    <a:pt x="4847" y="2527"/>
                  </a:lnTo>
                  <a:lnTo>
                    <a:pt x="4864" y="2533"/>
                  </a:lnTo>
                  <a:lnTo>
                    <a:pt x="4882" y="2538"/>
                  </a:lnTo>
                  <a:lnTo>
                    <a:pt x="4903" y="2541"/>
                  </a:lnTo>
                  <a:lnTo>
                    <a:pt x="4913" y="2542"/>
                  </a:lnTo>
                  <a:lnTo>
                    <a:pt x="4923" y="2543"/>
                  </a:lnTo>
                  <a:lnTo>
                    <a:pt x="4935" y="2542"/>
                  </a:lnTo>
                  <a:lnTo>
                    <a:pt x="4945" y="2541"/>
                  </a:lnTo>
                  <a:lnTo>
                    <a:pt x="4955" y="2539"/>
                  </a:lnTo>
                  <a:lnTo>
                    <a:pt x="4965" y="2536"/>
                  </a:lnTo>
                  <a:lnTo>
                    <a:pt x="4965" y="2536"/>
                  </a:lnTo>
                  <a:lnTo>
                    <a:pt x="4967" y="2508"/>
                  </a:lnTo>
                  <a:lnTo>
                    <a:pt x="4970" y="2441"/>
                  </a:lnTo>
                  <a:lnTo>
                    <a:pt x="4972" y="2405"/>
                  </a:lnTo>
                  <a:lnTo>
                    <a:pt x="4973" y="2371"/>
                  </a:lnTo>
                  <a:lnTo>
                    <a:pt x="4972" y="2343"/>
                  </a:lnTo>
                  <a:lnTo>
                    <a:pt x="4972" y="2333"/>
                  </a:lnTo>
                  <a:lnTo>
                    <a:pt x="4970" y="2327"/>
                  </a:lnTo>
                  <a:lnTo>
                    <a:pt x="4970" y="2327"/>
                  </a:lnTo>
                  <a:lnTo>
                    <a:pt x="4955" y="2325"/>
                  </a:lnTo>
                  <a:lnTo>
                    <a:pt x="4938" y="2322"/>
                  </a:lnTo>
                  <a:lnTo>
                    <a:pt x="4919" y="2317"/>
                  </a:lnTo>
                  <a:lnTo>
                    <a:pt x="4911" y="2314"/>
                  </a:lnTo>
                  <a:lnTo>
                    <a:pt x="4902" y="2311"/>
                  </a:lnTo>
                  <a:lnTo>
                    <a:pt x="4893" y="2306"/>
                  </a:lnTo>
                  <a:lnTo>
                    <a:pt x="4885" y="2302"/>
                  </a:lnTo>
                  <a:lnTo>
                    <a:pt x="4876" y="2296"/>
                  </a:lnTo>
                  <a:lnTo>
                    <a:pt x="4868" y="2289"/>
                  </a:lnTo>
                  <a:lnTo>
                    <a:pt x="4861" y="2282"/>
                  </a:lnTo>
                  <a:lnTo>
                    <a:pt x="4854" y="2273"/>
                  </a:lnTo>
                  <a:lnTo>
                    <a:pt x="4848" y="2264"/>
                  </a:lnTo>
                  <a:lnTo>
                    <a:pt x="4842" y="22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3618130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 ja sisältö Teema pieni yläkul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6"/>
          <p:cNvSpPr>
            <a:spLocks/>
          </p:cNvSpPr>
          <p:nvPr userDrawn="1"/>
        </p:nvSpPr>
        <p:spPr bwMode="auto">
          <a:xfrm>
            <a:off x="10634133" y="1"/>
            <a:ext cx="1557867" cy="1756833"/>
          </a:xfrm>
          <a:custGeom>
            <a:avLst/>
            <a:gdLst>
              <a:gd name="T0" fmla="*/ 548 w 736"/>
              <a:gd name="T1" fmla="*/ 713 h 830"/>
              <a:gd name="T2" fmla="*/ 548 w 736"/>
              <a:gd name="T3" fmla="*/ 713 h 830"/>
              <a:gd name="T4" fmla="*/ 594 w 736"/>
              <a:gd name="T5" fmla="*/ 745 h 830"/>
              <a:gd name="T6" fmla="*/ 640 w 736"/>
              <a:gd name="T7" fmla="*/ 775 h 830"/>
              <a:gd name="T8" fmla="*/ 688 w 736"/>
              <a:gd name="T9" fmla="*/ 803 h 830"/>
              <a:gd name="T10" fmla="*/ 736 w 736"/>
              <a:gd name="T11" fmla="*/ 830 h 830"/>
              <a:gd name="T12" fmla="*/ 736 w 736"/>
              <a:gd name="T13" fmla="*/ 0 h 830"/>
              <a:gd name="T14" fmla="*/ 0 w 736"/>
              <a:gd name="T15" fmla="*/ 0 h 830"/>
              <a:gd name="T16" fmla="*/ 0 w 736"/>
              <a:gd name="T17" fmla="*/ 0 h 830"/>
              <a:gd name="T18" fmla="*/ 22 w 736"/>
              <a:gd name="T19" fmla="*/ 55 h 830"/>
              <a:gd name="T20" fmla="*/ 46 w 736"/>
              <a:gd name="T21" fmla="*/ 108 h 830"/>
              <a:gd name="T22" fmla="*/ 72 w 736"/>
              <a:gd name="T23" fmla="*/ 161 h 830"/>
              <a:gd name="T24" fmla="*/ 100 w 736"/>
              <a:gd name="T25" fmla="*/ 211 h 830"/>
              <a:gd name="T26" fmla="*/ 129 w 736"/>
              <a:gd name="T27" fmla="*/ 261 h 830"/>
              <a:gd name="T28" fmla="*/ 160 w 736"/>
              <a:gd name="T29" fmla="*/ 309 h 830"/>
              <a:gd name="T30" fmla="*/ 192 w 736"/>
              <a:gd name="T31" fmla="*/ 357 h 830"/>
              <a:gd name="T32" fmla="*/ 226 w 736"/>
              <a:gd name="T33" fmla="*/ 402 h 830"/>
              <a:gd name="T34" fmla="*/ 262 w 736"/>
              <a:gd name="T35" fmla="*/ 445 h 830"/>
              <a:gd name="T36" fmla="*/ 298 w 736"/>
              <a:gd name="T37" fmla="*/ 488 h 830"/>
              <a:gd name="T38" fmla="*/ 338 w 736"/>
              <a:gd name="T39" fmla="*/ 530 h 830"/>
              <a:gd name="T40" fmla="*/ 377 w 736"/>
              <a:gd name="T41" fmla="*/ 569 h 830"/>
              <a:gd name="T42" fmla="*/ 418 w 736"/>
              <a:gd name="T43" fmla="*/ 607 h 830"/>
              <a:gd name="T44" fmla="*/ 460 w 736"/>
              <a:gd name="T45" fmla="*/ 645 h 830"/>
              <a:gd name="T46" fmla="*/ 503 w 736"/>
              <a:gd name="T47" fmla="*/ 679 h 830"/>
              <a:gd name="T48" fmla="*/ 548 w 736"/>
              <a:gd name="T49" fmla="*/ 713 h 830"/>
              <a:gd name="T50" fmla="*/ 548 w 736"/>
              <a:gd name="T51" fmla="*/ 713 h 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736" h="830">
                <a:moveTo>
                  <a:pt x="548" y="713"/>
                </a:moveTo>
                <a:lnTo>
                  <a:pt x="548" y="713"/>
                </a:lnTo>
                <a:lnTo>
                  <a:pt x="594" y="745"/>
                </a:lnTo>
                <a:lnTo>
                  <a:pt x="640" y="775"/>
                </a:lnTo>
                <a:lnTo>
                  <a:pt x="688" y="803"/>
                </a:lnTo>
                <a:lnTo>
                  <a:pt x="736" y="830"/>
                </a:lnTo>
                <a:lnTo>
                  <a:pt x="736" y="0"/>
                </a:lnTo>
                <a:lnTo>
                  <a:pt x="0" y="0"/>
                </a:lnTo>
                <a:lnTo>
                  <a:pt x="0" y="0"/>
                </a:lnTo>
                <a:lnTo>
                  <a:pt x="22" y="55"/>
                </a:lnTo>
                <a:lnTo>
                  <a:pt x="46" y="108"/>
                </a:lnTo>
                <a:lnTo>
                  <a:pt x="72" y="161"/>
                </a:lnTo>
                <a:lnTo>
                  <a:pt x="100" y="211"/>
                </a:lnTo>
                <a:lnTo>
                  <a:pt x="129" y="261"/>
                </a:lnTo>
                <a:lnTo>
                  <a:pt x="160" y="309"/>
                </a:lnTo>
                <a:lnTo>
                  <a:pt x="192" y="357"/>
                </a:lnTo>
                <a:lnTo>
                  <a:pt x="226" y="402"/>
                </a:lnTo>
                <a:lnTo>
                  <a:pt x="262" y="445"/>
                </a:lnTo>
                <a:lnTo>
                  <a:pt x="298" y="488"/>
                </a:lnTo>
                <a:lnTo>
                  <a:pt x="338" y="530"/>
                </a:lnTo>
                <a:lnTo>
                  <a:pt x="377" y="569"/>
                </a:lnTo>
                <a:lnTo>
                  <a:pt x="418" y="607"/>
                </a:lnTo>
                <a:lnTo>
                  <a:pt x="460" y="645"/>
                </a:lnTo>
                <a:lnTo>
                  <a:pt x="503" y="679"/>
                </a:lnTo>
                <a:lnTo>
                  <a:pt x="548" y="713"/>
                </a:lnTo>
                <a:lnTo>
                  <a:pt x="548" y="713"/>
                </a:lnTo>
                <a:close/>
              </a:path>
            </a:pathLst>
          </a:custGeom>
          <a:solidFill>
            <a:srgbClr val="80D3CF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 dirty="0"/>
          </a:p>
        </p:txBody>
      </p:sp>
      <p:sp>
        <p:nvSpPr>
          <p:cNvPr id="3" name="Sisällön paikkamerkki 2"/>
          <p:cNvSpPr>
            <a:spLocks noGrp="1"/>
          </p:cNvSpPr>
          <p:nvPr userDrawn="1">
            <p:ph idx="1"/>
          </p:nvPr>
        </p:nvSpPr>
        <p:spPr>
          <a:xfrm>
            <a:off x="577047" y="1881330"/>
            <a:ext cx="10319487" cy="4524001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8" name="Otsikko 7"/>
          <p:cNvSpPr>
            <a:spLocks noGrp="1"/>
          </p:cNvSpPr>
          <p:nvPr userDrawn="1">
            <p:ph type="title"/>
          </p:nvPr>
        </p:nvSpPr>
        <p:spPr>
          <a:xfrm>
            <a:off x="577047" y="313787"/>
            <a:ext cx="10319487" cy="1299027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3" name="Alatunnisteen paikkamerkki 4"/>
          <p:cNvSpPr>
            <a:spLocks noGrp="1"/>
          </p:cNvSpPr>
          <p:nvPr userDrawn="1">
            <p:ph type="ftr" sz="quarter" idx="11"/>
          </p:nvPr>
        </p:nvSpPr>
        <p:spPr>
          <a:xfrm>
            <a:off x="1583499" y="6497452"/>
            <a:ext cx="3648405" cy="258163"/>
          </a:xfrm>
          <a:prstGeom prst="rect">
            <a:avLst/>
          </a:prstGeom>
        </p:spPr>
        <p:txBody>
          <a:bodyPr/>
          <a:lstStyle>
            <a:lvl1pPr algn="l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fi-FI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598" y="313787"/>
            <a:ext cx="407327" cy="559315"/>
          </a:xfrm>
          <a:prstGeom prst="rect">
            <a:avLst/>
          </a:prstGeom>
        </p:spPr>
      </p:pic>
      <p:sp>
        <p:nvSpPr>
          <p:cNvPr id="17" name="Päivämäärän paikkamerkki 3"/>
          <p:cNvSpPr>
            <a:spLocks noGrp="1"/>
          </p:cNvSpPr>
          <p:nvPr userDrawn="1">
            <p:ph type="dt" sz="half" idx="2"/>
          </p:nvPr>
        </p:nvSpPr>
        <p:spPr>
          <a:xfrm>
            <a:off x="577047" y="6497452"/>
            <a:ext cx="911424" cy="2681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11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-1" y="6497453"/>
            <a:ext cx="538948" cy="268137"/>
          </a:xfrm>
          <a:prstGeom prst="rect">
            <a:avLst/>
          </a:prstGeom>
        </p:spPr>
        <p:txBody>
          <a:bodyPr rIns="18000" anchor="ctr"/>
          <a:lstStyle>
            <a:lvl1pPr algn="r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EA1DD0D-7089-48C5-B116-A19F892CF1D9}" type="slidenum">
              <a:rPr lang="fi-FI" smtClean="0"/>
              <a:pPr/>
              <a:t>‹#›</a:t>
            </a:fld>
            <a:r>
              <a:rPr lang="fi-FI" dirty="0" smtClean="0"/>
              <a:t>  </a:t>
            </a:r>
            <a:r>
              <a:rPr lang="fi-FI" b="0" dirty="0" smtClean="0">
                <a:solidFill>
                  <a:schemeClr val="bg1">
                    <a:lumMod val="65000"/>
                  </a:schemeClr>
                </a:solidFill>
              </a:rPr>
              <a:t>|</a:t>
            </a:r>
            <a:endParaRPr lang="fi-FI" sz="800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503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tsikko ja sisältö Tee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/>
          <p:cNvSpPr>
            <a:spLocks/>
          </p:cNvSpPr>
          <p:nvPr userDrawn="1"/>
        </p:nvSpPr>
        <p:spPr bwMode="auto">
          <a:xfrm>
            <a:off x="10140952" y="1"/>
            <a:ext cx="2051049" cy="6117167"/>
          </a:xfrm>
          <a:custGeom>
            <a:avLst/>
            <a:gdLst>
              <a:gd name="T0" fmla="*/ 6 w 969"/>
              <a:gd name="T1" fmla="*/ 0 h 2890"/>
              <a:gd name="T2" fmla="*/ 6 w 969"/>
              <a:gd name="T3" fmla="*/ 0 h 2890"/>
              <a:gd name="T4" fmla="*/ 1 w 969"/>
              <a:gd name="T5" fmla="*/ 97 h 2890"/>
              <a:gd name="T6" fmla="*/ 0 w 969"/>
              <a:gd name="T7" fmla="*/ 193 h 2890"/>
              <a:gd name="T8" fmla="*/ 0 w 969"/>
              <a:gd name="T9" fmla="*/ 290 h 2890"/>
              <a:gd name="T10" fmla="*/ 2 w 969"/>
              <a:gd name="T11" fmla="*/ 386 h 2890"/>
              <a:gd name="T12" fmla="*/ 8 w 969"/>
              <a:gd name="T13" fmla="*/ 483 h 2890"/>
              <a:gd name="T14" fmla="*/ 15 w 969"/>
              <a:gd name="T15" fmla="*/ 577 h 2890"/>
              <a:gd name="T16" fmla="*/ 24 w 969"/>
              <a:gd name="T17" fmla="*/ 673 h 2890"/>
              <a:gd name="T18" fmla="*/ 36 w 969"/>
              <a:gd name="T19" fmla="*/ 767 h 2890"/>
              <a:gd name="T20" fmla="*/ 50 w 969"/>
              <a:gd name="T21" fmla="*/ 862 h 2890"/>
              <a:gd name="T22" fmla="*/ 65 w 969"/>
              <a:gd name="T23" fmla="*/ 956 h 2890"/>
              <a:gd name="T24" fmla="*/ 83 w 969"/>
              <a:gd name="T25" fmla="*/ 1048 h 2890"/>
              <a:gd name="T26" fmla="*/ 104 w 969"/>
              <a:gd name="T27" fmla="*/ 1142 h 2890"/>
              <a:gd name="T28" fmla="*/ 125 w 969"/>
              <a:gd name="T29" fmla="*/ 1234 h 2890"/>
              <a:gd name="T30" fmla="*/ 150 w 969"/>
              <a:gd name="T31" fmla="*/ 1325 h 2890"/>
              <a:gd name="T32" fmla="*/ 176 w 969"/>
              <a:gd name="T33" fmla="*/ 1416 h 2890"/>
              <a:gd name="T34" fmla="*/ 204 w 969"/>
              <a:gd name="T35" fmla="*/ 1506 h 2890"/>
              <a:gd name="T36" fmla="*/ 204 w 969"/>
              <a:gd name="T37" fmla="*/ 1506 h 2890"/>
              <a:gd name="T38" fmla="*/ 236 w 969"/>
              <a:gd name="T39" fmla="*/ 1604 h 2890"/>
              <a:gd name="T40" fmla="*/ 272 w 969"/>
              <a:gd name="T41" fmla="*/ 1700 h 2890"/>
              <a:gd name="T42" fmla="*/ 309 w 969"/>
              <a:gd name="T43" fmla="*/ 1794 h 2890"/>
              <a:gd name="T44" fmla="*/ 349 w 969"/>
              <a:gd name="T45" fmla="*/ 1888 h 2890"/>
              <a:gd name="T46" fmla="*/ 389 w 969"/>
              <a:gd name="T47" fmla="*/ 1979 h 2890"/>
              <a:gd name="T48" fmla="*/ 433 w 969"/>
              <a:gd name="T49" fmla="*/ 2069 h 2890"/>
              <a:gd name="T50" fmla="*/ 478 w 969"/>
              <a:gd name="T51" fmla="*/ 2158 h 2890"/>
              <a:gd name="T52" fmla="*/ 526 w 969"/>
              <a:gd name="T53" fmla="*/ 2245 h 2890"/>
              <a:gd name="T54" fmla="*/ 575 w 969"/>
              <a:gd name="T55" fmla="*/ 2331 h 2890"/>
              <a:gd name="T56" fmla="*/ 626 w 969"/>
              <a:gd name="T57" fmla="*/ 2415 h 2890"/>
              <a:gd name="T58" fmla="*/ 679 w 969"/>
              <a:gd name="T59" fmla="*/ 2499 h 2890"/>
              <a:gd name="T60" fmla="*/ 733 w 969"/>
              <a:gd name="T61" fmla="*/ 2580 h 2890"/>
              <a:gd name="T62" fmla="*/ 790 w 969"/>
              <a:gd name="T63" fmla="*/ 2659 h 2890"/>
              <a:gd name="T64" fmla="*/ 847 w 969"/>
              <a:gd name="T65" fmla="*/ 2738 h 2890"/>
              <a:gd name="T66" fmla="*/ 907 w 969"/>
              <a:gd name="T67" fmla="*/ 2815 h 2890"/>
              <a:gd name="T68" fmla="*/ 969 w 969"/>
              <a:gd name="T69" fmla="*/ 2890 h 2890"/>
              <a:gd name="T70" fmla="*/ 969 w 969"/>
              <a:gd name="T71" fmla="*/ 0 h 2890"/>
              <a:gd name="T72" fmla="*/ 6 w 969"/>
              <a:gd name="T73" fmla="*/ 0 h 28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69" h="2890">
                <a:moveTo>
                  <a:pt x="6" y="0"/>
                </a:moveTo>
                <a:lnTo>
                  <a:pt x="6" y="0"/>
                </a:lnTo>
                <a:lnTo>
                  <a:pt x="1" y="97"/>
                </a:lnTo>
                <a:lnTo>
                  <a:pt x="0" y="193"/>
                </a:lnTo>
                <a:lnTo>
                  <a:pt x="0" y="290"/>
                </a:lnTo>
                <a:lnTo>
                  <a:pt x="2" y="386"/>
                </a:lnTo>
                <a:lnTo>
                  <a:pt x="8" y="483"/>
                </a:lnTo>
                <a:lnTo>
                  <a:pt x="15" y="577"/>
                </a:lnTo>
                <a:lnTo>
                  <a:pt x="24" y="673"/>
                </a:lnTo>
                <a:lnTo>
                  <a:pt x="36" y="767"/>
                </a:lnTo>
                <a:lnTo>
                  <a:pt x="50" y="862"/>
                </a:lnTo>
                <a:lnTo>
                  <a:pt x="65" y="956"/>
                </a:lnTo>
                <a:lnTo>
                  <a:pt x="83" y="1048"/>
                </a:lnTo>
                <a:lnTo>
                  <a:pt x="104" y="1142"/>
                </a:lnTo>
                <a:lnTo>
                  <a:pt x="125" y="1234"/>
                </a:lnTo>
                <a:lnTo>
                  <a:pt x="150" y="1325"/>
                </a:lnTo>
                <a:lnTo>
                  <a:pt x="176" y="1416"/>
                </a:lnTo>
                <a:lnTo>
                  <a:pt x="204" y="1506"/>
                </a:lnTo>
                <a:lnTo>
                  <a:pt x="204" y="1506"/>
                </a:lnTo>
                <a:lnTo>
                  <a:pt x="236" y="1604"/>
                </a:lnTo>
                <a:lnTo>
                  <a:pt x="272" y="1700"/>
                </a:lnTo>
                <a:lnTo>
                  <a:pt x="309" y="1794"/>
                </a:lnTo>
                <a:lnTo>
                  <a:pt x="349" y="1888"/>
                </a:lnTo>
                <a:lnTo>
                  <a:pt x="389" y="1979"/>
                </a:lnTo>
                <a:lnTo>
                  <a:pt x="433" y="2069"/>
                </a:lnTo>
                <a:lnTo>
                  <a:pt x="478" y="2158"/>
                </a:lnTo>
                <a:lnTo>
                  <a:pt x="526" y="2245"/>
                </a:lnTo>
                <a:lnTo>
                  <a:pt x="575" y="2331"/>
                </a:lnTo>
                <a:lnTo>
                  <a:pt x="626" y="2415"/>
                </a:lnTo>
                <a:lnTo>
                  <a:pt x="679" y="2499"/>
                </a:lnTo>
                <a:lnTo>
                  <a:pt x="733" y="2580"/>
                </a:lnTo>
                <a:lnTo>
                  <a:pt x="790" y="2659"/>
                </a:lnTo>
                <a:lnTo>
                  <a:pt x="847" y="2738"/>
                </a:lnTo>
                <a:lnTo>
                  <a:pt x="907" y="2815"/>
                </a:lnTo>
                <a:lnTo>
                  <a:pt x="969" y="2890"/>
                </a:lnTo>
                <a:lnTo>
                  <a:pt x="969" y="0"/>
                </a:lnTo>
                <a:lnTo>
                  <a:pt x="6" y="0"/>
                </a:lnTo>
                <a:close/>
              </a:path>
            </a:pathLst>
          </a:custGeom>
          <a:solidFill>
            <a:srgbClr val="80D3CF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 dirty="0"/>
          </a:p>
        </p:txBody>
      </p:sp>
      <p:sp>
        <p:nvSpPr>
          <p:cNvPr id="10" name="Freeform 6"/>
          <p:cNvSpPr>
            <a:spLocks/>
          </p:cNvSpPr>
          <p:nvPr userDrawn="1"/>
        </p:nvSpPr>
        <p:spPr bwMode="auto">
          <a:xfrm>
            <a:off x="10634133" y="1"/>
            <a:ext cx="1557867" cy="1756833"/>
          </a:xfrm>
          <a:custGeom>
            <a:avLst/>
            <a:gdLst>
              <a:gd name="T0" fmla="*/ 548 w 736"/>
              <a:gd name="T1" fmla="*/ 713 h 830"/>
              <a:gd name="T2" fmla="*/ 548 w 736"/>
              <a:gd name="T3" fmla="*/ 713 h 830"/>
              <a:gd name="T4" fmla="*/ 594 w 736"/>
              <a:gd name="T5" fmla="*/ 745 h 830"/>
              <a:gd name="T6" fmla="*/ 640 w 736"/>
              <a:gd name="T7" fmla="*/ 775 h 830"/>
              <a:gd name="T8" fmla="*/ 688 w 736"/>
              <a:gd name="T9" fmla="*/ 803 h 830"/>
              <a:gd name="T10" fmla="*/ 736 w 736"/>
              <a:gd name="T11" fmla="*/ 830 h 830"/>
              <a:gd name="T12" fmla="*/ 736 w 736"/>
              <a:gd name="T13" fmla="*/ 0 h 830"/>
              <a:gd name="T14" fmla="*/ 0 w 736"/>
              <a:gd name="T15" fmla="*/ 0 h 830"/>
              <a:gd name="T16" fmla="*/ 0 w 736"/>
              <a:gd name="T17" fmla="*/ 0 h 830"/>
              <a:gd name="T18" fmla="*/ 22 w 736"/>
              <a:gd name="T19" fmla="*/ 55 h 830"/>
              <a:gd name="T20" fmla="*/ 46 w 736"/>
              <a:gd name="T21" fmla="*/ 108 h 830"/>
              <a:gd name="T22" fmla="*/ 72 w 736"/>
              <a:gd name="T23" fmla="*/ 161 h 830"/>
              <a:gd name="T24" fmla="*/ 100 w 736"/>
              <a:gd name="T25" fmla="*/ 211 h 830"/>
              <a:gd name="T26" fmla="*/ 129 w 736"/>
              <a:gd name="T27" fmla="*/ 261 h 830"/>
              <a:gd name="T28" fmla="*/ 160 w 736"/>
              <a:gd name="T29" fmla="*/ 309 h 830"/>
              <a:gd name="T30" fmla="*/ 192 w 736"/>
              <a:gd name="T31" fmla="*/ 357 h 830"/>
              <a:gd name="T32" fmla="*/ 226 w 736"/>
              <a:gd name="T33" fmla="*/ 402 h 830"/>
              <a:gd name="T34" fmla="*/ 262 w 736"/>
              <a:gd name="T35" fmla="*/ 445 h 830"/>
              <a:gd name="T36" fmla="*/ 298 w 736"/>
              <a:gd name="T37" fmla="*/ 488 h 830"/>
              <a:gd name="T38" fmla="*/ 338 w 736"/>
              <a:gd name="T39" fmla="*/ 530 h 830"/>
              <a:gd name="T40" fmla="*/ 377 w 736"/>
              <a:gd name="T41" fmla="*/ 569 h 830"/>
              <a:gd name="T42" fmla="*/ 418 w 736"/>
              <a:gd name="T43" fmla="*/ 607 h 830"/>
              <a:gd name="T44" fmla="*/ 460 w 736"/>
              <a:gd name="T45" fmla="*/ 645 h 830"/>
              <a:gd name="T46" fmla="*/ 503 w 736"/>
              <a:gd name="T47" fmla="*/ 679 h 830"/>
              <a:gd name="T48" fmla="*/ 548 w 736"/>
              <a:gd name="T49" fmla="*/ 713 h 830"/>
              <a:gd name="T50" fmla="*/ 548 w 736"/>
              <a:gd name="T51" fmla="*/ 713 h 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736" h="830">
                <a:moveTo>
                  <a:pt x="548" y="713"/>
                </a:moveTo>
                <a:lnTo>
                  <a:pt x="548" y="713"/>
                </a:lnTo>
                <a:lnTo>
                  <a:pt x="594" y="745"/>
                </a:lnTo>
                <a:lnTo>
                  <a:pt x="640" y="775"/>
                </a:lnTo>
                <a:lnTo>
                  <a:pt x="688" y="803"/>
                </a:lnTo>
                <a:lnTo>
                  <a:pt x="736" y="830"/>
                </a:lnTo>
                <a:lnTo>
                  <a:pt x="736" y="0"/>
                </a:lnTo>
                <a:lnTo>
                  <a:pt x="0" y="0"/>
                </a:lnTo>
                <a:lnTo>
                  <a:pt x="0" y="0"/>
                </a:lnTo>
                <a:lnTo>
                  <a:pt x="22" y="55"/>
                </a:lnTo>
                <a:lnTo>
                  <a:pt x="46" y="108"/>
                </a:lnTo>
                <a:lnTo>
                  <a:pt x="72" y="161"/>
                </a:lnTo>
                <a:lnTo>
                  <a:pt x="100" y="211"/>
                </a:lnTo>
                <a:lnTo>
                  <a:pt x="129" y="261"/>
                </a:lnTo>
                <a:lnTo>
                  <a:pt x="160" y="309"/>
                </a:lnTo>
                <a:lnTo>
                  <a:pt x="192" y="357"/>
                </a:lnTo>
                <a:lnTo>
                  <a:pt x="226" y="402"/>
                </a:lnTo>
                <a:lnTo>
                  <a:pt x="262" y="445"/>
                </a:lnTo>
                <a:lnTo>
                  <a:pt x="298" y="488"/>
                </a:lnTo>
                <a:lnTo>
                  <a:pt x="338" y="530"/>
                </a:lnTo>
                <a:lnTo>
                  <a:pt x="377" y="569"/>
                </a:lnTo>
                <a:lnTo>
                  <a:pt x="418" y="607"/>
                </a:lnTo>
                <a:lnTo>
                  <a:pt x="460" y="645"/>
                </a:lnTo>
                <a:lnTo>
                  <a:pt x="503" y="679"/>
                </a:lnTo>
                <a:lnTo>
                  <a:pt x="548" y="713"/>
                </a:lnTo>
                <a:lnTo>
                  <a:pt x="548" y="713"/>
                </a:lnTo>
                <a:close/>
              </a:path>
            </a:pathLst>
          </a:custGeom>
          <a:solidFill>
            <a:srgbClr val="2BB6AF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 dirty="0"/>
          </a:p>
        </p:txBody>
      </p:sp>
      <p:sp>
        <p:nvSpPr>
          <p:cNvPr id="3" name="Sisällön paikkamerkki 2"/>
          <p:cNvSpPr>
            <a:spLocks noGrp="1"/>
          </p:cNvSpPr>
          <p:nvPr userDrawn="1">
            <p:ph idx="1"/>
          </p:nvPr>
        </p:nvSpPr>
        <p:spPr>
          <a:xfrm>
            <a:off x="577047" y="1881330"/>
            <a:ext cx="10319487" cy="4524001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8" name="Otsikko 7"/>
          <p:cNvSpPr>
            <a:spLocks noGrp="1"/>
          </p:cNvSpPr>
          <p:nvPr userDrawn="1">
            <p:ph type="title"/>
          </p:nvPr>
        </p:nvSpPr>
        <p:spPr>
          <a:xfrm>
            <a:off x="577047" y="313787"/>
            <a:ext cx="10319487" cy="1299027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3" name="Alatunnisteen paikkamerkki 4"/>
          <p:cNvSpPr>
            <a:spLocks noGrp="1"/>
          </p:cNvSpPr>
          <p:nvPr userDrawn="1">
            <p:ph type="ftr" sz="quarter" idx="11"/>
          </p:nvPr>
        </p:nvSpPr>
        <p:spPr>
          <a:xfrm>
            <a:off x="1583499" y="6497452"/>
            <a:ext cx="3648405" cy="258163"/>
          </a:xfrm>
          <a:prstGeom prst="rect">
            <a:avLst/>
          </a:prstGeom>
        </p:spPr>
        <p:txBody>
          <a:bodyPr/>
          <a:lstStyle>
            <a:lvl1pPr algn="l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fi-FI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598" y="313787"/>
            <a:ext cx="407327" cy="559315"/>
          </a:xfrm>
          <a:prstGeom prst="rect">
            <a:avLst/>
          </a:prstGeom>
        </p:spPr>
      </p:pic>
      <p:sp>
        <p:nvSpPr>
          <p:cNvPr id="17" name="Päivämäärän paikkamerkki 3"/>
          <p:cNvSpPr>
            <a:spLocks noGrp="1"/>
          </p:cNvSpPr>
          <p:nvPr userDrawn="1">
            <p:ph type="dt" sz="half" idx="2"/>
          </p:nvPr>
        </p:nvSpPr>
        <p:spPr>
          <a:xfrm>
            <a:off x="577047" y="6497452"/>
            <a:ext cx="911424" cy="2681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15" name="Dian numeron paikkamerkki 5"/>
          <p:cNvSpPr>
            <a:spLocks noGrp="1"/>
          </p:cNvSpPr>
          <p:nvPr userDrawn="1">
            <p:ph type="sldNum" sz="quarter" idx="12"/>
          </p:nvPr>
        </p:nvSpPr>
        <p:spPr>
          <a:xfrm>
            <a:off x="-1" y="6497453"/>
            <a:ext cx="538948" cy="268137"/>
          </a:xfrm>
          <a:prstGeom prst="rect">
            <a:avLst/>
          </a:prstGeom>
        </p:spPr>
        <p:txBody>
          <a:bodyPr rIns="18000" anchor="ctr"/>
          <a:lstStyle>
            <a:lvl1pPr algn="r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EA1DD0D-7089-48C5-B116-A19F892CF1D9}" type="slidenum">
              <a:rPr lang="fi-FI" smtClean="0"/>
              <a:pPr/>
              <a:t>‹#›</a:t>
            </a:fld>
            <a:r>
              <a:rPr lang="fi-FI" dirty="0" smtClean="0"/>
              <a:t>  </a:t>
            </a:r>
            <a:r>
              <a:rPr lang="fi-FI" b="0" dirty="0" smtClean="0">
                <a:solidFill>
                  <a:schemeClr val="bg1">
                    <a:lumMod val="65000"/>
                  </a:schemeClr>
                </a:solidFill>
              </a:rPr>
              <a:t>|</a:t>
            </a:r>
            <a:endParaRPr lang="fi-FI" sz="800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5314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tsikko ja sisältö Teema alakul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6"/>
          <p:cNvSpPr>
            <a:spLocks/>
          </p:cNvSpPr>
          <p:nvPr userDrawn="1"/>
        </p:nvSpPr>
        <p:spPr bwMode="auto">
          <a:xfrm rot="5400000">
            <a:off x="10534649" y="5200652"/>
            <a:ext cx="1557867" cy="1756833"/>
          </a:xfrm>
          <a:custGeom>
            <a:avLst/>
            <a:gdLst>
              <a:gd name="T0" fmla="*/ 548 w 736"/>
              <a:gd name="T1" fmla="*/ 713 h 830"/>
              <a:gd name="T2" fmla="*/ 548 w 736"/>
              <a:gd name="T3" fmla="*/ 713 h 830"/>
              <a:gd name="T4" fmla="*/ 594 w 736"/>
              <a:gd name="T5" fmla="*/ 745 h 830"/>
              <a:gd name="T6" fmla="*/ 640 w 736"/>
              <a:gd name="T7" fmla="*/ 775 h 830"/>
              <a:gd name="T8" fmla="*/ 688 w 736"/>
              <a:gd name="T9" fmla="*/ 803 h 830"/>
              <a:gd name="T10" fmla="*/ 736 w 736"/>
              <a:gd name="T11" fmla="*/ 830 h 830"/>
              <a:gd name="T12" fmla="*/ 736 w 736"/>
              <a:gd name="T13" fmla="*/ 0 h 830"/>
              <a:gd name="T14" fmla="*/ 0 w 736"/>
              <a:gd name="T15" fmla="*/ 0 h 830"/>
              <a:gd name="T16" fmla="*/ 0 w 736"/>
              <a:gd name="T17" fmla="*/ 0 h 830"/>
              <a:gd name="T18" fmla="*/ 22 w 736"/>
              <a:gd name="T19" fmla="*/ 55 h 830"/>
              <a:gd name="T20" fmla="*/ 46 w 736"/>
              <a:gd name="T21" fmla="*/ 108 h 830"/>
              <a:gd name="T22" fmla="*/ 72 w 736"/>
              <a:gd name="T23" fmla="*/ 161 h 830"/>
              <a:gd name="T24" fmla="*/ 100 w 736"/>
              <a:gd name="T25" fmla="*/ 211 h 830"/>
              <a:gd name="T26" fmla="*/ 129 w 736"/>
              <a:gd name="T27" fmla="*/ 261 h 830"/>
              <a:gd name="T28" fmla="*/ 160 w 736"/>
              <a:gd name="T29" fmla="*/ 309 h 830"/>
              <a:gd name="T30" fmla="*/ 192 w 736"/>
              <a:gd name="T31" fmla="*/ 357 h 830"/>
              <a:gd name="T32" fmla="*/ 226 w 736"/>
              <a:gd name="T33" fmla="*/ 402 h 830"/>
              <a:gd name="T34" fmla="*/ 262 w 736"/>
              <a:gd name="T35" fmla="*/ 445 h 830"/>
              <a:gd name="T36" fmla="*/ 298 w 736"/>
              <a:gd name="T37" fmla="*/ 488 h 830"/>
              <a:gd name="T38" fmla="*/ 338 w 736"/>
              <a:gd name="T39" fmla="*/ 530 h 830"/>
              <a:gd name="T40" fmla="*/ 377 w 736"/>
              <a:gd name="T41" fmla="*/ 569 h 830"/>
              <a:gd name="T42" fmla="*/ 418 w 736"/>
              <a:gd name="T43" fmla="*/ 607 h 830"/>
              <a:gd name="T44" fmla="*/ 460 w 736"/>
              <a:gd name="T45" fmla="*/ 645 h 830"/>
              <a:gd name="T46" fmla="*/ 503 w 736"/>
              <a:gd name="T47" fmla="*/ 679 h 830"/>
              <a:gd name="T48" fmla="*/ 548 w 736"/>
              <a:gd name="T49" fmla="*/ 713 h 830"/>
              <a:gd name="T50" fmla="*/ 548 w 736"/>
              <a:gd name="T51" fmla="*/ 713 h 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736" h="830">
                <a:moveTo>
                  <a:pt x="548" y="713"/>
                </a:moveTo>
                <a:lnTo>
                  <a:pt x="548" y="713"/>
                </a:lnTo>
                <a:lnTo>
                  <a:pt x="594" y="745"/>
                </a:lnTo>
                <a:lnTo>
                  <a:pt x="640" y="775"/>
                </a:lnTo>
                <a:lnTo>
                  <a:pt x="688" y="803"/>
                </a:lnTo>
                <a:lnTo>
                  <a:pt x="736" y="830"/>
                </a:lnTo>
                <a:lnTo>
                  <a:pt x="736" y="0"/>
                </a:lnTo>
                <a:lnTo>
                  <a:pt x="0" y="0"/>
                </a:lnTo>
                <a:lnTo>
                  <a:pt x="0" y="0"/>
                </a:lnTo>
                <a:lnTo>
                  <a:pt x="22" y="55"/>
                </a:lnTo>
                <a:lnTo>
                  <a:pt x="46" y="108"/>
                </a:lnTo>
                <a:lnTo>
                  <a:pt x="72" y="161"/>
                </a:lnTo>
                <a:lnTo>
                  <a:pt x="100" y="211"/>
                </a:lnTo>
                <a:lnTo>
                  <a:pt x="129" y="261"/>
                </a:lnTo>
                <a:lnTo>
                  <a:pt x="160" y="309"/>
                </a:lnTo>
                <a:lnTo>
                  <a:pt x="192" y="357"/>
                </a:lnTo>
                <a:lnTo>
                  <a:pt x="226" y="402"/>
                </a:lnTo>
                <a:lnTo>
                  <a:pt x="262" y="445"/>
                </a:lnTo>
                <a:lnTo>
                  <a:pt x="298" y="488"/>
                </a:lnTo>
                <a:lnTo>
                  <a:pt x="338" y="530"/>
                </a:lnTo>
                <a:lnTo>
                  <a:pt x="377" y="569"/>
                </a:lnTo>
                <a:lnTo>
                  <a:pt x="418" y="607"/>
                </a:lnTo>
                <a:lnTo>
                  <a:pt x="460" y="645"/>
                </a:lnTo>
                <a:lnTo>
                  <a:pt x="503" y="679"/>
                </a:lnTo>
                <a:lnTo>
                  <a:pt x="548" y="713"/>
                </a:lnTo>
                <a:lnTo>
                  <a:pt x="548" y="713"/>
                </a:lnTo>
                <a:close/>
              </a:path>
            </a:pathLst>
          </a:custGeom>
          <a:solidFill>
            <a:srgbClr val="80D3CF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 dirty="0"/>
          </a:p>
        </p:txBody>
      </p:sp>
      <p:sp>
        <p:nvSpPr>
          <p:cNvPr id="3" name="Sisällön paikkamerkki 2"/>
          <p:cNvSpPr>
            <a:spLocks noGrp="1"/>
          </p:cNvSpPr>
          <p:nvPr userDrawn="1">
            <p:ph idx="1"/>
          </p:nvPr>
        </p:nvSpPr>
        <p:spPr>
          <a:xfrm>
            <a:off x="577048" y="1881330"/>
            <a:ext cx="10991561" cy="4524001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8" name="Otsikko 7"/>
          <p:cNvSpPr>
            <a:spLocks noGrp="1"/>
          </p:cNvSpPr>
          <p:nvPr userDrawn="1">
            <p:ph type="title"/>
          </p:nvPr>
        </p:nvSpPr>
        <p:spPr>
          <a:xfrm>
            <a:off x="577048" y="313787"/>
            <a:ext cx="10991561" cy="1299027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3" name="Alatunnisteen paikkamerkki 4"/>
          <p:cNvSpPr>
            <a:spLocks noGrp="1"/>
          </p:cNvSpPr>
          <p:nvPr userDrawn="1">
            <p:ph type="ftr" sz="quarter" idx="11"/>
          </p:nvPr>
        </p:nvSpPr>
        <p:spPr>
          <a:xfrm>
            <a:off x="1583499" y="6497452"/>
            <a:ext cx="3648405" cy="258163"/>
          </a:xfrm>
          <a:prstGeom prst="rect">
            <a:avLst/>
          </a:prstGeom>
        </p:spPr>
        <p:txBody>
          <a:bodyPr/>
          <a:lstStyle>
            <a:lvl1pPr algn="l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17" name="Päivämäärän paikkamerkki 3"/>
          <p:cNvSpPr>
            <a:spLocks noGrp="1"/>
          </p:cNvSpPr>
          <p:nvPr userDrawn="1">
            <p:ph type="dt" sz="half" idx="2"/>
          </p:nvPr>
        </p:nvSpPr>
        <p:spPr>
          <a:xfrm>
            <a:off x="577047" y="6497452"/>
            <a:ext cx="911424" cy="2681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11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-1" y="6497453"/>
            <a:ext cx="538948" cy="268137"/>
          </a:xfrm>
          <a:prstGeom prst="rect">
            <a:avLst/>
          </a:prstGeom>
        </p:spPr>
        <p:txBody>
          <a:bodyPr rIns="18000" anchor="ctr"/>
          <a:lstStyle>
            <a:lvl1pPr algn="r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EA1DD0D-7089-48C5-B116-A19F892CF1D9}" type="slidenum">
              <a:rPr lang="fi-FI" smtClean="0"/>
              <a:pPr/>
              <a:t>‹#›</a:t>
            </a:fld>
            <a:r>
              <a:rPr lang="fi-FI" dirty="0" smtClean="0"/>
              <a:t>  </a:t>
            </a:r>
            <a:r>
              <a:rPr lang="fi-FI" b="0" dirty="0" smtClean="0">
                <a:solidFill>
                  <a:schemeClr val="bg1">
                    <a:lumMod val="65000"/>
                  </a:schemeClr>
                </a:solidFill>
              </a:rPr>
              <a:t>|</a:t>
            </a:r>
            <a:endParaRPr lang="fi-FI" sz="800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437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tsikko ja sisältö VN-Tee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9050867" y="1"/>
            <a:ext cx="3141133" cy="6858001"/>
            <a:chOff x="6788150" y="0"/>
            <a:chExt cx="2355850" cy="5143501"/>
          </a:xfrm>
        </p:grpSpPr>
        <p:sp>
          <p:nvSpPr>
            <p:cNvPr id="20" name="Freeform 22"/>
            <p:cNvSpPr>
              <a:spLocks/>
            </p:cNvSpPr>
            <p:nvPr userDrawn="1"/>
          </p:nvSpPr>
          <p:spPr bwMode="auto">
            <a:xfrm>
              <a:off x="7845425" y="4103688"/>
              <a:ext cx="1298575" cy="1039813"/>
            </a:xfrm>
            <a:custGeom>
              <a:avLst/>
              <a:gdLst>
                <a:gd name="T0" fmla="*/ 482 w 818"/>
                <a:gd name="T1" fmla="*/ 0 h 655"/>
                <a:gd name="T2" fmla="*/ 483 w 818"/>
                <a:gd name="T3" fmla="*/ 0 h 655"/>
                <a:gd name="T4" fmla="*/ 483 w 818"/>
                <a:gd name="T5" fmla="*/ 0 h 655"/>
                <a:gd name="T6" fmla="*/ 482 w 818"/>
                <a:gd name="T7" fmla="*/ 0 h 655"/>
                <a:gd name="T8" fmla="*/ 482 w 818"/>
                <a:gd name="T9" fmla="*/ 0 h 655"/>
                <a:gd name="T10" fmla="*/ 482 w 818"/>
                <a:gd name="T11" fmla="*/ 0 h 655"/>
                <a:gd name="T12" fmla="*/ 442 w 818"/>
                <a:gd name="T13" fmla="*/ 40 h 655"/>
                <a:gd name="T14" fmla="*/ 404 w 818"/>
                <a:gd name="T15" fmla="*/ 79 h 655"/>
                <a:gd name="T16" fmla="*/ 369 w 818"/>
                <a:gd name="T17" fmla="*/ 118 h 655"/>
                <a:gd name="T18" fmla="*/ 334 w 818"/>
                <a:gd name="T19" fmla="*/ 156 h 655"/>
                <a:gd name="T20" fmla="*/ 303 w 818"/>
                <a:gd name="T21" fmla="*/ 194 h 655"/>
                <a:gd name="T22" fmla="*/ 271 w 818"/>
                <a:gd name="T23" fmla="*/ 232 h 655"/>
                <a:gd name="T24" fmla="*/ 242 w 818"/>
                <a:gd name="T25" fmla="*/ 269 h 655"/>
                <a:gd name="T26" fmla="*/ 214 w 818"/>
                <a:gd name="T27" fmla="*/ 309 h 655"/>
                <a:gd name="T28" fmla="*/ 186 w 818"/>
                <a:gd name="T29" fmla="*/ 347 h 655"/>
                <a:gd name="T30" fmla="*/ 159 w 818"/>
                <a:gd name="T31" fmla="*/ 387 h 655"/>
                <a:gd name="T32" fmla="*/ 132 w 818"/>
                <a:gd name="T33" fmla="*/ 428 h 655"/>
                <a:gd name="T34" fmla="*/ 106 w 818"/>
                <a:gd name="T35" fmla="*/ 469 h 655"/>
                <a:gd name="T36" fmla="*/ 80 w 818"/>
                <a:gd name="T37" fmla="*/ 513 h 655"/>
                <a:gd name="T38" fmla="*/ 53 w 818"/>
                <a:gd name="T39" fmla="*/ 558 h 655"/>
                <a:gd name="T40" fmla="*/ 0 w 818"/>
                <a:gd name="T41" fmla="*/ 655 h 655"/>
                <a:gd name="T42" fmla="*/ 818 w 818"/>
                <a:gd name="T43" fmla="*/ 655 h 655"/>
                <a:gd name="T44" fmla="*/ 818 w 818"/>
                <a:gd name="T45" fmla="*/ 163 h 655"/>
                <a:gd name="T46" fmla="*/ 818 w 818"/>
                <a:gd name="T47" fmla="*/ 163 h 655"/>
                <a:gd name="T48" fmla="*/ 795 w 818"/>
                <a:gd name="T49" fmla="*/ 157 h 655"/>
                <a:gd name="T50" fmla="*/ 772 w 818"/>
                <a:gd name="T51" fmla="*/ 148 h 655"/>
                <a:gd name="T52" fmla="*/ 746 w 818"/>
                <a:gd name="T53" fmla="*/ 136 h 655"/>
                <a:gd name="T54" fmla="*/ 719 w 818"/>
                <a:gd name="T55" fmla="*/ 125 h 655"/>
                <a:gd name="T56" fmla="*/ 663 w 818"/>
                <a:gd name="T57" fmla="*/ 98 h 655"/>
                <a:gd name="T58" fmla="*/ 609 w 818"/>
                <a:gd name="T59" fmla="*/ 70 h 655"/>
                <a:gd name="T60" fmla="*/ 559 w 818"/>
                <a:gd name="T61" fmla="*/ 43 h 655"/>
                <a:gd name="T62" fmla="*/ 519 w 818"/>
                <a:gd name="T63" fmla="*/ 22 h 655"/>
                <a:gd name="T64" fmla="*/ 482 w 818"/>
                <a:gd name="T65" fmla="*/ 0 h 655"/>
                <a:gd name="T66" fmla="*/ 482 w 818"/>
                <a:gd name="T67" fmla="*/ 0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18" h="655">
                  <a:moveTo>
                    <a:pt x="482" y="0"/>
                  </a:moveTo>
                  <a:lnTo>
                    <a:pt x="483" y="0"/>
                  </a:lnTo>
                  <a:lnTo>
                    <a:pt x="483" y="0"/>
                  </a:lnTo>
                  <a:lnTo>
                    <a:pt x="482" y="0"/>
                  </a:lnTo>
                  <a:lnTo>
                    <a:pt x="482" y="0"/>
                  </a:lnTo>
                  <a:lnTo>
                    <a:pt x="482" y="0"/>
                  </a:lnTo>
                  <a:lnTo>
                    <a:pt x="442" y="40"/>
                  </a:lnTo>
                  <a:lnTo>
                    <a:pt x="404" y="79"/>
                  </a:lnTo>
                  <a:lnTo>
                    <a:pt x="369" y="118"/>
                  </a:lnTo>
                  <a:lnTo>
                    <a:pt x="334" y="156"/>
                  </a:lnTo>
                  <a:lnTo>
                    <a:pt x="303" y="194"/>
                  </a:lnTo>
                  <a:lnTo>
                    <a:pt x="271" y="232"/>
                  </a:lnTo>
                  <a:lnTo>
                    <a:pt x="242" y="269"/>
                  </a:lnTo>
                  <a:lnTo>
                    <a:pt x="214" y="309"/>
                  </a:lnTo>
                  <a:lnTo>
                    <a:pt x="186" y="347"/>
                  </a:lnTo>
                  <a:lnTo>
                    <a:pt x="159" y="387"/>
                  </a:lnTo>
                  <a:lnTo>
                    <a:pt x="132" y="428"/>
                  </a:lnTo>
                  <a:lnTo>
                    <a:pt x="106" y="469"/>
                  </a:lnTo>
                  <a:lnTo>
                    <a:pt x="80" y="513"/>
                  </a:lnTo>
                  <a:lnTo>
                    <a:pt x="53" y="558"/>
                  </a:lnTo>
                  <a:lnTo>
                    <a:pt x="0" y="655"/>
                  </a:lnTo>
                  <a:lnTo>
                    <a:pt x="818" y="655"/>
                  </a:lnTo>
                  <a:lnTo>
                    <a:pt x="818" y="163"/>
                  </a:lnTo>
                  <a:lnTo>
                    <a:pt x="818" y="163"/>
                  </a:lnTo>
                  <a:lnTo>
                    <a:pt x="795" y="157"/>
                  </a:lnTo>
                  <a:lnTo>
                    <a:pt x="772" y="148"/>
                  </a:lnTo>
                  <a:lnTo>
                    <a:pt x="746" y="136"/>
                  </a:lnTo>
                  <a:lnTo>
                    <a:pt x="719" y="125"/>
                  </a:lnTo>
                  <a:lnTo>
                    <a:pt x="663" y="98"/>
                  </a:lnTo>
                  <a:lnTo>
                    <a:pt x="609" y="70"/>
                  </a:lnTo>
                  <a:lnTo>
                    <a:pt x="559" y="43"/>
                  </a:lnTo>
                  <a:lnTo>
                    <a:pt x="519" y="22"/>
                  </a:lnTo>
                  <a:lnTo>
                    <a:pt x="482" y="0"/>
                  </a:lnTo>
                  <a:lnTo>
                    <a:pt x="482" y="0"/>
                  </a:lnTo>
                  <a:close/>
                </a:path>
              </a:pathLst>
            </a:custGeom>
            <a:solidFill>
              <a:srgbClr val="00A7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1" name="Freeform 23"/>
            <p:cNvSpPr>
              <a:spLocks/>
            </p:cNvSpPr>
            <p:nvPr userDrawn="1"/>
          </p:nvSpPr>
          <p:spPr bwMode="auto">
            <a:xfrm>
              <a:off x="6788150" y="0"/>
              <a:ext cx="1822450" cy="4084638"/>
            </a:xfrm>
            <a:custGeom>
              <a:avLst/>
              <a:gdLst>
                <a:gd name="T0" fmla="*/ 1148 w 1148"/>
                <a:gd name="T1" fmla="*/ 864 h 2573"/>
                <a:gd name="T2" fmla="*/ 1148 w 1148"/>
                <a:gd name="T3" fmla="*/ 864 h 2573"/>
                <a:gd name="T4" fmla="*/ 1148 w 1148"/>
                <a:gd name="T5" fmla="*/ 864 h 2573"/>
                <a:gd name="T6" fmla="*/ 104 w 1148"/>
                <a:gd name="T7" fmla="*/ 0 h 2573"/>
                <a:gd name="T8" fmla="*/ 19 w 1148"/>
                <a:gd name="T9" fmla="*/ 0 h 2573"/>
                <a:gd name="T10" fmla="*/ 11 w 1148"/>
                <a:gd name="T11" fmla="*/ 77 h 2573"/>
                <a:gd name="T12" fmla="*/ 1 w 1148"/>
                <a:gd name="T13" fmla="*/ 230 h 2573"/>
                <a:gd name="T14" fmla="*/ 0 w 1148"/>
                <a:gd name="T15" fmla="*/ 381 h 2573"/>
                <a:gd name="T16" fmla="*/ 7 w 1148"/>
                <a:gd name="T17" fmla="*/ 533 h 2573"/>
                <a:gd name="T18" fmla="*/ 21 w 1148"/>
                <a:gd name="T19" fmla="*/ 683 h 2573"/>
                <a:gd name="T20" fmla="*/ 45 w 1148"/>
                <a:gd name="T21" fmla="*/ 831 h 2573"/>
                <a:gd name="T22" fmla="*/ 75 w 1148"/>
                <a:gd name="T23" fmla="*/ 978 h 2573"/>
                <a:gd name="T24" fmla="*/ 115 w 1148"/>
                <a:gd name="T25" fmla="*/ 1122 h 2573"/>
                <a:gd name="T26" fmla="*/ 136 w 1148"/>
                <a:gd name="T27" fmla="*/ 1193 h 2573"/>
                <a:gd name="T28" fmla="*/ 173 w 1148"/>
                <a:gd name="T29" fmla="*/ 1299 h 2573"/>
                <a:gd name="T30" fmla="*/ 214 w 1148"/>
                <a:gd name="T31" fmla="*/ 1404 h 2573"/>
                <a:gd name="T32" fmla="*/ 259 w 1148"/>
                <a:gd name="T33" fmla="*/ 1505 h 2573"/>
                <a:gd name="T34" fmla="*/ 307 w 1148"/>
                <a:gd name="T35" fmla="*/ 1604 h 2573"/>
                <a:gd name="T36" fmla="*/ 359 w 1148"/>
                <a:gd name="T37" fmla="*/ 1701 h 2573"/>
                <a:gd name="T38" fmla="*/ 414 w 1148"/>
                <a:gd name="T39" fmla="*/ 1794 h 2573"/>
                <a:gd name="T40" fmla="*/ 473 w 1148"/>
                <a:gd name="T41" fmla="*/ 1886 h 2573"/>
                <a:gd name="T42" fmla="*/ 534 w 1148"/>
                <a:gd name="T43" fmla="*/ 1973 h 2573"/>
                <a:gd name="T44" fmla="*/ 600 w 1148"/>
                <a:gd name="T45" fmla="*/ 2059 h 2573"/>
                <a:gd name="T46" fmla="*/ 667 w 1148"/>
                <a:gd name="T47" fmla="*/ 2142 h 2573"/>
                <a:gd name="T48" fmla="*/ 738 w 1148"/>
                <a:gd name="T49" fmla="*/ 2221 h 2573"/>
                <a:gd name="T50" fmla="*/ 811 w 1148"/>
                <a:gd name="T51" fmla="*/ 2297 h 2573"/>
                <a:gd name="T52" fmla="*/ 888 w 1148"/>
                <a:gd name="T53" fmla="*/ 2372 h 2573"/>
                <a:gd name="T54" fmla="*/ 966 w 1148"/>
                <a:gd name="T55" fmla="*/ 2441 h 2573"/>
                <a:gd name="T56" fmla="*/ 1049 w 1148"/>
                <a:gd name="T57" fmla="*/ 2509 h 2573"/>
                <a:gd name="T58" fmla="*/ 1132 w 1148"/>
                <a:gd name="T59" fmla="*/ 2573 h 2573"/>
                <a:gd name="T60" fmla="*/ 1131 w 1148"/>
                <a:gd name="T61" fmla="*/ 2553 h 2573"/>
                <a:gd name="T62" fmla="*/ 1131 w 1148"/>
                <a:gd name="T63" fmla="*/ 2304 h 2573"/>
                <a:gd name="T64" fmla="*/ 1144 w 1148"/>
                <a:gd name="T65" fmla="*/ 1131 h 2573"/>
                <a:gd name="T66" fmla="*/ 1148 w 1148"/>
                <a:gd name="T67" fmla="*/ 864 h 2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48" h="2573">
                  <a:moveTo>
                    <a:pt x="1148" y="864"/>
                  </a:moveTo>
                  <a:lnTo>
                    <a:pt x="1148" y="864"/>
                  </a:lnTo>
                  <a:lnTo>
                    <a:pt x="1148" y="864"/>
                  </a:lnTo>
                  <a:lnTo>
                    <a:pt x="1148" y="864"/>
                  </a:lnTo>
                  <a:lnTo>
                    <a:pt x="1148" y="864"/>
                  </a:lnTo>
                  <a:lnTo>
                    <a:pt x="1148" y="864"/>
                  </a:lnTo>
                  <a:lnTo>
                    <a:pt x="663" y="0"/>
                  </a:lnTo>
                  <a:lnTo>
                    <a:pt x="104" y="0"/>
                  </a:lnTo>
                  <a:lnTo>
                    <a:pt x="86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1" y="77"/>
                  </a:lnTo>
                  <a:lnTo>
                    <a:pt x="6" y="153"/>
                  </a:lnTo>
                  <a:lnTo>
                    <a:pt x="1" y="230"/>
                  </a:lnTo>
                  <a:lnTo>
                    <a:pt x="0" y="306"/>
                  </a:lnTo>
                  <a:lnTo>
                    <a:pt x="0" y="381"/>
                  </a:lnTo>
                  <a:lnTo>
                    <a:pt x="2" y="458"/>
                  </a:lnTo>
                  <a:lnTo>
                    <a:pt x="7" y="533"/>
                  </a:lnTo>
                  <a:lnTo>
                    <a:pt x="14" y="609"/>
                  </a:lnTo>
                  <a:lnTo>
                    <a:pt x="21" y="683"/>
                  </a:lnTo>
                  <a:lnTo>
                    <a:pt x="33" y="757"/>
                  </a:lnTo>
                  <a:lnTo>
                    <a:pt x="45" y="831"/>
                  </a:lnTo>
                  <a:lnTo>
                    <a:pt x="60" y="905"/>
                  </a:lnTo>
                  <a:lnTo>
                    <a:pt x="75" y="978"/>
                  </a:lnTo>
                  <a:lnTo>
                    <a:pt x="95" y="1050"/>
                  </a:lnTo>
                  <a:lnTo>
                    <a:pt x="115" y="1122"/>
                  </a:lnTo>
                  <a:lnTo>
                    <a:pt x="136" y="1193"/>
                  </a:lnTo>
                  <a:lnTo>
                    <a:pt x="136" y="1193"/>
                  </a:lnTo>
                  <a:lnTo>
                    <a:pt x="154" y="1247"/>
                  </a:lnTo>
                  <a:lnTo>
                    <a:pt x="173" y="1299"/>
                  </a:lnTo>
                  <a:lnTo>
                    <a:pt x="194" y="1351"/>
                  </a:lnTo>
                  <a:lnTo>
                    <a:pt x="214" y="1404"/>
                  </a:lnTo>
                  <a:lnTo>
                    <a:pt x="236" y="1455"/>
                  </a:lnTo>
                  <a:lnTo>
                    <a:pt x="259" y="1505"/>
                  </a:lnTo>
                  <a:lnTo>
                    <a:pt x="282" y="1555"/>
                  </a:lnTo>
                  <a:lnTo>
                    <a:pt x="307" y="1604"/>
                  </a:lnTo>
                  <a:lnTo>
                    <a:pt x="333" y="1653"/>
                  </a:lnTo>
                  <a:lnTo>
                    <a:pt x="359" y="1701"/>
                  </a:lnTo>
                  <a:lnTo>
                    <a:pt x="386" y="1748"/>
                  </a:lnTo>
                  <a:lnTo>
                    <a:pt x="414" y="1794"/>
                  </a:lnTo>
                  <a:lnTo>
                    <a:pt x="443" y="1841"/>
                  </a:lnTo>
                  <a:lnTo>
                    <a:pt x="473" y="1886"/>
                  </a:lnTo>
                  <a:lnTo>
                    <a:pt x="503" y="1929"/>
                  </a:lnTo>
                  <a:lnTo>
                    <a:pt x="534" y="1973"/>
                  </a:lnTo>
                  <a:lnTo>
                    <a:pt x="567" y="2017"/>
                  </a:lnTo>
                  <a:lnTo>
                    <a:pt x="600" y="2059"/>
                  </a:lnTo>
                  <a:lnTo>
                    <a:pt x="633" y="2100"/>
                  </a:lnTo>
                  <a:lnTo>
                    <a:pt x="667" y="2142"/>
                  </a:lnTo>
                  <a:lnTo>
                    <a:pt x="702" y="2181"/>
                  </a:lnTo>
                  <a:lnTo>
                    <a:pt x="738" y="2221"/>
                  </a:lnTo>
                  <a:lnTo>
                    <a:pt x="774" y="2260"/>
                  </a:lnTo>
                  <a:lnTo>
                    <a:pt x="811" y="2297"/>
                  </a:lnTo>
                  <a:lnTo>
                    <a:pt x="849" y="2334"/>
                  </a:lnTo>
                  <a:lnTo>
                    <a:pt x="888" y="2372"/>
                  </a:lnTo>
                  <a:lnTo>
                    <a:pt x="927" y="2406"/>
                  </a:lnTo>
                  <a:lnTo>
                    <a:pt x="966" y="2441"/>
                  </a:lnTo>
                  <a:lnTo>
                    <a:pt x="1007" y="2476"/>
                  </a:lnTo>
                  <a:lnTo>
                    <a:pt x="1049" y="2509"/>
                  </a:lnTo>
                  <a:lnTo>
                    <a:pt x="1089" y="2541"/>
                  </a:lnTo>
                  <a:lnTo>
                    <a:pt x="1132" y="2573"/>
                  </a:lnTo>
                  <a:lnTo>
                    <a:pt x="1132" y="2573"/>
                  </a:lnTo>
                  <a:lnTo>
                    <a:pt x="1131" y="2553"/>
                  </a:lnTo>
                  <a:lnTo>
                    <a:pt x="1131" y="2498"/>
                  </a:lnTo>
                  <a:lnTo>
                    <a:pt x="1131" y="2304"/>
                  </a:lnTo>
                  <a:lnTo>
                    <a:pt x="1137" y="1717"/>
                  </a:lnTo>
                  <a:lnTo>
                    <a:pt x="1144" y="1131"/>
                  </a:lnTo>
                  <a:lnTo>
                    <a:pt x="1148" y="864"/>
                  </a:lnTo>
                  <a:lnTo>
                    <a:pt x="1148" y="864"/>
                  </a:lnTo>
                  <a:close/>
                </a:path>
              </a:pathLst>
            </a:custGeom>
            <a:solidFill>
              <a:srgbClr val="DDE3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2" name="Freeform 24"/>
            <p:cNvSpPr>
              <a:spLocks noEditPoints="1"/>
            </p:cNvSpPr>
            <p:nvPr userDrawn="1"/>
          </p:nvSpPr>
          <p:spPr bwMode="auto">
            <a:xfrm>
              <a:off x="6953250" y="0"/>
              <a:ext cx="2001838" cy="4103688"/>
            </a:xfrm>
            <a:custGeom>
              <a:avLst/>
              <a:gdLst>
                <a:gd name="T0" fmla="*/ 582 w 1261"/>
                <a:gd name="T1" fmla="*/ 0 h 2585"/>
                <a:gd name="T2" fmla="*/ 0 w 1261"/>
                <a:gd name="T3" fmla="*/ 0 h 2585"/>
                <a:gd name="T4" fmla="*/ 6 w 1261"/>
                <a:gd name="T5" fmla="*/ 33 h 2585"/>
                <a:gd name="T6" fmla="*/ 22 w 1261"/>
                <a:gd name="T7" fmla="*/ 97 h 2585"/>
                <a:gd name="T8" fmla="*/ 32 w 1261"/>
                <a:gd name="T9" fmla="*/ 129 h 2585"/>
                <a:gd name="T10" fmla="*/ 63 w 1261"/>
                <a:gd name="T11" fmla="*/ 210 h 2585"/>
                <a:gd name="T12" fmla="*/ 99 w 1261"/>
                <a:gd name="T13" fmla="*/ 288 h 2585"/>
                <a:gd name="T14" fmla="*/ 140 w 1261"/>
                <a:gd name="T15" fmla="*/ 361 h 2585"/>
                <a:gd name="T16" fmla="*/ 186 w 1261"/>
                <a:gd name="T17" fmla="*/ 431 h 2585"/>
                <a:gd name="T18" fmla="*/ 238 w 1261"/>
                <a:gd name="T19" fmla="*/ 495 h 2585"/>
                <a:gd name="T20" fmla="*/ 294 w 1261"/>
                <a:gd name="T21" fmla="*/ 556 h 2585"/>
                <a:gd name="T22" fmla="*/ 355 w 1261"/>
                <a:gd name="T23" fmla="*/ 611 h 2585"/>
                <a:gd name="T24" fmla="*/ 419 w 1261"/>
                <a:gd name="T25" fmla="*/ 660 h 2585"/>
                <a:gd name="T26" fmla="*/ 454 w 1261"/>
                <a:gd name="T27" fmla="*/ 686 h 2585"/>
                <a:gd name="T28" fmla="*/ 528 w 1261"/>
                <a:gd name="T29" fmla="*/ 730 h 2585"/>
                <a:gd name="T30" fmla="*/ 604 w 1261"/>
                <a:gd name="T31" fmla="*/ 768 h 2585"/>
                <a:gd name="T32" fmla="*/ 681 w 1261"/>
                <a:gd name="T33" fmla="*/ 801 h 2585"/>
                <a:gd name="T34" fmla="*/ 761 w 1261"/>
                <a:gd name="T35" fmla="*/ 826 h 2585"/>
                <a:gd name="T36" fmla="*/ 841 w 1261"/>
                <a:gd name="T37" fmla="*/ 845 h 2585"/>
                <a:gd name="T38" fmla="*/ 922 w 1261"/>
                <a:gd name="T39" fmla="*/ 857 h 2585"/>
                <a:gd name="T40" fmla="*/ 1003 w 1261"/>
                <a:gd name="T41" fmla="*/ 863 h 2585"/>
                <a:gd name="T42" fmla="*/ 1044 w 1261"/>
                <a:gd name="T43" fmla="*/ 864 h 2585"/>
                <a:gd name="T44" fmla="*/ 976 w 1261"/>
                <a:gd name="T45" fmla="*/ 918 h 2585"/>
                <a:gd name="T46" fmla="*/ 913 w 1261"/>
                <a:gd name="T47" fmla="*/ 977 h 2585"/>
                <a:gd name="T48" fmla="*/ 857 w 1261"/>
                <a:gd name="T49" fmla="*/ 1038 h 2585"/>
                <a:gd name="T50" fmla="*/ 805 w 1261"/>
                <a:gd name="T51" fmla="*/ 1104 h 2585"/>
                <a:gd name="T52" fmla="*/ 759 w 1261"/>
                <a:gd name="T53" fmla="*/ 1173 h 2585"/>
                <a:gd name="T54" fmla="*/ 720 w 1261"/>
                <a:gd name="T55" fmla="*/ 1245 h 2585"/>
                <a:gd name="T56" fmla="*/ 686 w 1261"/>
                <a:gd name="T57" fmla="*/ 1320 h 2585"/>
                <a:gd name="T58" fmla="*/ 658 w 1261"/>
                <a:gd name="T59" fmla="*/ 1396 h 2585"/>
                <a:gd name="T60" fmla="*/ 645 w 1261"/>
                <a:gd name="T61" fmla="*/ 1438 h 2585"/>
                <a:gd name="T62" fmla="*/ 625 w 1261"/>
                <a:gd name="T63" fmla="*/ 1521 h 2585"/>
                <a:gd name="T64" fmla="*/ 612 w 1261"/>
                <a:gd name="T65" fmla="*/ 1605 h 2585"/>
                <a:gd name="T66" fmla="*/ 606 w 1261"/>
                <a:gd name="T67" fmla="*/ 1689 h 2585"/>
                <a:gd name="T68" fmla="*/ 606 w 1261"/>
                <a:gd name="T69" fmla="*/ 1772 h 2585"/>
                <a:gd name="T70" fmla="*/ 614 w 1261"/>
                <a:gd name="T71" fmla="*/ 1854 h 2585"/>
                <a:gd name="T72" fmla="*/ 626 w 1261"/>
                <a:gd name="T73" fmla="*/ 1935 h 2585"/>
                <a:gd name="T74" fmla="*/ 645 w 1261"/>
                <a:gd name="T75" fmla="*/ 2015 h 2585"/>
                <a:gd name="T76" fmla="*/ 658 w 1261"/>
                <a:gd name="T77" fmla="*/ 2053 h 2585"/>
                <a:gd name="T78" fmla="*/ 688 w 1261"/>
                <a:gd name="T79" fmla="*/ 2135 h 2585"/>
                <a:gd name="T80" fmla="*/ 724 w 1261"/>
                <a:gd name="T81" fmla="*/ 2212 h 2585"/>
                <a:gd name="T82" fmla="*/ 766 w 1261"/>
                <a:gd name="T83" fmla="*/ 2286 h 2585"/>
                <a:gd name="T84" fmla="*/ 812 w 1261"/>
                <a:gd name="T85" fmla="*/ 2355 h 2585"/>
                <a:gd name="T86" fmla="*/ 864 w 1261"/>
                <a:gd name="T87" fmla="*/ 2420 h 2585"/>
                <a:gd name="T88" fmla="*/ 920 w 1261"/>
                <a:gd name="T89" fmla="*/ 2480 h 2585"/>
                <a:gd name="T90" fmla="*/ 979 w 1261"/>
                <a:gd name="T91" fmla="*/ 2535 h 2585"/>
                <a:gd name="T92" fmla="*/ 1044 w 1261"/>
                <a:gd name="T93" fmla="*/ 2585 h 2585"/>
                <a:gd name="T94" fmla="*/ 1044 w 1261"/>
                <a:gd name="T95" fmla="*/ 2585 h 2585"/>
                <a:gd name="T96" fmla="*/ 1261 w 1261"/>
                <a:gd name="T97" fmla="*/ 2376 h 2585"/>
                <a:gd name="T98" fmla="*/ 1044 w 1261"/>
                <a:gd name="T99" fmla="*/ 864 h 2585"/>
                <a:gd name="T100" fmla="*/ 1044 w 1261"/>
                <a:gd name="T101" fmla="*/ 864 h 2585"/>
                <a:gd name="T102" fmla="*/ 1044 w 1261"/>
                <a:gd name="T103" fmla="*/ 864 h 2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61" h="2585">
                  <a:moveTo>
                    <a:pt x="1255" y="0"/>
                  </a:moveTo>
                  <a:lnTo>
                    <a:pt x="582" y="0"/>
                  </a:lnTo>
                  <a:lnTo>
                    <a:pt x="47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33"/>
                  </a:lnTo>
                  <a:lnTo>
                    <a:pt x="14" y="65"/>
                  </a:lnTo>
                  <a:lnTo>
                    <a:pt x="22" y="97"/>
                  </a:lnTo>
                  <a:lnTo>
                    <a:pt x="32" y="129"/>
                  </a:lnTo>
                  <a:lnTo>
                    <a:pt x="32" y="129"/>
                  </a:lnTo>
                  <a:lnTo>
                    <a:pt x="47" y="170"/>
                  </a:lnTo>
                  <a:lnTo>
                    <a:pt x="63" y="210"/>
                  </a:lnTo>
                  <a:lnTo>
                    <a:pt x="79" y="250"/>
                  </a:lnTo>
                  <a:lnTo>
                    <a:pt x="99" y="288"/>
                  </a:lnTo>
                  <a:lnTo>
                    <a:pt x="119" y="325"/>
                  </a:lnTo>
                  <a:lnTo>
                    <a:pt x="140" y="361"/>
                  </a:lnTo>
                  <a:lnTo>
                    <a:pt x="163" y="396"/>
                  </a:lnTo>
                  <a:lnTo>
                    <a:pt x="186" y="431"/>
                  </a:lnTo>
                  <a:lnTo>
                    <a:pt x="212" y="464"/>
                  </a:lnTo>
                  <a:lnTo>
                    <a:pt x="238" y="495"/>
                  </a:lnTo>
                  <a:lnTo>
                    <a:pt x="266" y="525"/>
                  </a:lnTo>
                  <a:lnTo>
                    <a:pt x="294" y="556"/>
                  </a:lnTo>
                  <a:lnTo>
                    <a:pt x="324" y="584"/>
                  </a:lnTo>
                  <a:lnTo>
                    <a:pt x="355" y="611"/>
                  </a:lnTo>
                  <a:lnTo>
                    <a:pt x="387" y="637"/>
                  </a:lnTo>
                  <a:lnTo>
                    <a:pt x="419" y="660"/>
                  </a:lnTo>
                  <a:lnTo>
                    <a:pt x="419" y="660"/>
                  </a:lnTo>
                  <a:lnTo>
                    <a:pt x="454" y="686"/>
                  </a:lnTo>
                  <a:lnTo>
                    <a:pt x="491" y="709"/>
                  </a:lnTo>
                  <a:lnTo>
                    <a:pt x="528" y="730"/>
                  </a:lnTo>
                  <a:lnTo>
                    <a:pt x="565" y="750"/>
                  </a:lnTo>
                  <a:lnTo>
                    <a:pt x="604" y="768"/>
                  </a:lnTo>
                  <a:lnTo>
                    <a:pt x="642" y="785"/>
                  </a:lnTo>
                  <a:lnTo>
                    <a:pt x="681" y="801"/>
                  </a:lnTo>
                  <a:lnTo>
                    <a:pt x="721" y="815"/>
                  </a:lnTo>
                  <a:lnTo>
                    <a:pt x="761" y="826"/>
                  </a:lnTo>
                  <a:lnTo>
                    <a:pt x="801" y="836"/>
                  </a:lnTo>
                  <a:lnTo>
                    <a:pt x="841" y="845"/>
                  </a:lnTo>
                  <a:lnTo>
                    <a:pt x="882" y="852"/>
                  </a:lnTo>
                  <a:lnTo>
                    <a:pt x="922" y="857"/>
                  </a:lnTo>
                  <a:lnTo>
                    <a:pt x="963" y="861"/>
                  </a:lnTo>
                  <a:lnTo>
                    <a:pt x="1003" y="863"/>
                  </a:lnTo>
                  <a:lnTo>
                    <a:pt x="1044" y="864"/>
                  </a:lnTo>
                  <a:lnTo>
                    <a:pt x="1044" y="864"/>
                  </a:lnTo>
                  <a:lnTo>
                    <a:pt x="1010" y="890"/>
                  </a:lnTo>
                  <a:lnTo>
                    <a:pt x="976" y="918"/>
                  </a:lnTo>
                  <a:lnTo>
                    <a:pt x="943" y="946"/>
                  </a:lnTo>
                  <a:lnTo>
                    <a:pt x="913" y="977"/>
                  </a:lnTo>
                  <a:lnTo>
                    <a:pt x="884" y="1007"/>
                  </a:lnTo>
                  <a:lnTo>
                    <a:pt x="857" y="1038"/>
                  </a:lnTo>
                  <a:lnTo>
                    <a:pt x="830" y="1071"/>
                  </a:lnTo>
                  <a:lnTo>
                    <a:pt x="805" y="1104"/>
                  </a:lnTo>
                  <a:lnTo>
                    <a:pt x="781" y="1139"/>
                  </a:lnTo>
                  <a:lnTo>
                    <a:pt x="759" y="1173"/>
                  </a:lnTo>
                  <a:lnTo>
                    <a:pt x="739" y="1208"/>
                  </a:lnTo>
                  <a:lnTo>
                    <a:pt x="720" y="1245"/>
                  </a:lnTo>
                  <a:lnTo>
                    <a:pt x="702" y="1281"/>
                  </a:lnTo>
                  <a:lnTo>
                    <a:pt x="686" y="1320"/>
                  </a:lnTo>
                  <a:lnTo>
                    <a:pt x="671" y="1358"/>
                  </a:lnTo>
                  <a:lnTo>
                    <a:pt x="658" y="1396"/>
                  </a:lnTo>
                  <a:lnTo>
                    <a:pt x="658" y="1396"/>
                  </a:lnTo>
                  <a:lnTo>
                    <a:pt x="645" y="1438"/>
                  </a:lnTo>
                  <a:lnTo>
                    <a:pt x="634" y="1479"/>
                  </a:lnTo>
                  <a:lnTo>
                    <a:pt x="625" y="1521"/>
                  </a:lnTo>
                  <a:lnTo>
                    <a:pt x="617" y="1564"/>
                  </a:lnTo>
                  <a:lnTo>
                    <a:pt x="612" y="1605"/>
                  </a:lnTo>
                  <a:lnTo>
                    <a:pt x="608" y="1647"/>
                  </a:lnTo>
                  <a:lnTo>
                    <a:pt x="606" y="1689"/>
                  </a:lnTo>
                  <a:lnTo>
                    <a:pt x="605" y="1730"/>
                  </a:lnTo>
                  <a:lnTo>
                    <a:pt x="606" y="1772"/>
                  </a:lnTo>
                  <a:lnTo>
                    <a:pt x="609" y="1814"/>
                  </a:lnTo>
                  <a:lnTo>
                    <a:pt x="614" y="1854"/>
                  </a:lnTo>
                  <a:lnTo>
                    <a:pt x="619" y="1895"/>
                  </a:lnTo>
                  <a:lnTo>
                    <a:pt x="626" y="1935"/>
                  </a:lnTo>
                  <a:lnTo>
                    <a:pt x="635" y="1974"/>
                  </a:lnTo>
                  <a:lnTo>
                    <a:pt x="645" y="2015"/>
                  </a:lnTo>
                  <a:lnTo>
                    <a:pt x="658" y="2053"/>
                  </a:lnTo>
                  <a:lnTo>
                    <a:pt x="658" y="2053"/>
                  </a:lnTo>
                  <a:lnTo>
                    <a:pt x="672" y="2095"/>
                  </a:lnTo>
                  <a:lnTo>
                    <a:pt x="688" y="2135"/>
                  </a:lnTo>
                  <a:lnTo>
                    <a:pt x="705" y="2174"/>
                  </a:lnTo>
                  <a:lnTo>
                    <a:pt x="724" y="2212"/>
                  </a:lnTo>
                  <a:lnTo>
                    <a:pt x="744" y="2249"/>
                  </a:lnTo>
                  <a:lnTo>
                    <a:pt x="766" y="2286"/>
                  </a:lnTo>
                  <a:lnTo>
                    <a:pt x="788" y="2321"/>
                  </a:lnTo>
                  <a:lnTo>
                    <a:pt x="812" y="2355"/>
                  </a:lnTo>
                  <a:lnTo>
                    <a:pt x="838" y="2387"/>
                  </a:lnTo>
                  <a:lnTo>
                    <a:pt x="864" y="2420"/>
                  </a:lnTo>
                  <a:lnTo>
                    <a:pt x="891" y="2450"/>
                  </a:lnTo>
                  <a:lnTo>
                    <a:pt x="920" y="2480"/>
                  </a:lnTo>
                  <a:lnTo>
                    <a:pt x="949" y="2508"/>
                  </a:lnTo>
                  <a:lnTo>
                    <a:pt x="979" y="2535"/>
                  </a:lnTo>
                  <a:lnTo>
                    <a:pt x="1012" y="2561"/>
                  </a:lnTo>
                  <a:lnTo>
                    <a:pt x="1044" y="2585"/>
                  </a:lnTo>
                  <a:lnTo>
                    <a:pt x="1044" y="2585"/>
                  </a:lnTo>
                  <a:lnTo>
                    <a:pt x="1044" y="2585"/>
                  </a:lnTo>
                  <a:lnTo>
                    <a:pt x="1044" y="2585"/>
                  </a:lnTo>
                  <a:lnTo>
                    <a:pt x="1261" y="2376"/>
                  </a:lnTo>
                  <a:lnTo>
                    <a:pt x="1255" y="0"/>
                  </a:lnTo>
                  <a:close/>
                  <a:moveTo>
                    <a:pt x="1044" y="864"/>
                  </a:moveTo>
                  <a:lnTo>
                    <a:pt x="1044" y="864"/>
                  </a:lnTo>
                  <a:lnTo>
                    <a:pt x="1044" y="864"/>
                  </a:lnTo>
                  <a:lnTo>
                    <a:pt x="1045" y="864"/>
                  </a:lnTo>
                  <a:lnTo>
                    <a:pt x="1044" y="864"/>
                  </a:lnTo>
                  <a:close/>
                </a:path>
              </a:pathLst>
            </a:custGeom>
            <a:solidFill>
              <a:srgbClr val="BCC8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3" name="Freeform 25"/>
            <p:cNvSpPr>
              <a:spLocks/>
            </p:cNvSpPr>
            <p:nvPr userDrawn="1"/>
          </p:nvSpPr>
          <p:spPr bwMode="auto">
            <a:xfrm>
              <a:off x="7877175" y="0"/>
              <a:ext cx="1266825" cy="4103688"/>
            </a:xfrm>
            <a:custGeom>
              <a:avLst/>
              <a:gdLst>
                <a:gd name="T0" fmla="*/ 0 w 798"/>
                <a:gd name="T1" fmla="*/ 0 h 2585"/>
                <a:gd name="T2" fmla="*/ 73 w 798"/>
                <a:gd name="T3" fmla="*/ 96 h 2585"/>
                <a:gd name="T4" fmla="*/ 142 w 798"/>
                <a:gd name="T5" fmla="*/ 196 h 2585"/>
                <a:gd name="T6" fmla="*/ 206 w 798"/>
                <a:gd name="T7" fmla="*/ 299 h 2585"/>
                <a:gd name="T8" fmla="*/ 267 w 798"/>
                <a:gd name="T9" fmla="*/ 405 h 2585"/>
                <a:gd name="T10" fmla="*/ 322 w 798"/>
                <a:gd name="T11" fmla="*/ 515 h 2585"/>
                <a:gd name="T12" fmla="*/ 374 w 798"/>
                <a:gd name="T13" fmla="*/ 629 h 2585"/>
                <a:gd name="T14" fmla="*/ 420 w 798"/>
                <a:gd name="T15" fmla="*/ 745 h 2585"/>
                <a:gd name="T16" fmla="*/ 462 w 798"/>
                <a:gd name="T17" fmla="*/ 864 h 2585"/>
                <a:gd name="T18" fmla="*/ 463 w 798"/>
                <a:gd name="T19" fmla="*/ 864 h 2585"/>
                <a:gd name="T20" fmla="*/ 462 w 798"/>
                <a:gd name="T21" fmla="*/ 864 h 2585"/>
                <a:gd name="T22" fmla="*/ 462 w 798"/>
                <a:gd name="T23" fmla="*/ 864 h 2585"/>
                <a:gd name="T24" fmla="*/ 478 w 798"/>
                <a:gd name="T25" fmla="*/ 915 h 2585"/>
                <a:gd name="T26" fmla="*/ 508 w 798"/>
                <a:gd name="T27" fmla="*/ 1017 h 2585"/>
                <a:gd name="T28" fmla="*/ 532 w 798"/>
                <a:gd name="T29" fmla="*/ 1122 h 2585"/>
                <a:gd name="T30" fmla="*/ 554 w 798"/>
                <a:gd name="T31" fmla="*/ 1226 h 2585"/>
                <a:gd name="T32" fmla="*/ 571 w 798"/>
                <a:gd name="T33" fmla="*/ 1332 h 2585"/>
                <a:gd name="T34" fmla="*/ 584 w 798"/>
                <a:gd name="T35" fmla="*/ 1439 h 2585"/>
                <a:gd name="T36" fmla="*/ 593 w 798"/>
                <a:gd name="T37" fmla="*/ 1547 h 2585"/>
                <a:gd name="T38" fmla="*/ 598 w 798"/>
                <a:gd name="T39" fmla="*/ 1655 h 2585"/>
                <a:gd name="T40" fmla="*/ 599 w 798"/>
                <a:gd name="T41" fmla="*/ 1763 h 2585"/>
                <a:gd name="T42" fmla="*/ 595 w 798"/>
                <a:gd name="T43" fmla="*/ 1873 h 2585"/>
                <a:gd name="T44" fmla="*/ 586 w 798"/>
                <a:gd name="T45" fmla="*/ 1982 h 2585"/>
                <a:gd name="T46" fmla="*/ 574 w 798"/>
                <a:gd name="T47" fmla="*/ 2091 h 2585"/>
                <a:gd name="T48" fmla="*/ 557 w 798"/>
                <a:gd name="T49" fmla="*/ 2202 h 2585"/>
                <a:gd name="T50" fmla="*/ 536 w 798"/>
                <a:gd name="T51" fmla="*/ 2312 h 2585"/>
                <a:gd name="T52" fmla="*/ 510 w 798"/>
                <a:gd name="T53" fmla="*/ 2421 h 2585"/>
                <a:gd name="T54" fmla="*/ 480 w 798"/>
                <a:gd name="T55" fmla="*/ 2530 h 2585"/>
                <a:gd name="T56" fmla="*/ 462 w 798"/>
                <a:gd name="T57" fmla="*/ 2585 h 2585"/>
                <a:gd name="T58" fmla="*/ 597 w 798"/>
                <a:gd name="T59" fmla="*/ 2529 h 2585"/>
                <a:gd name="T60" fmla="*/ 675 w 798"/>
                <a:gd name="T61" fmla="*/ 2492 h 2585"/>
                <a:gd name="T62" fmla="*/ 798 w 798"/>
                <a:gd name="T63" fmla="*/ 2430 h 2585"/>
                <a:gd name="T64" fmla="*/ 798 w 798"/>
                <a:gd name="T65" fmla="*/ 0 h 2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98" h="2585">
                  <a:moveTo>
                    <a:pt x="0" y="0"/>
                  </a:moveTo>
                  <a:lnTo>
                    <a:pt x="0" y="0"/>
                  </a:lnTo>
                  <a:lnTo>
                    <a:pt x="37" y="47"/>
                  </a:lnTo>
                  <a:lnTo>
                    <a:pt x="73" y="96"/>
                  </a:lnTo>
                  <a:lnTo>
                    <a:pt x="108" y="145"/>
                  </a:lnTo>
                  <a:lnTo>
                    <a:pt x="142" y="196"/>
                  </a:lnTo>
                  <a:lnTo>
                    <a:pt x="175" y="246"/>
                  </a:lnTo>
                  <a:lnTo>
                    <a:pt x="206" y="299"/>
                  </a:lnTo>
                  <a:lnTo>
                    <a:pt x="237" y="352"/>
                  </a:lnTo>
                  <a:lnTo>
                    <a:pt x="267" y="405"/>
                  </a:lnTo>
                  <a:lnTo>
                    <a:pt x="295" y="460"/>
                  </a:lnTo>
                  <a:lnTo>
                    <a:pt x="322" y="515"/>
                  </a:lnTo>
                  <a:lnTo>
                    <a:pt x="349" y="572"/>
                  </a:lnTo>
                  <a:lnTo>
                    <a:pt x="374" y="629"/>
                  </a:lnTo>
                  <a:lnTo>
                    <a:pt x="397" y="686"/>
                  </a:lnTo>
                  <a:lnTo>
                    <a:pt x="420" y="745"/>
                  </a:lnTo>
                  <a:lnTo>
                    <a:pt x="441" y="804"/>
                  </a:lnTo>
                  <a:lnTo>
                    <a:pt x="462" y="864"/>
                  </a:lnTo>
                  <a:lnTo>
                    <a:pt x="462" y="864"/>
                  </a:lnTo>
                  <a:lnTo>
                    <a:pt x="463" y="864"/>
                  </a:lnTo>
                  <a:lnTo>
                    <a:pt x="463" y="864"/>
                  </a:lnTo>
                  <a:lnTo>
                    <a:pt x="462" y="864"/>
                  </a:lnTo>
                  <a:lnTo>
                    <a:pt x="462" y="864"/>
                  </a:lnTo>
                  <a:lnTo>
                    <a:pt x="462" y="864"/>
                  </a:lnTo>
                  <a:lnTo>
                    <a:pt x="462" y="864"/>
                  </a:lnTo>
                  <a:lnTo>
                    <a:pt x="478" y="915"/>
                  </a:lnTo>
                  <a:lnTo>
                    <a:pt x="493" y="966"/>
                  </a:lnTo>
                  <a:lnTo>
                    <a:pt x="508" y="1017"/>
                  </a:lnTo>
                  <a:lnTo>
                    <a:pt x="520" y="1069"/>
                  </a:lnTo>
                  <a:lnTo>
                    <a:pt x="532" y="1122"/>
                  </a:lnTo>
                  <a:lnTo>
                    <a:pt x="544" y="1173"/>
                  </a:lnTo>
                  <a:lnTo>
                    <a:pt x="554" y="1226"/>
                  </a:lnTo>
                  <a:lnTo>
                    <a:pt x="563" y="1279"/>
                  </a:lnTo>
                  <a:lnTo>
                    <a:pt x="571" y="1332"/>
                  </a:lnTo>
                  <a:lnTo>
                    <a:pt x="579" y="1386"/>
                  </a:lnTo>
                  <a:lnTo>
                    <a:pt x="584" y="1439"/>
                  </a:lnTo>
                  <a:lnTo>
                    <a:pt x="590" y="1493"/>
                  </a:lnTo>
                  <a:lnTo>
                    <a:pt x="593" y="1547"/>
                  </a:lnTo>
                  <a:lnTo>
                    <a:pt x="597" y="1601"/>
                  </a:lnTo>
                  <a:lnTo>
                    <a:pt x="598" y="1655"/>
                  </a:lnTo>
                  <a:lnTo>
                    <a:pt x="599" y="1709"/>
                  </a:lnTo>
                  <a:lnTo>
                    <a:pt x="599" y="1763"/>
                  </a:lnTo>
                  <a:lnTo>
                    <a:pt x="598" y="1818"/>
                  </a:lnTo>
                  <a:lnTo>
                    <a:pt x="595" y="1873"/>
                  </a:lnTo>
                  <a:lnTo>
                    <a:pt x="592" y="1927"/>
                  </a:lnTo>
                  <a:lnTo>
                    <a:pt x="586" y="1982"/>
                  </a:lnTo>
                  <a:lnTo>
                    <a:pt x="581" y="2037"/>
                  </a:lnTo>
                  <a:lnTo>
                    <a:pt x="574" y="2091"/>
                  </a:lnTo>
                  <a:lnTo>
                    <a:pt x="566" y="2147"/>
                  </a:lnTo>
                  <a:lnTo>
                    <a:pt x="557" y="2202"/>
                  </a:lnTo>
                  <a:lnTo>
                    <a:pt x="547" y="2257"/>
                  </a:lnTo>
                  <a:lnTo>
                    <a:pt x="536" y="2312"/>
                  </a:lnTo>
                  <a:lnTo>
                    <a:pt x="523" y="2366"/>
                  </a:lnTo>
                  <a:lnTo>
                    <a:pt x="510" y="2421"/>
                  </a:lnTo>
                  <a:lnTo>
                    <a:pt x="495" y="2476"/>
                  </a:lnTo>
                  <a:lnTo>
                    <a:pt x="480" y="2530"/>
                  </a:lnTo>
                  <a:lnTo>
                    <a:pt x="462" y="2585"/>
                  </a:lnTo>
                  <a:lnTo>
                    <a:pt x="462" y="2585"/>
                  </a:lnTo>
                  <a:lnTo>
                    <a:pt x="555" y="2547"/>
                  </a:lnTo>
                  <a:lnTo>
                    <a:pt x="597" y="2529"/>
                  </a:lnTo>
                  <a:lnTo>
                    <a:pt x="637" y="2511"/>
                  </a:lnTo>
                  <a:lnTo>
                    <a:pt x="675" y="2492"/>
                  </a:lnTo>
                  <a:lnTo>
                    <a:pt x="715" y="2473"/>
                  </a:lnTo>
                  <a:lnTo>
                    <a:pt x="798" y="2430"/>
                  </a:lnTo>
                  <a:lnTo>
                    <a:pt x="798" y="701"/>
                  </a:lnTo>
                  <a:lnTo>
                    <a:pt x="79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99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4" name="Freeform 26"/>
            <p:cNvSpPr>
              <a:spLocks/>
            </p:cNvSpPr>
            <p:nvPr userDrawn="1"/>
          </p:nvSpPr>
          <p:spPr bwMode="auto">
            <a:xfrm>
              <a:off x="8610600" y="1112838"/>
              <a:ext cx="533400" cy="258763"/>
            </a:xfrm>
            <a:custGeom>
              <a:avLst/>
              <a:gdLst>
                <a:gd name="T0" fmla="*/ 336 w 336"/>
                <a:gd name="T1" fmla="*/ 0 h 163"/>
                <a:gd name="T2" fmla="*/ 336 w 336"/>
                <a:gd name="T3" fmla="*/ 0 h 163"/>
                <a:gd name="T4" fmla="*/ 291 w 336"/>
                <a:gd name="T5" fmla="*/ 13 h 163"/>
                <a:gd name="T6" fmla="*/ 246 w 336"/>
                <a:gd name="T7" fmla="*/ 29 h 163"/>
                <a:gd name="T8" fmla="*/ 202 w 336"/>
                <a:gd name="T9" fmla="*/ 47 h 163"/>
                <a:gd name="T10" fmla="*/ 159 w 336"/>
                <a:gd name="T11" fmla="*/ 67 h 163"/>
                <a:gd name="T12" fmla="*/ 118 w 336"/>
                <a:gd name="T13" fmla="*/ 89 h 163"/>
                <a:gd name="T14" fmla="*/ 77 w 336"/>
                <a:gd name="T15" fmla="*/ 111 h 163"/>
                <a:gd name="T16" fmla="*/ 38 w 336"/>
                <a:gd name="T17" fmla="*/ 136 h 163"/>
                <a:gd name="T18" fmla="*/ 0 w 336"/>
                <a:gd name="T19" fmla="*/ 163 h 163"/>
                <a:gd name="T20" fmla="*/ 0 w 336"/>
                <a:gd name="T21" fmla="*/ 163 h 163"/>
                <a:gd name="T22" fmla="*/ 43 w 336"/>
                <a:gd name="T23" fmla="*/ 162 h 163"/>
                <a:gd name="T24" fmla="*/ 87 w 336"/>
                <a:gd name="T25" fmla="*/ 160 h 163"/>
                <a:gd name="T26" fmla="*/ 130 w 336"/>
                <a:gd name="T27" fmla="*/ 155 h 163"/>
                <a:gd name="T28" fmla="*/ 173 w 336"/>
                <a:gd name="T29" fmla="*/ 150 h 163"/>
                <a:gd name="T30" fmla="*/ 214 w 336"/>
                <a:gd name="T31" fmla="*/ 142 h 163"/>
                <a:gd name="T32" fmla="*/ 255 w 336"/>
                <a:gd name="T33" fmla="*/ 133 h 163"/>
                <a:gd name="T34" fmla="*/ 297 w 336"/>
                <a:gd name="T35" fmla="*/ 121 h 163"/>
                <a:gd name="T36" fmla="*/ 336 w 336"/>
                <a:gd name="T37" fmla="*/ 109 h 163"/>
                <a:gd name="T38" fmla="*/ 336 w 336"/>
                <a:gd name="T3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6" h="163">
                  <a:moveTo>
                    <a:pt x="336" y="0"/>
                  </a:moveTo>
                  <a:lnTo>
                    <a:pt x="336" y="0"/>
                  </a:lnTo>
                  <a:lnTo>
                    <a:pt x="291" y="13"/>
                  </a:lnTo>
                  <a:lnTo>
                    <a:pt x="246" y="29"/>
                  </a:lnTo>
                  <a:lnTo>
                    <a:pt x="202" y="47"/>
                  </a:lnTo>
                  <a:lnTo>
                    <a:pt x="159" y="67"/>
                  </a:lnTo>
                  <a:lnTo>
                    <a:pt x="118" y="89"/>
                  </a:lnTo>
                  <a:lnTo>
                    <a:pt x="77" y="111"/>
                  </a:lnTo>
                  <a:lnTo>
                    <a:pt x="38" y="136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43" y="162"/>
                  </a:lnTo>
                  <a:lnTo>
                    <a:pt x="87" y="160"/>
                  </a:lnTo>
                  <a:lnTo>
                    <a:pt x="130" y="155"/>
                  </a:lnTo>
                  <a:lnTo>
                    <a:pt x="173" y="150"/>
                  </a:lnTo>
                  <a:lnTo>
                    <a:pt x="214" y="142"/>
                  </a:lnTo>
                  <a:lnTo>
                    <a:pt x="255" y="133"/>
                  </a:lnTo>
                  <a:lnTo>
                    <a:pt x="297" y="121"/>
                  </a:lnTo>
                  <a:lnTo>
                    <a:pt x="336" y="109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5" name="Freeform 27"/>
            <p:cNvSpPr>
              <a:spLocks/>
            </p:cNvSpPr>
            <p:nvPr userDrawn="1"/>
          </p:nvSpPr>
          <p:spPr bwMode="auto">
            <a:xfrm>
              <a:off x="8610600" y="4103688"/>
              <a:ext cx="28575" cy="20638"/>
            </a:xfrm>
            <a:custGeom>
              <a:avLst/>
              <a:gdLst>
                <a:gd name="T0" fmla="*/ 18 w 18"/>
                <a:gd name="T1" fmla="*/ 13 h 13"/>
                <a:gd name="T2" fmla="*/ 18 w 18"/>
                <a:gd name="T3" fmla="*/ 13 h 13"/>
                <a:gd name="T4" fmla="*/ 0 w 18"/>
                <a:gd name="T5" fmla="*/ 0 h 13"/>
                <a:gd name="T6" fmla="*/ 0 w 18"/>
                <a:gd name="T7" fmla="*/ 0 h 13"/>
                <a:gd name="T8" fmla="*/ 18 w 18"/>
                <a:gd name="T9" fmla="*/ 13 h 13"/>
                <a:gd name="T10" fmla="*/ 18 w 18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3">
                  <a:moveTo>
                    <a:pt x="18" y="13"/>
                  </a:moveTo>
                  <a:lnTo>
                    <a:pt x="18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13"/>
                  </a:lnTo>
                  <a:lnTo>
                    <a:pt x="18" y="13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6" name="Freeform 28"/>
            <p:cNvSpPr>
              <a:spLocks/>
            </p:cNvSpPr>
            <p:nvPr userDrawn="1"/>
          </p:nvSpPr>
          <p:spPr bwMode="auto">
            <a:xfrm>
              <a:off x="8639175" y="4124325"/>
              <a:ext cx="504825" cy="312738"/>
            </a:xfrm>
            <a:custGeom>
              <a:avLst/>
              <a:gdLst>
                <a:gd name="T0" fmla="*/ 318 w 318"/>
                <a:gd name="T1" fmla="*/ 150 h 197"/>
                <a:gd name="T2" fmla="*/ 318 w 318"/>
                <a:gd name="T3" fmla="*/ 150 h 197"/>
                <a:gd name="T4" fmla="*/ 276 w 318"/>
                <a:gd name="T5" fmla="*/ 138 h 197"/>
                <a:gd name="T6" fmla="*/ 236 w 318"/>
                <a:gd name="T7" fmla="*/ 123 h 197"/>
                <a:gd name="T8" fmla="*/ 195 w 318"/>
                <a:gd name="T9" fmla="*/ 108 h 197"/>
                <a:gd name="T10" fmla="*/ 155 w 318"/>
                <a:gd name="T11" fmla="*/ 90 h 197"/>
                <a:gd name="T12" fmla="*/ 115 w 318"/>
                <a:gd name="T13" fmla="*/ 69 h 197"/>
                <a:gd name="T14" fmla="*/ 76 w 318"/>
                <a:gd name="T15" fmla="*/ 48 h 197"/>
                <a:gd name="T16" fmla="*/ 38 w 318"/>
                <a:gd name="T17" fmla="*/ 24 h 197"/>
                <a:gd name="T18" fmla="*/ 0 w 318"/>
                <a:gd name="T19" fmla="*/ 0 h 197"/>
                <a:gd name="T20" fmla="*/ 0 w 318"/>
                <a:gd name="T21" fmla="*/ 0 h 197"/>
                <a:gd name="T22" fmla="*/ 39 w 318"/>
                <a:gd name="T23" fmla="*/ 27 h 197"/>
                <a:gd name="T24" fmla="*/ 77 w 318"/>
                <a:gd name="T25" fmla="*/ 54 h 197"/>
                <a:gd name="T26" fmla="*/ 117 w 318"/>
                <a:gd name="T27" fmla="*/ 80 h 197"/>
                <a:gd name="T28" fmla="*/ 157 w 318"/>
                <a:gd name="T29" fmla="*/ 104 h 197"/>
                <a:gd name="T30" fmla="*/ 196 w 318"/>
                <a:gd name="T31" fmla="*/ 128 h 197"/>
                <a:gd name="T32" fmla="*/ 237 w 318"/>
                <a:gd name="T33" fmla="*/ 152 h 197"/>
                <a:gd name="T34" fmla="*/ 277 w 318"/>
                <a:gd name="T35" fmla="*/ 174 h 197"/>
                <a:gd name="T36" fmla="*/ 318 w 318"/>
                <a:gd name="T37" fmla="*/ 197 h 197"/>
                <a:gd name="T38" fmla="*/ 318 w 318"/>
                <a:gd name="T39" fmla="*/ 15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8" h="197">
                  <a:moveTo>
                    <a:pt x="318" y="150"/>
                  </a:moveTo>
                  <a:lnTo>
                    <a:pt x="318" y="150"/>
                  </a:lnTo>
                  <a:lnTo>
                    <a:pt x="276" y="138"/>
                  </a:lnTo>
                  <a:lnTo>
                    <a:pt x="236" y="123"/>
                  </a:lnTo>
                  <a:lnTo>
                    <a:pt x="195" y="108"/>
                  </a:lnTo>
                  <a:lnTo>
                    <a:pt x="155" y="90"/>
                  </a:lnTo>
                  <a:lnTo>
                    <a:pt x="115" y="69"/>
                  </a:lnTo>
                  <a:lnTo>
                    <a:pt x="76" y="48"/>
                  </a:lnTo>
                  <a:lnTo>
                    <a:pt x="38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39" y="27"/>
                  </a:lnTo>
                  <a:lnTo>
                    <a:pt x="77" y="54"/>
                  </a:lnTo>
                  <a:lnTo>
                    <a:pt x="117" y="80"/>
                  </a:lnTo>
                  <a:lnTo>
                    <a:pt x="157" y="104"/>
                  </a:lnTo>
                  <a:lnTo>
                    <a:pt x="196" y="128"/>
                  </a:lnTo>
                  <a:lnTo>
                    <a:pt x="237" y="152"/>
                  </a:lnTo>
                  <a:lnTo>
                    <a:pt x="277" y="174"/>
                  </a:lnTo>
                  <a:lnTo>
                    <a:pt x="318" y="197"/>
                  </a:lnTo>
                  <a:lnTo>
                    <a:pt x="318" y="150"/>
                  </a:lnTo>
                  <a:close/>
                </a:path>
              </a:pathLst>
            </a:custGeom>
            <a:solidFill>
              <a:srgbClr val="2BB6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7" name="Freeform 29"/>
            <p:cNvSpPr>
              <a:spLocks/>
            </p:cNvSpPr>
            <p:nvPr userDrawn="1"/>
          </p:nvSpPr>
          <p:spPr bwMode="auto">
            <a:xfrm>
              <a:off x="8585200" y="4084638"/>
              <a:ext cx="25400" cy="19050"/>
            </a:xfrm>
            <a:custGeom>
              <a:avLst/>
              <a:gdLst>
                <a:gd name="T0" fmla="*/ 0 w 16"/>
                <a:gd name="T1" fmla="*/ 0 h 12"/>
                <a:gd name="T2" fmla="*/ 0 w 16"/>
                <a:gd name="T3" fmla="*/ 0 h 12"/>
                <a:gd name="T4" fmla="*/ 16 w 16"/>
                <a:gd name="T5" fmla="*/ 12 h 12"/>
                <a:gd name="T6" fmla="*/ 16 w 16"/>
                <a:gd name="T7" fmla="*/ 12 h 12"/>
                <a:gd name="T8" fmla="*/ 0 w 16"/>
                <a:gd name="T9" fmla="*/ 0 h 12"/>
                <a:gd name="T10" fmla="*/ 0 w 1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2">
                  <a:moveTo>
                    <a:pt x="0" y="0"/>
                  </a:moveTo>
                  <a:lnTo>
                    <a:pt x="0" y="0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ED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8" name="Freeform 30"/>
            <p:cNvSpPr>
              <a:spLocks/>
            </p:cNvSpPr>
            <p:nvPr userDrawn="1"/>
          </p:nvSpPr>
          <p:spPr bwMode="auto">
            <a:xfrm>
              <a:off x="7588250" y="4103688"/>
              <a:ext cx="1022350" cy="1039813"/>
            </a:xfrm>
            <a:custGeom>
              <a:avLst/>
              <a:gdLst>
                <a:gd name="T0" fmla="*/ 0 w 644"/>
                <a:gd name="T1" fmla="*/ 655 h 655"/>
                <a:gd name="T2" fmla="*/ 332 w 644"/>
                <a:gd name="T3" fmla="*/ 655 h 655"/>
                <a:gd name="T4" fmla="*/ 332 w 644"/>
                <a:gd name="T5" fmla="*/ 655 h 655"/>
                <a:gd name="T6" fmla="*/ 357 w 644"/>
                <a:gd name="T7" fmla="*/ 617 h 655"/>
                <a:gd name="T8" fmla="*/ 381 w 644"/>
                <a:gd name="T9" fmla="*/ 577 h 655"/>
                <a:gd name="T10" fmla="*/ 404 w 644"/>
                <a:gd name="T11" fmla="*/ 538 h 655"/>
                <a:gd name="T12" fmla="*/ 426 w 644"/>
                <a:gd name="T13" fmla="*/ 499 h 655"/>
                <a:gd name="T14" fmla="*/ 449 w 644"/>
                <a:gd name="T15" fmla="*/ 458 h 655"/>
                <a:gd name="T16" fmla="*/ 470 w 644"/>
                <a:gd name="T17" fmla="*/ 418 h 655"/>
                <a:gd name="T18" fmla="*/ 491 w 644"/>
                <a:gd name="T19" fmla="*/ 377 h 655"/>
                <a:gd name="T20" fmla="*/ 511 w 644"/>
                <a:gd name="T21" fmla="*/ 337 h 655"/>
                <a:gd name="T22" fmla="*/ 530 w 644"/>
                <a:gd name="T23" fmla="*/ 295 h 655"/>
                <a:gd name="T24" fmla="*/ 548 w 644"/>
                <a:gd name="T25" fmla="*/ 253 h 655"/>
                <a:gd name="T26" fmla="*/ 566 w 644"/>
                <a:gd name="T27" fmla="*/ 212 h 655"/>
                <a:gd name="T28" fmla="*/ 583 w 644"/>
                <a:gd name="T29" fmla="*/ 170 h 655"/>
                <a:gd name="T30" fmla="*/ 600 w 644"/>
                <a:gd name="T31" fmla="*/ 129 h 655"/>
                <a:gd name="T32" fmla="*/ 614 w 644"/>
                <a:gd name="T33" fmla="*/ 86 h 655"/>
                <a:gd name="T34" fmla="*/ 630 w 644"/>
                <a:gd name="T35" fmla="*/ 43 h 655"/>
                <a:gd name="T36" fmla="*/ 644 w 644"/>
                <a:gd name="T37" fmla="*/ 0 h 655"/>
                <a:gd name="T38" fmla="*/ 644 w 644"/>
                <a:gd name="T39" fmla="*/ 0 h 655"/>
                <a:gd name="T40" fmla="*/ 644 w 644"/>
                <a:gd name="T41" fmla="*/ 0 h 655"/>
                <a:gd name="T42" fmla="*/ 596 w 644"/>
                <a:gd name="T43" fmla="*/ 35 h 655"/>
                <a:gd name="T44" fmla="*/ 550 w 644"/>
                <a:gd name="T45" fmla="*/ 72 h 655"/>
                <a:gd name="T46" fmla="*/ 504 w 644"/>
                <a:gd name="T47" fmla="*/ 108 h 655"/>
                <a:gd name="T48" fmla="*/ 459 w 644"/>
                <a:gd name="T49" fmla="*/ 147 h 655"/>
                <a:gd name="T50" fmla="*/ 415 w 644"/>
                <a:gd name="T51" fmla="*/ 185 h 655"/>
                <a:gd name="T52" fmla="*/ 372 w 644"/>
                <a:gd name="T53" fmla="*/ 224 h 655"/>
                <a:gd name="T54" fmla="*/ 331 w 644"/>
                <a:gd name="T55" fmla="*/ 265 h 655"/>
                <a:gd name="T56" fmla="*/ 290 w 644"/>
                <a:gd name="T57" fmla="*/ 305 h 655"/>
                <a:gd name="T58" fmla="*/ 250 w 644"/>
                <a:gd name="T59" fmla="*/ 347 h 655"/>
                <a:gd name="T60" fmla="*/ 212 w 644"/>
                <a:gd name="T61" fmla="*/ 388 h 655"/>
                <a:gd name="T62" fmla="*/ 173 w 644"/>
                <a:gd name="T63" fmla="*/ 431 h 655"/>
                <a:gd name="T64" fmla="*/ 137 w 644"/>
                <a:gd name="T65" fmla="*/ 475 h 655"/>
                <a:gd name="T66" fmla="*/ 101 w 644"/>
                <a:gd name="T67" fmla="*/ 519 h 655"/>
                <a:gd name="T68" fmla="*/ 66 w 644"/>
                <a:gd name="T69" fmla="*/ 564 h 655"/>
                <a:gd name="T70" fmla="*/ 33 w 644"/>
                <a:gd name="T71" fmla="*/ 609 h 655"/>
                <a:gd name="T72" fmla="*/ 0 w 644"/>
                <a:gd name="T73" fmla="*/ 655 h 655"/>
                <a:gd name="T74" fmla="*/ 0 w 644"/>
                <a:gd name="T75" fmla="*/ 655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44" h="655">
                  <a:moveTo>
                    <a:pt x="0" y="655"/>
                  </a:moveTo>
                  <a:lnTo>
                    <a:pt x="332" y="655"/>
                  </a:lnTo>
                  <a:lnTo>
                    <a:pt x="332" y="655"/>
                  </a:lnTo>
                  <a:lnTo>
                    <a:pt x="357" y="617"/>
                  </a:lnTo>
                  <a:lnTo>
                    <a:pt x="381" y="577"/>
                  </a:lnTo>
                  <a:lnTo>
                    <a:pt x="404" y="538"/>
                  </a:lnTo>
                  <a:lnTo>
                    <a:pt x="426" y="499"/>
                  </a:lnTo>
                  <a:lnTo>
                    <a:pt x="449" y="458"/>
                  </a:lnTo>
                  <a:lnTo>
                    <a:pt x="470" y="418"/>
                  </a:lnTo>
                  <a:lnTo>
                    <a:pt x="491" y="377"/>
                  </a:lnTo>
                  <a:lnTo>
                    <a:pt x="511" y="337"/>
                  </a:lnTo>
                  <a:lnTo>
                    <a:pt x="530" y="295"/>
                  </a:lnTo>
                  <a:lnTo>
                    <a:pt x="548" y="253"/>
                  </a:lnTo>
                  <a:lnTo>
                    <a:pt x="566" y="212"/>
                  </a:lnTo>
                  <a:lnTo>
                    <a:pt x="583" y="170"/>
                  </a:lnTo>
                  <a:lnTo>
                    <a:pt x="600" y="129"/>
                  </a:lnTo>
                  <a:lnTo>
                    <a:pt x="614" y="86"/>
                  </a:lnTo>
                  <a:lnTo>
                    <a:pt x="630" y="43"/>
                  </a:lnTo>
                  <a:lnTo>
                    <a:pt x="644" y="0"/>
                  </a:lnTo>
                  <a:lnTo>
                    <a:pt x="644" y="0"/>
                  </a:lnTo>
                  <a:lnTo>
                    <a:pt x="644" y="0"/>
                  </a:lnTo>
                  <a:lnTo>
                    <a:pt x="596" y="35"/>
                  </a:lnTo>
                  <a:lnTo>
                    <a:pt x="550" y="72"/>
                  </a:lnTo>
                  <a:lnTo>
                    <a:pt x="504" y="108"/>
                  </a:lnTo>
                  <a:lnTo>
                    <a:pt x="459" y="147"/>
                  </a:lnTo>
                  <a:lnTo>
                    <a:pt x="415" y="185"/>
                  </a:lnTo>
                  <a:lnTo>
                    <a:pt x="372" y="224"/>
                  </a:lnTo>
                  <a:lnTo>
                    <a:pt x="331" y="265"/>
                  </a:lnTo>
                  <a:lnTo>
                    <a:pt x="290" y="305"/>
                  </a:lnTo>
                  <a:lnTo>
                    <a:pt x="250" y="347"/>
                  </a:lnTo>
                  <a:lnTo>
                    <a:pt x="212" y="388"/>
                  </a:lnTo>
                  <a:lnTo>
                    <a:pt x="173" y="431"/>
                  </a:lnTo>
                  <a:lnTo>
                    <a:pt x="137" y="475"/>
                  </a:lnTo>
                  <a:lnTo>
                    <a:pt x="101" y="519"/>
                  </a:lnTo>
                  <a:lnTo>
                    <a:pt x="66" y="564"/>
                  </a:lnTo>
                  <a:lnTo>
                    <a:pt x="33" y="609"/>
                  </a:lnTo>
                  <a:lnTo>
                    <a:pt x="0" y="655"/>
                  </a:lnTo>
                  <a:lnTo>
                    <a:pt x="0" y="655"/>
                  </a:lnTo>
                  <a:close/>
                </a:path>
              </a:pathLst>
            </a:custGeom>
            <a:solidFill>
              <a:srgbClr val="80D3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9" name="Freeform 31"/>
            <p:cNvSpPr>
              <a:spLocks/>
            </p:cNvSpPr>
            <p:nvPr userDrawn="1"/>
          </p:nvSpPr>
          <p:spPr bwMode="auto">
            <a:xfrm>
              <a:off x="8610600" y="3771900"/>
              <a:ext cx="533400" cy="619125"/>
            </a:xfrm>
            <a:custGeom>
              <a:avLst/>
              <a:gdLst>
                <a:gd name="T0" fmla="*/ 336 w 336"/>
                <a:gd name="T1" fmla="*/ 0 h 390"/>
                <a:gd name="T2" fmla="*/ 336 w 336"/>
                <a:gd name="T3" fmla="*/ 0 h 390"/>
                <a:gd name="T4" fmla="*/ 292 w 336"/>
                <a:gd name="T5" fmla="*/ 24 h 390"/>
                <a:gd name="T6" fmla="*/ 249 w 336"/>
                <a:gd name="T7" fmla="*/ 47 h 390"/>
                <a:gd name="T8" fmla="*/ 207 w 336"/>
                <a:gd name="T9" fmla="*/ 73 h 390"/>
                <a:gd name="T10" fmla="*/ 164 w 336"/>
                <a:gd name="T11" fmla="*/ 99 h 390"/>
                <a:gd name="T12" fmla="*/ 122 w 336"/>
                <a:gd name="T13" fmla="*/ 125 h 390"/>
                <a:gd name="T14" fmla="*/ 81 w 336"/>
                <a:gd name="T15" fmla="*/ 152 h 390"/>
                <a:gd name="T16" fmla="*/ 40 w 336"/>
                <a:gd name="T17" fmla="*/ 180 h 390"/>
                <a:gd name="T18" fmla="*/ 0 w 336"/>
                <a:gd name="T19" fmla="*/ 209 h 390"/>
                <a:gd name="T20" fmla="*/ 1 w 336"/>
                <a:gd name="T21" fmla="*/ 209 h 390"/>
                <a:gd name="T22" fmla="*/ 1 w 336"/>
                <a:gd name="T23" fmla="*/ 209 h 390"/>
                <a:gd name="T24" fmla="*/ 41 w 336"/>
                <a:gd name="T25" fmla="*/ 239 h 390"/>
                <a:gd name="T26" fmla="*/ 83 w 336"/>
                <a:gd name="T27" fmla="*/ 267 h 390"/>
                <a:gd name="T28" fmla="*/ 124 w 336"/>
                <a:gd name="T29" fmla="*/ 293 h 390"/>
                <a:gd name="T30" fmla="*/ 167 w 336"/>
                <a:gd name="T31" fmla="*/ 317 h 390"/>
                <a:gd name="T32" fmla="*/ 210 w 336"/>
                <a:gd name="T33" fmla="*/ 340 h 390"/>
                <a:gd name="T34" fmla="*/ 252 w 336"/>
                <a:gd name="T35" fmla="*/ 360 h 390"/>
                <a:gd name="T36" fmla="*/ 273 w 336"/>
                <a:gd name="T37" fmla="*/ 369 h 390"/>
                <a:gd name="T38" fmla="*/ 294 w 336"/>
                <a:gd name="T39" fmla="*/ 377 h 390"/>
                <a:gd name="T40" fmla="*/ 315 w 336"/>
                <a:gd name="T41" fmla="*/ 384 h 390"/>
                <a:gd name="T42" fmla="*/ 336 w 336"/>
                <a:gd name="T43" fmla="*/ 390 h 390"/>
                <a:gd name="T44" fmla="*/ 336 w 336"/>
                <a:gd name="T45" fmla="*/ 0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6" h="390">
                  <a:moveTo>
                    <a:pt x="336" y="0"/>
                  </a:moveTo>
                  <a:lnTo>
                    <a:pt x="336" y="0"/>
                  </a:lnTo>
                  <a:lnTo>
                    <a:pt x="292" y="24"/>
                  </a:lnTo>
                  <a:lnTo>
                    <a:pt x="249" y="47"/>
                  </a:lnTo>
                  <a:lnTo>
                    <a:pt x="207" y="73"/>
                  </a:lnTo>
                  <a:lnTo>
                    <a:pt x="164" y="99"/>
                  </a:lnTo>
                  <a:lnTo>
                    <a:pt x="122" y="125"/>
                  </a:lnTo>
                  <a:lnTo>
                    <a:pt x="81" y="152"/>
                  </a:lnTo>
                  <a:lnTo>
                    <a:pt x="40" y="180"/>
                  </a:lnTo>
                  <a:lnTo>
                    <a:pt x="0" y="209"/>
                  </a:lnTo>
                  <a:lnTo>
                    <a:pt x="1" y="209"/>
                  </a:lnTo>
                  <a:lnTo>
                    <a:pt x="1" y="209"/>
                  </a:lnTo>
                  <a:lnTo>
                    <a:pt x="41" y="239"/>
                  </a:lnTo>
                  <a:lnTo>
                    <a:pt x="83" y="267"/>
                  </a:lnTo>
                  <a:lnTo>
                    <a:pt x="124" y="293"/>
                  </a:lnTo>
                  <a:lnTo>
                    <a:pt x="167" y="317"/>
                  </a:lnTo>
                  <a:lnTo>
                    <a:pt x="210" y="340"/>
                  </a:lnTo>
                  <a:lnTo>
                    <a:pt x="252" y="360"/>
                  </a:lnTo>
                  <a:lnTo>
                    <a:pt x="273" y="369"/>
                  </a:lnTo>
                  <a:lnTo>
                    <a:pt x="294" y="377"/>
                  </a:lnTo>
                  <a:lnTo>
                    <a:pt x="315" y="384"/>
                  </a:lnTo>
                  <a:lnTo>
                    <a:pt x="336" y="390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rgbClr val="0086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</p:grpSp>
      <p:sp>
        <p:nvSpPr>
          <p:cNvPr id="3" name="Sisällön paikkamerkki 2"/>
          <p:cNvSpPr>
            <a:spLocks noGrp="1"/>
          </p:cNvSpPr>
          <p:nvPr userDrawn="1">
            <p:ph idx="1"/>
          </p:nvPr>
        </p:nvSpPr>
        <p:spPr>
          <a:xfrm>
            <a:off x="577047" y="1881330"/>
            <a:ext cx="8783316" cy="4524001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8" name="Otsikko 7"/>
          <p:cNvSpPr>
            <a:spLocks noGrp="1"/>
          </p:cNvSpPr>
          <p:nvPr userDrawn="1">
            <p:ph type="title"/>
          </p:nvPr>
        </p:nvSpPr>
        <p:spPr>
          <a:xfrm>
            <a:off x="577047" y="313787"/>
            <a:ext cx="8783316" cy="1299027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3" name="Alatunnisteen paikkamerkki 4"/>
          <p:cNvSpPr>
            <a:spLocks noGrp="1"/>
          </p:cNvSpPr>
          <p:nvPr userDrawn="1">
            <p:ph type="ftr" sz="quarter" idx="11"/>
          </p:nvPr>
        </p:nvSpPr>
        <p:spPr>
          <a:xfrm>
            <a:off x="1583499" y="6497452"/>
            <a:ext cx="3648405" cy="258163"/>
          </a:xfrm>
          <a:prstGeom prst="rect">
            <a:avLst/>
          </a:prstGeom>
        </p:spPr>
        <p:txBody>
          <a:bodyPr/>
          <a:lstStyle>
            <a:lvl1pPr algn="l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fi-FI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598" y="313787"/>
            <a:ext cx="407327" cy="559315"/>
          </a:xfrm>
          <a:prstGeom prst="rect">
            <a:avLst/>
          </a:prstGeom>
        </p:spPr>
      </p:pic>
      <p:sp>
        <p:nvSpPr>
          <p:cNvPr id="17" name="Päivämäärän paikkamerkki 3"/>
          <p:cNvSpPr>
            <a:spLocks noGrp="1"/>
          </p:cNvSpPr>
          <p:nvPr userDrawn="1">
            <p:ph type="dt" sz="half" idx="2"/>
          </p:nvPr>
        </p:nvSpPr>
        <p:spPr>
          <a:xfrm>
            <a:off x="577047" y="6497452"/>
            <a:ext cx="911424" cy="2681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41" name="Dian numeron paikkamerkki 5"/>
          <p:cNvSpPr>
            <a:spLocks noGrp="1"/>
          </p:cNvSpPr>
          <p:nvPr userDrawn="1">
            <p:ph type="sldNum" sz="quarter" idx="12"/>
          </p:nvPr>
        </p:nvSpPr>
        <p:spPr>
          <a:xfrm>
            <a:off x="-1" y="6497453"/>
            <a:ext cx="538948" cy="268137"/>
          </a:xfrm>
          <a:prstGeom prst="rect">
            <a:avLst/>
          </a:prstGeom>
        </p:spPr>
        <p:txBody>
          <a:bodyPr rIns="18000" anchor="ctr"/>
          <a:lstStyle>
            <a:lvl1pPr algn="r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EA1DD0D-7089-48C5-B116-A19F892CF1D9}" type="slidenum">
              <a:rPr lang="fi-FI" smtClean="0"/>
              <a:pPr/>
              <a:t>‹#›</a:t>
            </a:fld>
            <a:r>
              <a:rPr lang="fi-FI" dirty="0" smtClean="0"/>
              <a:t>  </a:t>
            </a:r>
            <a:r>
              <a:rPr lang="fi-FI" b="0" dirty="0" smtClean="0">
                <a:solidFill>
                  <a:schemeClr val="bg1">
                    <a:lumMod val="65000"/>
                  </a:schemeClr>
                </a:solidFill>
              </a:rPr>
              <a:t>|</a:t>
            </a:r>
            <a:endParaRPr lang="fi-FI" sz="800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269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tsikko ja sisältö VN pieni yläkul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6"/>
          <p:cNvSpPr>
            <a:spLocks/>
          </p:cNvSpPr>
          <p:nvPr userDrawn="1"/>
        </p:nvSpPr>
        <p:spPr bwMode="auto">
          <a:xfrm>
            <a:off x="10634133" y="1"/>
            <a:ext cx="1557867" cy="1756833"/>
          </a:xfrm>
          <a:custGeom>
            <a:avLst/>
            <a:gdLst>
              <a:gd name="T0" fmla="*/ 548 w 736"/>
              <a:gd name="T1" fmla="*/ 713 h 830"/>
              <a:gd name="T2" fmla="*/ 548 w 736"/>
              <a:gd name="T3" fmla="*/ 713 h 830"/>
              <a:gd name="T4" fmla="*/ 594 w 736"/>
              <a:gd name="T5" fmla="*/ 745 h 830"/>
              <a:gd name="T6" fmla="*/ 640 w 736"/>
              <a:gd name="T7" fmla="*/ 775 h 830"/>
              <a:gd name="T8" fmla="*/ 688 w 736"/>
              <a:gd name="T9" fmla="*/ 803 h 830"/>
              <a:gd name="T10" fmla="*/ 736 w 736"/>
              <a:gd name="T11" fmla="*/ 830 h 830"/>
              <a:gd name="T12" fmla="*/ 736 w 736"/>
              <a:gd name="T13" fmla="*/ 0 h 830"/>
              <a:gd name="T14" fmla="*/ 0 w 736"/>
              <a:gd name="T15" fmla="*/ 0 h 830"/>
              <a:gd name="T16" fmla="*/ 0 w 736"/>
              <a:gd name="T17" fmla="*/ 0 h 830"/>
              <a:gd name="T18" fmla="*/ 22 w 736"/>
              <a:gd name="T19" fmla="*/ 55 h 830"/>
              <a:gd name="T20" fmla="*/ 46 w 736"/>
              <a:gd name="T21" fmla="*/ 108 h 830"/>
              <a:gd name="T22" fmla="*/ 72 w 736"/>
              <a:gd name="T23" fmla="*/ 161 h 830"/>
              <a:gd name="T24" fmla="*/ 100 w 736"/>
              <a:gd name="T25" fmla="*/ 211 h 830"/>
              <a:gd name="T26" fmla="*/ 129 w 736"/>
              <a:gd name="T27" fmla="*/ 261 h 830"/>
              <a:gd name="T28" fmla="*/ 160 w 736"/>
              <a:gd name="T29" fmla="*/ 309 h 830"/>
              <a:gd name="T30" fmla="*/ 192 w 736"/>
              <a:gd name="T31" fmla="*/ 357 h 830"/>
              <a:gd name="T32" fmla="*/ 226 w 736"/>
              <a:gd name="T33" fmla="*/ 402 h 830"/>
              <a:gd name="T34" fmla="*/ 262 w 736"/>
              <a:gd name="T35" fmla="*/ 445 h 830"/>
              <a:gd name="T36" fmla="*/ 298 w 736"/>
              <a:gd name="T37" fmla="*/ 488 h 830"/>
              <a:gd name="T38" fmla="*/ 338 w 736"/>
              <a:gd name="T39" fmla="*/ 530 h 830"/>
              <a:gd name="T40" fmla="*/ 377 w 736"/>
              <a:gd name="T41" fmla="*/ 569 h 830"/>
              <a:gd name="T42" fmla="*/ 418 w 736"/>
              <a:gd name="T43" fmla="*/ 607 h 830"/>
              <a:gd name="T44" fmla="*/ 460 w 736"/>
              <a:gd name="T45" fmla="*/ 645 h 830"/>
              <a:gd name="T46" fmla="*/ 503 w 736"/>
              <a:gd name="T47" fmla="*/ 679 h 830"/>
              <a:gd name="T48" fmla="*/ 548 w 736"/>
              <a:gd name="T49" fmla="*/ 713 h 830"/>
              <a:gd name="T50" fmla="*/ 548 w 736"/>
              <a:gd name="T51" fmla="*/ 713 h 8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736" h="830">
                <a:moveTo>
                  <a:pt x="548" y="713"/>
                </a:moveTo>
                <a:lnTo>
                  <a:pt x="548" y="713"/>
                </a:lnTo>
                <a:lnTo>
                  <a:pt x="594" y="745"/>
                </a:lnTo>
                <a:lnTo>
                  <a:pt x="640" y="775"/>
                </a:lnTo>
                <a:lnTo>
                  <a:pt x="688" y="803"/>
                </a:lnTo>
                <a:lnTo>
                  <a:pt x="736" y="830"/>
                </a:lnTo>
                <a:lnTo>
                  <a:pt x="736" y="0"/>
                </a:lnTo>
                <a:lnTo>
                  <a:pt x="0" y="0"/>
                </a:lnTo>
                <a:lnTo>
                  <a:pt x="0" y="0"/>
                </a:lnTo>
                <a:lnTo>
                  <a:pt x="22" y="55"/>
                </a:lnTo>
                <a:lnTo>
                  <a:pt x="46" y="108"/>
                </a:lnTo>
                <a:lnTo>
                  <a:pt x="72" y="161"/>
                </a:lnTo>
                <a:lnTo>
                  <a:pt x="100" y="211"/>
                </a:lnTo>
                <a:lnTo>
                  <a:pt x="129" y="261"/>
                </a:lnTo>
                <a:lnTo>
                  <a:pt x="160" y="309"/>
                </a:lnTo>
                <a:lnTo>
                  <a:pt x="192" y="357"/>
                </a:lnTo>
                <a:lnTo>
                  <a:pt x="226" y="402"/>
                </a:lnTo>
                <a:lnTo>
                  <a:pt x="262" y="445"/>
                </a:lnTo>
                <a:lnTo>
                  <a:pt x="298" y="488"/>
                </a:lnTo>
                <a:lnTo>
                  <a:pt x="338" y="530"/>
                </a:lnTo>
                <a:lnTo>
                  <a:pt x="377" y="569"/>
                </a:lnTo>
                <a:lnTo>
                  <a:pt x="418" y="607"/>
                </a:lnTo>
                <a:lnTo>
                  <a:pt x="460" y="645"/>
                </a:lnTo>
                <a:lnTo>
                  <a:pt x="503" y="679"/>
                </a:lnTo>
                <a:lnTo>
                  <a:pt x="548" y="713"/>
                </a:lnTo>
                <a:lnTo>
                  <a:pt x="548" y="713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fi-FI" sz="2400" dirty="0"/>
          </a:p>
        </p:txBody>
      </p:sp>
      <p:sp>
        <p:nvSpPr>
          <p:cNvPr id="3" name="Sisällön paikkamerkki 2"/>
          <p:cNvSpPr>
            <a:spLocks noGrp="1"/>
          </p:cNvSpPr>
          <p:nvPr userDrawn="1">
            <p:ph idx="1"/>
          </p:nvPr>
        </p:nvSpPr>
        <p:spPr>
          <a:xfrm>
            <a:off x="577047" y="1881330"/>
            <a:ext cx="10319487" cy="4524001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8" name="Otsikko 7"/>
          <p:cNvSpPr>
            <a:spLocks noGrp="1"/>
          </p:cNvSpPr>
          <p:nvPr userDrawn="1">
            <p:ph type="title"/>
          </p:nvPr>
        </p:nvSpPr>
        <p:spPr>
          <a:xfrm>
            <a:off x="577047" y="313787"/>
            <a:ext cx="10319487" cy="1299027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3" name="Alatunnisteen paikkamerkki 4"/>
          <p:cNvSpPr>
            <a:spLocks noGrp="1"/>
          </p:cNvSpPr>
          <p:nvPr userDrawn="1">
            <p:ph type="ftr" sz="quarter" idx="11"/>
          </p:nvPr>
        </p:nvSpPr>
        <p:spPr>
          <a:xfrm>
            <a:off x="1583499" y="6497452"/>
            <a:ext cx="3648405" cy="258163"/>
          </a:xfrm>
          <a:prstGeom prst="rect">
            <a:avLst/>
          </a:prstGeom>
        </p:spPr>
        <p:txBody>
          <a:bodyPr/>
          <a:lstStyle>
            <a:lvl1pPr algn="l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fi-FI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72598" y="313787"/>
            <a:ext cx="407327" cy="559315"/>
          </a:xfrm>
          <a:prstGeom prst="rect">
            <a:avLst/>
          </a:prstGeom>
        </p:spPr>
      </p:pic>
      <p:sp>
        <p:nvSpPr>
          <p:cNvPr id="17" name="Päivämäärän paikkamerkki 3"/>
          <p:cNvSpPr>
            <a:spLocks noGrp="1"/>
          </p:cNvSpPr>
          <p:nvPr userDrawn="1">
            <p:ph type="dt" sz="half" idx="2"/>
          </p:nvPr>
        </p:nvSpPr>
        <p:spPr>
          <a:xfrm>
            <a:off x="577047" y="6497452"/>
            <a:ext cx="911424" cy="2681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11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-1" y="6497453"/>
            <a:ext cx="538948" cy="268137"/>
          </a:xfrm>
          <a:prstGeom prst="rect">
            <a:avLst/>
          </a:prstGeom>
        </p:spPr>
        <p:txBody>
          <a:bodyPr rIns="18000" anchor="ctr"/>
          <a:lstStyle>
            <a:lvl1pPr algn="r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EA1DD0D-7089-48C5-B116-A19F892CF1D9}" type="slidenum">
              <a:rPr lang="fi-FI" smtClean="0"/>
              <a:pPr/>
              <a:t>‹#›</a:t>
            </a:fld>
            <a:r>
              <a:rPr lang="fi-FI" dirty="0" smtClean="0"/>
              <a:t>  </a:t>
            </a:r>
            <a:r>
              <a:rPr lang="fi-FI" b="0" dirty="0" smtClean="0">
                <a:solidFill>
                  <a:schemeClr val="bg1">
                    <a:lumMod val="65000"/>
                  </a:schemeClr>
                </a:solidFill>
              </a:rPr>
              <a:t>|</a:t>
            </a:r>
            <a:endParaRPr lang="fi-FI" sz="800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168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Otsikko ja sisältö 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77047" y="1881330"/>
            <a:ext cx="10965805" cy="4524001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8" name="Otsikko 7"/>
          <p:cNvSpPr>
            <a:spLocks noGrp="1"/>
          </p:cNvSpPr>
          <p:nvPr>
            <p:ph type="title"/>
          </p:nvPr>
        </p:nvSpPr>
        <p:spPr>
          <a:xfrm>
            <a:off x="577047" y="313787"/>
            <a:ext cx="10965805" cy="1299027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3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1583499" y="6497452"/>
            <a:ext cx="3648405" cy="258163"/>
          </a:xfrm>
          <a:prstGeom prst="rect">
            <a:avLst/>
          </a:prstGeom>
        </p:spPr>
        <p:txBody>
          <a:bodyPr/>
          <a:lstStyle>
            <a:lvl1pPr algn="l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9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577047" y="6497452"/>
            <a:ext cx="911424" cy="2681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10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-1" y="6497453"/>
            <a:ext cx="538948" cy="268137"/>
          </a:xfrm>
          <a:prstGeom prst="rect">
            <a:avLst/>
          </a:prstGeom>
        </p:spPr>
        <p:txBody>
          <a:bodyPr rIns="18000" anchor="ctr"/>
          <a:lstStyle>
            <a:lvl1pPr algn="r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EA1DD0D-7089-48C5-B116-A19F892CF1D9}" type="slidenum">
              <a:rPr lang="fi-FI" smtClean="0"/>
              <a:pPr/>
              <a:t>‹#›</a:t>
            </a:fld>
            <a:r>
              <a:rPr lang="fi-FI" dirty="0" smtClean="0"/>
              <a:t>  </a:t>
            </a:r>
            <a:r>
              <a:rPr lang="fi-FI" b="0" dirty="0" smtClean="0">
                <a:solidFill>
                  <a:schemeClr val="bg1">
                    <a:lumMod val="65000"/>
                  </a:schemeClr>
                </a:solidFill>
              </a:rPr>
              <a:t>|</a:t>
            </a:r>
            <a:endParaRPr lang="fi-FI" sz="800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540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Kuvapaikka vaa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0" y="0"/>
            <a:ext cx="12192000" cy="5829267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</p:txBody>
      </p:sp>
      <p:sp>
        <p:nvSpPr>
          <p:cNvPr id="8" name="Otsikko 7"/>
          <p:cNvSpPr>
            <a:spLocks noGrp="1"/>
          </p:cNvSpPr>
          <p:nvPr>
            <p:ph type="title"/>
          </p:nvPr>
        </p:nvSpPr>
        <p:spPr>
          <a:xfrm>
            <a:off x="577047" y="5829266"/>
            <a:ext cx="5614964" cy="810527"/>
          </a:xfrm>
        </p:spPr>
        <p:txBody>
          <a:bodyPr/>
          <a:lstStyle>
            <a:lvl1pPr>
              <a:defRPr sz="373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5" name="Content Placeholder 9"/>
          <p:cNvSpPr>
            <a:spLocks noGrp="1"/>
          </p:cNvSpPr>
          <p:nvPr>
            <p:ph idx="13"/>
          </p:nvPr>
        </p:nvSpPr>
        <p:spPr>
          <a:xfrm>
            <a:off x="6480043" y="6024241"/>
            <a:ext cx="5711957" cy="615553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fi-FI" sz="1600" smtClean="0"/>
              <a:t>Muokkaa tekstin perustyylejä</a:t>
            </a:r>
          </a:p>
        </p:txBody>
      </p:sp>
    </p:spTree>
    <p:extLst>
      <p:ext uri="{BB962C8B-B14F-4D97-AF65-F5344CB8AC3E}">
        <p14:creationId xmlns:p14="http://schemas.microsoft.com/office/powerpoint/2010/main" val="3581365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Kuvapaikka py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751029" y="0"/>
            <a:ext cx="8448939" cy="6858000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</p:txBody>
      </p:sp>
      <p:sp>
        <p:nvSpPr>
          <p:cNvPr id="8" name="Otsikko 7"/>
          <p:cNvSpPr>
            <a:spLocks noGrp="1"/>
          </p:cNvSpPr>
          <p:nvPr>
            <p:ph type="title"/>
          </p:nvPr>
        </p:nvSpPr>
        <p:spPr>
          <a:xfrm>
            <a:off x="335361" y="277227"/>
            <a:ext cx="2880320" cy="1903635"/>
          </a:xfrm>
        </p:spPr>
        <p:txBody>
          <a:bodyPr/>
          <a:lstStyle>
            <a:lvl1pPr>
              <a:defRPr sz="373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6" name="Content Placeholder 9"/>
          <p:cNvSpPr>
            <a:spLocks noGrp="1"/>
          </p:cNvSpPr>
          <p:nvPr>
            <p:ph idx="14"/>
          </p:nvPr>
        </p:nvSpPr>
        <p:spPr>
          <a:xfrm>
            <a:off x="335361" y="2319313"/>
            <a:ext cx="2880320" cy="4320480"/>
          </a:xfrm>
        </p:spPr>
        <p:txBody>
          <a:bodyPr>
            <a:normAutofit/>
          </a:bodyPr>
          <a:lstStyle/>
          <a:p>
            <a:pPr lvl="0"/>
            <a:r>
              <a:rPr lang="fi-FI" sz="1867" smtClean="0"/>
              <a:t>Muokkaa tekstin perustyylejä</a:t>
            </a:r>
          </a:p>
          <a:p>
            <a:pPr lvl="1"/>
            <a:r>
              <a:rPr lang="fi-FI" sz="1867" smtClean="0"/>
              <a:t>toinen taso</a:t>
            </a:r>
          </a:p>
          <a:p>
            <a:pPr lvl="2"/>
            <a:r>
              <a:rPr lang="fi-FI" sz="1867" smtClean="0"/>
              <a:t>kolmas taso</a:t>
            </a:r>
          </a:p>
        </p:txBody>
      </p:sp>
      <p:sp>
        <p:nvSpPr>
          <p:cNvPr id="12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1583499" y="6497452"/>
            <a:ext cx="3648405" cy="258163"/>
          </a:xfrm>
          <a:prstGeom prst="rect">
            <a:avLst/>
          </a:prstGeom>
        </p:spPr>
        <p:txBody>
          <a:bodyPr/>
          <a:lstStyle>
            <a:lvl1pPr algn="l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13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577047" y="6497452"/>
            <a:ext cx="911424" cy="2681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14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-1" y="6497453"/>
            <a:ext cx="538948" cy="268137"/>
          </a:xfrm>
          <a:prstGeom prst="rect">
            <a:avLst/>
          </a:prstGeom>
        </p:spPr>
        <p:txBody>
          <a:bodyPr rIns="18000" anchor="ctr"/>
          <a:lstStyle>
            <a:lvl1pPr algn="r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EA1DD0D-7089-48C5-B116-A19F892CF1D9}" type="slidenum">
              <a:rPr lang="fi-FI" smtClean="0"/>
              <a:pPr/>
              <a:t>‹#›</a:t>
            </a:fld>
            <a:r>
              <a:rPr lang="fi-FI" dirty="0" smtClean="0"/>
              <a:t>  </a:t>
            </a:r>
            <a:r>
              <a:rPr lang="fi-FI" b="0" dirty="0" smtClean="0">
                <a:solidFill>
                  <a:schemeClr val="bg1">
                    <a:lumMod val="65000"/>
                  </a:schemeClr>
                </a:solidFill>
              </a:rPr>
              <a:t>|</a:t>
            </a:r>
            <a:endParaRPr lang="fi-FI" sz="800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080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1583499" y="6497452"/>
            <a:ext cx="3648405" cy="258163"/>
          </a:xfrm>
          <a:prstGeom prst="rect">
            <a:avLst/>
          </a:prstGeom>
        </p:spPr>
        <p:txBody>
          <a:bodyPr/>
          <a:lstStyle>
            <a:lvl1pPr algn="l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3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577047" y="6497452"/>
            <a:ext cx="911424" cy="2681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4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-1" y="6497453"/>
            <a:ext cx="538948" cy="268137"/>
          </a:xfrm>
          <a:prstGeom prst="rect">
            <a:avLst/>
          </a:prstGeom>
        </p:spPr>
        <p:txBody>
          <a:bodyPr rIns="18000" anchor="ctr"/>
          <a:lstStyle>
            <a:lvl1pPr algn="r">
              <a:defRPr sz="1067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EA1DD0D-7089-48C5-B116-A19F892CF1D9}" type="slidenum">
              <a:rPr lang="fi-FI" smtClean="0"/>
              <a:pPr/>
              <a:t>‹#›</a:t>
            </a:fld>
            <a:r>
              <a:rPr lang="fi-FI" dirty="0" smtClean="0"/>
              <a:t>  </a:t>
            </a:r>
            <a:r>
              <a:rPr lang="fi-FI" b="0" dirty="0" smtClean="0">
                <a:solidFill>
                  <a:schemeClr val="bg1">
                    <a:lumMod val="65000"/>
                  </a:schemeClr>
                </a:solidFill>
              </a:rPr>
              <a:t>|</a:t>
            </a:r>
            <a:endParaRPr lang="fi-FI" sz="800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550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erus bulllet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978EE9-F05E-6B42-BD66-E8997A6B5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729188" cy="1325563"/>
          </a:xfrm>
        </p:spPr>
        <p:txBody>
          <a:bodyPr>
            <a:normAutofit/>
          </a:bodyPr>
          <a:lstStyle>
            <a:lvl1pPr>
              <a:defRPr sz="4000">
                <a:solidFill>
                  <a:srgbClr val="002F5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A0DB2E-9A5E-AA42-AB8C-DF85F03C0A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28E9409-3262-8A43-9AC6-41184C1C1C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7841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rgbClr val="002F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5BB522-C2A2-944F-BE3C-E8AEDC463307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4" name="Kuva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1289" y="14549"/>
            <a:ext cx="1560711" cy="174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285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Lopetus VN-Tee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0" y="1"/>
            <a:ext cx="12192000" cy="6858000"/>
            <a:chOff x="-50732" y="0"/>
            <a:chExt cx="9194731" cy="5143502"/>
          </a:xfrm>
        </p:grpSpPr>
        <p:sp>
          <p:nvSpPr>
            <p:cNvPr id="65" name="AutoShape 59"/>
            <p:cNvSpPr>
              <a:spLocks noChangeAspect="1" noChangeArrowheads="1" noTextEdit="1"/>
            </p:cNvSpPr>
            <p:nvPr userDrawn="1"/>
          </p:nvSpPr>
          <p:spPr bwMode="auto">
            <a:xfrm flipH="1">
              <a:off x="-50732" y="0"/>
              <a:ext cx="9194731" cy="51435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6" name="Freeform 61"/>
            <p:cNvSpPr>
              <a:spLocks/>
            </p:cNvSpPr>
            <p:nvPr userDrawn="1"/>
          </p:nvSpPr>
          <p:spPr bwMode="auto">
            <a:xfrm flipH="1">
              <a:off x="1354507" y="0"/>
              <a:ext cx="7789492" cy="5143501"/>
            </a:xfrm>
            <a:custGeom>
              <a:avLst/>
              <a:gdLst>
                <a:gd name="T0" fmla="*/ 3559 w 4854"/>
                <a:gd name="T1" fmla="*/ 0 h 3240"/>
                <a:gd name="T2" fmla="*/ 0 w 4854"/>
                <a:gd name="T3" fmla="*/ 0 h 3240"/>
                <a:gd name="T4" fmla="*/ 0 w 4854"/>
                <a:gd name="T5" fmla="*/ 3240 h 3240"/>
                <a:gd name="T6" fmla="*/ 3231 w 4854"/>
                <a:gd name="T7" fmla="*/ 3240 h 3240"/>
                <a:gd name="T8" fmla="*/ 4854 w 4854"/>
                <a:gd name="T9" fmla="*/ 1361 h 3240"/>
                <a:gd name="T10" fmla="*/ 3559 w 4854"/>
                <a:gd name="T11" fmla="*/ 0 h 3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54" h="3240">
                  <a:moveTo>
                    <a:pt x="3559" y="0"/>
                  </a:moveTo>
                  <a:lnTo>
                    <a:pt x="0" y="0"/>
                  </a:lnTo>
                  <a:lnTo>
                    <a:pt x="0" y="3240"/>
                  </a:lnTo>
                  <a:lnTo>
                    <a:pt x="3231" y="3240"/>
                  </a:lnTo>
                  <a:lnTo>
                    <a:pt x="4854" y="1361"/>
                  </a:lnTo>
                  <a:lnTo>
                    <a:pt x="3559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7" name="Freeform 62"/>
            <p:cNvSpPr>
              <a:spLocks/>
            </p:cNvSpPr>
            <p:nvPr userDrawn="1"/>
          </p:nvSpPr>
          <p:spPr bwMode="auto">
            <a:xfrm flipH="1">
              <a:off x="527332" y="0"/>
              <a:ext cx="2315449" cy="2160589"/>
            </a:xfrm>
            <a:custGeom>
              <a:avLst/>
              <a:gdLst>
                <a:gd name="T0" fmla="*/ 0 w 1450"/>
                <a:gd name="T1" fmla="*/ 0 h 1361"/>
                <a:gd name="T2" fmla="*/ 24 w 1450"/>
                <a:gd name="T3" fmla="*/ 153 h 1361"/>
                <a:gd name="T4" fmla="*/ 38 w 1450"/>
                <a:gd name="T5" fmla="*/ 228 h 1361"/>
                <a:gd name="T6" fmla="*/ 59 w 1450"/>
                <a:gd name="T7" fmla="*/ 303 h 1361"/>
                <a:gd name="T8" fmla="*/ 73 w 1450"/>
                <a:gd name="T9" fmla="*/ 343 h 1361"/>
                <a:gd name="T10" fmla="*/ 105 w 1450"/>
                <a:gd name="T11" fmla="*/ 424 h 1361"/>
                <a:gd name="T12" fmla="*/ 141 w 1450"/>
                <a:gd name="T13" fmla="*/ 504 h 1361"/>
                <a:gd name="T14" fmla="*/ 181 w 1450"/>
                <a:gd name="T15" fmla="*/ 581 h 1361"/>
                <a:gd name="T16" fmla="*/ 225 w 1450"/>
                <a:gd name="T17" fmla="*/ 656 h 1361"/>
                <a:gd name="T18" fmla="*/ 272 w 1450"/>
                <a:gd name="T19" fmla="*/ 729 h 1361"/>
                <a:gd name="T20" fmla="*/ 323 w 1450"/>
                <a:gd name="T21" fmla="*/ 800 h 1361"/>
                <a:gd name="T22" fmla="*/ 377 w 1450"/>
                <a:gd name="T23" fmla="*/ 869 h 1361"/>
                <a:gd name="T24" fmla="*/ 433 w 1450"/>
                <a:gd name="T25" fmla="*/ 936 h 1361"/>
                <a:gd name="T26" fmla="*/ 491 w 1450"/>
                <a:gd name="T27" fmla="*/ 1000 h 1361"/>
                <a:gd name="T28" fmla="*/ 551 w 1450"/>
                <a:gd name="T29" fmla="*/ 1062 h 1361"/>
                <a:gd name="T30" fmla="*/ 645 w 1450"/>
                <a:gd name="T31" fmla="*/ 1151 h 1361"/>
                <a:gd name="T32" fmla="*/ 773 w 1450"/>
                <a:gd name="T33" fmla="*/ 1261 h 1361"/>
                <a:gd name="T34" fmla="*/ 904 w 1450"/>
                <a:gd name="T35" fmla="*/ 1361 h 1361"/>
                <a:gd name="T36" fmla="*/ 904 w 1450"/>
                <a:gd name="T37" fmla="*/ 1361 h 1361"/>
                <a:gd name="T38" fmla="*/ 965 w 1450"/>
                <a:gd name="T39" fmla="*/ 1283 h 1361"/>
                <a:gd name="T40" fmla="*/ 1023 w 1450"/>
                <a:gd name="T41" fmla="*/ 1202 h 1361"/>
                <a:gd name="T42" fmla="*/ 1077 w 1450"/>
                <a:gd name="T43" fmla="*/ 1119 h 1361"/>
                <a:gd name="T44" fmla="*/ 1126 w 1450"/>
                <a:gd name="T45" fmla="*/ 1036 h 1361"/>
                <a:gd name="T46" fmla="*/ 1173 w 1450"/>
                <a:gd name="T47" fmla="*/ 953 h 1361"/>
                <a:gd name="T48" fmla="*/ 1216 w 1450"/>
                <a:gd name="T49" fmla="*/ 867 h 1361"/>
                <a:gd name="T50" fmla="*/ 1255 w 1450"/>
                <a:gd name="T51" fmla="*/ 781 h 1361"/>
                <a:gd name="T52" fmla="*/ 1291 w 1450"/>
                <a:gd name="T53" fmla="*/ 694 h 1361"/>
                <a:gd name="T54" fmla="*/ 1324 w 1450"/>
                <a:gd name="T55" fmla="*/ 608 h 1361"/>
                <a:gd name="T56" fmla="*/ 1352 w 1450"/>
                <a:gd name="T57" fmla="*/ 520 h 1361"/>
                <a:gd name="T58" fmla="*/ 1378 w 1450"/>
                <a:gd name="T59" fmla="*/ 433 h 1361"/>
                <a:gd name="T60" fmla="*/ 1399 w 1450"/>
                <a:gd name="T61" fmla="*/ 345 h 1361"/>
                <a:gd name="T62" fmla="*/ 1417 w 1450"/>
                <a:gd name="T63" fmla="*/ 258 h 1361"/>
                <a:gd name="T64" fmla="*/ 1432 w 1450"/>
                <a:gd name="T65" fmla="*/ 171 h 1361"/>
                <a:gd name="T66" fmla="*/ 1442 w 1450"/>
                <a:gd name="T67" fmla="*/ 86 h 1361"/>
                <a:gd name="T68" fmla="*/ 1450 w 1450"/>
                <a:gd name="T69" fmla="*/ 0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50" h="1361">
                  <a:moveTo>
                    <a:pt x="0" y="0"/>
                  </a:moveTo>
                  <a:lnTo>
                    <a:pt x="0" y="0"/>
                  </a:lnTo>
                  <a:lnTo>
                    <a:pt x="13" y="77"/>
                  </a:lnTo>
                  <a:lnTo>
                    <a:pt x="24" y="153"/>
                  </a:lnTo>
                  <a:lnTo>
                    <a:pt x="31" y="190"/>
                  </a:lnTo>
                  <a:lnTo>
                    <a:pt x="38" y="228"/>
                  </a:lnTo>
                  <a:lnTo>
                    <a:pt x="49" y="266"/>
                  </a:lnTo>
                  <a:lnTo>
                    <a:pt x="59" y="303"/>
                  </a:lnTo>
                  <a:lnTo>
                    <a:pt x="59" y="303"/>
                  </a:lnTo>
                  <a:lnTo>
                    <a:pt x="73" y="343"/>
                  </a:lnTo>
                  <a:lnTo>
                    <a:pt x="88" y="385"/>
                  </a:lnTo>
                  <a:lnTo>
                    <a:pt x="105" y="424"/>
                  </a:lnTo>
                  <a:lnTo>
                    <a:pt x="123" y="465"/>
                  </a:lnTo>
                  <a:lnTo>
                    <a:pt x="141" y="504"/>
                  </a:lnTo>
                  <a:lnTo>
                    <a:pt x="161" y="542"/>
                  </a:lnTo>
                  <a:lnTo>
                    <a:pt x="181" y="581"/>
                  </a:lnTo>
                  <a:lnTo>
                    <a:pt x="203" y="619"/>
                  </a:lnTo>
                  <a:lnTo>
                    <a:pt x="225" y="656"/>
                  </a:lnTo>
                  <a:lnTo>
                    <a:pt x="249" y="693"/>
                  </a:lnTo>
                  <a:lnTo>
                    <a:pt x="272" y="729"/>
                  </a:lnTo>
                  <a:lnTo>
                    <a:pt x="297" y="765"/>
                  </a:lnTo>
                  <a:lnTo>
                    <a:pt x="323" y="800"/>
                  </a:lnTo>
                  <a:lnTo>
                    <a:pt x="350" y="835"/>
                  </a:lnTo>
                  <a:lnTo>
                    <a:pt x="377" y="869"/>
                  </a:lnTo>
                  <a:lnTo>
                    <a:pt x="404" y="902"/>
                  </a:lnTo>
                  <a:lnTo>
                    <a:pt x="433" y="936"/>
                  </a:lnTo>
                  <a:lnTo>
                    <a:pt x="461" y="968"/>
                  </a:lnTo>
                  <a:lnTo>
                    <a:pt x="491" y="1000"/>
                  </a:lnTo>
                  <a:lnTo>
                    <a:pt x="521" y="1032"/>
                  </a:lnTo>
                  <a:lnTo>
                    <a:pt x="551" y="1062"/>
                  </a:lnTo>
                  <a:lnTo>
                    <a:pt x="582" y="1092"/>
                  </a:lnTo>
                  <a:lnTo>
                    <a:pt x="645" y="1151"/>
                  </a:lnTo>
                  <a:lnTo>
                    <a:pt x="709" y="1207"/>
                  </a:lnTo>
                  <a:lnTo>
                    <a:pt x="773" y="1261"/>
                  </a:lnTo>
                  <a:lnTo>
                    <a:pt x="838" y="1313"/>
                  </a:lnTo>
                  <a:lnTo>
                    <a:pt x="904" y="1361"/>
                  </a:lnTo>
                  <a:lnTo>
                    <a:pt x="904" y="1361"/>
                  </a:lnTo>
                  <a:lnTo>
                    <a:pt x="904" y="1361"/>
                  </a:lnTo>
                  <a:lnTo>
                    <a:pt x="935" y="1322"/>
                  </a:lnTo>
                  <a:lnTo>
                    <a:pt x="965" y="1283"/>
                  </a:lnTo>
                  <a:lnTo>
                    <a:pt x="994" y="1242"/>
                  </a:lnTo>
                  <a:lnTo>
                    <a:pt x="1023" y="1202"/>
                  </a:lnTo>
                  <a:lnTo>
                    <a:pt x="1050" y="1161"/>
                  </a:lnTo>
                  <a:lnTo>
                    <a:pt x="1077" y="1119"/>
                  </a:lnTo>
                  <a:lnTo>
                    <a:pt x="1101" y="1079"/>
                  </a:lnTo>
                  <a:lnTo>
                    <a:pt x="1126" y="1036"/>
                  </a:lnTo>
                  <a:lnTo>
                    <a:pt x="1150" y="995"/>
                  </a:lnTo>
                  <a:lnTo>
                    <a:pt x="1173" y="953"/>
                  </a:lnTo>
                  <a:lnTo>
                    <a:pt x="1195" y="910"/>
                  </a:lnTo>
                  <a:lnTo>
                    <a:pt x="1216" y="867"/>
                  </a:lnTo>
                  <a:lnTo>
                    <a:pt x="1236" y="825"/>
                  </a:lnTo>
                  <a:lnTo>
                    <a:pt x="1255" y="781"/>
                  </a:lnTo>
                  <a:lnTo>
                    <a:pt x="1273" y="738"/>
                  </a:lnTo>
                  <a:lnTo>
                    <a:pt x="1291" y="694"/>
                  </a:lnTo>
                  <a:lnTo>
                    <a:pt x="1308" y="651"/>
                  </a:lnTo>
                  <a:lnTo>
                    <a:pt x="1324" y="608"/>
                  </a:lnTo>
                  <a:lnTo>
                    <a:pt x="1339" y="564"/>
                  </a:lnTo>
                  <a:lnTo>
                    <a:pt x="1352" y="520"/>
                  </a:lnTo>
                  <a:lnTo>
                    <a:pt x="1366" y="476"/>
                  </a:lnTo>
                  <a:lnTo>
                    <a:pt x="1378" y="433"/>
                  </a:lnTo>
                  <a:lnTo>
                    <a:pt x="1389" y="389"/>
                  </a:lnTo>
                  <a:lnTo>
                    <a:pt x="1399" y="345"/>
                  </a:lnTo>
                  <a:lnTo>
                    <a:pt x="1408" y="302"/>
                  </a:lnTo>
                  <a:lnTo>
                    <a:pt x="1417" y="258"/>
                  </a:lnTo>
                  <a:lnTo>
                    <a:pt x="1425" y="215"/>
                  </a:lnTo>
                  <a:lnTo>
                    <a:pt x="1432" y="171"/>
                  </a:lnTo>
                  <a:lnTo>
                    <a:pt x="1438" y="128"/>
                  </a:lnTo>
                  <a:lnTo>
                    <a:pt x="1442" y="86"/>
                  </a:lnTo>
                  <a:lnTo>
                    <a:pt x="1447" y="43"/>
                  </a:lnTo>
                  <a:lnTo>
                    <a:pt x="145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C8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8" name="Freeform 63"/>
            <p:cNvSpPr>
              <a:spLocks/>
            </p:cNvSpPr>
            <p:nvPr userDrawn="1"/>
          </p:nvSpPr>
          <p:spPr bwMode="auto">
            <a:xfrm flipH="1">
              <a:off x="-50732" y="1171575"/>
              <a:ext cx="1449951" cy="1657351"/>
            </a:xfrm>
            <a:custGeom>
              <a:avLst/>
              <a:gdLst>
                <a:gd name="T0" fmla="*/ 908 w 908"/>
                <a:gd name="T1" fmla="*/ 0 h 1044"/>
                <a:gd name="T2" fmla="*/ 908 w 908"/>
                <a:gd name="T3" fmla="*/ 0 h 1044"/>
                <a:gd name="T4" fmla="*/ 848 w 908"/>
                <a:gd name="T5" fmla="*/ 28 h 1044"/>
                <a:gd name="T6" fmla="*/ 789 w 908"/>
                <a:gd name="T7" fmla="*/ 59 h 1044"/>
                <a:gd name="T8" fmla="*/ 729 w 908"/>
                <a:gd name="T9" fmla="*/ 89 h 1044"/>
                <a:gd name="T10" fmla="*/ 671 w 908"/>
                <a:gd name="T11" fmla="*/ 120 h 1044"/>
                <a:gd name="T12" fmla="*/ 612 w 908"/>
                <a:gd name="T13" fmla="*/ 153 h 1044"/>
                <a:gd name="T14" fmla="*/ 555 w 908"/>
                <a:gd name="T15" fmla="*/ 187 h 1044"/>
                <a:gd name="T16" fmla="*/ 498 w 908"/>
                <a:gd name="T17" fmla="*/ 222 h 1044"/>
                <a:gd name="T18" fmla="*/ 440 w 908"/>
                <a:gd name="T19" fmla="*/ 259 h 1044"/>
                <a:gd name="T20" fmla="*/ 384 w 908"/>
                <a:gd name="T21" fmla="*/ 298 h 1044"/>
                <a:gd name="T22" fmla="*/ 328 w 908"/>
                <a:gd name="T23" fmla="*/ 339 h 1044"/>
                <a:gd name="T24" fmla="*/ 273 w 908"/>
                <a:gd name="T25" fmla="*/ 380 h 1044"/>
                <a:gd name="T26" fmla="*/ 217 w 908"/>
                <a:gd name="T27" fmla="*/ 424 h 1044"/>
                <a:gd name="T28" fmla="*/ 162 w 908"/>
                <a:gd name="T29" fmla="*/ 471 h 1044"/>
                <a:gd name="T30" fmla="*/ 107 w 908"/>
                <a:gd name="T31" fmla="*/ 520 h 1044"/>
                <a:gd name="T32" fmla="*/ 53 w 908"/>
                <a:gd name="T33" fmla="*/ 570 h 1044"/>
                <a:gd name="T34" fmla="*/ 0 w 908"/>
                <a:gd name="T35" fmla="*/ 623 h 1044"/>
                <a:gd name="T36" fmla="*/ 0 w 908"/>
                <a:gd name="T37" fmla="*/ 623 h 1044"/>
                <a:gd name="T38" fmla="*/ 0 w 908"/>
                <a:gd name="T39" fmla="*/ 623 h 1044"/>
                <a:gd name="T40" fmla="*/ 53 w 908"/>
                <a:gd name="T41" fmla="*/ 660 h 1044"/>
                <a:gd name="T42" fmla="*/ 106 w 908"/>
                <a:gd name="T43" fmla="*/ 698 h 1044"/>
                <a:gd name="T44" fmla="*/ 160 w 908"/>
                <a:gd name="T45" fmla="*/ 732 h 1044"/>
                <a:gd name="T46" fmla="*/ 215 w 908"/>
                <a:gd name="T47" fmla="*/ 767 h 1044"/>
                <a:gd name="T48" fmla="*/ 270 w 908"/>
                <a:gd name="T49" fmla="*/ 800 h 1044"/>
                <a:gd name="T50" fmla="*/ 325 w 908"/>
                <a:gd name="T51" fmla="*/ 831 h 1044"/>
                <a:gd name="T52" fmla="*/ 383 w 908"/>
                <a:gd name="T53" fmla="*/ 862 h 1044"/>
                <a:gd name="T54" fmla="*/ 439 w 908"/>
                <a:gd name="T55" fmla="*/ 890 h 1044"/>
                <a:gd name="T56" fmla="*/ 496 w 908"/>
                <a:gd name="T57" fmla="*/ 917 h 1044"/>
                <a:gd name="T58" fmla="*/ 555 w 908"/>
                <a:gd name="T59" fmla="*/ 942 h 1044"/>
                <a:gd name="T60" fmla="*/ 612 w 908"/>
                <a:gd name="T61" fmla="*/ 964 h 1044"/>
                <a:gd name="T62" fmla="*/ 671 w 908"/>
                <a:gd name="T63" fmla="*/ 986 h 1044"/>
                <a:gd name="T64" fmla="*/ 730 w 908"/>
                <a:gd name="T65" fmla="*/ 1004 h 1044"/>
                <a:gd name="T66" fmla="*/ 789 w 908"/>
                <a:gd name="T67" fmla="*/ 1019 h 1044"/>
                <a:gd name="T68" fmla="*/ 848 w 908"/>
                <a:gd name="T69" fmla="*/ 1033 h 1044"/>
                <a:gd name="T70" fmla="*/ 908 w 908"/>
                <a:gd name="T71" fmla="*/ 1044 h 1044"/>
                <a:gd name="T72" fmla="*/ 908 w 908"/>
                <a:gd name="T7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8" h="1044">
                  <a:moveTo>
                    <a:pt x="908" y="0"/>
                  </a:moveTo>
                  <a:lnTo>
                    <a:pt x="908" y="0"/>
                  </a:lnTo>
                  <a:lnTo>
                    <a:pt x="848" y="28"/>
                  </a:lnTo>
                  <a:lnTo>
                    <a:pt x="789" y="59"/>
                  </a:lnTo>
                  <a:lnTo>
                    <a:pt x="729" y="89"/>
                  </a:lnTo>
                  <a:lnTo>
                    <a:pt x="671" y="120"/>
                  </a:lnTo>
                  <a:lnTo>
                    <a:pt x="612" y="153"/>
                  </a:lnTo>
                  <a:lnTo>
                    <a:pt x="555" y="187"/>
                  </a:lnTo>
                  <a:lnTo>
                    <a:pt x="498" y="222"/>
                  </a:lnTo>
                  <a:lnTo>
                    <a:pt x="440" y="259"/>
                  </a:lnTo>
                  <a:lnTo>
                    <a:pt x="384" y="298"/>
                  </a:lnTo>
                  <a:lnTo>
                    <a:pt x="328" y="339"/>
                  </a:lnTo>
                  <a:lnTo>
                    <a:pt x="273" y="380"/>
                  </a:lnTo>
                  <a:lnTo>
                    <a:pt x="217" y="424"/>
                  </a:lnTo>
                  <a:lnTo>
                    <a:pt x="162" y="471"/>
                  </a:lnTo>
                  <a:lnTo>
                    <a:pt x="107" y="520"/>
                  </a:lnTo>
                  <a:lnTo>
                    <a:pt x="53" y="570"/>
                  </a:lnTo>
                  <a:lnTo>
                    <a:pt x="0" y="623"/>
                  </a:lnTo>
                  <a:lnTo>
                    <a:pt x="0" y="623"/>
                  </a:lnTo>
                  <a:lnTo>
                    <a:pt x="0" y="623"/>
                  </a:lnTo>
                  <a:lnTo>
                    <a:pt x="53" y="660"/>
                  </a:lnTo>
                  <a:lnTo>
                    <a:pt x="106" y="698"/>
                  </a:lnTo>
                  <a:lnTo>
                    <a:pt x="160" y="732"/>
                  </a:lnTo>
                  <a:lnTo>
                    <a:pt x="215" y="767"/>
                  </a:lnTo>
                  <a:lnTo>
                    <a:pt x="270" y="800"/>
                  </a:lnTo>
                  <a:lnTo>
                    <a:pt x="325" y="831"/>
                  </a:lnTo>
                  <a:lnTo>
                    <a:pt x="383" y="862"/>
                  </a:lnTo>
                  <a:lnTo>
                    <a:pt x="439" y="890"/>
                  </a:lnTo>
                  <a:lnTo>
                    <a:pt x="496" y="917"/>
                  </a:lnTo>
                  <a:lnTo>
                    <a:pt x="555" y="942"/>
                  </a:lnTo>
                  <a:lnTo>
                    <a:pt x="612" y="964"/>
                  </a:lnTo>
                  <a:lnTo>
                    <a:pt x="671" y="986"/>
                  </a:lnTo>
                  <a:lnTo>
                    <a:pt x="730" y="1004"/>
                  </a:lnTo>
                  <a:lnTo>
                    <a:pt x="789" y="1019"/>
                  </a:lnTo>
                  <a:lnTo>
                    <a:pt x="848" y="1033"/>
                  </a:lnTo>
                  <a:lnTo>
                    <a:pt x="908" y="1044"/>
                  </a:lnTo>
                  <a:lnTo>
                    <a:pt x="908" y="0"/>
                  </a:lnTo>
                  <a:close/>
                </a:path>
              </a:pathLst>
            </a:custGeom>
            <a:solidFill>
              <a:srgbClr val="80D3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9" name="Freeform 64"/>
            <p:cNvSpPr>
              <a:spLocks/>
            </p:cNvSpPr>
            <p:nvPr userDrawn="1"/>
          </p:nvSpPr>
          <p:spPr bwMode="auto">
            <a:xfrm flipH="1">
              <a:off x="-50732" y="2160589"/>
              <a:ext cx="3388541" cy="2982913"/>
            </a:xfrm>
            <a:custGeom>
              <a:avLst/>
              <a:gdLst>
                <a:gd name="T0" fmla="*/ 2122 w 2122"/>
                <a:gd name="T1" fmla="*/ 1879 h 1879"/>
                <a:gd name="T2" fmla="*/ 2122 w 2122"/>
                <a:gd name="T3" fmla="*/ 502 h 1879"/>
                <a:gd name="T4" fmla="*/ 2122 w 2122"/>
                <a:gd name="T5" fmla="*/ 502 h 1879"/>
                <a:gd name="T6" fmla="*/ 2005 w 2122"/>
                <a:gd name="T7" fmla="*/ 447 h 1879"/>
                <a:gd name="T8" fmla="*/ 1889 w 2122"/>
                <a:gd name="T9" fmla="*/ 392 h 1879"/>
                <a:gd name="T10" fmla="*/ 1773 w 2122"/>
                <a:gd name="T11" fmla="*/ 334 h 1879"/>
                <a:gd name="T12" fmla="*/ 1716 w 2122"/>
                <a:gd name="T13" fmla="*/ 305 h 1879"/>
                <a:gd name="T14" fmla="*/ 1660 w 2122"/>
                <a:gd name="T15" fmla="*/ 275 h 1879"/>
                <a:gd name="T16" fmla="*/ 1602 w 2122"/>
                <a:gd name="T17" fmla="*/ 244 h 1879"/>
                <a:gd name="T18" fmla="*/ 1546 w 2122"/>
                <a:gd name="T19" fmla="*/ 213 h 1879"/>
                <a:gd name="T20" fmla="*/ 1490 w 2122"/>
                <a:gd name="T21" fmla="*/ 180 h 1879"/>
                <a:gd name="T22" fmla="*/ 1435 w 2122"/>
                <a:gd name="T23" fmla="*/ 147 h 1879"/>
                <a:gd name="T24" fmla="*/ 1379 w 2122"/>
                <a:gd name="T25" fmla="*/ 113 h 1879"/>
                <a:gd name="T26" fmla="*/ 1324 w 2122"/>
                <a:gd name="T27" fmla="*/ 77 h 1879"/>
                <a:gd name="T28" fmla="*/ 1268 w 2122"/>
                <a:gd name="T29" fmla="*/ 39 h 1879"/>
                <a:gd name="T30" fmla="*/ 1214 w 2122"/>
                <a:gd name="T31" fmla="*/ 0 h 1879"/>
                <a:gd name="T32" fmla="*/ 1214 w 2122"/>
                <a:gd name="T33" fmla="*/ 0 h 1879"/>
                <a:gd name="T34" fmla="*/ 1131 w 2122"/>
                <a:gd name="T35" fmla="*/ 132 h 1879"/>
                <a:gd name="T36" fmla="*/ 1052 w 2122"/>
                <a:gd name="T37" fmla="*/ 261 h 1879"/>
                <a:gd name="T38" fmla="*/ 976 w 2122"/>
                <a:gd name="T39" fmla="*/ 388 h 1879"/>
                <a:gd name="T40" fmla="*/ 902 w 2122"/>
                <a:gd name="T41" fmla="*/ 514 h 1879"/>
                <a:gd name="T42" fmla="*/ 758 w 2122"/>
                <a:gd name="T43" fmla="*/ 759 h 1879"/>
                <a:gd name="T44" fmla="*/ 687 w 2122"/>
                <a:gd name="T45" fmla="*/ 878 h 1879"/>
                <a:gd name="T46" fmla="*/ 617 w 2122"/>
                <a:gd name="T47" fmla="*/ 996 h 1879"/>
                <a:gd name="T48" fmla="*/ 546 w 2122"/>
                <a:gd name="T49" fmla="*/ 1111 h 1879"/>
                <a:gd name="T50" fmla="*/ 476 w 2122"/>
                <a:gd name="T51" fmla="*/ 1225 h 1879"/>
                <a:gd name="T52" fmla="*/ 402 w 2122"/>
                <a:gd name="T53" fmla="*/ 1338 h 1879"/>
                <a:gd name="T54" fmla="*/ 327 w 2122"/>
                <a:gd name="T55" fmla="*/ 1449 h 1879"/>
                <a:gd name="T56" fmla="*/ 289 w 2122"/>
                <a:gd name="T57" fmla="*/ 1503 h 1879"/>
                <a:gd name="T58" fmla="*/ 251 w 2122"/>
                <a:gd name="T59" fmla="*/ 1558 h 1879"/>
                <a:gd name="T60" fmla="*/ 211 w 2122"/>
                <a:gd name="T61" fmla="*/ 1612 h 1879"/>
                <a:gd name="T62" fmla="*/ 171 w 2122"/>
                <a:gd name="T63" fmla="*/ 1666 h 1879"/>
                <a:gd name="T64" fmla="*/ 129 w 2122"/>
                <a:gd name="T65" fmla="*/ 1720 h 1879"/>
                <a:gd name="T66" fmla="*/ 88 w 2122"/>
                <a:gd name="T67" fmla="*/ 1773 h 1879"/>
                <a:gd name="T68" fmla="*/ 44 w 2122"/>
                <a:gd name="T69" fmla="*/ 1826 h 1879"/>
                <a:gd name="T70" fmla="*/ 0 w 2122"/>
                <a:gd name="T71" fmla="*/ 1879 h 1879"/>
                <a:gd name="T72" fmla="*/ 2122 w 2122"/>
                <a:gd name="T73" fmla="*/ 1879 h 1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22" h="1879">
                  <a:moveTo>
                    <a:pt x="2122" y="1879"/>
                  </a:moveTo>
                  <a:lnTo>
                    <a:pt x="2122" y="502"/>
                  </a:lnTo>
                  <a:lnTo>
                    <a:pt x="2122" y="502"/>
                  </a:lnTo>
                  <a:lnTo>
                    <a:pt x="2005" y="447"/>
                  </a:lnTo>
                  <a:lnTo>
                    <a:pt x="1889" y="392"/>
                  </a:lnTo>
                  <a:lnTo>
                    <a:pt x="1773" y="334"/>
                  </a:lnTo>
                  <a:lnTo>
                    <a:pt x="1716" y="305"/>
                  </a:lnTo>
                  <a:lnTo>
                    <a:pt x="1660" y="275"/>
                  </a:lnTo>
                  <a:lnTo>
                    <a:pt x="1602" y="244"/>
                  </a:lnTo>
                  <a:lnTo>
                    <a:pt x="1546" y="213"/>
                  </a:lnTo>
                  <a:lnTo>
                    <a:pt x="1490" y="180"/>
                  </a:lnTo>
                  <a:lnTo>
                    <a:pt x="1435" y="147"/>
                  </a:lnTo>
                  <a:lnTo>
                    <a:pt x="1379" y="113"/>
                  </a:lnTo>
                  <a:lnTo>
                    <a:pt x="1324" y="77"/>
                  </a:lnTo>
                  <a:lnTo>
                    <a:pt x="1268" y="39"/>
                  </a:lnTo>
                  <a:lnTo>
                    <a:pt x="1214" y="0"/>
                  </a:lnTo>
                  <a:lnTo>
                    <a:pt x="1214" y="0"/>
                  </a:lnTo>
                  <a:lnTo>
                    <a:pt x="1131" y="132"/>
                  </a:lnTo>
                  <a:lnTo>
                    <a:pt x="1052" y="261"/>
                  </a:lnTo>
                  <a:lnTo>
                    <a:pt x="976" y="388"/>
                  </a:lnTo>
                  <a:lnTo>
                    <a:pt x="902" y="514"/>
                  </a:lnTo>
                  <a:lnTo>
                    <a:pt x="758" y="759"/>
                  </a:lnTo>
                  <a:lnTo>
                    <a:pt x="687" y="878"/>
                  </a:lnTo>
                  <a:lnTo>
                    <a:pt x="617" y="996"/>
                  </a:lnTo>
                  <a:lnTo>
                    <a:pt x="546" y="1111"/>
                  </a:lnTo>
                  <a:lnTo>
                    <a:pt x="476" y="1225"/>
                  </a:lnTo>
                  <a:lnTo>
                    <a:pt x="402" y="1338"/>
                  </a:lnTo>
                  <a:lnTo>
                    <a:pt x="327" y="1449"/>
                  </a:lnTo>
                  <a:lnTo>
                    <a:pt x="289" y="1503"/>
                  </a:lnTo>
                  <a:lnTo>
                    <a:pt x="251" y="1558"/>
                  </a:lnTo>
                  <a:lnTo>
                    <a:pt x="211" y="1612"/>
                  </a:lnTo>
                  <a:lnTo>
                    <a:pt x="171" y="1666"/>
                  </a:lnTo>
                  <a:lnTo>
                    <a:pt x="129" y="1720"/>
                  </a:lnTo>
                  <a:lnTo>
                    <a:pt x="88" y="1773"/>
                  </a:lnTo>
                  <a:lnTo>
                    <a:pt x="44" y="1826"/>
                  </a:lnTo>
                  <a:lnTo>
                    <a:pt x="0" y="1879"/>
                  </a:lnTo>
                  <a:lnTo>
                    <a:pt x="2122" y="187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0" name="Freeform 65"/>
            <p:cNvSpPr>
              <a:spLocks/>
            </p:cNvSpPr>
            <p:nvPr userDrawn="1"/>
          </p:nvSpPr>
          <p:spPr bwMode="auto">
            <a:xfrm flipH="1">
              <a:off x="-50732" y="0"/>
              <a:ext cx="1449951" cy="2160589"/>
            </a:xfrm>
            <a:custGeom>
              <a:avLst/>
              <a:gdLst>
                <a:gd name="T0" fmla="*/ 0 w 908"/>
                <a:gd name="T1" fmla="*/ 1361 h 1361"/>
                <a:gd name="T2" fmla="*/ 0 w 908"/>
                <a:gd name="T3" fmla="*/ 1361 h 1361"/>
                <a:gd name="T4" fmla="*/ 53 w 908"/>
                <a:gd name="T5" fmla="*/ 1323 h 1361"/>
                <a:gd name="T6" fmla="*/ 107 w 908"/>
                <a:gd name="T7" fmla="*/ 1285 h 1361"/>
                <a:gd name="T8" fmla="*/ 161 w 908"/>
                <a:gd name="T9" fmla="*/ 1248 h 1361"/>
                <a:gd name="T10" fmla="*/ 216 w 908"/>
                <a:gd name="T11" fmla="*/ 1212 h 1361"/>
                <a:gd name="T12" fmla="*/ 271 w 908"/>
                <a:gd name="T13" fmla="*/ 1176 h 1361"/>
                <a:gd name="T14" fmla="*/ 328 w 908"/>
                <a:gd name="T15" fmla="*/ 1141 h 1361"/>
                <a:gd name="T16" fmla="*/ 384 w 908"/>
                <a:gd name="T17" fmla="*/ 1106 h 1361"/>
                <a:gd name="T18" fmla="*/ 440 w 908"/>
                <a:gd name="T19" fmla="*/ 1072 h 1361"/>
                <a:gd name="T20" fmla="*/ 498 w 908"/>
                <a:gd name="T21" fmla="*/ 1038 h 1361"/>
                <a:gd name="T22" fmla="*/ 555 w 908"/>
                <a:gd name="T23" fmla="*/ 1006 h 1361"/>
                <a:gd name="T24" fmla="*/ 612 w 908"/>
                <a:gd name="T25" fmla="*/ 974 h 1361"/>
                <a:gd name="T26" fmla="*/ 671 w 908"/>
                <a:gd name="T27" fmla="*/ 943 h 1361"/>
                <a:gd name="T28" fmla="*/ 729 w 908"/>
                <a:gd name="T29" fmla="*/ 912 h 1361"/>
                <a:gd name="T30" fmla="*/ 789 w 908"/>
                <a:gd name="T31" fmla="*/ 882 h 1361"/>
                <a:gd name="T32" fmla="*/ 848 w 908"/>
                <a:gd name="T33" fmla="*/ 853 h 1361"/>
                <a:gd name="T34" fmla="*/ 908 w 908"/>
                <a:gd name="T35" fmla="*/ 825 h 1361"/>
                <a:gd name="T36" fmla="*/ 908 w 908"/>
                <a:gd name="T37" fmla="*/ 0 h 1361"/>
                <a:gd name="T38" fmla="*/ 261 w 908"/>
                <a:gd name="T39" fmla="*/ 0 h 1361"/>
                <a:gd name="T40" fmla="*/ 261 w 908"/>
                <a:gd name="T41" fmla="*/ 0 h 1361"/>
                <a:gd name="T42" fmla="*/ 256 w 908"/>
                <a:gd name="T43" fmla="*/ 86 h 1361"/>
                <a:gd name="T44" fmla="*/ 248 w 908"/>
                <a:gd name="T45" fmla="*/ 170 h 1361"/>
                <a:gd name="T46" fmla="*/ 239 w 908"/>
                <a:gd name="T47" fmla="*/ 255 h 1361"/>
                <a:gd name="T48" fmla="*/ 229 w 908"/>
                <a:gd name="T49" fmla="*/ 340 h 1361"/>
                <a:gd name="T50" fmla="*/ 217 w 908"/>
                <a:gd name="T51" fmla="*/ 425 h 1361"/>
                <a:gd name="T52" fmla="*/ 205 w 908"/>
                <a:gd name="T53" fmla="*/ 511 h 1361"/>
                <a:gd name="T54" fmla="*/ 190 w 908"/>
                <a:gd name="T55" fmla="*/ 596 h 1361"/>
                <a:gd name="T56" fmla="*/ 175 w 908"/>
                <a:gd name="T57" fmla="*/ 681 h 1361"/>
                <a:gd name="T58" fmla="*/ 158 w 908"/>
                <a:gd name="T59" fmla="*/ 766 h 1361"/>
                <a:gd name="T60" fmla="*/ 140 w 908"/>
                <a:gd name="T61" fmla="*/ 852 h 1361"/>
                <a:gd name="T62" fmla="*/ 120 w 908"/>
                <a:gd name="T63" fmla="*/ 937 h 1361"/>
                <a:gd name="T64" fmla="*/ 99 w 908"/>
                <a:gd name="T65" fmla="*/ 1022 h 1361"/>
                <a:gd name="T66" fmla="*/ 76 w 908"/>
                <a:gd name="T67" fmla="*/ 1107 h 1361"/>
                <a:gd name="T68" fmla="*/ 52 w 908"/>
                <a:gd name="T69" fmla="*/ 1191 h 1361"/>
                <a:gd name="T70" fmla="*/ 27 w 908"/>
                <a:gd name="T71" fmla="*/ 1277 h 1361"/>
                <a:gd name="T72" fmla="*/ 0 w 908"/>
                <a:gd name="T73" fmla="*/ 1361 h 1361"/>
                <a:gd name="T74" fmla="*/ 0 w 908"/>
                <a:gd name="T75" fmla="*/ 1361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8" h="1361">
                  <a:moveTo>
                    <a:pt x="0" y="1361"/>
                  </a:moveTo>
                  <a:lnTo>
                    <a:pt x="0" y="1361"/>
                  </a:lnTo>
                  <a:lnTo>
                    <a:pt x="53" y="1323"/>
                  </a:lnTo>
                  <a:lnTo>
                    <a:pt x="107" y="1285"/>
                  </a:lnTo>
                  <a:lnTo>
                    <a:pt x="161" y="1248"/>
                  </a:lnTo>
                  <a:lnTo>
                    <a:pt x="216" y="1212"/>
                  </a:lnTo>
                  <a:lnTo>
                    <a:pt x="271" y="1176"/>
                  </a:lnTo>
                  <a:lnTo>
                    <a:pt x="328" y="1141"/>
                  </a:lnTo>
                  <a:lnTo>
                    <a:pt x="384" y="1106"/>
                  </a:lnTo>
                  <a:lnTo>
                    <a:pt x="440" y="1072"/>
                  </a:lnTo>
                  <a:lnTo>
                    <a:pt x="498" y="1038"/>
                  </a:lnTo>
                  <a:lnTo>
                    <a:pt x="555" y="1006"/>
                  </a:lnTo>
                  <a:lnTo>
                    <a:pt x="612" y="974"/>
                  </a:lnTo>
                  <a:lnTo>
                    <a:pt x="671" y="943"/>
                  </a:lnTo>
                  <a:lnTo>
                    <a:pt x="729" y="912"/>
                  </a:lnTo>
                  <a:lnTo>
                    <a:pt x="789" y="882"/>
                  </a:lnTo>
                  <a:lnTo>
                    <a:pt x="848" y="853"/>
                  </a:lnTo>
                  <a:lnTo>
                    <a:pt x="908" y="825"/>
                  </a:lnTo>
                  <a:lnTo>
                    <a:pt x="908" y="0"/>
                  </a:lnTo>
                  <a:lnTo>
                    <a:pt x="261" y="0"/>
                  </a:lnTo>
                  <a:lnTo>
                    <a:pt x="261" y="0"/>
                  </a:lnTo>
                  <a:lnTo>
                    <a:pt x="256" y="86"/>
                  </a:lnTo>
                  <a:lnTo>
                    <a:pt x="248" y="170"/>
                  </a:lnTo>
                  <a:lnTo>
                    <a:pt x="239" y="255"/>
                  </a:lnTo>
                  <a:lnTo>
                    <a:pt x="229" y="340"/>
                  </a:lnTo>
                  <a:lnTo>
                    <a:pt x="217" y="425"/>
                  </a:lnTo>
                  <a:lnTo>
                    <a:pt x="205" y="511"/>
                  </a:lnTo>
                  <a:lnTo>
                    <a:pt x="190" y="596"/>
                  </a:lnTo>
                  <a:lnTo>
                    <a:pt x="175" y="681"/>
                  </a:lnTo>
                  <a:lnTo>
                    <a:pt x="158" y="766"/>
                  </a:lnTo>
                  <a:lnTo>
                    <a:pt x="140" y="852"/>
                  </a:lnTo>
                  <a:lnTo>
                    <a:pt x="120" y="937"/>
                  </a:lnTo>
                  <a:lnTo>
                    <a:pt x="99" y="1022"/>
                  </a:lnTo>
                  <a:lnTo>
                    <a:pt x="76" y="1107"/>
                  </a:lnTo>
                  <a:lnTo>
                    <a:pt x="52" y="1191"/>
                  </a:lnTo>
                  <a:lnTo>
                    <a:pt x="27" y="1277"/>
                  </a:lnTo>
                  <a:lnTo>
                    <a:pt x="0" y="1361"/>
                  </a:lnTo>
                  <a:lnTo>
                    <a:pt x="0" y="13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1" name="Freeform 66"/>
            <p:cNvSpPr>
              <a:spLocks/>
            </p:cNvSpPr>
            <p:nvPr userDrawn="1"/>
          </p:nvSpPr>
          <p:spPr bwMode="auto">
            <a:xfrm flipH="1">
              <a:off x="1399219" y="0"/>
              <a:ext cx="2112648" cy="2160589"/>
            </a:xfrm>
            <a:custGeom>
              <a:avLst/>
              <a:gdLst>
                <a:gd name="T0" fmla="*/ 1323 w 1323"/>
                <a:gd name="T1" fmla="*/ 1361 h 1361"/>
                <a:gd name="T2" fmla="*/ 1323 w 1323"/>
                <a:gd name="T3" fmla="*/ 1361 h 1361"/>
                <a:gd name="T4" fmla="*/ 1291 w 1323"/>
                <a:gd name="T5" fmla="*/ 1338 h 1361"/>
                <a:gd name="T6" fmla="*/ 1258 w 1323"/>
                <a:gd name="T7" fmla="*/ 1313 h 1361"/>
                <a:gd name="T8" fmla="*/ 1227 w 1323"/>
                <a:gd name="T9" fmla="*/ 1287 h 1361"/>
                <a:gd name="T10" fmla="*/ 1195 w 1323"/>
                <a:gd name="T11" fmla="*/ 1261 h 1361"/>
                <a:gd name="T12" fmla="*/ 1165 w 1323"/>
                <a:gd name="T13" fmla="*/ 1234 h 1361"/>
                <a:gd name="T14" fmla="*/ 1135 w 1323"/>
                <a:gd name="T15" fmla="*/ 1207 h 1361"/>
                <a:gd name="T16" fmla="*/ 1105 w 1323"/>
                <a:gd name="T17" fmla="*/ 1179 h 1361"/>
                <a:gd name="T18" fmla="*/ 1076 w 1323"/>
                <a:gd name="T19" fmla="*/ 1151 h 1361"/>
                <a:gd name="T20" fmla="*/ 1047 w 1323"/>
                <a:gd name="T21" fmla="*/ 1122 h 1361"/>
                <a:gd name="T22" fmla="*/ 1019 w 1323"/>
                <a:gd name="T23" fmla="*/ 1092 h 1361"/>
                <a:gd name="T24" fmla="*/ 991 w 1323"/>
                <a:gd name="T25" fmla="*/ 1062 h 1361"/>
                <a:gd name="T26" fmla="*/ 964 w 1323"/>
                <a:gd name="T27" fmla="*/ 1032 h 1361"/>
                <a:gd name="T28" fmla="*/ 938 w 1323"/>
                <a:gd name="T29" fmla="*/ 1000 h 1361"/>
                <a:gd name="T30" fmla="*/ 912 w 1323"/>
                <a:gd name="T31" fmla="*/ 968 h 1361"/>
                <a:gd name="T32" fmla="*/ 886 w 1323"/>
                <a:gd name="T33" fmla="*/ 936 h 1361"/>
                <a:gd name="T34" fmla="*/ 861 w 1323"/>
                <a:gd name="T35" fmla="*/ 902 h 1361"/>
                <a:gd name="T36" fmla="*/ 836 w 1323"/>
                <a:gd name="T37" fmla="*/ 869 h 1361"/>
                <a:gd name="T38" fmla="*/ 813 w 1323"/>
                <a:gd name="T39" fmla="*/ 835 h 1361"/>
                <a:gd name="T40" fmla="*/ 790 w 1323"/>
                <a:gd name="T41" fmla="*/ 800 h 1361"/>
                <a:gd name="T42" fmla="*/ 768 w 1323"/>
                <a:gd name="T43" fmla="*/ 765 h 1361"/>
                <a:gd name="T44" fmla="*/ 747 w 1323"/>
                <a:gd name="T45" fmla="*/ 729 h 1361"/>
                <a:gd name="T46" fmla="*/ 725 w 1323"/>
                <a:gd name="T47" fmla="*/ 693 h 1361"/>
                <a:gd name="T48" fmla="*/ 705 w 1323"/>
                <a:gd name="T49" fmla="*/ 656 h 1361"/>
                <a:gd name="T50" fmla="*/ 686 w 1323"/>
                <a:gd name="T51" fmla="*/ 619 h 1361"/>
                <a:gd name="T52" fmla="*/ 667 w 1323"/>
                <a:gd name="T53" fmla="*/ 581 h 1361"/>
                <a:gd name="T54" fmla="*/ 649 w 1323"/>
                <a:gd name="T55" fmla="*/ 542 h 1361"/>
                <a:gd name="T56" fmla="*/ 631 w 1323"/>
                <a:gd name="T57" fmla="*/ 504 h 1361"/>
                <a:gd name="T58" fmla="*/ 614 w 1323"/>
                <a:gd name="T59" fmla="*/ 465 h 1361"/>
                <a:gd name="T60" fmla="*/ 598 w 1323"/>
                <a:gd name="T61" fmla="*/ 424 h 1361"/>
                <a:gd name="T62" fmla="*/ 582 w 1323"/>
                <a:gd name="T63" fmla="*/ 385 h 1361"/>
                <a:gd name="T64" fmla="*/ 568 w 1323"/>
                <a:gd name="T65" fmla="*/ 343 h 1361"/>
                <a:gd name="T66" fmla="*/ 554 w 1323"/>
                <a:gd name="T67" fmla="*/ 303 h 1361"/>
                <a:gd name="T68" fmla="*/ 554 w 1323"/>
                <a:gd name="T69" fmla="*/ 303 h 1361"/>
                <a:gd name="T70" fmla="*/ 542 w 1323"/>
                <a:gd name="T71" fmla="*/ 266 h 1361"/>
                <a:gd name="T72" fmla="*/ 531 w 1323"/>
                <a:gd name="T73" fmla="*/ 228 h 1361"/>
                <a:gd name="T74" fmla="*/ 520 w 1323"/>
                <a:gd name="T75" fmla="*/ 190 h 1361"/>
                <a:gd name="T76" fmla="*/ 511 w 1323"/>
                <a:gd name="T77" fmla="*/ 153 h 1361"/>
                <a:gd name="T78" fmla="*/ 502 w 1323"/>
                <a:gd name="T79" fmla="*/ 115 h 1361"/>
                <a:gd name="T80" fmla="*/ 493 w 1323"/>
                <a:gd name="T81" fmla="*/ 77 h 1361"/>
                <a:gd name="T82" fmla="*/ 487 w 1323"/>
                <a:gd name="T83" fmla="*/ 38 h 1361"/>
                <a:gd name="T84" fmla="*/ 479 w 1323"/>
                <a:gd name="T85" fmla="*/ 0 h 1361"/>
                <a:gd name="T86" fmla="*/ 0 w 1323"/>
                <a:gd name="T87" fmla="*/ 0 h 1361"/>
                <a:gd name="T88" fmla="*/ 0 w 1323"/>
                <a:gd name="T89" fmla="*/ 0 h 1361"/>
                <a:gd name="T90" fmla="*/ 70 w 1323"/>
                <a:gd name="T91" fmla="*/ 99 h 1361"/>
                <a:gd name="T92" fmla="*/ 140 w 1323"/>
                <a:gd name="T93" fmla="*/ 197 h 1361"/>
                <a:gd name="T94" fmla="*/ 213 w 1323"/>
                <a:gd name="T95" fmla="*/ 293 h 1361"/>
                <a:gd name="T96" fmla="*/ 289 w 1323"/>
                <a:gd name="T97" fmla="*/ 386 h 1361"/>
                <a:gd name="T98" fmla="*/ 365 w 1323"/>
                <a:gd name="T99" fmla="*/ 477 h 1361"/>
                <a:gd name="T100" fmla="*/ 444 w 1323"/>
                <a:gd name="T101" fmla="*/ 568 h 1361"/>
                <a:gd name="T102" fmla="*/ 525 w 1323"/>
                <a:gd name="T103" fmla="*/ 656 h 1361"/>
                <a:gd name="T104" fmla="*/ 607 w 1323"/>
                <a:gd name="T105" fmla="*/ 743 h 1361"/>
                <a:gd name="T106" fmla="*/ 690 w 1323"/>
                <a:gd name="T107" fmla="*/ 826 h 1361"/>
                <a:gd name="T108" fmla="*/ 777 w 1323"/>
                <a:gd name="T109" fmla="*/ 909 h 1361"/>
                <a:gd name="T110" fmla="*/ 863 w 1323"/>
                <a:gd name="T111" fmla="*/ 989 h 1361"/>
                <a:gd name="T112" fmla="*/ 952 w 1323"/>
                <a:gd name="T113" fmla="*/ 1068 h 1361"/>
                <a:gd name="T114" fmla="*/ 1043 w 1323"/>
                <a:gd name="T115" fmla="*/ 1144 h 1361"/>
                <a:gd name="T116" fmla="*/ 1135 w 1323"/>
                <a:gd name="T117" fmla="*/ 1218 h 1361"/>
                <a:gd name="T118" fmla="*/ 1228 w 1323"/>
                <a:gd name="T119" fmla="*/ 1290 h 1361"/>
                <a:gd name="T120" fmla="*/ 1323 w 1323"/>
                <a:gd name="T121" fmla="*/ 1361 h 1361"/>
                <a:gd name="T122" fmla="*/ 1323 w 1323"/>
                <a:gd name="T123" fmla="*/ 1361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23" h="1361">
                  <a:moveTo>
                    <a:pt x="1323" y="1361"/>
                  </a:moveTo>
                  <a:lnTo>
                    <a:pt x="1323" y="1361"/>
                  </a:lnTo>
                  <a:lnTo>
                    <a:pt x="1291" y="1338"/>
                  </a:lnTo>
                  <a:lnTo>
                    <a:pt x="1258" y="1313"/>
                  </a:lnTo>
                  <a:lnTo>
                    <a:pt x="1227" y="1287"/>
                  </a:lnTo>
                  <a:lnTo>
                    <a:pt x="1195" y="1261"/>
                  </a:lnTo>
                  <a:lnTo>
                    <a:pt x="1165" y="1234"/>
                  </a:lnTo>
                  <a:lnTo>
                    <a:pt x="1135" y="1207"/>
                  </a:lnTo>
                  <a:lnTo>
                    <a:pt x="1105" y="1179"/>
                  </a:lnTo>
                  <a:lnTo>
                    <a:pt x="1076" y="1151"/>
                  </a:lnTo>
                  <a:lnTo>
                    <a:pt x="1047" y="1122"/>
                  </a:lnTo>
                  <a:lnTo>
                    <a:pt x="1019" y="1092"/>
                  </a:lnTo>
                  <a:lnTo>
                    <a:pt x="991" y="1062"/>
                  </a:lnTo>
                  <a:lnTo>
                    <a:pt x="964" y="1032"/>
                  </a:lnTo>
                  <a:lnTo>
                    <a:pt x="938" y="1000"/>
                  </a:lnTo>
                  <a:lnTo>
                    <a:pt x="912" y="968"/>
                  </a:lnTo>
                  <a:lnTo>
                    <a:pt x="886" y="936"/>
                  </a:lnTo>
                  <a:lnTo>
                    <a:pt x="861" y="902"/>
                  </a:lnTo>
                  <a:lnTo>
                    <a:pt x="836" y="869"/>
                  </a:lnTo>
                  <a:lnTo>
                    <a:pt x="813" y="835"/>
                  </a:lnTo>
                  <a:lnTo>
                    <a:pt x="790" y="800"/>
                  </a:lnTo>
                  <a:lnTo>
                    <a:pt x="768" y="765"/>
                  </a:lnTo>
                  <a:lnTo>
                    <a:pt x="747" y="729"/>
                  </a:lnTo>
                  <a:lnTo>
                    <a:pt x="725" y="693"/>
                  </a:lnTo>
                  <a:lnTo>
                    <a:pt x="705" y="656"/>
                  </a:lnTo>
                  <a:lnTo>
                    <a:pt x="686" y="619"/>
                  </a:lnTo>
                  <a:lnTo>
                    <a:pt x="667" y="581"/>
                  </a:lnTo>
                  <a:lnTo>
                    <a:pt x="649" y="542"/>
                  </a:lnTo>
                  <a:lnTo>
                    <a:pt x="631" y="504"/>
                  </a:lnTo>
                  <a:lnTo>
                    <a:pt x="614" y="465"/>
                  </a:lnTo>
                  <a:lnTo>
                    <a:pt x="598" y="424"/>
                  </a:lnTo>
                  <a:lnTo>
                    <a:pt x="582" y="385"/>
                  </a:lnTo>
                  <a:lnTo>
                    <a:pt x="568" y="343"/>
                  </a:lnTo>
                  <a:lnTo>
                    <a:pt x="554" y="303"/>
                  </a:lnTo>
                  <a:lnTo>
                    <a:pt x="554" y="303"/>
                  </a:lnTo>
                  <a:lnTo>
                    <a:pt x="542" y="266"/>
                  </a:lnTo>
                  <a:lnTo>
                    <a:pt x="531" y="228"/>
                  </a:lnTo>
                  <a:lnTo>
                    <a:pt x="520" y="190"/>
                  </a:lnTo>
                  <a:lnTo>
                    <a:pt x="511" y="153"/>
                  </a:lnTo>
                  <a:lnTo>
                    <a:pt x="502" y="115"/>
                  </a:lnTo>
                  <a:lnTo>
                    <a:pt x="493" y="77"/>
                  </a:lnTo>
                  <a:lnTo>
                    <a:pt x="487" y="38"/>
                  </a:lnTo>
                  <a:lnTo>
                    <a:pt x="479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70" y="99"/>
                  </a:lnTo>
                  <a:lnTo>
                    <a:pt x="140" y="197"/>
                  </a:lnTo>
                  <a:lnTo>
                    <a:pt x="213" y="293"/>
                  </a:lnTo>
                  <a:lnTo>
                    <a:pt x="289" y="386"/>
                  </a:lnTo>
                  <a:lnTo>
                    <a:pt x="365" y="477"/>
                  </a:lnTo>
                  <a:lnTo>
                    <a:pt x="444" y="568"/>
                  </a:lnTo>
                  <a:lnTo>
                    <a:pt x="525" y="656"/>
                  </a:lnTo>
                  <a:lnTo>
                    <a:pt x="607" y="743"/>
                  </a:lnTo>
                  <a:lnTo>
                    <a:pt x="690" y="826"/>
                  </a:lnTo>
                  <a:lnTo>
                    <a:pt x="777" y="909"/>
                  </a:lnTo>
                  <a:lnTo>
                    <a:pt x="863" y="989"/>
                  </a:lnTo>
                  <a:lnTo>
                    <a:pt x="952" y="1068"/>
                  </a:lnTo>
                  <a:lnTo>
                    <a:pt x="1043" y="1144"/>
                  </a:lnTo>
                  <a:lnTo>
                    <a:pt x="1135" y="1218"/>
                  </a:lnTo>
                  <a:lnTo>
                    <a:pt x="1228" y="1290"/>
                  </a:lnTo>
                  <a:lnTo>
                    <a:pt x="1323" y="1361"/>
                  </a:lnTo>
                  <a:lnTo>
                    <a:pt x="1323" y="1361"/>
                  </a:lnTo>
                  <a:close/>
                </a:path>
              </a:pathLst>
            </a:custGeom>
            <a:solidFill>
              <a:srgbClr val="799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2" name="Freeform 67"/>
            <p:cNvSpPr>
              <a:spLocks/>
            </p:cNvSpPr>
            <p:nvPr userDrawn="1"/>
          </p:nvSpPr>
          <p:spPr bwMode="auto">
            <a:xfrm flipH="1">
              <a:off x="-50732" y="2160589"/>
              <a:ext cx="1449951" cy="852488"/>
            </a:xfrm>
            <a:custGeom>
              <a:avLst/>
              <a:gdLst>
                <a:gd name="T0" fmla="*/ 908 w 908"/>
                <a:gd name="T1" fmla="*/ 378 h 537"/>
                <a:gd name="T2" fmla="*/ 908 w 908"/>
                <a:gd name="T3" fmla="*/ 378 h 537"/>
                <a:gd name="T4" fmla="*/ 848 w 908"/>
                <a:gd name="T5" fmla="*/ 367 h 537"/>
                <a:gd name="T6" fmla="*/ 789 w 908"/>
                <a:gd name="T7" fmla="*/ 356 h 537"/>
                <a:gd name="T8" fmla="*/ 730 w 908"/>
                <a:gd name="T9" fmla="*/ 341 h 537"/>
                <a:gd name="T10" fmla="*/ 671 w 908"/>
                <a:gd name="T11" fmla="*/ 325 h 537"/>
                <a:gd name="T12" fmla="*/ 612 w 908"/>
                <a:gd name="T13" fmla="*/ 309 h 537"/>
                <a:gd name="T14" fmla="*/ 555 w 908"/>
                <a:gd name="T15" fmla="*/ 289 h 537"/>
                <a:gd name="T16" fmla="*/ 496 w 908"/>
                <a:gd name="T17" fmla="*/ 268 h 537"/>
                <a:gd name="T18" fmla="*/ 439 w 908"/>
                <a:gd name="T19" fmla="*/ 246 h 537"/>
                <a:gd name="T20" fmla="*/ 383 w 908"/>
                <a:gd name="T21" fmla="*/ 222 h 537"/>
                <a:gd name="T22" fmla="*/ 325 w 908"/>
                <a:gd name="T23" fmla="*/ 195 h 537"/>
                <a:gd name="T24" fmla="*/ 270 w 908"/>
                <a:gd name="T25" fmla="*/ 167 h 537"/>
                <a:gd name="T26" fmla="*/ 215 w 908"/>
                <a:gd name="T27" fmla="*/ 138 h 537"/>
                <a:gd name="T28" fmla="*/ 160 w 908"/>
                <a:gd name="T29" fmla="*/ 106 h 537"/>
                <a:gd name="T30" fmla="*/ 106 w 908"/>
                <a:gd name="T31" fmla="*/ 72 h 537"/>
                <a:gd name="T32" fmla="*/ 53 w 908"/>
                <a:gd name="T33" fmla="*/ 37 h 537"/>
                <a:gd name="T34" fmla="*/ 0 w 908"/>
                <a:gd name="T35" fmla="*/ 0 h 537"/>
                <a:gd name="T36" fmla="*/ 0 w 908"/>
                <a:gd name="T37" fmla="*/ 0 h 537"/>
                <a:gd name="T38" fmla="*/ 54 w 908"/>
                <a:gd name="T39" fmla="*/ 40 h 537"/>
                <a:gd name="T40" fmla="*/ 110 w 908"/>
                <a:gd name="T41" fmla="*/ 78 h 537"/>
                <a:gd name="T42" fmla="*/ 165 w 908"/>
                <a:gd name="T43" fmla="*/ 115 h 537"/>
                <a:gd name="T44" fmla="*/ 221 w 908"/>
                <a:gd name="T45" fmla="*/ 152 h 537"/>
                <a:gd name="T46" fmla="*/ 276 w 908"/>
                <a:gd name="T47" fmla="*/ 188 h 537"/>
                <a:gd name="T48" fmla="*/ 332 w 908"/>
                <a:gd name="T49" fmla="*/ 224 h 537"/>
                <a:gd name="T50" fmla="*/ 388 w 908"/>
                <a:gd name="T51" fmla="*/ 259 h 537"/>
                <a:gd name="T52" fmla="*/ 446 w 908"/>
                <a:gd name="T53" fmla="*/ 293 h 537"/>
                <a:gd name="T54" fmla="*/ 502 w 908"/>
                <a:gd name="T55" fmla="*/ 325 h 537"/>
                <a:gd name="T56" fmla="*/ 559 w 908"/>
                <a:gd name="T57" fmla="*/ 358 h 537"/>
                <a:gd name="T58" fmla="*/ 617 w 908"/>
                <a:gd name="T59" fmla="*/ 390 h 537"/>
                <a:gd name="T60" fmla="*/ 675 w 908"/>
                <a:gd name="T61" fmla="*/ 421 h 537"/>
                <a:gd name="T62" fmla="*/ 733 w 908"/>
                <a:gd name="T63" fmla="*/ 450 h 537"/>
                <a:gd name="T64" fmla="*/ 791 w 908"/>
                <a:gd name="T65" fmla="*/ 480 h 537"/>
                <a:gd name="T66" fmla="*/ 850 w 908"/>
                <a:gd name="T67" fmla="*/ 509 h 537"/>
                <a:gd name="T68" fmla="*/ 908 w 908"/>
                <a:gd name="T69" fmla="*/ 537 h 537"/>
                <a:gd name="T70" fmla="*/ 908 w 908"/>
                <a:gd name="T71" fmla="*/ 378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8" h="537">
                  <a:moveTo>
                    <a:pt x="908" y="378"/>
                  </a:moveTo>
                  <a:lnTo>
                    <a:pt x="908" y="378"/>
                  </a:lnTo>
                  <a:lnTo>
                    <a:pt x="848" y="367"/>
                  </a:lnTo>
                  <a:lnTo>
                    <a:pt x="789" y="356"/>
                  </a:lnTo>
                  <a:lnTo>
                    <a:pt x="730" y="341"/>
                  </a:lnTo>
                  <a:lnTo>
                    <a:pt x="671" y="325"/>
                  </a:lnTo>
                  <a:lnTo>
                    <a:pt x="612" y="309"/>
                  </a:lnTo>
                  <a:lnTo>
                    <a:pt x="555" y="289"/>
                  </a:lnTo>
                  <a:lnTo>
                    <a:pt x="496" y="268"/>
                  </a:lnTo>
                  <a:lnTo>
                    <a:pt x="439" y="246"/>
                  </a:lnTo>
                  <a:lnTo>
                    <a:pt x="383" y="222"/>
                  </a:lnTo>
                  <a:lnTo>
                    <a:pt x="325" y="195"/>
                  </a:lnTo>
                  <a:lnTo>
                    <a:pt x="270" y="167"/>
                  </a:lnTo>
                  <a:lnTo>
                    <a:pt x="215" y="138"/>
                  </a:lnTo>
                  <a:lnTo>
                    <a:pt x="160" y="106"/>
                  </a:lnTo>
                  <a:lnTo>
                    <a:pt x="106" y="72"/>
                  </a:lnTo>
                  <a:lnTo>
                    <a:pt x="53" y="37"/>
                  </a:lnTo>
                  <a:lnTo>
                    <a:pt x="0" y="0"/>
                  </a:lnTo>
                  <a:lnTo>
                    <a:pt x="0" y="0"/>
                  </a:lnTo>
                  <a:lnTo>
                    <a:pt x="54" y="40"/>
                  </a:lnTo>
                  <a:lnTo>
                    <a:pt x="110" y="78"/>
                  </a:lnTo>
                  <a:lnTo>
                    <a:pt x="165" y="115"/>
                  </a:lnTo>
                  <a:lnTo>
                    <a:pt x="221" y="152"/>
                  </a:lnTo>
                  <a:lnTo>
                    <a:pt x="276" y="188"/>
                  </a:lnTo>
                  <a:lnTo>
                    <a:pt x="332" y="224"/>
                  </a:lnTo>
                  <a:lnTo>
                    <a:pt x="388" y="259"/>
                  </a:lnTo>
                  <a:lnTo>
                    <a:pt x="446" y="293"/>
                  </a:lnTo>
                  <a:lnTo>
                    <a:pt x="502" y="325"/>
                  </a:lnTo>
                  <a:lnTo>
                    <a:pt x="559" y="358"/>
                  </a:lnTo>
                  <a:lnTo>
                    <a:pt x="617" y="390"/>
                  </a:lnTo>
                  <a:lnTo>
                    <a:pt x="675" y="421"/>
                  </a:lnTo>
                  <a:lnTo>
                    <a:pt x="733" y="450"/>
                  </a:lnTo>
                  <a:lnTo>
                    <a:pt x="791" y="480"/>
                  </a:lnTo>
                  <a:lnTo>
                    <a:pt x="850" y="509"/>
                  </a:lnTo>
                  <a:lnTo>
                    <a:pt x="908" y="537"/>
                  </a:lnTo>
                  <a:lnTo>
                    <a:pt x="908" y="378"/>
                  </a:lnTo>
                  <a:close/>
                </a:path>
              </a:pathLst>
            </a:custGeom>
            <a:solidFill>
              <a:srgbClr val="2BB6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3" name="Freeform 68"/>
            <p:cNvSpPr>
              <a:spLocks/>
            </p:cNvSpPr>
            <p:nvPr userDrawn="1"/>
          </p:nvSpPr>
          <p:spPr bwMode="auto">
            <a:xfrm flipH="1">
              <a:off x="1399219" y="2160588"/>
              <a:ext cx="2612466" cy="2982913"/>
            </a:xfrm>
            <a:custGeom>
              <a:avLst/>
              <a:gdLst>
                <a:gd name="T0" fmla="*/ 588 w 1636"/>
                <a:gd name="T1" fmla="*/ 1879 h 1879"/>
                <a:gd name="T2" fmla="*/ 632 w 1636"/>
                <a:gd name="T3" fmla="*/ 1826 h 1879"/>
                <a:gd name="T4" fmla="*/ 719 w 1636"/>
                <a:gd name="T5" fmla="*/ 1719 h 1879"/>
                <a:gd name="T6" fmla="*/ 802 w 1636"/>
                <a:gd name="T7" fmla="*/ 1611 h 1879"/>
                <a:gd name="T8" fmla="*/ 883 w 1636"/>
                <a:gd name="T9" fmla="*/ 1501 h 1879"/>
                <a:gd name="T10" fmla="*/ 961 w 1636"/>
                <a:gd name="T11" fmla="*/ 1389 h 1879"/>
                <a:gd name="T12" fmla="*/ 1035 w 1636"/>
                <a:gd name="T13" fmla="*/ 1275 h 1879"/>
                <a:gd name="T14" fmla="*/ 1107 w 1636"/>
                <a:gd name="T15" fmla="*/ 1160 h 1879"/>
                <a:gd name="T16" fmla="*/ 1175 w 1636"/>
                <a:gd name="T17" fmla="*/ 1043 h 1879"/>
                <a:gd name="T18" fmla="*/ 1241 w 1636"/>
                <a:gd name="T19" fmla="*/ 925 h 1879"/>
                <a:gd name="T20" fmla="*/ 1304 w 1636"/>
                <a:gd name="T21" fmla="*/ 806 h 1879"/>
                <a:gd name="T22" fmla="*/ 1363 w 1636"/>
                <a:gd name="T23" fmla="*/ 684 h 1879"/>
                <a:gd name="T24" fmla="*/ 1419 w 1636"/>
                <a:gd name="T25" fmla="*/ 563 h 1879"/>
                <a:gd name="T26" fmla="*/ 1473 w 1636"/>
                <a:gd name="T27" fmla="*/ 440 h 1879"/>
                <a:gd name="T28" fmla="*/ 1524 w 1636"/>
                <a:gd name="T29" fmla="*/ 315 h 1879"/>
                <a:gd name="T30" fmla="*/ 1571 w 1636"/>
                <a:gd name="T31" fmla="*/ 190 h 1879"/>
                <a:gd name="T32" fmla="*/ 1615 w 1636"/>
                <a:gd name="T33" fmla="*/ 63 h 1879"/>
                <a:gd name="T34" fmla="*/ 1636 w 1636"/>
                <a:gd name="T35" fmla="*/ 0 h 1879"/>
                <a:gd name="T36" fmla="*/ 1570 w 1636"/>
                <a:gd name="T37" fmla="*/ 49 h 1879"/>
                <a:gd name="T38" fmla="*/ 1442 w 1636"/>
                <a:gd name="T39" fmla="*/ 148 h 1879"/>
                <a:gd name="T40" fmla="*/ 1317 w 1636"/>
                <a:gd name="T41" fmla="*/ 250 h 1879"/>
                <a:gd name="T42" fmla="*/ 1197 w 1636"/>
                <a:gd name="T43" fmla="*/ 355 h 1879"/>
                <a:gd name="T44" fmla="*/ 1079 w 1636"/>
                <a:gd name="T45" fmla="*/ 463 h 1879"/>
                <a:gd name="T46" fmla="*/ 965 w 1636"/>
                <a:gd name="T47" fmla="*/ 573 h 1879"/>
                <a:gd name="T48" fmla="*/ 856 w 1636"/>
                <a:gd name="T49" fmla="*/ 687 h 1879"/>
                <a:gd name="T50" fmla="*/ 749 w 1636"/>
                <a:gd name="T51" fmla="*/ 802 h 1879"/>
                <a:gd name="T52" fmla="*/ 647 w 1636"/>
                <a:gd name="T53" fmla="*/ 921 h 1879"/>
                <a:gd name="T54" fmla="*/ 549 w 1636"/>
                <a:gd name="T55" fmla="*/ 1042 h 1879"/>
                <a:gd name="T56" fmla="*/ 453 w 1636"/>
                <a:gd name="T57" fmla="*/ 1165 h 1879"/>
                <a:gd name="T58" fmla="*/ 362 w 1636"/>
                <a:gd name="T59" fmla="*/ 1291 h 1879"/>
                <a:gd name="T60" fmla="*/ 276 w 1636"/>
                <a:gd name="T61" fmla="*/ 1418 h 1879"/>
                <a:gd name="T62" fmla="*/ 192 w 1636"/>
                <a:gd name="T63" fmla="*/ 1547 h 1879"/>
                <a:gd name="T64" fmla="*/ 113 w 1636"/>
                <a:gd name="T65" fmla="*/ 1679 h 1879"/>
                <a:gd name="T66" fmla="*/ 37 w 1636"/>
                <a:gd name="T67" fmla="*/ 1812 h 1879"/>
                <a:gd name="T68" fmla="*/ 0 w 1636"/>
                <a:gd name="T69" fmla="*/ 1879 h 1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36" h="1879">
                  <a:moveTo>
                    <a:pt x="0" y="1879"/>
                  </a:moveTo>
                  <a:lnTo>
                    <a:pt x="588" y="1879"/>
                  </a:lnTo>
                  <a:lnTo>
                    <a:pt x="588" y="1879"/>
                  </a:lnTo>
                  <a:lnTo>
                    <a:pt x="632" y="1826"/>
                  </a:lnTo>
                  <a:lnTo>
                    <a:pt x="676" y="1773"/>
                  </a:lnTo>
                  <a:lnTo>
                    <a:pt x="719" y="1719"/>
                  </a:lnTo>
                  <a:lnTo>
                    <a:pt x="760" y="1665"/>
                  </a:lnTo>
                  <a:lnTo>
                    <a:pt x="802" y="1611"/>
                  </a:lnTo>
                  <a:lnTo>
                    <a:pt x="842" y="1556"/>
                  </a:lnTo>
                  <a:lnTo>
                    <a:pt x="883" y="1501"/>
                  </a:lnTo>
                  <a:lnTo>
                    <a:pt x="922" y="1445"/>
                  </a:lnTo>
                  <a:lnTo>
                    <a:pt x="961" y="1389"/>
                  </a:lnTo>
                  <a:lnTo>
                    <a:pt x="998" y="1332"/>
                  </a:lnTo>
                  <a:lnTo>
                    <a:pt x="1035" y="1275"/>
                  </a:lnTo>
                  <a:lnTo>
                    <a:pt x="1071" y="1218"/>
                  </a:lnTo>
                  <a:lnTo>
                    <a:pt x="1107" y="1160"/>
                  </a:lnTo>
                  <a:lnTo>
                    <a:pt x="1142" y="1102"/>
                  </a:lnTo>
                  <a:lnTo>
                    <a:pt x="1175" y="1043"/>
                  </a:lnTo>
                  <a:lnTo>
                    <a:pt x="1208" y="985"/>
                  </a:lnTo>
                  <a:lnTo>
                    <a:pt x="1241" y="925"/>
                  </a:lnTo>
                  <a:lnTo>
                    <a:pt x="1272" y="865"/>
                  </a:lnTo>
                  <a:lnTo>
                    <a:pt x="1304" y="806"/>
                  </a:lnTo>
                  <a:lnTo>
                    <a:pt x="1334" y="745"/>
                  </a:lnTo>
                  <a:lnTo>
                    <a:pt x="1363" y="684"/>
                  </a:lnTo>
                  <a:lnTo>
                    <a:pt x="1391" y="624"/>
                  </a:lnTo>
                  <a:lnTo>
                    <a:pt x="1419" y="563"/>
                  </a:lnTo>
                  <a:lnTo>
                    <a:pt x="1446" y="501"/>
                  </a:lnTo>
                  <a:lnTo>
                    <a:pt x="1473" y="440"/>
                  </a:lnTo>
                  <a:lnTo>
                    <a:pt x="1498" y="377"/>
                  </a:lnTo>
                  <a:lnTo>
                    <a:pt x="1524" y="315"/>
                  </a:lnTo>
                  <a:lnTo>
                    <a:pt x="1548" y="253"/>
                  </a:lnTo>
                  <a:lnTo>
                    <a:pt x="1571" y="190"/>
                  </a:lnTo>
                  <a:lnTo>
                    <a:pt x="1594" y="127"/>
                  </a:lnTo>
                  <a:lnTo>
                    <a:pt x="1615" y="63"/>
                  </a:lnTo>
                  <a:lnTo>
                    <a:pt x="1636" y="0"/>
                  </a:lnTo>
                  <a:lnTo>
                    <a:pt x="1636" y="0"/>
                  </a:lnTo>
                  <a:lnTo>
                    <a:pt x="1636" y="0"/>
                  </a:lnTo>
                  <a:lnTo>
                    <a:pt x="1570" y="49"/>
                  </a:lnTo>
                  <a:lnTo>
                    <a:pt x="1506" y="98"/>
                  </a:lnTo>
                  <a:lnTo>
                    <a:pt x="1442" y="148"/>
                  </a:lnTo>
                  <a:lnTo>
                    <a:pt x="1379" y="198"/>
                  </a:lnTo>
                  <a:lnTo>
                    <a:pt x="1317" y="250"/>
                  </a:lnTo>
                  <a:lnTo>
                    <a:pt x="1256" y="302"/>
                  </a:lnTo>
                  <a:lnTo>
                    <a:pt x="1197" y="355"/>
                  </a:lnTo>
                  <a:lnTo>
                    <a:pt x="1137" y="409"/>
                  </a:lnTo>
                  <a:lnTo>
                    <a:pt x="1079" y="463"/>
                  </a:lnTo>
                  <a:lnTo>
                    <a:pt x="1021" y="518"/>
                  </a:lnTo>
                  <a:lnTo>
                    <a:pt x="965" y="573"/>
                  </a:lnTo>
                  <a:lnTo>
                    <a:pt x="910" y="629"/>
                  </a:lnTo>
                  <a:lnTo>
                    <a:pt x="856" y="687"/>
                  </a:lnTo>
                  <a:lnTo>
                    <a:pt x="802" y="744"/>
                  </a:lnTo>
                  <a:lnTo>
                    <a:pt x="749" y="802"/>
                  </a:lnTo>
                  <a:lnTo>
                    <a:pt x="697" y="861"/>
                  </a:lnTo>
                  <a:lnTo>
                    <a:pt x="647" y="921"/>
                  </a:lnTo>
                  <a:lnTo>
                    <a:pt x="597" y="981"/>
                  </a:lnTo>
                  <a:lnTo>
                    <a:pt x="549" y="1042"/>
                  </a:lnTo>
                  <a:lnTo>
                    <a:pt x="501" y="1103"/>
                  </a:lnTo>
                  <a:lnTo>
                    <a:pt x="453" y="1165"/>
                  </a:lnTo>
                  <a:lnTo>
                    <a:pt x="407" y="1228"/>
                  </a:lnTo>
                  <a:lnTo>
                    <a:pt x="362" y="1291"/>
                  </a:lnTo>
                  <a:lnTo>
                    <a:pt x="318" y="1354"/>
                  </a:lnTo>
                  <a:lnTo>
                    <a:pt x="276" y="1418"/>
                  </a:lnTo>
                  <a:lnTo>
                    <a:pt x="233" y="1482"/>
                  </a:lnTo>
                  <a:lnTo>
                    <a:pt x="192" y="1547"/>
                  </a:lnTo>
                  <a:lnTo>
                    <a:pt x="152" y="1612"/>
                  </a:lnTo>
                  <a:lnTo>
                    <a:pt x="113" y="1679"/>
                  </a:lnTo>
                  <a:lnTo>
                    <a:pt x="74" y="1745"/>
                  </a:lnTo>
                  <a:lnTo>
                    <a:pt x="37" y="1812"/>
                  </a:lnTo>
                  <a:lnTo>
                    <a:pt x="0" y="1879"/>
                  </a:lnTo>
                  <a:lnTo>
                    <a:pt x="0" y="1879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</p:grpSp>
      <p:sp>
        <p:nvSpPr>
          <p:cNvPr id="7" name="Otsikko 1"/>
          <p:cNvSpPr>
            <a:spLocks noGrp="1"/>
          </p:cNvSpPr>
          <p:nvPr userDrawn="1">
            <p:ph type="ctrTitle" hasCustomPrompt="1"/>
          </p:nvPr>
        </p:nvSpPr>
        <p:spPr>
          <a:xfrm>
            <a:off x="5668106" y="1507231"/>
            <a:ext cx="6178703" cy="1866900"/>
          </a:xfrm>
        </p:spPr>
        <p:txBody>
          <a:bodyPr anchor="b" anchorCtr="0">
            <a:noAutofit/>
          </a:bodyPr>
          <a:lstStyle>
            <a:lvl1pPr algn="l">
              <a:defRPr sz="5333">
                <a:solidFill>
                  <a:srgbClr val="FFFFFF"/>
                </a:solidFill>
              </a:defRPr>
            </a:lvl1pPr>
          </a:lstStyle>
          <a:p>
            <a:r>
              <a:rPr lang="fi-FI" dirty="0" smtClean="0"/>
              <a:t>Esityksen päättävä teksti</a:t>
            </a:r>
            <a:endParaRPr lang="fi-FI" dirty="0"/>
          </a:p>
        </p:txBody>
      </p:sp>
      <p:sp>
        <p:nvSpPr>
          <p:cNvPr id="8" name="Alaotsikko 2"/>
          <p:cNvSpPr>
            <a:spLocks noGrp="1"/>
          </p:cNvSpPr>
          <p:nvPr userDrawn="1">
            <p:ph type="subTitle" idx="1"/>
          </p:nvPr>
        </p:nvSpPr>
        <p:spPr>
          <a:xfrm>
            <a:off x="5668106" y="3717032"/>
            <a:ext cx="6127460" cy="175850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433680" y="5907923"/>
            <a:ext cx="2057288" cy="600839"/>
            <a:chOff x="5743821" y="366879"/>
            <a:chExt cx="3076574" cy="898526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6569320" y="633580"/>
              <a:ext cx="160338" cy="141288"/>
            </a:xfrm>
            <a:custGeom>
              <a:avLst/>
              <a:gdLst>
                <a:gd name="T0" fmla="*/ 623 w 1210"/>
                <a:gd name="T1" fmla="*/ 1065 h 1065"/>
                <a:gd name="T2" fmla="*/ 211 w 1210"/>
                <a:gd name="T3" fmla="*/ 202 h 1065"/>
                <a:gd name="T4" fmla="*/ 194 w 1210"/>
                <a:gd name="T5" fmla="*/ 163 h 1065"/>
                <a:gd name="T6" fmla="*/ 177 w 1210"/>
                <a:gd name="T7" fmla="*/ 131 h 1065"/>
                <a:gd name="T8" fmla="*/ 160 w 1210"/>
                <a:gd name="T9" fmla="*/ 105 h 1065"/>
                <a:gd name="T10" fmla="*/ 139 w 1210"/>
                <a:gd name="T11" fmla="*/ 84 h 1065"/>
                <a:gd name="T12" fmla="*/ 115 w 1210"/>
                <a:gd name="T13" fmla="*/ 69 h 1065"/>
                <a:gd name="T14" fmla="*/ 84 w 1210"/>
                <a:gd name="T15" fmla="*/ 59 h 1065"/>
                <a:gd name="T16" fmla="*/ 47 w 1210"/>
                <a:gd name="T17" fmla="*/ 52 h 1065"/>
                <a:gd name="T18" fmla="*/ 0 w 1210"/>
                <a:gd name="T19" fmla="*/ 50 h 1065"/>
                <a:gd name="T20" fmla="*/ 566 w 1210"/>
                <a:gd name="T21" fmla="*/ 0 h 1065"/>
                <a:gd name="T22" fmla="*/ 566 w 1210"/>
                <a:gd name="T23" fmla="*/ 50 h 1065"/>
                <a:gd name="T24" fmla="*/ 516 w 1210"/>
                <a:gd name="T25" fmla="*/ 52 h 1065"/>
                <a:gd name="T26" fmla="*/ 477 w 1210"/>
                <a:gd name="T27" fmla="*/ 58 h 1065"/>
                <a:gd name="T28" fmla="*/ 448 w 1210"/>
                <a:gd name="T29" fmla="*/ 68 h 1065"/>
                <a:gd name="T30" fmla="*/ 430 w 1210"/>
                <a:gd name="T31" fmla="*/ 81 h 1065"/>
                <a:gd name="T32" fmla="*/ 421 w 1210"/>
                <a:gd name="T33" fmla="*/ 99 h 1065"/>
                <a:gd name="T34" fmla="*/ 419 w 1210"/>
                <a:gd name="T35" fmla="*/ 122 h 1065"/>
                <a:gd name="T36" fmla="*/ 425 w 1210"/>
                <a:gd name="T37" fmla="*/ 150 h 1065"/>
                <a:gd name="T38" fmla="*/ 437 w 1210"/>
                <a:gd name="T39" fmla="*/ 181 h 1065"/>
                <a:gd name="T40" fmla="*/ 922 w 1210"/>
                <a:gd name="T41" fmla="*/ 181 h 1065"/>
                <a:gd name="T42" fmla="*/ 928 w 1210"/>
                <a:gd name="T43" fmla="*/ 165 h 1065"/>
                <a:gd name="T44" fmla="*/ 937 w 1210"/>
                <a:gd name="T45" fmla="*/ 134 h 1065"/>
                <a:gd name="T46" fmla="*/ 938 w 1210"/>
                <a:gd name="T47" fmla="*/ 110 h 1065"/>
                <a:gd name="T48" fmla="*/ 932 w 1210"/>
                <a:gd name="T49" fmla="*/ 89 h 1065"/>
                <a:gd name="T50" fmla="*/ 918 w 1210"/>
                <a:gd name="T51" fmla="*/ 74 h 1065"/>
                <a:gd name="T52" fmla="*/ 894 w 1210"/>
                <a:gd name="T53" fmla="*/ 62 h 1065"/>
                <a:gd name="T54" fmla="*/ 860 w 1210"/>
                <a:gd name="T55" fmla="*/ 54 h 1065"/>
                <a:gd name="T56" fmla="*/ 817 w 1210"/>
                <a:gd name="T57" fmla="*/ 50 h 1065"/>
                <a:gd name="T58" fmla="*/ 792 w 1210"/>
                <a:gd name="T59" fmla="*/ 0 h 1065"/>
                <a:gd name="T60" fmla="*/ 1210 w 1210"/>
                <a:gd name="T61" fmla="*/ 50 h 1065"/>
                <a:gd name="T62" fmla="*/ 1189 w 1210"/>
                <a:gd name="T63" fmla="*/ 50 h 1065"/>
                <a:gd name="T64" fmla="*/ 1151 w 1210"/>
                <a:gd name="T65" fmla="*/ 53 h 1065"/>
                <a:gd name="T66" fmla="*/ 1119 w 1210"/>
                <a:gd name="T67" fmla="*/ 61 h 1065"/>
                <a:gd name="T68" fmla="*/ 1091 w 1210"/>
                <a:gd name="T69" fmla="*/ 73 h 1065"/>
                <a:gd name="T70" fmla="*/ 1068 w 1210"/>
                <a:gd name="T71" fmla="*/ 89 h 1065"/>
                <a:gd name="T72" fmla="*/ 1046 w 1210"/>
                <a:gd name="T73" fmla="*/ 113 h 1065"/>
                <a:gd name="T74" fmla="*/ 1027 w 1210"/>
                <a:gd name="T75" fmla="*/ 142 h 1065"/>
                <a:gd name="T76" fmla="*/ 1008 w 1210"/>
                <a:gd name="T77" fmla="*/ 180 h 1065"/>
                <a:gd name="T78" fmla="*/ 997 w 1210"/>
                <a:gd name="T79" fmla="*/ 20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0" h="1065">
                  <a:moveTo>
                    <a:pt x="997" y="202"/>
                  </a:moveTo>
                  <a:lnTo>
                    <a:pt x="623" y="1065"/>
                  </a:lnTo>
                  <a:lnTo>
                    <a:pt x="587" y="1065"/>
                  </a:lnTo>
                  <a:lnTo>
                    <a:pt x="211" y="202"/>
                  </a:lnTo>
                  <a:lnTo>
                    <a:pt x="211" y="202"/>
                  </a:lnTo>
                  <a:lnTo>
                    <a:pt x="194" y="163"/>
                  </a:lnTo>
                  <a:lnTo>
                    <a:pt x="185" y="146"/>
                  </a:lnTo>
                  <a:lnTo>
                    <a:pt x="177" y="131"/>
                  </a:lnTo>
                  <a:lnTo>
                    <a:pt x="168" y="117"/>
                  </a:lnTo>
                  <a:lnTo>
                    <a:pt x="160" y="105"/>
                  </a:lnTo>
                  <a:lnTo>
                    <a:pt x="150" y="93"/>
                  </a:lnTo>
                  <a:lnTo>
                    <a:pt x="139" y="84"/>
                  </a:lnTo>
                  <a:lnTo>
                    <a:pt x="128" y="76"/>
                  </a:lnTo>
                  <a:lnTo>
                    <a:pt x="115" y="69"/>
                  </a:lnTo>
                  <a:lnTo>
                    <a:pt x="101" y="63"/>
                  </a:lnTo>
                  <a:lnTo>
                    <a:pt x="84" y="59"/>
                  </a:lnTo>
                  <a:lnTo>
                    <a:pt x="67" y="54"/>
                  </a:lnTo>
                  <a:lnTo>
                    <a:pt x="47" y="52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66" y="0"/>
                  </a:lnTo>
                  <a:lnTo>
                    <a:pt x="566" y="50"/>
                  </a:lnTo>
                  <a:lnTo>
                    <a:pt x="566" y="50"/>
                  </a:lnTo>
                  <a:lnTo>
                    <a:pt x="539" y="50"/>
                  </a:lnTo>
                  <a:lnTo>
                    <a:pt x="516" y="52"/>
                  </a:lnTo>
                  <a:lnTo>
                    <a:pt x="494" y="54"/>
                  </a:lnTo>
                  <a:lnTo>
                    <a:pt x="477" y="58"/>
                  </a:lnTo>
                  <a:lnTo>
                    <a:pt x="460" y="63"/>
                  </a:lnTo>
                  <a:lnTo>
                    <a:pt x="448" y="68"/>
                  </a:lnTo>
                  <a:lnTo>
                    <a:pt x="438" y="74"/>
                  </a:lnTo>
                  <a:lnTo>
                    <a:pt x="430" y="81"/>
                  </a:lnTo>
                  <a:lnTo>
                    <a:pt x="424" y="90"/>
                  </a:lnTo>
                  <a:lnTo>
                    <a:pt x="421" y="99"/>
                  </a:lnTo>
                  <a:lnTo>
                    <a:pt x="419" y="111"/>
                  </a:lnTo>
                  <a:lnTo>
                    <a:pt x="419" y="122"/>
                  </a:lnTo>
                  <a:lnTo>
                    <a:pt x="421" y="135"/>
                  </a:lnTo>
                  <a:lnTo>
                    <a:pt x="425" y="150"/>
                  </a:lnTo>
                  <a:lnTo>
                    <a:pt x="430" y="165"/>
                  </a:lnTo>
                  <a:lnTo>
                    <a:pt x="437" y="181"/>
                  </a:lnTo>
                  <a:lnTo>
                    <a:pt x="678" y="742"/>
                  </a:lnTo>
                  <a:lnTo>
                    <a:pt x="922" y="181"/>
                  </a:lnTo>
                  <a:lnTo>
                    <a:pt x="922" y="181"/>
                  </a:lnTo>
                  <a:lnTo>
                    <a:pt x="928" y="165"/>
                  </a:lnTo>
                  <a:lnTo>
                    <a:pt x="933" y="149"/>
                  </a:lnTo>
                  <a:lnTo>
                    <a:pt x="937" y="134"/>
                  </a:lnTo>
                  <a:lnTo>
                    <a:pt x="938" y="122"/>
                  </a:lnTo>
                  <a:lnTo>
                    <a:pt x="938" y="110"/>
                  </a:lnTo>
                  <a:lnTo>
                    <a:pt x="936" y="98"/>
                  </a:lnTo>
                  <a:lnTo>
                    <a:pt x="932" y="89"/>
                  </a:lnTo>
                  <a:lnTo>
                    <a:pt x="926" y="81"/>
                  </a:lnTo>
                  <a:lnTo>
                    <a:pt x="918" y="74"/>
                  </a:lnTo>
                  <a:lnTo>
                    <a:pt x="906" y="67"/>
                  </a:lnTo>
                  <a:lnTo>
                    <a:pt x="894" y="62"/>
                  </a:lnTo>
                  <a:lnTo>
                    <a:pt x="879" y="58"/>
                  </a:lnTo>
                  <a:lnTo>
                    <a:pt x="860" y="54"/>
                  </a:lnTo>
                  <a:lnTo>
                    <a:pt x="841" y="52"/>
                  </a:lnTo>
                  <a:lnTo>
                    <a:pt x="817" y="50"/>
                  </a:lnTo>
                  <a:lnTo>
                    <a:pt x="792" y="50"/>
                  </a:lnTo>
                  <a:lnTo>
                    <a:pt x="792" y="0"/>
                  </a:lnTo>
                  <a:lnTo>
                    <a:pt x="1210" y="0"/>
                  </a:lnTo>
                  <a:lnTo>
                    <a:pt x="1210" y="50"/>
                  </a:lnTo>
                  <a:lnTo>
                    <a:pt x="1210" y="50"/>
                  </a:lnTo>
                  <a:lnTo>
                    <a:pt x="1189" y="50"/>
                  </a:lnTo>
                  <a:lnTo>
                    <a:pt x="1169" y="51"/>
                  </a:lnTo>
                  <a:lnTo>
                    <a:pt x="1151" y="53"/>
                  </a:lnTo>
                  <a:lnTo>
                    <a:pt x="1134" y="57"/>
                  </a:lnTo>
                  <a:lnTo>
                    <a:pt x="1119" y="61"/>
                  </a:lnTo>
                  <a:lnTo>
                    <a:pt x="1105" y="66"/>
                  </a:lnTo>
                  <a:lnTo>
                    <a:pt x="1091" y="73"/>
                  </a:lnTo>
                  <a:lnTo>
                    <a:pt x="1079" y="80"/>
                  </a:lnTo>
                  <a:lnTo>
                    <a:pt x="1068" y="89"/>
                  </a:lnTo>
                  <a:lnTo>
                    <a:pt x="1057" y="100"/>
                  </a:lnTo>
                  <a:lnTo>
                    <a:pt x="1046" y="113"/>
                  </a:lnTo>
                  <a:lnTo>
                    <a:pt x="1036" y="127"/>
                  </a:lnTo>
                  <a:lnTo>
                    <a:pt x="1027" y="142"/>
                  </a:lnTo>
                  <a:lnTo>
                    <a:pt x="1017" y="161"/>
                  </a:lnTo>
                  <a:lnTo>
                    <a:pt x="1008" y="180"/>
                  </a:lnTo>
                  <a:lnTo>
                    <a:pt x="997" y="202"/>
                  </a:lnTo>
                  <a:lnTo>
                    <a:pt x="997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" name="Freeform 6"/>
            <p:cNvSpPr>
              <a:spLocks noEditPoints="1"/>
            </p:cNvSpPr>
            <p:nvPr userDrawn="1"/>
          </p:nvSpPr>
          <p:spPr bwMode="auto">
            <a:xfrm>
              <a:off x="6712196" y="630404"/>
              <a:ext cx="160338" cy="139699"/>
            </a:xfrm>
            <a:custGeom>
              <a:avLst/>
              <a:gdLst>
                <a:gd name="T0" fmla="*/ 289 w 1210"/>
                <a:gd name="T1" fmla="*/ 883 h 1064"/>
                <a:gd name="T2" fmla="*/ 276 w 1210"/>
                <a:gd name="T3" fmla="*/ 916 h 1064"/>
                <a:gd name="T4" fmla="*/ 271 w 1210"/>
                <a:gd name="T5" fmla="*/ 943 h 1064"/>
                <a:gd name="T6" fmla="*/ 274 w 1210"/>
                <a:gd name="T7" fmla="*/ 966 h 1064"/>
                <a:gd name="T8" fmla="*/ 284 w 1210"/>
                <a:gd name="T9" fmla="*/ 983 h 1064"/>
                <a:gd name="T10" fmla="*/ 303 w 1210"/>
                <a:gd name="T11" fmla="*/ 998 h 1064"/>
                <a:gd name="T12" fmla="*/ 331 w 1210"/>
                <a:gd name="T13" fmla="*/ 1007 h 1064"/>
                <a:gd name="T14" fmla="*/ 369 w 1210"/>
                <a:gd name="T15" fmla="*/ 1013 h 1064"/>
                <a:gd name="T16" fmla="*/ 417 w 1210"/>
                <a:gd name="T17" fmla="*/ 1014 h 1064"/>
                <a:gd name="T18" fmla="*/ 0 w 1210"/>
                <a:gd name="T19" fmla="*/ 1064 h 1064"/>
                <a:gd name="T20" fmla="*/ 0 w 1210"/>
                <a:gd name="T21" fmla="*/ 1014 h 1064"/>
                <a:gd name="T22" fmla="*/ 41 w 1210"/>
                <a:gd name="T23" fmla="*/ 1013 h 1064"/>
                <a:gd name="T24" fmla="*/ 76 w 1210"/>
                <a:gd name="T25" fmla="*/ 1008 h 1064"/>
                <a:gd name="T26" fmla="*/ 106 w 1210"/>
                <a:gd name="T27" fmla="*/ 999 h 1064"/>
                <a:gd name="T28" fmla="*/ 131 w 1210"/>
                <a:gd name="T29" fmla="*/ 984 h 1064"/>
                <a:gd name="T30" fmla="*/ 153 w 1210"/>
                <a:gd name="T31" fmla="*/ 964 h 1064"/>
                <a:gd name="T32" fmla="*/ 173 w 1210"/>
                <a:gd name="T33" fmla="*/ 938 h 1064"/>
                <a:gd name="T34" fmla="*/ 192 w 1210"/>
                <a:gd name="T35" fmla="*/ 904 h 1064"/>
                <a:gd name="T36" fmla="*/ 212 w 1210"/>
                <a:gd name="T37" fmla="*/ 863 h 1064"/>
                <a:gd name="T38" fmla="*/ 623 w 1210"/>
                <a:gd name="T39" fmla="*/ 0 h 1064"/>
                <a:gd name="T40" fmla="*/ 999 w 1210"/>
                <a:gd name="T41" fmla="*/ 863 h 1064"/>
                <a:gd name="T42" fmla="*/ 1025 w 1210"/>
                <a:gd name="T43" fmla="*/ 918 h 1064"/>
                <a:gd name="T44" fmla="*/ 1041 w 1210"/>
                <a:gd name="T45" fmla="*/ 946 h 1064"/>
                <a:gd name="T46" fmla="*/ 1060 w 1210"/>
                <a:gd name="T47" fmla="*/ 970 h 1064"/>
                <a:gd name="T48" fmla="*/ 1082 w 1210"/>
                <a:gd name="T49" fmla="*/ 988 h 1064"/>
                <a:gd name="T50" fmla="*/ 1110 w 1210"/>
                <a:gd name="T51" fmla="*/ 1002 h 1064"/>
                <a:gd name="T52" fmla="*/ 1142 w 1210"/>
                <a:gd name="T53" fmla="*/ 1010 h 1064"/>
                <a:gd name="T54" fmla="*/ 1185 w 1210"/>
                <a:gd name="T55" fmla="*/ 1014 h 1064"/>
                <a:gd name="T56" fmla="*/ 1210 w 1210"/>
                <a:gd name="T57" fmla="*/ 1064 h 1064"/>
                <a:gd name="T58" fmla="*/ 647 w 1210"/>
                <a:gd name="T59" fmla="*/ 1014 h 1064"/>
                <a:gd name="T60" fmla="*/ 674 w 1210"/>
                <a:gd name="T61" fmla="*/ 1014 h 1064"/>
                <a:gd name="T62" fmla="*/ 719 w 1210"/>
                <a:gd name="T63" fmla="*/ 1010 h 1064"/>
                <a:gd name="T64" fmla="*/ 752 w 1210"/>
                <a:gd name="T65" fmla="*/ 1003 h 1064"/>
                <a:gd name="T66" fmla="*/ 775 w 1210"/>
                <a:gd name="T67" fmla="*/ 990 h 1064"/>
                <a:gd name="T68" fmla="*/ 790 w 1210"/>
                <a:gd name="T69" fmla="*/ 974 h 1064"/>
                <a:gd name="T70" fmla="*/ 795 w 1210"/>
                <a:gd name="T71" fmla="*/ 954 h 1064"/>
                <a:gd name="T72" fmla="*/ 793 w 1210"/>
                <a:gd name="T73" fmla="*/ 929 h 1064"/>
                <a:gd name="T74" fmla="*/ 783 w 1210"/>
                <a:gd name="T75" fmla="*/ 899 h 1064"/>
                <a:gd name="T76" fmla="*/ 704 w 1210"/>
                <a:gd name="T77" fmla="*/ 719 h 1064"/>
                <a:gd name="T78" fmla="*/ 289 w 1210"/>
                <a:gd name="T79" fmla="*/ 883 h 1064"/>
                <a:gd name="T80" fmla="*/ 394 w 1210"/>
                <a:gd name="T81" fmla="*/ 642 h 1064"/>
                <a:gd name="T82" fmla="*/ 533 w 1210"/>
                <a:gd name="T83" fmla="*/ 318 h 1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0" h="1064">
                  <a:moveTo>
                    <a:pt x="289" y="883"/>
                  </a:moveTo>
                  <a:lnTo>
                    <a:pt x="289" y="883"/>
                  </a:lnTo>
                  <a:lnTo>
                    <a:pt x="281" y="900"/>
                  </a:lnTo>
                  <a:lnTo>
                    <a:pt x="276" y="916"/>
                  </a:lnTo>
                  <a:lnTo>
                    <a:pt x="273" y="930"/>
                  </a:lnTo>
                  <a:lnTo>
                    <a:pt x="271" y="943"/>
                  </a:lnTo>
                  <a:lnTo>
                    <a:pt x="272" y="955"/>
                  </a:lnTo>
                  <a:lnTo>
                    <a:pt x="274" y="966"/>
                  </a:lnTo>
                  <a:lnTo>
                    <a:pt x="278" y="975"/>
                  </a:lnTo>
                  <a:lnTo>
                    <a:pt x="284" y="983"/>
                  </a:lnTo>
                  <a:lnTo>
                    <a:pt x="293" y="991"/>
                  </a:lnTo>
                  <a:lnTo>
                    <a:pt x="303" y="998"/>
                  </a:lnTo>
                  <a:lnTo>
                    <a:pt x="316" y="1003"/>
                  </a:lnTo>
                  <a:lnTo>
                    <a:pt x="331" y="1007"/>
                  </a:lnTo>
                  <a:lnTo>
                    <a:pt x="349" y="1010"/>
                  </a:lnTo>
                  <a:lnTo>
                    <a:pt x="369" y="1013"/>
                  </a:lnTo>
                  <a:lnTo>
                    <a:pt x="392" y="1014"/>
                  </a:lnTo>
                  <a:lnTo>
                    <a:pt x="417" y="1014"/>
                  </a:lnTo>
                  <a:lnTo>
                    <a:pt x="417" y="1064"/>
                  </a:lnTo>
                  <a:lnTo>
                    <a:pt x="0" y="1064"/>
                  </a:lnTo>
                  <a:lnTo>
                    <a:pt x="0" y="1014"/>
                  </a:lnTo>
                  <a:lnTo>
                    <a:pt x="0" y="1014"/>
                  </a:lnTo>
                  <a:lnTo>
                    <a:pt x="22" y="1014"/>
                  </a:lnTo>
                  <a:lnTo>
                    <a:pt x="41" y="1013"/>
                  </a:lnTo>
                  <a:lnTo>
                    <a:pt x="59" y="1011"/>
                  </a:lnTo>
                  <a:lnTo>
                    <a:pt x="76" y="1008"/>
                  </a:lnTo>
                  <a:lnTo>
                    <a:pt x="91" y="1004"/>
                  </a:lnTo>
                  <a:lnTo>
                    <a:pt x="106" y="999"/>
                  </a:lnTo>
                  <a:lnTo>
                    <a:pt x="119" y="992"/>
                  </a:lnTo>
                  <a:lnTo>
                    <a:pt x="131" y="984"/>
                  </a:lnTo>
                  <a:lnTo>
                    <a:pt x="142" y="975"/>
                  </a:lnTo>
                  <a:lnTo>
                    <a:pt x="153" y="964"/>
                  </a:lnTo>
                  <a:lnTo>
                    <a:pt x="164" y="952"/>
                  </a:lnTo>
                  <a:lnTo>
                    <a:pt x="173" y="938"/>
                  </a:lnTo>
                  <a:lnTo>
                    <a:pt x="183" y="922"/>
                  </a:lnTo>
                  <a:lnTo>
                    <a:pt x="192" y="904"/>
                  </a:lnTo>
                  <a:lnTo>
                    <a:pt x="203" y="884"/>
                  </a:lnTo>
                  <a:lnTo>
                    <a:pt x="212" y="863"/>
                  </a:lnTo>
                  <a:lnTo>
                    <a:pt x="586" y="0"/>
                  </a:lnTo>
                  <a:lnTo>
                    <a:pt x="623" y="0"/>
                  </a:lnTo>
                  <a:lnTo>
                    <a:pt x="999" y="863"/>
                  </a:lnTo>
                  <a:lnTo>
                    <a:pt x="999" y="863"/>
                  </a:lnTo>
                  <a:lnTo>
                    <a:pt x="1017" y="900"/>
                  </a:lnTo>
                  <a:lnTo>
                    <a:pt x="1025" y="918"/>
                  </a:lnTo>
                  <a:lnTo>
                    <a:pt x="1033" y="933"/>
                  </a:lnTo>
                  <a:lnTo>
                    <a:pt x="1041" y="946"/>
                  </a:lnTo>
                  <a:lnTo>
                    <a:pt x="1050" y="959"/>
                  </a:lnTo>
                  <a:lnTo>
                    <a:pt x="1060" y="970"/>
                  </a:lnTo>
                  <a:lnTo>
                    <a:pt x="1071" y="980"/>
                  </a:lnTo>
                  <a:lnTo>
                    <a:pt x="1082" y="988"/>
                  </a:lnTo>
                  <a:lnTo>
                    <a:pt x="1095" y="995"/>
                  </a:lnTo>
                  <a:lnTo>
                    <a:pt x="1110" y="1002"/>
                  </a:lnTo>
                  <a:lnTo>
                    <a:pt x="1125" y="1006"/>
                  </a:lnTo>
                  <a:lnTo>
                    <a:pt x="1142" y="1010"/>
                  </a:lnTo>
                  <a:lnTo>
                    <a:pt x="1163" y="1012"/>
                  </a:lnTo>
                  <a:lnTo>
                    <a:pt x="1185" y="1014"/>
                  </a:lnTo>
                  <a:lnTo>
                    <a:pt x="1210" y="1014"/>
                  </a:lnTo>
                  <a:lnTo>
                    <a:pt x="1210" y="1064"/>
                  </a:lnTo>
                  <a:lnTo>
                    <a:pt x="647" y="1064"/>
                  </a:lnTo>
                  <a:lnTo>
                    <a:pt x="647" y="1014"/>
                  </a:lnTo>
                  <a:lnTo>
                    <a:pt x="647" y="1014"/>
                  </a:lnTo>
                  <a:lnTo>
                    <a:pt x="674" y="1014"/>
                  </a:lnTo>
                  <a:lnTo>
                    <a:pt x="698" y="1012"/>
                  </a:lnTo>
                  <a:lnTo>
                    <a:pt x="719" y="1010"/>
                  </a:lnTo>
                  <a:lnTo>
                    <a:pt x="736" y="1007"/>
                  </a:lnTo>
                  <a:lnTo>
                    <a:pt x="752" y="1003"/>
                  </a:lnTo>
                  <a:lnTo>
                    <a:pt x="765" y="996"/>
                  </a:lnTo>
                  <a:lnTo>
                    <a:pt x="775" y="990"/>
                  </a:lnTo>
                  <a:lnTo>
                    <a:pt x="783" y="983"/>
                  </a:lnTo>
                  <a:lnTo>
                    <a:pt x="790" y="974"/>
                  </a:lnTo>
                  <a:lnTo>
                    <a:pt x="793" y="965"/>
                  </a:lnTo>
                  <a:lnTo>
                    <a:pt x="795" y="954"/>
                  </a:lnTo>
                  <a:lnTo>
                    <a:pt x="795" y="942"/>
                  </a:lnTo>
                  <a:lnTo>
                    <a:pt x="793" y="929"/>
                  </a:lnTo>
                  <a:lnTo>
                    <a:pt x="789" y="915"/>
                  </a:lnTo>
                  <a:lnTo>
                    <a:pt x="783" y="899"/>
                  </a:lnTo>
                  <a:lnTo>
                    <a:pt x="776" y="883"/>
                  </a:lnTo>
                  <a:lnTo>
                    <a:pt x="704" y="719"/>
                  </a:lnTo>
                  <a:lnTo>
                    <a:pt x="359" y="719"/>
                  </a:lnTo>
                  <a:lnTo>
                    <a:pt x="289" y="883"/>
                  </a:lnTo>
                  <a:close/>
                  <a:moveTo>
                    <a:pt x="533" y="318"/>
                  </a:moveTo>
                  <a:lnTo>
                    <a:pt x="394" y="642"/>
                  </a:lnTo>
                  <a:lnTo>
                    <a:pt x="671" y="642"/>
                  </a:lnTo>
                  <a:lnTo>
                    <a:pt x="533" y="3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6889995" y="633580"/>
              <a:ext cx="131763" cy="136525"/>
            </a:xfrm>
            <a:custGeom>
              <a:avLst/>
              <a:gdLst>
                <a:gd name="T0" fmla="*/ 0 w 1002"/>
                <a:gd name="T1" fmla="*/ 0 h 1035"/>
                <a:gd name="T2" fmla="*/ 545 w 1002"/>
                <a:gd name="T3" fmla="*/ 50 h 1035"/>
                <a:gd name="T4" fmla="*/ 519 w 1002"/>
                <a:gd name="T5" fmla="*/ 50 h 1035"/>
                <a:gd name="T6" fmla="*/ 476 w 1002"/>
                <a:gd name="T7" fmla="*/ 54 h 1035"/>
                <a:gd name="T8" fmla="*/ 443 w 1002"/>
                <a:gd name="T9" fmla="*/ 63 h 1035"/>
                <a:gd name="T10" fmla="*/ 424 w 1002"/>
                <a:gd name="T11" fmla="*/ 73 h 1035"/>
                <a:gd name="T12" fmla="*/ 413 w 1002"/>
                <a:gd name="T13" fmla="*/ 81 h 1035"/>
                <a:gd name="T14" fmla="*/ 405 w 1002"/>
                <a:gd name="T15" fmla="*/ 92 h 1035"/>
                <a:gd name="T16" fmla="*/ 394 w 1002"/>
                <a:gd name="T17" fmla="*/ 113 h 1035"/>
                <a:gd name="T18" fmla="*/ 385 w 1002"/>
                <a:gd name="T19" fmla="*/ 148 h 1035"/>
                <a:gd name="T20" fmla="*/ 380 w 1002"/>
                <a:gd name="T21" fmla="*/ 194 h 1035"/>
                <a:gd name="T22" fmla="*/ 379 w 1002"/>
                <a:gd name="T23" fmla="*/ 252 h 1035"/>
                <a:gd name="T24" fmla="*/ 379 w 1002"/>
                <a:gd name="T25" fmla="*/ 756 h 1035"/>
                <a:gd name="T26" fmla="*/ 380 w 1002"/>
                <a:gd name="T27" fmla="*/ 814 h 1035"/>
                <a:gd name="T28" fmla="*/ 385 w 1002"/>
                <a:gd name="T29" fmla="*/ 860 h 1035"/>
                <a:gd name="T30" fmla="*/ 394 w 1002"/>
                <a:gd name="T31" fmla="*/ 896 h 1035"/>
                <a:gd name="T32" fmla="*/ 405 w 1002"/>
                <a:gd name="T33" fmla="*/ 915 h 1035"/>
                <a:gd name="T34" fmla="*/ 413 w 1002"/>
                <a:gd name="T35" fmla="*/ 927 h 1035"/>
                <a:gd name="T36" fmla="*/ 424 w 1002"/>
                <a:gd name="T37" fmla="*/ 936 h 1035"/>
                <a:gd name="T38" fmla="*/ 443 w 1002"/>
                <a:gd name="T39" fmla="*/ 946 h 1035"/>
                <a:gd name="T40" fmla="*/ 476 w 1002"/>
                <a:gd name="T41" fmla="*/ 954 h 1035"/>
                <a:gd name="T42" fmla="*/ 519 w 1002"/>
                <a:gd name="T43" fmla="*/ 957 h 1035"/>
                <a:gd name="T44" fmla="*/ 743 w 1002"/>
                <a:gd name="T45" fmla="*/ 957 h 1035"/>
                <a:gd name="T46" fmla="*/ 772 w 1002"/>
                <a:gd name="T47" fmla="*/ 957 h 1035"/>
                <a:gd name="T48" fmla="*/ 819 w 1002"/>
                <a:gd name="T49" fmla="*/ 953 h 1035"/>
                <a:gd name="T50" fmla="*/ 855 w 1002"/>
                <a:gd name="T51" fmla="*/ 946 h 1035"/>
                <a:gd name="T52" fmla="*/ 883 w 1002"/>
                <a:gd name="T53" fmla="*/ 934 h 1035"/>
                <a:gd name="T54" fmla="*/ 904 w 1002"/>
                <a:gd name="T55" fmla="*/ 917 h 1035"/>
                <a:gd name="T56" fmla="*/ 919 w 1002"/>
                <a:gd name="T57" fmla="*/ 897 h 1035"/>
                <a:gd name="T58" fmla="*/ 930 w 1002"/>
                <a:gd name="T59" fmla="*/ 872 h 1035"/>
                <a:gd name="T60" fmla="*/ 943 w 1002"/>
                <a:gd name="T61" fmla="*/ 826 h 1035"/>
                <a:gd name="T62" fmla="*/ 1002 w 1002"/>
                <a:gd name="T63" fmla="*/ 792 h 1035"/>
                <a:gd name="T64" fmla="*/ 0 w 1002"/>
                <a:gd name="T65" fmla="*/ 1035 h 1035"/>
                <a:gd name="T66" fmla="*/ 0 w 1002"/>
                <a:gd name="T67" fmla="*/ 985 h 1035"/>
                <a:gd name="T68" fmla="*/ 48 w 1002"/>
                <a:gd name="T69" fmla="*/ 984 h 1035"/>
                <a:gd name="T70" fmla="*/ 86 w 1002"/>
                <a:gd name="T71" fmla="*/ 978 h 1035"/>
                <a:gd name="T72" fmla="*/ 114 w 1002"/>
                <a:gd name="T73" fmla="*/ 966 h 1035"/>
                <a:gd name="T74" fmla="*/ 125 w 1002"/>
                <a:gd name="T75" fmla="*/ 958 h 1035"/>
                <a:gd name="T76" fmla="*/ 136 w 1002"/>
                <a:gd name="T77" fmla="*/ 949 h 1035"/>
                <a:gd name="T78" fmla="*/ 143 w 1002"/>
                <a:gd name="T79" fmla="*/ 937 h 1035"/>
                <a:gd name="T80" fmla="*/ 154 w 1002"/>
                <a:gd name="T81" fmla="*/ 906 h 1035"/>
                <a:gd name="T82" fmla="*/ 161 w 1002"/>
                <a:gd name="T83" fmla="*/ 866 h 1035"/>
                <a:gd name="T84" fmla="*/ 163 w 1002"/>
                <a:gd name="T85" fmla="*/ 814 h 1035"/>
                <a:gd name="T86" fmla="*/ 163 w 1002"/>
                <a:gd name="T87" fmla="*/ 252 h 1035"/>
                <a:gd name="T88" fmla="*/ 163 w 1002"/>
                <a:gd name="T89" fmla="*/ 221 h 1035"/>
                <a:gd name="T90" fmla="*/ 161 w 1002"/>
                <a:gd name="T91" fmla="*/ 169 h 1035"/>
                <a:gd name="T92" fmla="*/ 154 w 1002"/>
                <a:gd name="T93" fmla="*/ 129 h 1035"/>
                <a:gd name="T94" fmla="*/ 143 w 1002"/>
                <a:gd name="T95" fmla="*/ 98 h 1035"/>
                <a:gd name="T96" fmla="*/ 136 w 1002"/>
                <a:gd name="T97" fmla="*/ 86 h 1035"/>
                <a:gd name="T98" fmla="*/ 125 w 1002"/>
                <a:gd name="T99" fmla="*/ 77 h 1035"/>
                <a:gd name="T100" fmla="*/ 114 w 1002"/>
                <a:gd name="T101" fmla="*/ 69 h 1035"/>
                <a:gd name="T102" fmla="*/ 86 w 1002"/>
                <a:gd name="T103" fmla="*/ 58 h 1035"/>
                <a:gd name="T104" fmla="*/ 48 w 1002"/>
                <a:gd name="T105" fmla="*/ 51 h 1035"/>
                <a:gd name="T106" fmla="*/ 0 w 1002"/>
                <a:gd name="T107" fmla="*/ 5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02" h="1035">
                  <a:moveTo>
                    <a:pt x="0" y="50"/>
                  </a:moveTo>
                  <a:lnTo>
                    <a:pt x="0" y="0"/>
                  </a:lnTo>
                  <a:lnTo>
                    <a:pt x="545" y="0"/>
                  </a:lnTo>
                  <a:lnTo>
                    <a:pt x="545" y="50"/>
                  </a:lnTo>
                  <a:lnTo>
                    <a:pt x="545" y="50"/>
                  </a:lnTo>
                  <a:lnTo>
                    <a:pt x="519" y="50"/>
                  </a:lnTo>
                  <a:lnTo>
                    <a:pt x="497" y="51"/>
                  </a:lnTo>
                  <a:lnTo>
                    <a:pt x="476" y="54"/>
                  </a:lnTo>
                  <a:lnTo>
                    <a:pt x="459" y="58"/>
                  </a:lnTo>
                  <a:lnTo>
                    <a:pt x="443" y="63"/>
                  </a:lnTo>
                  <a:lnTo>
                    <a:pt x="429" y="69"/>
                  </a:lnTo>
                  <a:lnTo>
                    <a:pt x="424" y="73"/>
                  </a:lnTo>
                  <a:lnTo>
                    <a:pt x="418" y="77"/>
                  </a:lnTo>
                  <a:lnTo>
                    <a:pt x="413" y="81"/>
                  </a:lnTo>
                  <a:lnTo>
                    <a:pt x="409" y="86"/>
                  </a:lnTo>
                  <a:lnTo>
                    <a:pt x="405" y="92"/>
                  </a:lnTo>
                  <a:lnTo>
                    <a:pt x="400" y="98"/>
                  </a:lnTo>
                  <a:lnTo>
                    <a:pt x="394" y="113"/>
                  </a:lnTo>
                  <a:lnTo>
                    <a:pt x="389" y="129"/>
                  </a:lnTo>
                  <a:lnTo>
                    <a:pt x="385" y="148"/>
                  </a:lnTo>
                  <a:lnTo>
                    <a:pt x="382" y="169"/>
                  </a:lnTo>
                  <a:lnTo>
                    <a:pt x="380" y="194"/>
                  </a:lnTo>
                  <a:lnTo>
                    <a:pt x="379" y="221"/>
                  </a:lnTo>
                  <a:lnTo>
                    <a:pt x="379" y="252"/>
                  </a:lnTo>
                  <a:lnTo>
                    <a:pt x="379" y="756"/>
                  </a:lnTo>
                  <a:lnTo>
                    <a:pt x="379" y="756"/>
                  </a:lnTo>
                  <a:lnTo>
                    <a:pt x="379" y="787"/>
                  </a:lnTo>
                  <a:lnTo>
                    <a:pt x="380" y="814"/>
                  </a:lnTo>
                  <a:lnTo>
                    <a:pt x="382" y="839"/>
                  </a:lnTo>
                  <a:lnTo>
                    <a:pt x="385" y="860"/>
                  </a:lnTo>
                  <a:lnTo>
                    <a:pt x="389" y="879"/>
                  </a:lnTo>
                  <a:lnTo>
                    <a:pt x="394" y="896"/>
                  </a:lnTo>
                  <a:lnTo>
                    <a:pt x="400" y="909"/>
                  </a:lnTo>
                  <a:lnTo>
                    <a:pt x="405" y="915"/>
                  </a:lnTo>
                  <a:lnTo>
                    <a:pt x="409" y="921"/>
                  </a:lnTo>
                  <a:lnTo>
                    <a:pt x="413" y="927"/>
                  </a:lnTo>
                  <a:lnTo>
                    <a:pt x="418" y="932"/>
                  </a:lnTo>
                  <a:lnTo>
                    <a:pt x="424" y="936"/>
                  </a:lnTo>
                  <a:lnTo>
                    <a:pt x="429" y="939"/>
                  </a:lnTo>
                  <a:lnTo>
                    <a:pt x="443" y="946"/>
                  </a:lnTo>
                  <a:lnTo>
                    <a:pt x="459" y="950"/>
                  </a:lnTo>
                  <a:lnTo>
                    <a:pt x="476" y="954"/>
                  </a:lnTo>
                  <a:lnTo>
                    <a:pt x="497" y="956"/>
                  </a:lnTo>
                  <a:lnTo>
                    <a:pt x="519" y="957"/>
                  </a:lnTo>
                  <a:lnTo>
                    <a:pt x="545" y="957"/>
                  </a:lnTo>
                  <a:lnTo>
                    <a:pt x="743" y="957"/>
                  </a:lnTo>
                  <a:lnTo>
                    <a:pt x="743" y="957"/>
                  </a:lnTo>
                  <a:lnTo>
                    <a:pt x="772" y="957"/>
                  </a:lnTo>
                  <a:lnTo>
                    <a:pt x="796" y="955"/>
                  </a:lnTo>
                  <a:lnTo>
                    <a:pt x="819" y="953"/>
                  </a:lnTo>
                  <a:lnTo>
                    <a:pt x="838" y="950"/>
                  </a:lnTo>
                  <a:lnTo>
                    <a:pt x="855" y="946"/>
                  </a:lnTo>
                  <a:lnTo>
                    <a:pt x="871" y="940"/>
                  </a:lnTo>
                  <a:lnTo>
                    <a:pt x="883" y="934"/>
                  </a:lnTo>
                  <a:lnTo>
                    <a:pt x="894" y="927"/>
                  </a:lnTo>
                  <a:lnTo>
                    <a:pt x="904" y="917"/>
                  </a:lnTo>
                  <a:lnTo>
                    <a:pt x="912" y="908"/>
                  </a:lnTo>
                  <a:lnTo>
                    <a:pt x="919" y="897"/>
                  </a:lnTo>
                  <a:lnTo>
                    <a:pt x="925" y="886"/>
                  </a:lnTo>
                  <a:lnTo>
                    <a:pt x="930" y="872"/>
                  </a:lnTo>
                  <a:lnTo>
                    <a:pt x="935" y="858"/>
                  </a:lnTo>
                  <a:lnTo>
                    <a:pt x="943" y="826"/>
                  </a:lnTo>
                  <a:lnTo>
                    <a:pt x="952" y="792"/>
                  </a:lnTo>
                  <a:lnTo>
                    <a:pt x="1002" y="792"/>
                  </a:lnTo>
                  <a:lnTo>
                    <a:pt x="988" y="1035"/>
                  </a:lnTo>
                  <a:lnTo>
                    <a:pt x="0" y="1035"/>
                  </a:lnTo>
                  <a:lnTo>
                    <a:pt x="0" y="985"/>
                  </a:lnTo>
                  <a:lnTo>
                    <a:pt x="0" y="985"/>
                  </a:lnTo>
                  <a:lnTo>
                    <a:pt x="25" y="985"/>
                  </a:lnTo>
                  <a:lnTo>
                    <a:pt x="48" y="984"/>
                  </a:lnTo>
                  <a:lnTo>
                    <a:pt x="68" y="982"/>
                  </a:lnTo>
                  <a:lnTo>
                    <a:pt x="86" y="978"/>
                  </a:lnTo>
                  <a:lnTo>
                    <a:pt x="101" y="973"/>
                  </a:lnTo>
                  <a:lnTo>
                    <a:pt x="114" y="966"/>
                  </a:lnTo>
                  <a:lnTo>
                    <a:pt x="120" y="963"/>
                  </a:lnTo>
                  <a:lnTo>
                    <a:pt x="125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0" y="923"/>
                  </a:lnTo>
                  <a:lnTo>
                    <a:pt x="154" y="906"/>
                  </a:lnTo>
                  <a:lnTo>
                    <a:pt x="158" y="888"/>
                  </a:lnTo>
                  <a:lnTo>
                    <a:pt x="161" y="866"/>
                  </a:lnTo>
                  <a:lnTo>
                    <a:pt x="162" y="842"/>
                  </a:lnTo>
                  <a:lnTo>
                    <a:pt x="163" y="814"/>
                  </a:lnTo>
                  <a:lnTo>
                    <a:pt x="163" y="783"/>
                  </a:lnTo>
                  <a:lnTo>
                    <a:pt x="163" y="252"/>
                  </a:lnTo>
                  <a:lnTo>
                    <a:pt x="163" y="252"/>
                  </a:lnTo>
                  <a:lnTo>
                    <a:pt x="163" y="221"/>
                  </a:lnTo>
                  <a:lnTo>
                    <a:pt x="162" y="194"/>
                  </a:lnTo>
                  <a:lnTo>
                    <a:pt x="161" y="169"/>
                  </a:lnTo>
                  <a:lnTo>
                    <a:pt x="158" y="148"/>
                  </a:lnTo>
                  <a:lnTo>
                    <a:pt x="154" y="129"/>
                  </a:lnTo>
                  <a:lnTo>
                    <a:pt x="150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5" y="77"/>
                  </a:lnTo>
                  <a:lnTo>
                    <a:pt x="120" y="73"/>
                  </a:lnTo>
                  <a:lnTo>
                    <a:pt x="114" y="69"/>
                  </a:lnTo>
                  <a:lnTo>
                    <a:pt x="101" y="63"/>
                  </a:lnTo>
                  <a:lnTo>
                    <a:pt x="86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7023345" y="633580"/>
              <a:ext cx="142875" cy="136525"/>
            </a:xfrm>
            <a:custGeom>
              <a:avLst/>
              <a:gdLst>
                <a:gd name="T0" fmla="*/ 1028 w 1078"/>
                <a:gd name="T1" fmla="*/ 244 h 1035"/>
                <a:gd name="T2" fmla="*/ 1019 w 1078"/>
                <a:gd name="T3" fmla="*/ 209 h 1035"/>
                <a:gd name="T4" fmla="*/ 1006 w 1078"/>
                <a:gd name="T5" fmla="*/ 163 h 1035"/>
                <a:gd name="T6" fmla="*/ 995 w 1078"/>
                <a:gd name="T7" fmla="*/ 138 h 1035"/>
                <a:gd name="T8" fmla="*/ 979 w 1078"/>
                <a:gd name="T9" fmla="*/ 118 h 1035"/>
                <a:gd name="T10" fmla="*/ 959 w 1078"/>
                <a:gd name="T11" fmla="*/ 101 h 1035"/>
                <a:gd name="T12" fmla="*/ 931 w 1078"/>
                <a:gd name="T13" fmla="*/ 90 h 1035"/>
                <a:gd name="T14" fmla="*/ 895 w 1078"/>
                <a:gd name="T15" fmla="*/ 82 h 1035"/>
                <a:gd name="T16" fmla="*/ 848 w 1078"/>
                <a:gd name="T17" fmla="*/ 78 h 1035"/>
                <a:gd name="T18" fmla="*/ 646 w 1078"/>
                <a:gd name="T19" fmla="*/ 78 h 1035"/>
                <a:gd name="T20" fmla="*/ 646 w 1078"/>
                <a:gd name="T21" fmla="*/ 783 h 1035"/>
                <a:gd name="T22" fmla="*/ 648 w 1078"/>
                <a:gd name="T23" fmla="*/ 842 h 1035"/>
                <a:gd name="T24" fmla="*/ 652 w 1078"/>
                <a:gd name="T25" fmla="*/ 888 h 1035"/>
                <a:gd name="T26" fmla="*/ 661 w 1078"/>
                <a:gd name="T27" fmla="*/ 923 h 1035"/>
                <a:gd name="T28" fmla="*/ 672 w 1078"/>
                <a:gd name="T29" fmla="*/ 943 h 1035"/>
                <a:gd name="T30" fmla="*/ 680 w 1078"/>
                <a:gd name="T31" fmla="*/ 954 h 1035"/>
                <a:gd name="T32" fmla="*/ 691 w 1078"/>
                <a:gd name="T33" fmla="*/ 963 h 1035"/>
                <a:gd name="T34" fmla="*/ 711 w 1078"/>
                <a:gd name="T35" fmla="*/ 973 h 1035"/>
                <a:gd name="T36" fmla="*/ 743 w 1078"/>
                <a:gd name="T37" fmla="*/ 982 h 1035"/>
                <a:gd name="T38" fmla="*/ 786 w 1078"/>
                <a:gd name="T39" fmla="*/ 985 h 1035"/>
                <a:gd name="T40" fmla="*/ 812 w 1078"/>
                <a:gd name="T41" fmla="*/ 1035 h 1035"/>
                <a:gd name="T42" fmla="*/ 267 w 1078"/>
                <a:gd name="T43" fmla="*/ 985 h 1035"/>
                <a:gd name="T44" fmla="*/ 292 w 1078"/>
                <a:gd name="T45" fmla="*/ 985 h 1035"/>
                <a:gd name="T46" fmla="*/ 335 w 1078"/>
                <a:gd name="T47" fmla="*/ 982 h 1035"/>
                <a:gd name="T48" fmla="*/ 368 w 1078"/>
                <a:gd name="T49" fmla="*/ 973 h 1035"/>
                <a:gd name="T50" fmla="*/ 387 w 1078"/>
                <a:gd name="T51" fmla="*/ 963 h 1035"/>
                <a:gd name="T52" fmla="*/ 398 w 1078"/>
                <a:gd name="T53" fmla="*/ 954 h 1035"/>
                <a:gd name="T54" fmla="*/ 407 w 1078"/>
                <a:gd name="T55" fmla="*/ 943 h 1035"/>
                <a:gd name="T56" fmla="*/ 417 w 1078"/>
                <a:gd name="T57" fmla="*/ 923 h 1035"/>
                <a:gd name="T58" fmla="*/ 425 w 1078"/>
                <a:gd name="T59" fmla="*/ 888 h 1035"/>
                <a:gd name="T60" fmla="*/ 429 w 1078"/>
                <a:gd name="T61" fmla="*/ 842 h 1035"/>
                <a:gd name="T62" fmla="*/ 431 w 1078"/>
                <a:gd name="T63" fmla="*/ 783 h 1035"/>
                <a:gd name="T64" fmla="*/ 259 w 1078"/>
                <a:gd name="T65" fmla="*/ 78 h 1035"/>
                <a:gd name="T66" fmla="*/ 231 w 1078"/>
                <a:gd name="T67" fmla="*/ 78 h 1035"/>
                <a:gd name="T68" fmla="*/ 184 w 1078"/>
                <a:gd name="T69" fmla="*/ 82 h 1035"/>
                <a:gd name="T70" fmla="*/ 147 w 1078"/>
                <a:gd name="T71" fmla="*/ 90 h 1035"/>
                <a:gd name="T72" fmla="*/ 120 w 1078"/>
                <a:gd name="T73" fmla="*/ 101 h 1035"/>
                <a:gd name="T74" fmla="*/ 99 w 1078"/>
                <a:gd name="T75" fmla="*/ 118 h 1035"/>
                <a:gd name="T76" fmla="*/ 85 w 1078"/>
                <a:gd name="T77" fmla="*/ 138 h 1035"/>
                <a:gd name="T78" fmla="*/ 74 w 1078"/>
                <a:gd name="T79" fmla="*/ 163 h 1035"/>
                <a:gd name="T80" fmla="*/ 60 w 1078"/>
                <a:gd name="T81" fmla="*/ 209 h 1035"/>
                <a:gd name="T82" fmla="*/ 0 w 1078"/>
                <a:gd name="T83" fmla="*/ 244 h 1035"/>
                <a:gd name="T84" fmla="*/ 1064 w 1078"/>
                <a:gd name="T85" fmla="*/ 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8" h="1035">
                  <a:moveTo>
                    <a:pt x="1078" y="244"/>
                  </a:moveTo>
                  <a:lnTo>
                    <a:pt x="1028" y="244"/>
                  </a:lnTo>
                  <a:lnTo>
                    <a:pt x="1019" y="209"/>
                  </a:lnTo>
                  <a:lnTo>
                    <a:pt x="1019" y="209"/>
                  </a:lnTo>
                  <a:lnTo>
                    <a:pt x="1011" y="177"/>
                  </a:lnTo>
                  <a:lnTo>
                    <a:pt x="1006" y="163"/>
                  </a:lnTo>
                  <a:lnTo>
                    <a:pt x="1001" y="150"/>
                  </a:lnTo>
                  <a:lnTo>
                    <a:pt x="995" y="138"/>
                  </a:lnTo>
                  <a:lnTo>
                    <a:pt x="988" y="127"/>
                  </a:lnTo>
                  <a:lnTo>
                    <a:pt x="979" y="118"/>
                  </a:lnTo>
                  <a:lnTo>
                    <a:pt x="970" y="109"/>
                  </a:lnTo>
                  <a:lnTo>
                    <a:pt x="959" y="101"/>
                  </a:lnTo>
                  <a:lnTo>
                    <a:pt x="946" y="95"/>
                  </a:lnTo>
                  <a:lnTo>
                    <a:pt x="931" y="90"/>
                  </a:lnTo>
                  <a:lnTo>
                    <a:pt x="914" y="85"/>
                  </a:lnTo>
                  <a:lnTo>
                    <a:pt x="895" y="82"/>
                  </a:lnTo>
                  <a:lnTo>
                    <a:pt x="872" y="80"/>
                  </a:lnTo>
                  <a:lnTo>
                    <a:pt x="848" y="78"/>
                  </a:lnTo>
                  <a:lnTo>
                    <a:pt x="819" y="78"/>
                  </a:lnTo>
                  <a:lnTo>
                    <a:pt x="646" y="78"/>
                  </a:lnTo>
                  <a:lnTo>
                    <a:pt x="646" y="783"/>
                  </a:lnTo>
                  <a:lnTo>
                    <a:pt x="646" y="783"/>
                  </a:lnTo>
                  <a:lnTo>
                    <a:pt x="647" y="814"/>
                  </a:lnTo>
                  <a:lnTo>
                    <a:pt x="648" y="842"/>
                  </a:lnTo>
                  <a:lnTo>
                    <a:pt x="649" y="866"/>
                  </a:lnTo>
                  <a:lnTo>
                    <a:pt x="652" y="888"/>
                  </a:lnTo>
                  <a:lnTo>
                    <a:pt x="656" y="906"/>
                  </a:lnTo>
                  <a:lnTo>
                    <a:pt x="661" y="923"/>
                  </a:lnTo>
                  <a:lnTo>
                    <a:pt x="668" y="937"/>
                  </a:lnTo>
                  <a:lnTo>
                    <a:pt x="672" y="943"/>
                  </a:lnTo>
                  <a:lnTo>
                    <a:pt x="676" y="949"/>
                  </a:lnTo>
                  <a:lnTo>
                    <a:pt x="680" y="954"/>
                  </a:lnTo>
                  <a:lnTo>
                    <a:pt x="685" y="958"/>
                  </a:lnTo>
                  <a:lnTo>
                    <a:pt x="691" y="963"/>
                  </a:lnTo>
                  <a:lnTo>
                    <a:pt x="697" y="966"/>
                  </a:lnTo>
                  <a:lnTo>
                    <a:pt x="711" y="973"/>
                  </a:lnTo>
                  <a:lnTo>
                    <a:pt x="726" y="978"/>
                  </a:lnTo>
                  <a:lnTo>
                    <a:pt x="743" y="982"/>
                  </a:lnTo>
                  <a:lnTo>
                    <a:pt x="764" y="984"/>
                  </a:lnTo>
                  <a:lnTo>
                    <a:pt x="786" y="985"/>
                  </a:lnTo>
                  <a:lnTo>
                    <a:pt x="812" y="985"/>
                  </a:lnTo>
                  <a:lnTo>
                    <a:pt x="812" y="1035"/>
                  </a:lnTo>
                  <a:lnTo>
                    <a:pt x="267" y="1035"/>
                  </a:lnTo>
                  <a:lnTo>
                    <a:pt x="267" y="985"/>
                  </a:lnTo>
                  <a:lnTo>
                    <a:pt x="267" y="985"/>
                  </a:lnTo>
                  <a:lnTo>
                    <a:pt x="292" y="985"/>
                  </a:lnTo>
                  <a:lnTo>
                    <a:pt x="315" y="984"/>
                  </a:lnTo>
                  <a:lnTo>
                    <a:pt x="335" y="982"/>
                  </a:lnTo>
                  <a:lnTo>
                    <a:pt x="353" y="978"/>
                  </a:lnTo>
                  <a:lnTo>
                    <a:pt x="368" y="973"/>
                  </a:lnTo>
                  <a:lnTo>
                    <a:pt x="381" y="966"/>
                  </a:lnTo>
                  <a:lnTo>
                    <a:pt x="387" y="963"/>
                  </a:lnTo>
                  <a:lnTo>
                    <a:pt x="394" y="958"/>
                  </a:lnTo>
                  <a:lnTo>
                    <a:pt x="398" y="954"/>
                  </a:lnTo>
                  <a:lnTo>
                    <a:pt x="403" y="949"/>
                  </a:lnTo>
                  <a:lnTo>
                    <a:pt x="407" y="943"/>
                  </a:lnTo>
                  <a:lnTo>
                    <a:pt x="411" y="937"/>
                  </a:lnTo>
                  <a:lnTo>
                    <a:pt x="417" y="923"/>
                  </a:lnTo>
                  <a:lnTo>
                    <a:pt x="422" y="906"/>
                  </a:lnTo>
                  <a:lnTo>
                    <a:pt x="425" y="888"/>
                  </a:lnTo>
                  <a:lnTo>
                    <a:pt x="428" y="866"/>
                  </a:lnTo>
                  <a:lnTo>
                    <a:pt x="429" y="842"/>
                  </a:lnTo>
                  <a:lnTo>
                    <a:pt x="430" y="814"/>
                  </a:lnTo>
                  <a:lnTo>
                    <a:pt x="431" y="783"/>
                  </a:lnTo>
                  <a:lnTo>
                    <a:pt x="431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31" y="78"/>
                  </a:lnTo>
                  <a:lnTo>
                    <a:pt x="205" y="80"/>
                  </a:lnTo>
                  <a:lnTo>
                    <a:pt x="184" y="82"/>
                  </a:lnTo>
                  <a:lnTo>
                    <a:pt x="165" y="85"/>
                  </a:lnTo>
                  <a:lnTo>
                    <a:pt x="147" y="90"/>
                  </a:lnTo>
                  <a:lnTo>
                    <a:pt x="133" y="95"/>
                  </a:lnTo>
                  <a:lnTo>
                    <a:pt x="120" y="101"/>
                  </a:lnTo>
                  <a:lnTo>
                    <a:pt x="108" y="109"/>
                  </a:lnTo>
                  <a:lnTo>
                    <a:pt x="99" y="118"/>
                  </a:lnTo>
                  <a:lnTo>
                    <a:pt x="91" y="127"/>
                  </a:lnTo>
                  <a:lnTo>
                    <a:pt x="85" y="138"/>
                  </a:lnTo>
                  <a:lnTo>
                    <a:pt x="79" y="150"/>
                  </a:lnTo>
                  <a:lnTo>
                    <a:pt x="74" y="163"/>
                  </a:lnTo>
                  <a:lnTo>
                    <a:pt x="68" y="177"/>
                  </a:lnTo>
                  <a:lnTo>
                    <a:pt x="60" y="209"/>
                  </a:lnTo>
                  <a:lnTo>
                    <a:pt x="51" y="244"/>
                  </a:lnTo>
                  <a:lnTo>
                    <a:pt x="0" y="244"/>
                  </a:lnTo>
                  <a:lnTo>
                    <a:pt x="15" y="0"/>
                  </a:lnTo>
                  <a:lnTo>
                    <a:pt x="1064" y="0"/>
                  </a:lnTo>
                  <a:lnTo>
                    <a:pt x="1078" y="2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7193208" y="633580"/>
              <a:ext cx="73026" cy="136525"/>
            </a:xfrm>
            <a:custGeom>
              <a:avLst/>
              <a:gdLst>
                <a:gd name="T0" fmla="*/ 0 w 545"/>
                <a:gd name="T1" fmla="*/ 985 h 1035"/>
                <a:gd name="T2" fmla="*/ 26 w 545"/>
                <a:gd name="T3" fmla="*/ 985 h 1035"/>
                <a:gd name="T4" fmla="*/ 69 w 545"/>
                <a:gd name="T5" fmla="*/ 982 h 1035"/>
                <a:gd name="T6" fmla="*/ 102 w 545"/>
                <a:gd name="T7" fmla="*/ 973 h 1035"/>
                <a:gd name="T8" fmla="*/ 121 w 545"/>
                <a:gd name="T9" fmla="*/ 963 h 1035"/>
                <a:gd name="T10" fmla="*/ 131 w 545"/>
                <a:gd name="T11" fmla="*/ 954 h 1035"/>
                <a:gd name="T12" fmla="*/ 140 w 545"/>
                <a:gd name="T13" fmla="*/ 943 h 1035"/>
                <a:gd name="T14" fmla="*/ 151 w 545"/>
                <a:gd name="T15" fmla="*/ 923 h 1035"/>
                <a:gd name="T16" fmla="*/ 159 w 545"/>
                <a:gd name="T17" fmla="*/ 888 h 1035"/>
                <a:gd name="T18" fmla="*/ 163 w 545"/>
                <a:gd name="T19" fmla="*/ 842 h 1035"/>
                <a:gd name="T20" fmla="*/ 164 w 545"/>
                <a:gd name="T21" fmla="*/ 783 h 1035"/>
                <a:gd name="T22" fmla="*/ 164 w 545"/>
                <a:gd name="T23" fmla="*/ 252 h 1035"/>
                <a:gd name="T24" fmla="*/ 163 w 545"/>
                <a:gd name="T25" fmla="*/ 194 h 1035"/>
                <a:gd name="T26" fmla="*/ 159 w 545"/>
                <a:gd name="T27" fmla="*/ 148 h 1035"/>
                <a:gd name="T28" fmla="*/ 151 w 545"/>
                <a:gd name="T29" fmla="*/ 113 h 1035"/>
                <a:gd name="T30" fmla="*/ 140 w 545"/>
                <a:gd name="T31" fmla="*/ 92 h 1035"/>
                <a:gd name="T32" fmla="*/ 131 w 545"/>
                <a:gd name="T33" fmla="*/ 81 h 1035"/>
                <a:gd name="T34" fmla="*/ 121 w 545"/>
                <a:gd name="T35" fmla="*/ 73 h 1035"/>
                <a:gd name="T36" fmla="*/ 102 w 545"/>
                <a:gd name="T37" fmla="*/ 63 h 1035"/>
                <a:gd name="T38" fmla="*/ 69 w 545"/>
                <a:gd name="T39" fmla="*/ 54 h 1035"/>
                <a:gd name="T40" fmla="*/ 26 w 545"/>
                <a:gd name="T41" fmla="*/ 50 h 1035"/>
                <a:gd name="T42" fmla="*/ 0 w 545"/>
                <a:gd name="T43" fmla="*/ 0 h 1035"/>
                <a:gd name="T44" fmla="*/ 545 w 545"/>
                <a:gd name="T45" fmla="*/ 50 h 1035"/>
                <a:gd name="T46" fmla="*/ 520 w 545"/>
                <a:gd name="T47" fmla="*/ 50 h 1035"/>
                <a:gd name="T48" fmla="*/ 477 w 545"/>
                <a:gd name="T49" fmla="*/ 54 h 1035"/>
                <a:gd name="T50" fmla="*/ 444 w 545"/>
                <a:gd name="T51" fmla="*/ 63 h 1035"/>
                <a:gd name="T52" fmla="*/ 425 w 545"/>
                <a:gd name="T53" fmla="*/ 73 h 1035"/>
                <a:gd name="T54" fmla="*/ 413 w 545"/>
                <a:gd name="T55" fmla="*/ 81 h 1035"/>
                <a:gd name="T56" fmla="*/ 405 w 545"/>
                <a:gd name="T57" fmla="*/ 92 h 1035"/>
                <a:gd name="T58" fmla="*/ 395 w 545"/>
                <a:gd name="T59" fmla="*/ 113 h 1035"/>
                <a:gd name="T60" fmla="*/ 386 w 545"/>
                <a:gd name="T61" fmla="*/ 148 h 1035"/>
                <a:gd name="T62" fmla="*/ 381 w 545"/>
                <a:gd name="T63" fmla="*/ 194 h 1035"/>
                <a:gd name="T64" fmla="*/ 380 w 545"/>
                <a:gd name="T65" fmla="*/ 252 h 1035"/>
                <a:gd name="T66" fmla="*/ 380 w 545"/>
                <a:gd name="T67" fmla="*/ 783 h 1035"/>
                <a:gd name="T68" fmla="*/ 381 w 545"/>
                <a:gd name="T69" fmla="*/ 842 h 1035"/>
                <a:gd name="T70" fmla="*/ 386 w 545"/>
                <a:gd name="T71" fmla="*/ 888 h 1035"/>
                <a:gd name="T72" fmla="*/ 395 w 545"/>
                <a:gd name="T73" fmla="*/ 923 h 1035"/>
                <a:gd name="T74" fmla="*/ 405 w 545"/>
                <a:gd name="T75" fmla="*/ 943 h 1035"/>
                <a:gd name="T76" fmla="*/ 413 w 545"/>
                <a:gd name="T77" fmla="*/ 954 h 1035"/>
                <a:gd name="T78" fmla="*/ 425 w 545"/>
                <a:gd name="T79" fmla="*/ 963 h 1035"/>
                <a:gd name="T80" fmla="*/ 444 w 545"/>
                <a:gd name="T81" fmla="*/ 973 h 1035"/>
                <a:gd name="T82" fmla="*/ 477 w 545"/>
                <a:gd name="T83" fmla="*/ 982 h 1035"/>
                <a:gd name="T84" fmla="*/ 520 w 545"/>
                <a:gd name="T85" fmla="*/ 985 h 1035"/>
                <a:gd name="T86" fmla="*/ 545 w 545"/>
                <a:gd name="T87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5" h="1035">
                  <a:moveTo>
                    <a:pt x="0" y="1035"/>
                  </a:moveTo>
                  <a:lnTo>
                    <a:pt x="0" y="985"/>
                  </a:lnTo>
                  <a:lnTo>
                    <a:pt x="0" y="985"/>
                  </a:lnTo>
                  <a:lnTo>
                    <a:pt x="26" y="985"/>
                  </a:lnTo>
                  <a:lnTo>
                    <a:pt x="48" y="984"/>
                  </a:lnTo>
                  <a:lnTo>
                    <a:pt x="69" y="982"/>
                  </a:lnTo>
                  <a:lnTo>
                    <a:pt x="86" y="978"/>
                  </a:lnTo>
                  <a:lnTo>
                    <a:pt x="102" y="973"/>
                  </a:lnTo>
                  <a:lnTo>
                    <a:pt x="115" y="966"/>
                  </a:lnTo>
                  <a:lnTo>
                    <a:pt x="121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1" y="923"/>
                  </a:lnTo>
                  <a:lnTo>
                    <a:pt x="155" y="906"/>
                  </a:lnTo>
                  <a:lnTo>
                    <a:pt x="159" y="888"/>
                  </a:lnTo>
                  <a:lnTo>
                    <a:pt x="162" y="866"/>
                  </a:lnTo>
                  <a:lnTo>
                    <a:pt x="163" y="842"/>
                  </a:lnTo>
                  <a:lnTo>
                    <a:pt x="164" y="814"/>
                  </a:lnTo>
                  <a:lnTo>
                    <a:pt x="164" y="783"/>
                  </a:lnTo>
                  <a:lnTo>
                    <a:pt x="164" y="252"/>
                  </a:lnTo>
                  <a:lnTo>
                    <a:pt x="164" y="252"/>
                  </a:lnTo>
                  <a:lnTo>
                    <a:pt x="164" y="221"/>
                  </a:lnTo>
                  <a:lnTo>
                    <a:pt x="163" y="194"/>
                  </a:lnTo>
                  <a:lnTo>
                    <a:pt x="162" y="169"/>
                  </a:lnTo>
                  <a:lnTo>
                    <a:pt x="159" y="148"/>
                  </a:lnTo>
                  <a:lnTo>
                    <a:pt x="155" y="129"/>
                  </a:lnTo>
                  <a:lnTo>
                    <a:pt x="151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6" y="58"/>
                  </a:lnTo>
                  <a:lnTo>
                    <a:pt x="69" y="54"/>
                  </a:lnTo>
                  <a:lnTo>
                    <a:pt x="48" y="51"/>
                  </a:lnTo>
                  <a:lnTo>
                    <a:pt x="26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45" y="0"/>
                  </a:lnTo>
                  <a:lnTo>
                    <a:pt x="545" y="50"/>
                  </a:lnTo>
                  <a:lnTo>
                    <a:pt x="545" y="50"/>
                  </a:lnTo>
                  <a:lnTo>
                    <a:pt x="520" y="50"/>
                  </a:lnTo>
                  <a:lnTo>
                    <a:pt x="497" y="51"/>
                  </a:lnTo>
                  <a:lnTo>
                    <a:pt x="477" y="54"/>
                  </a:lnTo>
                  <a:lnTo>
                    <a:pt x="459" y="58"/>
                  </a:lnTo>
                  <a:lnTo>
                    <a:pt x="444" y="63"/>
                  </a:lnTo>
                  <a:lnTo>
                    <a:pt x="430" y="69"/>
                  </a:lnTo>
                  <a:lnTo>
                    <a:pt x="425" y="73"/>
                  </a:lnTo>
                  <a:lnTo>
                    <a:pt x="418" y="77"/>
                  </a:lnTo>
                  <a:lnTo>
                    <a:pt x="413" y="81"/>
                  </a:lnTo>
                  <a:lnTo>
                    <a:pt x="409" y="86"/>
                  </a:lnTo>
                  <a:lnTo>
                    <a:pt x="405" y="92"/>
                  </a:lnTo>
                  <a:lnTo>
                    <a:pt x="401" y="98"/>
                  </a:lnTo>
                  <a:lnTo>
                    <a:pt x="395" y="113"/>
                  </a:lnTo>
                  <a:lnTo>
                    <a:pt x="390" y="129"/>
                  </a:lnTo>
                  <a:lnTo>
                    <a:pt x="386" y="148"/>
                  </a:lnTo>
                  <a:lnTo>
                    <a:pt x="383" y="169"/>
                  </a:lnTo>
                  <a:lnTo>
                    <a:pt x="381" y="194"/>
                  </a:lnTo>
                  <a:lnTo>
                    <a:pt x="380" y="221"/>
                  </a:lnTo>
                  <a:lnTo>
                    <a:pt x="380" y="252"/>
                  </a:lnTo>
                  <a:lnTo>
                    <a:pt x="380" y="783"/>
                  </a:lnTo>
                  <a:lnTo>
                    <a:pt x="380" y="783"/>
                  </a:lnTo>
                  <a:lnTo>
                    <a:pt x="380" y="814"/>
                  </a:lnTo>
                  <a:lnTo>
                    <a:pt x="381" y="842"/>
                  </a:lnTo>
                  <a:lnTo>
                    <a:pt x="383" y="866"/>
                  </a:lnTo>
                  <a:lnTo>
                    <a:pt x="386" y="888"/>
                  </a:lnTo>
                  <a:lnTo>
                    <a:pt x="390" y="906"/>
                  </a:lnTo>
                  <a:lnTo>
                    <a:pt x="395" y="923"/>
                  </a:lnTo>
                  <a:lnTo>
                    <a:pt x="401" y="937"/>
                  </a:lnTo>
                  <a:lnTo>
                    <a:pt x="405" y="943"/>
                  </a:lnTo>
                  <a:lnTo>
                    <a:pt x="409" y="949"/>
                  </a:lnTo>
                  <a:lnTo>
                    <a:pt x="413" y="954"/>
                  </a:lnTo>
                  <a:lnTo>
                    <a:pt x="418" y="958"/>
                  </a:lnTo>
                  <a:lnTo>
                    <a:pt x="425" y="963"/>
                  </a:lnTo>
                  <a:lnTo>
                    <a:pt x="430" y="966"/>
                  </a:lnTo>
                  <a:lnTo>
                    <a:pt x="444" y="973"/>
                  </a:lnTo>
                  <a:lnTo>
                    <a:pt x="459" y="978"/>
                  </a:lnTo>
                  <a:lnTo>
                    <a:pt x="477" y="982"/>
                  </a:lnTo>
                  <a:lnTo>
                    <a:pt x="497" y="984"/>
                  </a:lnTo>
                  <a:lnTo>
                    <a:pt x="520" y="985"/>
                  </a:lnTo>
                  <a:lnTo>
                    <a:pt x="545" y="985"/>
                  </a:lnTo>
                  <a:lnTo>
                    <a:pt x="545" y="1035"/>
                  </a:lnTo>
                  <a:lnTo>
                    <a:pt x="0" y="10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2" name="Freeform 10"/>
            <p:cNvSpPr>
              <a:spLocks noEditPoints="1"/>
            </p:cNvSpPr>
            <p:nvPr userDrawn="1"/>
          </p:nvSpPr>
          <p:spPr bwMode="auto">
            <a:xfrm>
              <a:off x="7301158" y="630404"/>
              <a:ext cx="152400" cy="144463"/>
            </a:xfrm>
            <a:custGeom>
              <a:avLst/>
              <a:gdLst>
                <a:gd name="T0" fmla="*/ 489 w 1152"/>
                <a:gd name="T1" fmla="*/ 1087 h 1094"/>
                <a:gd name="T2" fmla="*/ 353 w 1152"/>
                <a:gd name="T3" fmla="*/ 1051 h 1094"/>
                <a:gd name="T4" fmla="*/ 232 w 1152"/>
                <a:gd name="T5" fmla="*/ 984 h 1094"/>
                <a:gd name="T6" fmla="*/ 132 w 1152"/>
                <a:gd name="T7" fmla="*/ 894 h 1094"/>
                <a:gd name="T8" fmla="*/ 57 w 1152"/>
                <a:gd name="T9" fmla="*/ 783 h 1094"/>
                <a:gd name="T10" fmla="*/ 12 w 1152"/>
                <a:gd name="T11" fmla="*/ 656 h 1094"/>
                <a:gd name="T12" fmla="*/ 0 w 1152"/>
                <a:gd name="T13" fmla="*/ 547 h 1094"/>
                <a:gd name="T14" fmla="*/ 19 w 1152"/>
                <a:gd name="T15" fmla="*/ 411 h 1094"/>
                <a:gd name="T16" fmla="*/ 70 w 1152"/>
                <a:gd name="T17" fmla="*/ 287 h 1094"/>
                <a:gd name="T18" fmla="*/ 151 w 1152"/>
                <a:gd name="T19" fmla="*/ 180 h 1094"/>
                <a:gd name="T20" fmla="*/ 255 w 1152"/>
                <a:gd name="T21" fmla="*/ 94 h 1094"/>
                <a:gd name="T22" fmla="*/ 379 w 1152"/>
                <a:gd name="T23" fmla="*/ 33 h 1094"/>
                <a:gd name="T24" fmla="*/ 518 w 1152"/>
                <a:gd name="T25" fmla="*/ 3 h 1094"/>
                <a:gd name="T26" fmla="*/ 635 w 1152"/>
                <a:gd name="T27" fmla="*/ 3 h 1094"/>
                <a:gd name="T28" fmla="*/ 773 w 1152"/>
                <a:gd name="T29" fmla="*/ 33 h 1094"/>
                <a:gd name="T30" fmla="*/ 897 w 1152"/>
                <a:gd name="T31" fmla="*/ 94 h 1094"/>
                <a:gd name="T32" fmla="*/ 1001 w 1152"/>
                <a:gd name="T33" fmla="*/ 180 h 1094"/>
                <a:gd name="T34" fmla="*/ 1082 w 1152"/>
                <a:gd name="T35" fmla="*/ 287 h 1094"/>
                <a:gd name="T36" fmla="*/ 1133 w 1152"/>
                <a:gd name="T37" fmla="*/ 411 h 1094"/>
                <a:gd name="T38" fmla="*/ 1152 w 1152"/>
                <a:gd name="T39" fmla="*/ 547 h 1094"/>
                <a:gd name="T40" fmla="*/ 1139 w 1152"/>
                <a:gd name="T41" fmla="*/ 656 h 1094"/>
                <a:gd name="T42" fmla="*/ 1094 w 1152"/>
                <a:gd name="T43" fmla="*/ 783 h 1094"/>
                <a:gd name="T44" fmla="*/ 1020 w 1152"/>
                <a:gd name="T45" fmla="*/ 894 h 1094"/>
                <a:gd name="T46" fmla="*/ 919 w 1152"/>
                <a:gd name="T47" fmla="*/ 984 h 1094"/>
                <a:gd name="T48" fmla="*/ 800 w 1152"/>
                <a:gd name="T49" fmla="*/ 1051 h 1094"/>
                <a:gd name="T50" fmla="*/ 664 w 1152"/>
                <a:gd name="T51" fmla="*/ 1087 h 1094"/>
                <a:gd name="T52" fmla="*/ 577 w 1152"/>
                <a:gd name="T53" fmla="*/ 82 h 1094"/>
                <a:gd name="T54" fmla="*/ 492 w 1152"/>
                <a:gd name="T55" fmla="*/ 94 h 1094"/>
                <a:gd name="T56" fmla="*/ 404 w 1152"/>
                <a:gd name="T57" fmla="*/ 137 h 1094"/>
                <a:gd name="T58" fmla="*/ 336 w 1152"/>
                <a:gd name="T59" fmla="*/ 204 h 1094"/>
                <a:gd name="T60" fmla="*/ 285 w 1152"/>
                <a:gd name="T61" fmla="*/ 290 h 1094"/>
                <a:gd name="T62" fmla="*/ 253 w 1152"/>
                <a:gd name="T63" fmla="*/ 386 h 1094"/>
                <a:gd name="T64" fmla="*/ 234 w 1152"/>
                <a:gd name="T65" fmla="*/ 507 h 1094"/>
                <a:gd name="T66" fmla="*/ 240 w 1152"/>
                <a:gd name="T67" fmla="*/ 647 h 1094"/>
                <a:gd name="T68" fmla="*/ 264 w 1152"/>
                <a:gd name="T69" fmla="*/ 747 h 1094"/>
                <a:gd name="T70" fmla="*/ 303 w 1152"/>
                <a:gd name="T71" fmla="*/ 840 h 1094"/>
                <a:gd name="T72" fmla="*/ 360 w 1152"/>
                <a:gd name="T73" fmla="*/ 919 h 1094"/>
                <a:gd name="T74" fmla="*/ 437 w 1152"/>
                <a:gd name="T75" fmla="*/ 977 h 1094"/>
                <a:gd name="T76" fmla="*/ 533 w 1152"/>
                <a:gd name="T77" fmla="*/ 1008 h 1094"/>
                <a:gd name="T78" fmla="*/ 621 w 1152"/>
                <a:gd name="T79" fmla="*/ 1008 h 1094"/>
                <a:gd name="T80" fmla="*/ 716 w 1152"/>
                <a:gd name="T81" fmla="*/ 977 h 1094"/>
                <a:gd name="T82" fmla="*/ 793 w 1152"/>
                <a:gd name="T83" fmla="*/ 919 h 1094"/>
                <a:gd name="T84" fmla="*/ 850 w 1152"/>
                <a:gd name="T85" fmla="*/ 840 h 1094"/>
                <a:gd name="T86" fmla="*/ 890 w 1152"/>
                <a:gd name="T87" fmla="*/ 747 h 1094"/>
                <a:gd name="T88" fmla="*/ 912 w 1152"/>
                <a:gd name="T89" fmla="*/ 647 h 1094"/>
                <a:gd name="T90" fmla="*/ 918 w 1152"/>
                <a:gd name="T91" fmla="*/ 507 h 1094"/>
                <a:gd name="T92" fmla="*/ 901 w 1152"/>
                <a:gd name="T93" fmla="*/ 386 h 1094"/>
                <a:gd name="T94" fmla="*/ 867 w 1152"/>
                <a:gd name="T95" fmla="*/ 290 h 1094"/>
                <a:gd name="T96" fmla="*/ 817 w 1152"/>
                <a:gd name="T97" fmla="*/ 204 h 1094"/>
                <a:gd name="T98" fmla="*/ 749 w 1152"/>
                <a:gd name="T99" fmla="*/ 137 h 1094"/>
                <a:gd name="T100" fmla="*/ 662 w 1152"/>
                <a:gd name="T101" fmla="*/ 94 h 1094"/>
                <a:gd name="T102" fmla="*/ 577 w 1152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2" h="1094">
                  <a:moveTo>
                    <a:pt x="577" y="1094"/>
                  </a:moveTo>
                  <a:lnTo>
                    <a:pt x="577" y="1094"/>
                  </a:lnTo>
                  <a:lnTo>
                    <a:pt x="547" y="1093"/>
                  </a:lnTo>
                  <a:lnTo>
                    <a:pt x="518" y="1091"/>
                  </a:lnTo>
                  <a:lnTo>
                    <a:pt x="489" y="1087"/>
                  </a:lnTo>
                  <a:lnTo>
                    <a:pt x="460" y="1082"/>
                  </a:lnTo>
                  <a:lnTo>
                    <a:pt x="433" y="1076"/>
                  </a:lnTo>
                  <a:lnTo>
                    <a:pt x="406" y="1069"/>
                  </a:lnTo>
                  <a:lnTo>
                    <a:pt x="379" y="1060"/>
                  </a:lnTo>
                  <a:lnTo>
                    <a:pt x="353" y="1051"/>
                  </a:lnTo>
                  <a:lnTo>
                    <a:pt x="327" y="1039"/>
                  </a:lnTo>
                  <a:lnTo>
                    <a:pt x="303" y="1027"/>
                  </a:lnTo>
                  <a:lnTo>
                    <a:pt x="278" y="1014"/>
                  </a:lnTo>
                  <a:lnTo>
                    <a:pt x="255" y="1000"/>
                  </a:lnTo>
                  <a:lnTo>
                    <a:pt x="232" y="984"/>
                  </a:lnTo>
                  <a:lnTo>
                    <a:pt x="211" y="968"/>
                  </a:lnTo>
                  <a:lnTo>
                    <a:pt x="189" y="950"/>
                  </a:lnTo>
                  <a:lnTo>
                    <a:pt x="170" y="933"/>
                  </a:lnTo>
                  <a:lnTo>
                    <a:pt x="151" y="914"/>
                  </a:lnTo>
                  <a:lnTo>
                    <a:pt x="132" y="894"/>
                  </a:lnTo>
                  <a:lnTo>
                    <a:pt x="115" y="873"/>
                  </a:lnTo>
                  <a:lnTo>
                    <a:pt x="99" y="851"/>
                  </a:lnTo>
                  <a:lnTo>
                    <a:pt x="84" y="830"/>
                  </a:lnTo>
                  <a:lnTo>
                    <a:pt x="70" y="806"/>
                  </a:lnTo>
                  <a:lnTo>
                    <a:pt x="57" y="783"/>
                  </a:lnTo>
                  <a:lnTo>
                    <a:pt x="46" y="758"/>
                  </a:lnTo>
                  <a:lnTo>
                    <a:pt x="36" y="734"/>
                  </a:lnTo>
                  <a:lnTo>
                    <a:pt x="27" y="708"/>
                  </a:lnTo>
                  <a:lnTo>
                    <a:pt x="19" y="683"/>
                  </a:lnTo>
                  <a:lnTo>
                    <a:pt x="12" y="656"/>
                  </a:lnTo>
                  <a:lnTo>
                    <a:pt x="7" y="629"/>
                  </a:lnTo>
                  <a:lnTo>
                    <a:pt x="3" y="602"/>
                  </a:lnTo>
                  <a:lnTo>
                    <a:pt x="1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1" y="519"/>
                  </a:lnTo>
                  <a:lnTo>
                    <a:pt x="3" y="491"/>
                  </a:lnTo>
                  <a:lnTo>
                    <a:pt x="7" y="464"/>
                  </a:lnTo>
                  <a:lnTo>
                    <a:pt x="12" y="437"/>
                  </a:lnTo>
                  <a:lnTo>
                    <a:pt x="19" y="411"/>
                  </a:lnTo>
                  <a:lnTo>
                    <a:pt x="27" y="385"/>
                  </a:lnTo>
                  <a:lnTo>
                    <a:pt x="36" y="360"/>
                  </a:lnTo>
                  <a:lnTo>
                    <a:pt x="46" y="335"/>
                  </a:lnTo>
                  <a:lnTo>
                    <a:pt x="57" y="310"/>
                  </a:lnTo>
                  <a:lnTo>
                    <a:pt x="70" y="287"/>
                  </a:lnTo>
                  <a:lnTo>
                    <a:pt x="84" y="264"/>
                  </a:lnTo>
                  <a:lnTo>
                    <a:pt x="99" y="242"/>
                  </a:lnTo>
                  <a:lnTo>
                    <a:pt x="115" y="220"/>
                  </a:lnTo>
                  <a:lnTo>
                    <a:pt x="132" y="200"/>
                  </a:lnTo>
                  <a:lnTo>
                    <a:pt x="151" y="180"/>
                  </a:lnTo>
                  <a:lnTo>
                    <a:pt x="170" y="161"/>
                  </a:lnTo>
                  <a:lnTo>
                    <a:pt x="189" y="143"/>
                  </a:lnTo>
                  <a:lnTo>
                    <a:pt x="211" y="125"/>
                  </a:lnTo>
                  <a:lnTo>
                    <a:pt x="232" y="109"/>
                  </a:lnTo>
                  <a:lnTo>
                    <a:pt x="255" y="94"/>
                  </a:lnTo>
                  <a:lnTo>
                    <a:pt x="278" y="79"/>
                  </a:lnTo>
                  <a:lnTo>
                    <a:pt x="303" y="66"/>
                  </a:lnTo>
                  <a:lnTo>
                    <a:pt x="327" y="54"/>
                  </a:lnTo>
                  <a:lnTo>
                    <a:pt x="353" y="44"/>
                  </a:lnTo>
                  <a:lnTo>
                    <a:pt x="379" y="33"/>
                  </a:lnTo>
                  <a:lnTo>
                    <a:pt x="406" y="24"/>
                  </a:lnTo>
                  <a:lnTo>
                    <a:pt x="433" y="17"/>
                  </a:lnTo>
                  <a:lnTo>
                    <a:pt x="460" y="11"/>
                  </a:lnTo>
                  <a:lnTo>
                    <a:pt x="489" y="6"/>
                  </a:lnTo>
                  <a:lnTo>
                    <a:pt x="518" y="3"/>
                  </a:lnTo>
                  <a:lnTo>
                    <a:pt x="547" y="1"/>
                  </a:lnTo>
                  <a:lnTo>
                    <a:pt x="577" y="0"/>
                  </a:lnTo>
                  <a:lnTo>
                    <a:pt x="577" y="0"/>
                  </a:lnTo>
                  <a:lnTo>
                    <a:pt x="607" y="1"/>
                  </a:lnTo>
                  <a:lnTo>
                    <a:pt x="635" y="3"/>
                  </a:lnTo>
                  <a:lnTo>
                    <a:pt x="664" y="6"/>
                  </a:lnTo>
                  <a:lnTo>
                    <a:pt x="692" y="11"/>
                  </a:lnTo>
                  <a:lnTo>
                    <a:pt x="720" y="17"/>
                  </a:lnTo>
                  <a:lnTo>
                    <a:pt x="747" y="24"/>
                  </a:lnTo>
                  <a:lnTo>
                    <a:pt x="773" y="33"/>
                  </a:lnTo>
                  <a:lnTo>
                    <a:pt x="800" y="44"/>
                  </a:lnTo>
                  <a:lnTo>
                    <a:pt x="825" y="54"/>
                  </a:lnTo>
                  <a:lnTo>
                    <a:pt x="850" y="66"/>
                  </a:lnTo>
                  <a:lnTo>
                    <a:pt x="873" y="79"/>
                  </a:lnTo>
                  <a:lnTo>
                    <a:pt x="897" y="94"/>
                  </a:lnTo>
                  <a:lnTo>
                    <a:pt x="919" y="109"/>
                  </a:lnTo>
                  <a:lnTo>
                    <a:pt x="942" y="125"/>
                  </a:lnTo>
                  <a:lnTo>
                    <a:pt x="962" y="143"/>
                  </a:lnTo>
                  <a:lnTo>
                    <a:pt x="983" y="161"/>
                  </a:lnTo>
                  <a:lnTo>
                    <a:pt x="1001" y="180"/>
                  </a:lnTo>
                  <a:lnTo>
                    <a:pt x="1020" y="200"/>
                  </a:lnTo>
                  <a:lnTo>
                    <a:pt x="1037" y="220"/>
                  </a:lnTo>
                  <a:lnTo>
                    <a:pt x="1052" y="242"/>
                  </a:lnTo>
                  <a:lnTo>
                    <a:pt x="1068" y="264"/>
                  </a:lnTo>
                  <a:lnTo>
                    <a:pt x="1082" y="287"/>
                  </a:lnTo>
                  <a:lnTo>
                    <a:pt x="1094" y="310"/>
                  </a:lnTo>
                  <a:lnTo>
                    <a:pt x="1106" y="335"/>
                  </a:lnTo>
                  <a:lnTo>
                    <a:pt x="1116" y="360"/>
                  </a:lnTo>
                  <a:lnTo>
                    <a:pt x="1125" y="385"/>
                  </a:lnTo>
                  <a:lnTo>
                    <a:pt x="1133" y="411"/>
                  </a:lnTo>
                  <a:lnTo>
                    <a:pt x="1139" y="437"/>
                  </a:lnTo>
                  <a:lnTo>
                    <a:pt x="1144" y="464"/>
                  </a:lnTo>
                  <a:lnTo>
                    <a:pt x="1148" y="491"/>
                  </a:lnTo>
                  <a:lnTo>
                    <a:pt x="1151" y="519"/>
                  </a:lnTo>
                  <a:lnTo>
                    <a:pt x="1152" y="547"/>
                  </a:lnTo>
                  <a:lnTo>
                    <a:pt x="1152" y="547"/>
                  </a:lnTo>
                  <a:lnTo>
                    <a:pt x="1151" y="574"/>
                  </a:lnTo>
                  <a:lnTo>
                    <a:pt x="1148" y="602"/>
                  </a:lnTo>
                  <a:lnTo>
                    <a:pt x="1144" y="629"/>
                  </a:lnTo>
                  <a:lnTo>
                    <a:pt x="1139" y="656"/>
                  </a:lnTo>
                  <a:lnTo>
                    <a:pt x="1133" y="683"/>
                  </a:lnTo>
                  <a:lnTo>
                    <a:pt x="1125" y="708"/>
                  </a:lnTo>
                  <a:lnTo>
                    <a:pt x="1116" y="734"/>
                  </a:lnTo>
                  <a:lnTo>
                    <a:pt x="1106" y="758"/>
                  </a:lnTo>
                  <a:lnTo>
                    <a:pt x="1094" y="783"/>
                  </a:lnTo>
                  <a:lnTo>
                    <a:pt x="1082" y="806"/>
                  </a:lnTo>
                  <a:lnTo>
                    <a:pt x="1068" y="830"/>
                  </a:lnTo>
                  <a:lnTo>
                    <a:pt x="1052" y="851"/>
                  </a:lnTo>
                  <a:lnTo>
                    <a:pt x="1037" y="873"/>
                  </a:lnTo>
                  <a:lnTo>
                    <a:pt x="1020" y="894"/>
                  </a:lnTo>
                  <a:lnTo>
                    <a:pt x="1001" y="914"/>
                  </a:lnTo>
                  <a:lnTo>
                    <a:pt x="983" y="933"/>
                  </a:lnTo>
                  <a:lnTo>
                    <a:pt x="962" y="950"/>
                  </a:lnTo>
                  <a:lnTo>
                    <a:pt x="942" y="968"/>
                  </a:lnTo>
                  <a:lnTo>
                    <a:pt x="919" y="984"/>
                  </a:lnTo>
                  <a:lnTo>
                    <a:pt x="897" y="1000"/>
                  </a:lnTo>
                  <a:lnTo>
                    <a:pt x="873" y="1014"/>
                  </a:lnTo>
                  <a:lnTo>
                    <a:pt x="850" y="1027"/>
                  </a:lnTo>
                  <a:lnTo>
                    <a:pt x="825" y="1039"/>
                  </a:lnTo>
                  <a:lnTo>
                    <a:pt x="800" y="1051"/>
                  </a:lnTo>
                  <a:lnTo>
                    <a:pt x="773" y="1060"/>
                  </a:lnTo>
                  <a:lnTo>
                    <a:pt x="747" y="1069"/>
                  </a:lnTo>
                  <a:lnTo>
                    <a:pt x="720" y="1076"/>
                  </a:lnTo>
                  <a:lnTo>
                    <a:pt x="692" y="1082"/>
                  </a:lnTo>
                  <a:lnTo>
                    <a:pt x="664" y="1087"/>
                  </a:lnTo>
                  <a:lnTo>
                    <a:pt x="635" y="1091"/>
                  </a:lnTo>
                  <a:lnTo>
                    <a:pt x="607" y="1093"/>
                  </a:lnTo>
                  <a:lnTo>
                    <a:pt x="577" y="1094"/>
                  </a:lnTo>
                  <a:lnTo>
                    <a:pt x="577" y="1094"/>
                  </a:lnTo>
                  <a:close/>
                  <a:moveTo>
                    <a:pt x="577" y="82"/>
                  </a:moveTo>
                  <a:lnTo>
                    <a:pt x="577" y="82"/>
                  </a:lnTo>
                  <a:lnTo>
                    <a:pt x="554" y="83"/>
                  </a:lnTo>
                  <a:lnTo>
                    <a:pt x="533" y="86"/>
                  </a:lnTo>
                  <a:lnTo>
                    <a:pt x="511" y="90"/>
                  </a:lnTo>
                  <a:lnTo>
                    <a:pt x="492" y="94"/>
                  </a:lnTo>
                  <a:lnTo>
                    <a:pt x="473" y="100"/>
                  </a:lnTo>
                  <a:lnTo>
                    <a:pt x="454" y="108"/>
                  </a:lnTo>
                  <a:lnTo>
                    <a:pt x="437" y="116"/>
                  </a:lnTo>
                  <a:lnTo>
                    <a:pt x="419" y="125"/>
                  </a:lnTo>
                  <a:lnTo>
                    <a:pt x="404" y="137"/>
                  </a:lnTo>
                  <a:lnTo>
                    <a:pt x="389" y="148"/>
                  </a:lnTo>
                  <a:lnTo>
                    <a:pt x="374" y="161"/>
                  </a:lnTo>
                  <a:lnTo>
                    <a:pt x="360" y="174"/>
                  </a:lnTo>
                  <a:lnTo>
                    <a:pt x="348" y="189"/>
                  </a:lnTo>
                  <a:lnTo>
                    <a:pt x="336" y="204"/>
                  </a:lnTo>
                  <a:lnTo>
                    <a:pt x="324" y="219"/>
                  </a:lnTo>
                  <a:lnTo>
                    <a:pt x="313" y="237"/>
                  </a:lnTo>
                  <a:lnTo>
                    <a:pt x="303" y="253"/>
                  </a:lnTo>
                  <a:lnTo>
                    <a:pt x="294" y="272"/>
                  </a:lnTo>
                  <a:lnTo>
                    <a:pt x="285" y="290"/>
                  </a:lnTo>
                  <a:lnTo>
                    <a:pt x="277" y="308"/>
                  </a:lnTo>
                  <a:lnTo>
                    <a:pt x="270" y="327"/>
                  </a:lnTo>
                  <a:lnTo>
                    <a:pt x="264" y="346"/>
                  </a:lnTo>
                  <a:lnTo>
                    <a:pt x="258" y="367"/>
                  </a:lnTo>
                  <a:lnTo>
                    <a:pt x="253" y="386"/>
                  </a:lnTo>
                  <a:lnTo>
                    <a:pt x="248" y="407"/>
                  </a:lnTo>
                  <a:lnTo>
                    <a:pt x="245" y="426"/>
                  </a:lnTo>
                  <a:lnTo>
                    <a:pt x="240" y="446"/>
                  </a:lnTo>
                  <a:lnTo>
                    <a:pt x="238" y="467"/>
                  </a:lnTo>
                  <a:lnTo>
                    <a:pt x="234" y="507"/>
                  </a:lnTo>
                  <a:lnTo>
                    <a:pt x="233" y="547"/>
                  </a:lnTo>
                  <a:lnTo>
                    <a:pt x="233" y="547"/>
                  </a:lnTo>
                  <a:lnTo>
                    <a:pt x="234" y="587"/>
                  </a:lnTo>
                  <a:lnTo>
                    <a:pt x="238" y="626"/>
                  </a:lnTo>
                  <a:lnTo>
                    <a:pt x="240" y="647"/>
                  </a:lnTo>
                  <a:lnTo>
                    <a:pt x="245" y="667"/>
                  </a:lnTo>
                  <a:lnTo>
                    <a:pt x="248" y="687"/>
                  </a:lnTo>
                  <a:lnTo>
                    <a:pt x="253" y="707"/>
                  </a:lnTo>
                  <a:lnTo>
                    <a:pt x="258" y="728"/>
                  </a:lnTo>
                  <a:lnTo>
                    <a:pt x="264" y="747"/>
                  </a:lnTo>
                  <a:lnTo>
                    <a:pt x="270" y="766"/>
                  </a:lnTo>
                  <a:lnTo>
                    <a:pt x="277" y="785"/>
                  </a:lnTo>
                  <a:lnTo>
                    <a:pt x="285" y="804"/>
                  </a:lnTo>
                  <a:lnTo>
                    <a:pt x="294" y="822"/>
                  </a:lnTo>
                  <a:lnTo>
                    <a:pt x="303" y="840"/>
                  </a:lnTo>
                  <a:lnTo>
                    <a:pt x="313" y="857"/>
                  </a:lnTo>
                  <a:lnTo>
                    <a:pt x="324" y="874"/>
                  </a:lnTo>
                  <a:lnTo>
                    <a:pt x="336" y="889"/>
                  </a:lnTo>
                  <a:lnTo>
                    <a:pt x="348" y="904"/>
                  </a:lnTo>
                  <a:lnTo>
                    <a:pt x="360" y="919"/>
                  </a:lnTo>
                  <a:lnTo>
                    <a:pt x="374" y="932"/>
                  </a:lnTo>
                  <a:lnTo>
                    <a:pt x="389" y="945"/>
                  </a:lnTo>
                  <a:lnTo>
                    <a:pt x="404" y="957"/>
                  </a:lnTo>
                  <a:lnTo>
                    <a:pt x="419" y="968"/>
                  </a:lnTo>
                  <a:lnTo>
                    <a:pt x="437" y="977"/>
                  </a:lnTo>
                  <a:lnTo>
                    <a:pt x="454" y="986"/>
                  </a:lnTo>
                  <a:lnTo>
                    <a:pt x="473" y="993"/>
                  </a:lnTo>
                  <a:lnTo>
                    <a:pt x="492" y="1000"/>
                  </a:lnTo>
                  <a:lnTo>
                    <a:pt x="511" y="1005"/>
                  </a:lnTo>
                  <a:lnTo>
                    <a:pt x="533" y="1008"/>
                  </a:lnTo>
                  <a:lnTo>
                    <a:pt x="554" y="1010"/>
                  </a:lnTo>
                  <a:lnTo>
                    <a:pt x="577" y="1011"/>
                  </a:lnTo>
                  <a:lnTo>
                    <a:pt x="577" y="1011"/>
                  </a:lnTo>
                  <a:lnTo>
                    <a:pt x="599" y="1010"/>
                  </a:lnTo>
                  <a:lnTo>
                    <a:pt x="621" y="1008"/>
                  </a:lnTo>
                  <a:lnTo>
                    <a:pt x="641" y="1005"/>
                  </a:lnTo>
                  <a:lnTo>
                    <a:pt x="662" y="1000"/>
                  </a:lnTo>
                  <a:lnTo>
                    <a:pt x="680" y="993"/>
                  </a:lnTo>
                  <a:lnTo>
                    <a:pt x="699" y="986"/>
                  </a:lnTo>
                  <a:lnTo>
                    <a:pt x="716" y="977"/>
                  </a:lnTo>
                  <a:lnTo>
                    <a:pt x="733" y="968"/>
                  </a:lnTo>
                  <a:lnTo>
                    <a:pt x="749" y="957"/>
                  </a:lnTo>
                  <a:lnTo>
                    <a:pt x="764" y="945"/>
                  </a:lnTo>
                  <a:lnTo>
                    <a:pt x="778" y="932"/>
                  </a:lnTo>
                  <a:lnTo>
                    <a:pt x="793" y="919"/>
                  </a:lnTo>
                  <a:lnTo>
                    <a:pt x="805" y="904"/>
                  </a:lnTo>
                  <a:lnTo>
                    <a:pt x="817" y="889"/>
                  </a:lnTo>
                  <a:lnTo>
                    <a:pt x="828" y="874"/>
                  </a:lnTo>
                  <a:lnTo>
                    <a:pt x="840" y="857"/>
                  </a:lnTo>
                  <a:lnTo>
                    <a:pt x="850" y="840"/>
                  </a:lnTo>
                  <a:lnTo>
                    <a:pt x="859" y="822"/>
                  </a:lnTo>
                  <a:lnTo>
                    <a:pt x="867" y="804"/>
                  </a:lnTo>
                  <a:lnTo>
                    <a:pt x="875" y="785"/>
                  </a:lnTo>
                  <a:lnTo>
                    <a:pt x="883" y="766"/>
                  </a:lnTo>
                  <a:lnTo>
                    <a:pt x="890" y="747"/>
                  </a:lnTo>
                  <a:lnTo>
                    <a:pt x="895" y="728"/>
                  </a:lnTo>
                  <a:lnTo>
                    <a:pt x="901" y="707"/>
                  </a:lnTo>
                  <a:lnTo>
                    <a:pt x="905" y="687"/>
                  </a:lnTo>
                  <a:lnTo>
                    <a:pt x="909" y="667"/>
                  </a:lnTo>
                  <a:lnTo>
                    <a:pt x="912" y="647"/>
                  </a:lnTo>
                  <a:lnTo>
                    <a:pt x="915" y="626"/>
                  </a:lnTo>
                  <a:lnTo>
                    <a:pt x="918" y="587"/>
                  </a:lnTo>
                  <a:lnTo>
                    <a:pt x="920" y="547"/>
                  </a:lnTo>
                  <a:lnTo>
                    <a:pt x="920" y="547"/>
                  </a:lnTo>
                  <a:lnTo>
                    <a:pt x="918" y="507"/>
                  </a:lnTo>
                  <a:lnTo>
                    <a:pt x="915" y="467"/>
                  </a:lnTo>
                  <a:lnTo>
                    <a:pt x="912" y="446"/>
                  </a:lnTo>
                  <a:lnTo>
                    <a:pt x="909" y="426"/>
                  </a:lnTo>
                  <a:lnTo>
                    <a:pt x="905" y="407"/>
                  </a:lnTo>
                  <a:lnTo>
                    <a:pt x="901" y="386"/>
                  </a:lnTo>
                  <a:lnTo>
                    <a:pt x="895" y="367"/>
                  </a:lnTo>
                  <a:lnTo>
                    <a:pt x="890" y="346"/>
                  </a:lnTo>
                  <a:lnTo>
                    <a:pt x="883" y="327"/>
                  </a:lnTo>
                  <a:lnTo>
                    <a:pt x="875" y="308"/>
                  </a:lnTo>
                  <a:lnTo>
                    <a:pt x="867" y="290"/>
                  </a:lnTo>
                  <a:lnTo>
                    <a:pt x="859" y="272"/>
                  </a:lnTo>
                  <a:lnTo>
                    <a:pt x="850" y="253"/>
                  </a:lnTo>
                  <a:lnTo>
                    <a:pt x="840" y="237"/>
                  </a:lnTo>
                  <a:lnTo>
                    <a:pt x="828" y="219"/>
                  </a:lnTo>
                  <a:lnTo>
                    <a:pt x="817" y="204"/>
                  </a:lnTo>
                  <a:lnTo>
                    <a:pt x="805" y="189"/>
                  </a:lnTo>
                  <a:lnTo>
                    <a:pt x="793" y="174"/>
                  </a:lnTo>
                  <a:lnTo>
                    <a:pt x="778" y="161"/>
                  </a:lnTo>
                  <a:lnTo>
                    <a:pt x="764" y="148"/>
                  </a:lnTo>
                  <a:lnTo>
                    <a:pt x="749" y="137"/>
                  </a:lnTo>
                  <a:lnTo>
                    <a:pt x="733" y="125"/>
                  </a:lnTo>
                  <a:lnTo>
                    <a:pt x="716" y="116"/>
                  </a:lnTo>
                  <a:lnTo>
                    <a:pt x="699" y="108"/>
                  </a:lnTo>
                  <a:lnTo>
                    <a:pt x="680" y="100"/>
                  </a:lnTo>
                  <a:lnTo>
                    <a:pt x="662" y="94"/>
                  </a:lnTo>
                  <a:lnTo>
                    <a:pt x="641" y="90"/>
                  </a:lnTo>
                  <a:lnTo>
                    <a:pt x="621" y="86"/>
                  </a:lnTo>
                  <a:lnTo>
                    <a:pt x="599" y="83"/>
                  </a:lnTo>
                  <a:lnTo>
                    <a:pt x="577" y="82"/>
                  </a:lnTo>
                  <a:lnTo>
                    <a:pt x="577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7488484" y="633580"/>
              <a:ext cx="155575" cy="141288"/>
            </a:xfrm>
            <a:custGeom>
              <a:avLst/>
              <a:gdLst>
                <a:gd name="T0" fmla="*/ 922 w 1165"/>
                <a:gd name="T1" fmla="*/ 252 h 1065"/>
                <a:gd name="T2" fmla="*/ 921 w 1165"/>
                <a:gd name="T3" fmla="*/ 194 h 1065"/>
                <a:gd name="T4" fmla="*/ 916 w 1165"/>
                <a:gd name="T5" fmla="*/ 148 h 1065"/>
                <a:gd name="T6" fmla="*/ 906 w 1165"/>
                <a:gd name="T7" fmla="*/ 113 h 1065"/>
                <a:gd name="T8" fmla="*/ 896 w 1165"/>
                <a:gd name="T9" fmla="*/ 92 h 1065"/>
                <a:gd name="T10" fmla="*/ 888 w 1165"/>
                <a:gd name="T11" fmla="*/ 81 h 1065"/>
                <a:gd name="T12" fmla="*/ 877 w 1165"/>
                <a:gd name="T13" fmla="*/ 73 h 1065"/>
                <a:gd name="T14" fmla="*/ 857 w 1165"/>
                <a:gd name="T15" fmla="*/ 63 h 1065"/>
                <a:gd name="T16" fmla="*/ 825 w 1165"/>
                <a:gd name="T17" fmla="*/ 54 h 1065"/>
                <a:gd name="T18" fmla="*/ 782 w 1165"/>
                <a:gd name="T19" fmla="*/ 50 h 1065"/>
                <a:gd name="T20" fmla="*/ 756 w 1165"/>
                <a:gd name="T21" fmla="*/ 0 h 1065"/>
                <a:gd name="T22" fmla="*/ 1165 w 1165"/>
                <a:gd name="T23" fmla="*/ 50 h 1065"/>
                <a:gd name="T24" fmla="*/ 1139 w 1165"/>
                <a:gd name="T25" fmla="*/ 50 h 1065"/>
                <a:gd name="T26" fmla="*/ 1096 w 1165"/>
                <a:gd name="T27" fmla="*/ 54 h 1065"/>
                <a:gd name="T28" fmla="*/ 1062 w 1165"/>
                <a:gd name="T29" fmla="*/ 63 h 1065"/>
                <a:gd name="T30" fmla="*/ 1042 w 1165"/>
                <a:gd name="T31" fmla="*/ 73 h 1065"/>
                <a:gd name="T32" fmla="*/ 1032 w 1165"/>
                <a:gd name="T33" fmla="*/ 81 h 1065"/>
                <a:gd name="T34" fmla="*/ 1023 w 1165"/>
                <a:gd name="T35" fmla="*/ 92 h 1065"/>
                <a:gd name="T36" fmla="*/ 1014 w 1165"/>
                <a:gd name="T37" fmla="*/ 113 h 1065"/>
                <a:gd name="T38" fmla="*/ 1005 w 1165"/>
                <a:gd name="T39" fmla="*/ 148 h 1065"/>
                <a:gd name="T40" fmla="*/ 1000 w 1165"/>
                <a:gd name="T41" fmla="*/ 194 h 1065"/>
                <a:gd name="T42" fmla="*/ 999 w 1165"/>
                <a:gd name="T43" fmla="*/ 252 h 1065"/>
                <a:gd name="T44" fmla="*/ 955 w 1165"/>
                <a:gd name="T45" fmla="*/ 1065 h 1065"/>
                <a:gd name="T46" fmla="*/ 242 w 1165"/>
                <a:gd name="T47" fmla="*/ 783 h 1065"/>
                <a:gd name="T48" fmla="*/ 242 w 1165"/>
                <a:gd name="T49" fmla="*/ 814 h 1065"/>
                <a:gd name="T50" fmla="*/ 245 w 1165"/>
                <a:gd name="T51" fmla="*/ 866 h 1065"/>
                <a:gd name="T52" fmla="*/ 251 w 1165"/>
                <a:gd name="T53" fmla="*/ 906 h 1065"/>
                <a:gd name="T54" fmla="*/ 263 w 1165"/>
                <a:gd name="T55" fmla="*/ 937 h 1065"/>
                <a:gd name="T56" fmla="*/ 271 w 1165"/>
                <a:gd name="T57" fmla="*/ 949 h 1065"/>
                <a:gd name="T58" fmla="*/ 281 w 1165"/>
                <a:gd name="T59" fmla="*/ 958 h 1065"/>
                <a:gd name="T60" fmla="*/ 292 w 1165"/>
                <a:gd name="T61" fmla="*/ 966 h 1065"/>
                <a:gd name="T62" fmla="*/ 322 w 1165"/>
                <a:gd name="T63" fmla="*/ 978 h 1065"/>
                <a:gd name="T64" fmla="*/ 359 w 1165"/>
                <a:gd name="T65" fmla="*/ 984 h 1065"/>
                <a:gd name="T66" fmla="*/ 407 w 1165"/>
                <a:gd name="T67" fmla="*/ 985 h 1065"/>
                <a:gd name="T68" fmla="*/ 0 w 1165"/>
                <a:gd name="T69" fmla="*/ 1035 h 1065"/>
                <a:gd name="T70" fmla="*/ 0 w 1165"/>
                <a:gd name="T71" fmla="*/ 985 h 1065"/>
                <a:gd name="T72" fmla="*/ 49 w 1165"/>
                <a:gd name="T73" fmla="*/ 984 h 1065"/>
                <a:gd name="T74" fmla="*/ 86 w 1165"/>
                <a:gd name="T75" fmla="*/ 978 h 1065"/>
                <a:gd name="T76" fmla="*/ 115 w 1165"/>
                <a:gd name="T77" fmla="*/ 966 h 1065"/>
                <a:gd name="T78" fmla="*/ 126 w 1165"/>
                <a:gd name="T79" fmla="*/ 958 h 1065"/>
                <a:gd name="T80" fmla="*/ 135 w 1165"/>
                <a:gd name="T81" fmla="*/ 949 h 1065"/>
                <a:gd name="T82" fmla="*/ 144 w 1165"/>
                <a:gd name="T83" fmla="*/ 937 h 1065"/>
                <a:gd name="T84" fmla="*/ 155 w 1165"/>
                <a:gd name="T85" fmla="*/ 906 h 1065"/>
                <a:gd name="T86" fmla="*/ 161 w 1165"/>
                <a:gd name="T87" fmla="*/ 866 h 1065"/>
                <a:gd name="T88" fmla="*/ 164 w 1165"/>
                <a:gd name="T89" fmla="*/ 814 h 1065"/>
                <a:gd name="T90" fmla="*/ 164 w 1165"/>
                <a:gd name="T91" fmla="*/ 252 h 1065"/>
                <a:gd name="T92" fmla="*/ 164 w 1165"/>
                <a:gd name="T93" fmla="*/ 221 h 1065"/>
                <a:gd name="T94" fmla="*/ 161 w 1165"/>
                <a:gd name="T95" fmla="*/ 169 h 1065"/>
                <a:gd name="T96" fmla="*/ 155 w 1165"/>
                <a:gd name="T97" fmla="*/ 129 h 1065"/>
                <a:gd name="T98" fmla="*/ 144 w 1165"/>
                <a:gd name="T99" fmla="*/ 98 h 1065"/>
                <a:gd name="T100" fmla="*/ 135 w 1165"/>
                <a:gd name="T101" fmla="*/ 86 h 1065"/>
                <a:gd name="T102" fmla="*/ 126 w 1165"/>
                <a:gd name="T103" fmla="*/ 77 h 1065"/>
                <a:gd name="T104" fmla="*/ 115 w 1165"/>
                <a:gd name="T105" fmla="*/ 69 h 1065"/>
                <a:gd name="T106" fmla="*/ 86 w 1165"/>
                <a:gd name="T107" fmla="*/ 58 h 1065"/>
                <a:gd name="T108" fmla="*/ 49 w 1165"/>
                <a:gd name="T109" fmla="*/ 51 h 1065"/>
                <a:gd name="T110" fmla="*/ 0 w 1165"/>
                <a:gd name="T111" fmla="*/ 50 h 1065"/>
                <a:gd name="T112" fmla="*/ 345 w 1165"/>
                <a:gd name="T113" fmla="*/ 0 h 1065"/>
                <a:gd name="T114" fmla="*/ 922 w 1165"/>
                <a:gd name="T115" fmla="*/ 25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65" h="1065">
                  <a:moveTo>
                    <a:pt x="922" y="252"/>
                  </a:moveTo>
                  <a:lnTo>
                    <a:pt x="922" y="252"/>
                  </a:lnTo>
                  <a:lnTo>
                    <a:pt x="921" y="221"/>
                  </a:lnTo>
                  <a:lnTo>
                    <a:pt x="921" y="194"/>
                  </a:lnTo>
                  <a:lnTo>
                    <a:pt x="919" y="169"/>
                  </a:lnTo>
                  <a:lnTo>
                    <a:pt x="916" y="148"/>
                  </a:lnTo>
                  <a:lnTo>
                    <a:pt x="912" y="129"/>
                  </a:lnTo>
                  <a:lnTo>
                    <a:pt x="906" y="113"/>
                  </a:lnTo>
                  <a:lnTo>
                    <a:pt x="900" y="98"/>
                  </a:lnTo>
                  <a:lnTo>
                    <a:pt x="896" y="92"/>
                  </a:lnTo>
                  <a:lnTo>
                    <a:pt x="892" y="86"/>
                  </a:lnTo>
                  <a:lnTo>
                    <a:pt x="888" y="81"/>
                  </a:lnTo>
                  <a:lnTo>
                    <a:pt x="883" y="77"/>
                  </a:lnTo>
                  <a:lnTo>
                    <a:pt x="877" y="73"/>
                  </a:lnTo>
                  <a:lnTo>
                    <a:pt x="872" y="69"/>
                  </a:lnTo>
                  <a:lnTo>
                    <a:pt x="857" y="63"/>
                  </a:lnTo>
                  <a:lnTo>
                    <a:pt x="842" y="58"/>
                  </a:lnTo>
                  <a:lnTo>
                    <a:pt x="825" y="54"/>
                  </a:lnTo>
                  <a:lnTo>
                    <a:pt x="804" y="51"/>
                  </a:lnTo>
                  <a:lnTo>
                    <a:pt x="782" y="50"/>
                  </a:lnTo>
                  <a:lnTo>
                    <a:pt x="756" y="50"/>
                  </a:lnTo>
                  <a:lnTo>
                    <a:pt x="756" y="0"/>
                  </a:lnTo>
                  <a:lnTo>
                    <a:pt x="1165" y="0"/>
                  </a:lnTo>
                  <a:lnTo>
                    <a:pt x="1165" y="50"/>
                  </a:lnTo>
                  <a:lnTo>
                    <a:pt x="1165" y="50"/>
                  </a:lnTo>
                  <a:lnTo>
                    <a:pt x="1139" y="50"/>
                  </a:lnTo>
                  <a:lnTo>
                    <a:pt x="1116" y="51"/>
                  </a:lnTo>
                  <a:lnTo>
                    <a:pt x="1096" y="54"/>
                  </a:lnTo>
                  <a:lnTo>
                    <a:pt x="1078" y="58"/>
                  </a:lnTo>
                  <a:lnTo>
                    <a:pt x="1062" y="63"/>
                  </a:lnTo>
                  <a:lnTo>
                    <a:pt x="1049" y="69"/>
                  </a:lnTo>
                  <a:lnTo>
                    <a:pt x="1042" y="73"/>
                  </a:lnTo>
                  <a:lnTo>
                    <a:pt x="1037" y="77"/>
                  </a:lnTo>
                  <a:lnTo>
                    <a:pt x="1032" y="81"/>
                  </a:lnTo>
                  <a:lnTo>
                    <a:pt x="1028" y="86"/>
                  </a:lnTo>
                  <a:lnTo>
                    <a:pt x="1023" y="92"/>
                  </a:lnTo>
                  <a:lnTo>
                    <a:pt x="1020" y="98"/>
                  </a:lnTo>
                  <a:lnTo>
                    <a:pt x="1014" y="113"/>
                  </a:lnTo>
                  <a:lnTo>
                    <a:pt x="1009" y="129"/>
                  </a:lnTo>
                  <a:lnTo>
                    <a:pt x="1005" y="148"/>
                  </a:lnTo>
                  <a:lnTo>
                    <a:pt x="1002" y="169"/>
                  </a:lnTo>
                  <a:lnTo>
                    <a:pt x="1000" y="194"/>
                  </a:lnTo>
                  <a:lnTo>
                    <a:pt x="999" y="221"/>
                  </a:lnTo>
                  <a:lnTo>
                    <a:pt x="999" y="252"/>
                  </a:lnTo>
                  <a:lnTo>
                    <a:pt x="999" y="1065"/>
                  </a:lnTo>
                  <a:lnTo>
                    <a:pt x="955" y="1065"/>
                  </a:lnTo>
                  <a:lnTo>
                    <a:pt x="242" y="212"/>
                  </a:lnTo>
                  <a:lnTo>
                    <a:pt x="242" y="783"/>
                  </a:lnTo>
                  <a:lnTo>
                    <a:pt x="242" y="783"/>
                  </a:lnTo>
                  <a:lnTo>
                    <a:pt x="242" y="814"/>
                  </a:lnTo>
                  <a:lnTo>
                    <a:pt x="243" y="842"/>
                  </a:lnTo>
                  <a:lnTo>
                    <a:pt x="245" y="866"/>
                  </a:lnTo>
                  <a:lnTo>
                    <a:pt x="248" y="888"/>
                  </a:lnTo>
                  <a:lnTo>
                    <a:pt x="251" y="906"/>
                  </a:lnTo>
                  <a:lnTo>
                    <a:pt x="256" y="923"/>
                  </a:lnTo>
                  <a:lnTo>
                    <a:pt x="263" y="937"/>
                  </a:lnTo>
                  <a:lnTo>
                    <a:pt x="266" y="943"/>
                  </a:lnTo>
                  <a:lnTo>
                    <a:pt x="271" y="949"/>
                  </a:lnTo>
                  <a:lnTo>
                    <a:pt x="276" y="954"/>
                  </a:lnTo>
                  <a:lnTo>
                    <a:pt x="281" y="958"/>
                  </a:lnTo>
                  <a:lnTo>
                    <a:pt x="286" y="963"/>
                  </a:lnTo>
                  <a:lnTo>
                    <a:pt x="292" y="966"/>
                  </a:lnTo>
                  <a:lnTo>
                    <a:pt x="305" y="973"/>
                  </a:lnTo>
                  <a:lnTo>
                    <a:pt x="322" y="978"/>
                  </a:lnTo>
                  <a:lnTo>
                    <a:pt x="339" y="982"/>
                  </a:lnTo>
                  <a:lnTo>
                    <a:pt x="359" y="984"/>
                  </a:lnTo>
                  <a:lnTo>
                    <a:pt x="382" y="985"/>
                  </a:lnTo>
                  <a:lnTo>
                    <a:pt x="407" y="985"/>
                  </a:lnTo>
                  <a:lnTo>
                    <a:pt x="407" y="1035"/>
                  </a:lnTo>
                  <a:lnTo>
                    <a:pt x="0" y="1035"/>
                  </a:lnTo>
                  <a:lnTo>
                    <a:pt x="0" y="985"/>
                  </a:lnTo>
                  <a:lnTo>
                    <a:pt x="0" y="985"/>
                  </a:lnTo>
                  <a:lnTo>
                    <a:pt x="26" y="985"/>
                  </a:lnTo>
                  <a:lnTo>
                    <a:pt x="49" y="984"/>
                  </a:lnTo>
                  <a:lnTo>
                    <a:pt x="69" y="982"/>
                  </a:lnTo>
                  <a:lnTo>
                    <a:pt x="86" y="978"/>
                  </a:lnTo>
                  <a:lnTo>
                    <a:pt x="102" y="973"/>
                  </a:lnTo>
                  <a:lnTo>
                    <a:pt x="115" y="966"/>
                  </a:lnTo>
                  <a:lnTo>
                    <a:pt x="121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5" y="949"/>
                  </a:lnTo>
                  <a:lnTo>
                    <a:pt x="141" y="943"/>
                  </a:lnTo>
                  <a:lnTo>
                    <a:pt x="144" y="937"/>
                  </a:lnTo>
                  <a:lnTo>
                    <a:pt x="150" y="923"/>
                  </a:lnTo>
                  <a:lnTo>
                    <a:pt x="155" y="906"/>
                  </a:lnTo>
                  <a:lnTo>
                    <a:pt x="159" y="888"/>
                  </a:lnTo>
                  <a:lnTo>
                    <a:pt x="161" y="866"/>
                  </a:lnTo>
                  <a:lnTo>
                    <a:pt x="163" y="842"/>
                  </a:lnTo>
                  <a:lnTo>
                    <a:pt x="164" y="814"/>
                  </a:lnTo>
                  <a:lnTo>
                    <a:pt x="164" y="783"/>
                  </a:lnTo>
                  <a:lnTo>
                    <a:pt x="164" y="252"/>
                  </a:lnTo>
                  <a:lnTo>
                    <a:pt x="164" y="252"/>
                  </a:lnTo>
                  <a:lnTo>
                    <a:pt x="164" y="221"/>
                  </a:lnTo>
                  <a:lnTo>
                    <a:pt x="163" y="194"/>
                  </a:lnTo>
                  <a:lnTo>
                    <a:pt x="161" y="169"/>
                  </a:lnTo>
                  <a:lnTo>
                    <a:pt x="159" y="148"/>
                  </a:lnTo>
                  <a:lnTo>
                    <a:pt x="155" y="129"/>
                  </a:lnTo>
                  <a:lnTo>
                    <a:pt x="150" y="113"/>
                  </a:lnTo>
                  <a:lnTo>
                    <a:pt x="144" y="98"/>
                  </a:lnTo>
                  <a:lnTo>
                    <a:pt x="141" y="92"/>
                  </a:lnTo>
                  <a:lnTo>
                    <a:pt x="135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6" y="58"/>
                  </a:lnTo>
                  <a:lnTo>
                    <a:pt x="69" y="54"/>
                  </a:lnTo>
                  <a:lnTo>
                    <a:pt x="49" y="51"/>
                  </a:lnTo>
                  <a:lnTo>
                    <a:pt x="26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345" y="0"/>
                  </a:lnTo>
                  <a:lnTo>
                    <a:pt x="922" y="686"/>
                  </a:lnTo>
                  <a:lnTo>
                    <a:pt x="922" y="2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7677396" y="633580"/>
              <a:ext cx="127000" cy="136525"/>
            </a:xfrm>
            <a:custGeom>
              <a:avLst/>
              <a:gdLst>
                <a:gd name="T0" fmla="*/ 25 w 959"/>
                <a:gd name="T1" fmla="*/ 985 h 1035"/>
                <a:gd name="T2" fmla="*/ 86 w 959"/>
                <a:gd name="T3" fmla="*/ 978 h 1035"/>
                <a:gd name="T4" fmla="*/ 120 w 959"/>
                <a:gd name="T5" fmla="*/ 963 h 1035"/>
                <a:gd name="T6" fmla="*/ 136 w 959"/>
                <a:gd name="T7" fmla="*/ 949 h 1035"/>
                <a:gd name="T8" fmla="*/ 150 w 959"/>
                <a:gd name="T9" fmla="*/ 923 h 1035"/>
                <a:gd name="T10" fmla="*/ 161 w 959"/>
                <a:gd name="T11" fmla="*/ 866 h 1035"/>
                <a:gd name="T12" fmla="*/ 163 w 959"/>
                <a:gd name="T13" fmla="*/ 783 h 1035"/>
                <a:gd name="T14" fmla="*/ 163 w 959"/>
                <a:gd name="T15" fmla="*/ 221 h 1035"/>
                <a:gd name="T16" fmla="*/ 158 w 959"/>
                <a:gd name="T17" fmla="*/ 148 h 1035"/>
                <a:gd name="T18" fmla="*/ 143 w 959"/>
                <a:gd name="T19" fmla="*/ 98 h 1035"/>
                <a:gd name="T20" fmla="*/ 131 w 959"/>
                <a:gd name="T21" fmla="*/ 81 h 1035"/>
                <a:gd name="T22" fmla="*/ 114 w 959"/>
                <a:gd name="T23" fmla="*/ 69 h 1035"/>
                <a:gd name="T24" fmla="*/ 68 w 959"/>
                <a:gd name="T25" fmla="*/ 54 h 1035"/>
                <a:gd name="T26" fmla="*/ 0 w 959"/>
                <a:gd name="T27" fmla="*/ 50 h 1035"/>
                <a:gd name="T28" fmla="*/ 902 w 959"/>
                <a:gd name="T29" fmla="*/ 244 h 1035"/>
                <a:gd name="T30" fmla="*/ 843 w 959"/>
                <a:gd name="T31" fmla="*/ 209 h 1035"/>
                <a:gd name="T32" fmla="*/ 824 w 959"/>
                <a:gd name="T33" fmla="*/ 150 h 1035"/>
                <a:gd name="T34" fmla="*/ 803 w 959"/>
                <a:gd name="T35" fmla="*/ 118 h 1035"/>
                <a:gd name="T36" fmla="*/ 770 w 959"/>
                <a:gd name="T37" fmla="*/ 95 h 1035"/>
                <a:gd name="T38" fmla="*/ 719 w 959"/>
                <a:gd name="T39" fmla="*/ 82 h 1035"/>
                <a:gd name="T40" fmla="*/ 643 w 959"/>
                <a:gd name="T41" fmla="*/ 78 h 1035"/>
                <a:gd name="T42" fmla="*/ 474 w 959"/>
                <a:gd name="T43" fmla="*/ 449 h 1035"/>
                <a:gd name="T44" fmla="*/ 532 w 959"/>
                <a:gd name="T45" fmla="*/ 447 h 1035"/>
                <a:gd name="T46" fmla="*/ 597 w 959"/>
                <a:gd name="T47" fmla="*/ 439 h 1035"/>
                <a:gd name="T48" fmla="*/ 634 w 959"/>
                <a:gd name="T49" fmla="*/ 424 h 1035"/>
                <a:gd name="T50" fmla="*/ 649 w 959"/>
                <a:gd name="T51" fmla="*/ 410 h 1035"/>
                <a:gd name="T52" fmla="*/ 662 w 959"/>
                <a:gd name="T53" fmla="*/ 385 h 1035"/>
                <a:gd name="T54" fmla="*/ 673 w 959"/>
                <a:gd name="T55" fmla="*/ 332 h 1035"/>
                <a:gd name="T56" fmla="*/ 725 w 959"/>
                <a:gd name="T57" fmla="*/ 283 h 1035"/>
                <a:gd name="T58" fmla="*/ 675 w 959"/>
                <a:gd name="T59" fmla="*/ 691 h 1035"/>
                <a:gd name="T60" fmla="*/ 671 w 959"/>
                <a:gd name="T61" fmla="*/ 623 h 1035"/>
                <a:gd name="T62" fmla="*/ 656 w 959"/>
                <a:gd name="T63" fmla="*/ 576 h 1035"/>
                <a:gd name="T64" fmla="*/ 644 w 959"/>
                <a:gd name="T65" fmla="*/ 560 h 1035"/>
                <a:gd name="T66" fmla="*/ 628 w 959"/>
                <a:gd name="T67" fmla="*/ 547 h 1035"/>
                <a:gd name="T68" fmla="*/ 578 w 959"/>
                <a:gd name="T69" fmla="*/ 532 h 1035"/>
                <a:gd name="T70" fmla="*/ 505 w 959"/>
                <a:gd name="T71" fmla="*/ 527 h 1035"/>
                <a:gd name="T72" fmla="*/ 379 w 959"/>
                <a:gd name="T73" fmla="*/ 756 h 1035"/>
                <a:gd name="T74" fmla="*/ 380 w 959"/>
                <a:gd name="T75" fmla="*/ 814 h 1035"/>
                <a:gd name="T76" fmla="*/ 389 w 959"/>
                <a:gd name="T77" fmla="*/ 879 h 1035"/>
                <a:gd name="T78" fmla="*/ 405 w 959"/>
                <a:gd name="T79" fmla="*/ 915 h 1035"/>
                <a:gd name="T80" fmla="*/ 418 w 959"/>
                <a:gd name="T81" fmla="*/ 932 h 1035"/>
                <a:gd name="T82" fmla="*/ 444 w 959"/>
                <a:gd name="T83" fmla="*/ 946 h 1035"/>
                <a:gd name="T84" fmla="*/ 497 w 959"/>
                <a:gd name="T85" fmla="*/ 956 h 1035"/>
                <a:gd name="T86" fmla="*/ 700 w 959"/>
                <a:gd name="T87" fmla="*/ 957 h 1035"/>
                <a:gd name="T88" fmla="*/ 753 w 959"/>
                <a:gd name="T89" fmla="*/ 955 h 1035"/>
                <a:gd name="T90" fmla="*/ 813 w 959"/>
                <a:gd name="T91" fmla="*/ 946 h 1035"/>
                <a:gd name="T92" fmla="*/ 852 w 959"/>
                <a:gd name="T93" fmla="*/ 927 h 1035"/>
                <a:gd name="T94" fmla="*/ 876 w 959"/>
                <a:gd name="T95" fmla="*/ 897 h 1035"/>
                <a:gd name="T96" fmla="*/ 891 w 959"/>
                <a:gd name="T97" fmla="*/ 858 h 1035"/>
                <a:gd name="T98" fmla="*/ 959 w 959"/>
                <a:gd name="T99" fmla="*/ 792 h 1035"/>
                <a:gd name="T100" fmla="*/ 0 w 959"/>
                <a:gd name="T101" fmla="*/ 98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9" h="1035">
                  <a:moveTo>
                    <a:pt x="0" y="985"/>
                  </a:moveTo>
                  <a:lnTo>
                    <a:pt x="0" y="985"/>
                  </a:lnTo>
                  <a:lnTo>
                    <a:pt x="25" y="985"/>
                  </a:lnTo>
                  <a:lnTo>
                    <a:pt x="48" y="984"/>
                  </a:lnTo>
                  <a:lnTo>
                    <a:pt x="68" y="982"/>
                  </a:lnTo>
                  <a:lnTo>
                    <a:pt x="86" y="978"/>
                  </a:lnTo>
                  <a:lnTo>
                    <a:pt x="101" y="973"/>
                  </a:lnTo>
                  <a:lnTo>
                    <a:pt x="114" y="966"/>
                  </a:lnTo>
                  <a:lnTo>
                    <a:pt x="120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0" y="923"/>
                  </a:lnTo>
                  <a:lnTo>
                    <a:pt x="154" y="906"/>
                  </a:lnTo>
                  <a:lnTo>
                    <a:pt x="158" y="888"/>
                  </a:lnTo>
                  <a:lnTo>
                    <a:pt x="161" y="866"/>
                  </a:lnTo>
                  <a:lnTo>
                    <a:pt x="162" y="842"/>
                  </a:lnTo>
                  <a:lnTo>
                    <a:pt x="163" y="814"/>
                  </a:lnTo>
                  <a:lnTo>
                    <a:pt x="163" y="783"/>
                  </a:lnTo>
                  <a:lnTo>
                    <a:pt x="163" y="252"/>
                  </a:lnTo>
                  <a:lnTo>
                    <a:pt x="163" y="252"/>
                  </a:lnTo>
                  <a:lnTo>
                    <a:pt x="163" y="221"/>
                  </a:lnTo>
                  <a:lnTo>
                    <a:pt x="162" y="194"/>
                  </a:lnTo>
                  <a:lnTo>
                    <a:pt x="161" y="169"/>
                  </a:lnTo>
                  <a:lnTo>
                    <a:pt x="158" y="148"/>
                  </a:lnTo>
                  <a:lnTo>
                    <a:pt x="154" y="129"/>
                  </a:lnTo>
                  <a:lnTo>
                    <a:pt x="150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0" y="73"/>
                  </a:lnTo>
                  <a:lnTo>
                    <a:pt x="114" y="69"/>
                  </a:lnTo>
                  <a:lnTo>
                    <a:pt x="101" y="63"/>
                  </a:lnTo>
                  <a:lnTo>
                    <a:pt x="86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888" y="0"/>
                  </a:lnTo>
                  <a:lnTo>
                    <a:pt x="902" y="244"/>
                  </a:lnTo>
                  <a:lnTo>
                    <a:pt x="852" y="244"/>
                  </a:lnTo>
                  <a:lnTo>
                    <a:pt x="843" y="209"/>
                  </a:lnTo>
                  <a:lnTo>
                    <a:pt x="843" y="209"/>
                  </a:lnTo>
                  <a:lnTo>
                    <a:pt x="834" y="177"/>
                  </a:lnTo>
                  <a:lnTo>
                    <a:pt x="830" y="163"/>
                  </a:lnTo>
                  <a:lnTo>
                    <a:pt x="824" y="150"/>
                  </a:lnTo>
                  <a:lnTo>
                    <a:pt x="818" y="138"/>
                  </a:lnTo>
                  <a:lnTo>
                    <a:pt x="812" y="127"/>
                  </a:lnTo>
                  <a:lnTo>
                    <a:pt x="803" y="118"/>
                  </a:lnTo>
                  <a:lnTo>
                    <a:pt x="794" y="109"/>
                  </a:lnTo>
                  <a:lnTo>
                    <a:pt x="783" y="101"/>
                  </a:lnTo>
                  <a:lnTo>
                    <a:pt x="770" y="95"/>
                  </a:lnTo>
                  <a:lnTo>
                    <a:pt x="755" y="90"/>
                  </a:lnTo>
                  <a:lnTo>
                    <a:pt x="738" y="85"/>
                  </a:lnTo>
                  <a:lnTo>
                    <a:pt x="719" y="82"/>
                  </a:lnTo>
                  <a:lnTo>
                    <a:pt x="696" y="80"/>
                  </a:lnTo>
                  <a:lnTo>
                    <a:pt x="672" y="78"/>
                  </a:lnTo>
                  <a:lnTo>
                    <a:pt x="643" y="78"/>
                  </a:lnTo>
                  <a:lnTo>
                    <a:pt x="379" y="78"/>
                  </a:lnTo>
                  <a:lnTo>
                    <a:pt x="379" y="449"/>
                  </a:lnTo>
                  <a:lnTo>
                    <a:pt x="474" y="449"/>
                  </a:lnTo>
                  <a:lnTo>
                    <a:pt x="474" y="449"/>
                  </a:lnTo>
                  <a:lnTo>
                    <a:pt x="505" y="448"/>
                  </a:lnTo>
                  <a:lnTo>
                    <a:pt x="532" y="447"/>
                  </a:lnTo>
                  <a:lnTo>
                    <a:pt x="557" y="446"/>
                  </a:lnTo>
                  <a:lnTo>
                    <a:pt x="578" y="443"/>
                  </a:lnTo>
                  <a:lnTo>
                    <a:pt x="597" y="439"/>
                  </a:lnTo>
                  <a:lnTo>
                    <a:pt x="613" y="434"/>
                  </a:lnTo>
                  <a:lnTo>
                    <a:pt x="628" y="428"/>
                  </a:lnTo>
                  <a:lnTo>
                    <a:pt x="634" y="424"/>
                  </a:lnTo>
                  <a:lnTo>
                    <a:pt x="639" y="419"/>
                  </a:lnTo>
                  <a:lnTo>
                    <a:pt x="644" y="415"/>
                  </a:lnTo>
                  <a:lnTo>
                    <a:pt x="649" y="410"/>
                  </a:lnTo>
                  <a:lnTo>
                    <a:pt x="653" y="404"/>
                  </a:lnTo>
                  <a:lnTo>
                    <a:pt x="656" y="398"/>
                  </a:lnTo>
                  <a:lnTo>
                    <a:pt x="662" y="385"/>
                  </a:lnTo>
                  <a:lnTo>
                    <a:pt x="667" y="369"/>
                  </a:lnTo>
                  <a:lnTo>
                    <a:pt x="671" y="352"/>
                  </a:lnTo>
                  <a:lnTo>
                    <a:pt x="673" y="332"/>
                  </a:lnTo>
                  <a:lnTo>
                    <a:pt x="674" y="309"/>
                  </a:lnTo>
                  <a:lnTo>
                    <a:pt x="675" y="283"/>
                  </a:lnTo>
                  <a:lnTo>
                    <a:pt x="725" y="283"/>
                  </a:lnTo>
                  <a:lnTo>
                    <a:pt x="725" y="691"/>
                  </a:lnTo>
                  <a:lnTo>
                    <a:pt x="675" y="691"/>
                  </a:lnTo>
                  <a:lnTo>
                    <a:pt x="675" y="691"/>
                  </a:lnTo>
                  <a:lnTo>
                    <a:pt x="674" y="666"/>
                  </a:lnTo>
                  <a:lnTo>
                    <a:pt x="673" y="643"/>
                  </a:lnTo>
                  <a:lnTo>
                    <a:pt x="671" y="623"/>
                  </a:lnTo>
                  <a:lnTo>
                    <a:pt x="667" y="605"/>
                  </a:lnTo>
                  <a:lnTo>
                    <a:pt x="662" y="589"/>
                  </a:lnTo>
                  <a:lnTo>
                    <a:pt x="656" y="576"/>
                  </a:lnTo>
                  <a:lnTo>
                    <a:pt x="653" y="570"/>
                  </a:lnTo>
                  <a:lnTo>
                    <a:pt x="649" y="565"/>
                  </a:lnTo>
                  <a:lnTo>
                    <a:pt x="644" y="560"/>
                  </a:lnTo>
                  <a:lnTo>
                    <a:pt x="639" y="554"/>
                  </a:lnTo>
                  <a:lnTo>
                    <a:pt x="634" y="550"/>
                  </a:lnTo>
                  <a:lnTo>
                    <a:pt x="628" y="547"/>
                  </a:lnTo>
                  <a:lnTo>
                    <a:pt x="613" y="540"/>
                  </a:lnTo>
                  <a:lnTo>
                    <a:pt x="597" y="536"/>
                  </a:lnTo>
                  <a:lnTo>
                    <a:pt x="578" y="532"/>
                  </a:lnTo>
                  <a:lnTo>
                    <a:pt x="557" y="529"/>
                  </a:lnTo>
                  <a:lnTo>
                    <a:pt x="532" y="528"/>
                  </a:lnTo>
                  <a:lnTo>
                    <a:pt x="505" y="527"/>
                  </a:lnTo>
                  <a:lnTo>
                    <a:pt x="474" y="527"/>
                  </a:lnTo>
                  <a:lnTo>
                    <a:pt x="379" y="527"/>
                  </a:lnTo>
                  <a:lnTo>
                    <a:pt x="379" y="756"/>
                  </a:lnTo>
                  <a:lnTo>
                    <a:pt x="379" y="756"/>
                  </a:lnTo>
                  <a:lnTo>
                    <a:pt x="379" y="787"/>
                  </a:lnTo>
                  <a:lnTo>
                    <a:pt x="380" y="814"/>
                  </a:lnTo>
                  <a:lnTo>
                    <a:pt x="382" y="839"/>
                  </a:lnTo>
                  <a:lnTo>
                    <a:pt x="385" y="860"/>
                  </a:lnTo>
                  <a:lnTo>
                    <a:pt x="389" y="879"/>
                  </a:lnTo>
                  <a:lnTo>
                    <a:pt x="394" y="896"/>
                  </a:lnTo>
                  <a:lnTo>
                    <a:pt x="401" y="909"/>
                  </a:lnTo>
                  <a:lnTo>
                    <a:pt x="405" y="915"/>
                  </a:lnTo>
                  <a:lnTo>
                    <a:pt x="409" y="921"/>
                  </a:lnTo>
                  <a:lnTo>
                    <a:pt x="413" y="927"/>
                  </a:lnTo>
                  <a:lnTo>
                    <a:pt x="418" y="932"/>
                  </a:lnTo>
                  <a:lnTo>
                    <a:pt x="424" y="936"/>
                  </a:lnTo>
                  <a:lnTo>
                    <a:pt x="429" y="939"/>
                  </a:lnTo>
                  <a:lnTo>
                    <a:pt x="444" y="946"/>
                  </a:lnTo>
                  <a:lnTo>
                    <a:pt x="459" y="950"/>
                  </a:lnTo>
                  <a:lnTo>
                    <a:pt x="476" y="954"/>
                  </a:lnTo>
                  <a:lnTo>
                    <a:pt x="497" y="956"/>
                  </a:lnTo>
                  <a:lnTo>
                    <a:pt x="519" y="957"/>
                  </a:lnTo>
                  <a:lnTo>
                    <a:pt x="545" y="957"/>
                  </a:lnTo>
                  <a:lnTo>
                    <a:pt x="700" y="957"/>
                  </a:lnTo>
                  <a:lnTo>
                    <a:pt x="700" y="957"/>
                  </a:lnTo>
                  <a:lnTo>
                    <a:pt x="729" y="957"/>
                  </a:lnTo>
                  <a:lnTo>
                    <a:pt x="753" y="955"/>
                  </a:lnTo>
                  <a:lnTo>
                    <a:pt x="776" y="953"/>
                  </a:lnTo>
                  <a:lnTo>
                    <a:pt x="795" y="950"/>
                  </a:lnTo>
                  <a:lnTo>
                    <a:pt x="813" y="946"/>
                  </a:lnTo>
                  <a:lnTo>
                    <a:pt x="827" y="940"/>
                  </a:lnTo>
                  <a:lnTo>
                    <a:pt x="840" y="934"/>
                  </a:lnTo>
                  <a:lnTo>
                    <a:pt x="852" y="927"/>
                  </a:lnTo>
                  <a:lnTo>
                    <a:pt x="861" y="917"/>
                  </a:lnTo>
                  <a:lnTo>
                    <a:pt x="869" y="908"/>
                  </a:lnTo>
                  <a:lnTo>
                    <a:pt x="876" y="897"/>
                  </a:lnTo>
                  <a:lnTo>
                    <a:pt x="882" y="886"/>
                  </a:lnTo>
                  <a:lnTo>
                    <a:pt x="887" y="872"/>
                  </a:lnTo>
                  <a:lnTo>
                    <a:pt x="891" y="858"/>
                  </a:lnTo>
                  <a:lnTo>
                    <a:pt x="901" y="826"/>
                  </a:lnTo>
                  <a:lnTo>
                    <a:pt x="909" y="792"/>
                  </a:lnTo>
                  <a:lnTo>
                    <a:pt x="959" y="792"/>
                  </a:lnTo>
                  <a:lnTo>
                    <a:pt x="946" y="1035"/>
                  </a:lnTo>
                  <a:lnTo>
                    <a:pt x="0" y="1035"/>
                  </a:lnTo>
                  <a:lnTo>
                    <a:pt x="0" y="9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7839321" y="633580"/>
              <a:ext cx="152400" cy="141288"/>
            </a:xfrm>
            <a:custGeom>
              <a:avLst/>
              <a:gdLst>
                <a:gd name="T0" fmla="*/ 1159 w 1159"/>
                <a:gd name="T1" fmla="*/ 50 h 1065"/>
                <a:gd name="T2" fmla="*/ 1091 w 1159"/>
                <a:gd name="T3" fmla="*/ 54 h 1065"/>
                <a:gd name="T4" fmla="*/ 1039 w 1159"/>
                <a:gd name="T5" fmla="*/ 73 h 1065"/>
                <a:gd name="T6" fmla="*/ 1019 w 1159"/>
                <a:gd name="T7" fmla="*/ 92 h 1065"/>
                <a:gd name="T8" fmla="*/ 1001 w 1159"/>
                <a:gd name="T9" fmla="*/ 148 h 1065"/>
                <a:gd name="T10" fmla="*/ 996 w 1159"/>
                <a:gd name="T11" fmla="*/ 252 h 1065"/>
                <a:gd name="T12" fmla="*/ 994 w 1159"/>
                <a:gd name="T13" fmla="*/ 700 h 1065"/>
                <a:gd name="T14" fmla="*/ 976 w 1159"/>
                <a:gd name="T15" fmla="*/ 790 h 1065"/>
                <a:gd name="T16" fmla="*/ 944 w 1159"/>
                <a:gd name="T17" fmla="*/ 866 h 1065"/>
                <a:gd name="T18" fmla="*/ 899 w 1159"/>
                <a:gd name="T19" fmla="*/ 932 h 1065"/>
                <a:gd name="T20" fmla="*/ 843 w 1159"/>
                <a:gd name="T21" fmla="*/ 984 h 1065"/>
                <a:gd name="T22" fmla="*/ 777 w 1159"/>
                <a:gd name="T23" fmla="*/ 1023 h 1065"/>
                <a:gd name="T24" fmla="*/ 702 w 1159"/>
                <a:gd name="T25" fmla="*/ 1049 h 1065"/>
                <a:gd name="T26" fmla="*/ 621 w 1159"/>
                <a:gd name="T27" fmla="*/ 1063 h 1065"/>
                <a:gd name="T28" fmla="*/ 558 w 1159"/>
                <a:gd name="T29" fmla="*/ 1065 h 1065"/>
                <a:gd name="T30" fmla="*/ 476 w 1159"/>
                <a:gd name="T31" fmla="*/ 1054 h 1065"/>
                <a:gd name="T32" fmla="*/ 399 w 1159"/>
                <a:gd name="T33" fmla="*/ 1031 h 1065"/>
                <a:gd name="T34" fmla="*/ 331 w 1159"/>
                <a:gd name="T35" fmla="*/ 995 h 1065"/>
                <a:gd name="T36" fmla="*/ 273 w 1159"/>
                <a:gd name="T37" fmla="*/ 946 h 1065"/>
                <a:gd name="T38" fmla="*/ 226 w 1159"/>
                <a:gd name="T39" fmla="*/ 884 h 1065"/>
                <a:gd name="T40" fmla="*/ 191 w 1159"/>
                <a:gd name="T41" fmla="*/ 810 h 1065"/>
                <a:gd name="T42" fmla="*/ 170 w 1159"/>
                <a:gd name="T43" fmla="*/ 723 h 1065"/>
                <a:gd name="T44" fmla="*/ 165 w 1159"/>
                <a:gd name="T45" fmla="*/ 252 h 1065"/>
                <a:gd name="T46" fmla="*/ 162 w 1159"/>
                <a:gd name="T47" fmla="*/ 169 h 1065"/>
                <a:gd name="T48" fmla="*/ 145 w 1159"/>
                <a:gd name="T49" fmla="*/ 98 h 1065"/>
                <a:gd name="T50" fmla="*/ 126 w 1159"/>
                <a:gd name="T51" fmla="*/ 77 h 1065"/>
                <a:gd name="T52" fmla="*/ 87 w 1159"/>
                <a:gd name="T53" fmla="*/ 58 h 1065"/>
                <a:gd name="T54" fmla="*/ 0 w 1159"/>
                <a:gd name="T55" fmla="*/ 50 h 1065"/>
                <a:gd name="T56" fmla="*/ 547 w 1159"/>
                <a:gd name="T57" fmla="*/ 50 h 1065"/>
                <a:gd name="T58" fmla="*/ 460 w 1159"/>
                <a:gd name="T59" fmla="*/ 58 h 1065"/>
                <a:gd name="T60" fmla="*/ 419 w 1159"/>
                <a:gd name="T61" fmla="*/ 77 h 1065"/>
                <a:gd name="T62" fmla="*/ 402 w 1159"/>
                <a:gd name="T63" fmla="*/ 98 h 1065"/>
                <a:gd name="T64" fmla="*/ 384 w 1159"/>
                <a:gd name="T65" fmla="*/ 169 h 1065"/>
                <a:gd name="T66" fmla="*/ 381 w 1159"/>
                <a:gd name="T67" fmla="*/ 631 h 1065"/>
                <a:gd name="T68" fmla="*/ 384 w 1159"/>
                <a:gd name="T69" fmla="*/ 691 h 1065"/>
                <a:gd name="T70" fmla="*/ 397 w 1159"/>
                <a:gd name="T71" fmla="*/ 761 h 1065"/>
                <a:gd name="T72" fmla="*/ 420 w 1159"/>
                <a:gd name="T73" fmla="*/ 819 h 1065"/>
                <a:gd name="T74" fmla="*/ 451 w 1159"/>
                <a:gd name="T75" fmla="*/ 867 h 1065"/>
                <a:gd name="T76" fmla="*/ 488 w 1159"/>
                <a:gd name="T77" fmla="*/ 905 h 1065"/>
                <a:gd name="T78" fmla="*/ 532 w 1159"/>
                <a:gd name="T79" fmla="*/ 933 h 1065"/>
                <a:gd name="T80" fmla="*/ 581 w 1159"/>
                <a:gd name="T81" fmla="*/ 950 h 1065"/>
                <a:gd name="T82" fmla="*/ 635 w 1159"/>
                <a:gd name="T83" fmla="*/ 957 h 1065"/>
                <a:gd name="T84" fmla="*/ 676 w 1159"/>
                <a:gd name="T85" fmla="*/ 956 h 1065"/>
                <a:gd name="T86" fmla="*/ 727 w 1159"/>
                <a:gd name="T87" fmla="*/ 947 h 1065"/>
                <a:gd name="T88" fmla="*/ 773 w 1159"/>
                <a:gd name="T89" fmla="*/ 927 h 1065"/>
                <a:gd name="T90" fmla="*/ 814 w 1159"/>
                <a:gd name="T91" fmla="*/ 897 h 1065"/>
                <a:gd name="T92" fmla="*/ 847 w 1159"/>
                <a:gd name="T93" fmla="*/ 857 h 1065"/>
                <a:gd name="T94" fmla="*/ 873 w 1159"/>
                <a:gd name="T95" fmla="*/ 806 h 1065"/>
                <a:gd name="T96" fmla="*/ 891 w 1159"/>
                <a:gd name="T97" fmla="*/ 745 h 1065"/>
                <a:gd name="T98" fmla="*/ 901 w 1159"/>
                <a:gd name="T99" fmla="*/ 672 h 1065"/>
                <a:gd name="T100" fmla="*/ 903 w 1159"/>
                <a:gd name="T101" fmla="*/ 252 h 1065"/>
                <a:gd name="T102" fmla="*/ 896 w 1159"/>
                <a:gd name="T103" fmla="*/ 148 h 1065"/>
                <a:gd name="T104" fmla="*/ 878 w 1159"/>
                <a:gd name="T105" fmla="*/ 92 h 1065"/>
                <a:gd name="T106" fmla="*/ 859 w 1159"/>
                <a:gd name="T107" fmla="*/ 73 h 1065"/>
                <a:gd name="T108" fmla="*/ 805 w 1159"/>
                <a:gd name="T109" fmla="*/ 54 h 1065"/>
                <a:gd name="T110" fmla="*/ 737 w 1159"/>
                <a:gd name="T111" fmla="*/ 5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59" h="1065">
                  <a:moveTo>
                    <a:pt x="737" y="50"/>
                  </a:moveTo>
                  <a:lnTo>
                    <a:pt x="737" y="0"/>
                  </a:lnTo>
                  <a:lnTo>
                    <a:pt x="1159" y="0"/>
                  </a:lnTo>
                  <a:lnTo>
                    <a:pt x="1159" y="50"/>
                  </a:lnTo>
                  <a:lnTo>
                    <a:pt x="1159" y="50"/>
                  </a:lnTo>
                  <a:lnTo>
                    <a:pt x="1134" y="50"/>
                  </a:lnTo>
                  <a:lnTo>
                    <a:pt x="1111" y="51"/>
                  </a:lnTo>
                  <a:lnTo>
                    <a:pt x="1091" y="54"/>
                  </a:lnTo>
                  <a:lnTo>
                    <a:pt x="1073" y="58"/>
                  </a:lnTo>
                  <a:lnTo>
                    <a:pt x="1058" y="63"/>
                  </a:lnTo>
                  <a:lnTo>
                    <a:pt x="1045" y="69"/>
                  </a:lnTo>
                  <a:lnTo>
                    <a:pt x="1039" y="73"/>
                  </a:lnTo>
                  <a:lnTo>
                    <a:pt x="1033" y="77"/>
                  </a:lnTo>
                  <a:lnTo>
                    <a:pt x="1028" y="81"/>
                  </a:lnTo>
                  <a:lnTo>
                    <a:pt x="1023" y="86"/>
                  </a:lnTo>
                  <a:lnTo>
                    <a:pt x="1019" y="92"/>
                  </a:lnTo>
                  <a:lnTo>
                    <a:pt x="1016" y="98"/>
                  </a:lnTo>
                  <a:lnTo>
                    <a:pt x="1009" y="113"/>
                  </a:lnTo>
                  <a:lnTo>
                    <a:pt x="1005" y="129"/>
                  </a:lnTo>
                  <a:lnTo>
                    <a:pt x="1001" y="148"/>
                  </a:lnTo>
                  <a:lnTo>
                    <a:pt x="998" y="169"/>
                  </a:lnTo>
                  <a:lnTo>
                    <a:pt x="997" y="194"/>
                  </a:lnTo>
                  <a:lnTo>
                    <a:pt x="996" y="221"/>
                  </a:lnTo>
                  <a:lnTo>
                    <a:pt x="996" y="252"/>
                  </a:lnTo>
                  <a:lnTo>
                    <a:pt x="996" y="651"/>
                  </a:lnTo>
                  <a:lnTo>
                    <a:pt x="996" y="651"/>
                  </a:lnTo>
                  <a:lnTo>
                    <a:pt x="995" y="675"/>
                  </a:lnTo>
                  <a:lnTo>
                    <a:pt x="994" y="700"/>
                  </a:lnTo>
                  <a:lnTo>
                    <a:pt x="990" y="723"/>
                  </a:lnTo>
                  <a:lnTo>
                    <a:pt x="986" y="746"/>
                  </a:lnTo>
                  <a:lnTo>
                    <a:pt x="982" y="768"/>
                  </a:lnTo>
                  <a:lnTo>
                    <a:pt x="976" y="790"/>
                  </a:lnTo>
                  <a:lnTo>
                    <a:pt x="970" y="810"/>
                  </a:lnTo>
                  <a:lnTo>
                    <a:pt x="962" y="829"/>
                  </a:lnTo>
                  <a:lnTo>
                    <a:pt x="954" y="849"/>
                  </a:lnTo>
                  <a:lnTo>
                    <a:pt x="944" y="866"/>
                  </a:lnTo>
                  <a:lnTo>
                    <a:pt x="934" y="884"/>
                  </a:lnTo>
                  <a:lnTo>
                    <a:pt x="924" y="901"/>
                  </a:lnTo>
                  <a:lnTo>
                    <a:pt x="912" y="916"/>
                  </a:lnTo>
                  <a:lnTo>
                    <a:pt x="899" y="932"/>
                  </a:lnTo>
                  <a:lnTo>
                    <a:pt x="886" y="946"/>
                  </a:lnTo>
                  <a:lnTo>
                    <a:pt x="873" y="959"/>
                  </a:lnTo>
                  <a:lnTo>
                    <a:pt x="859" y="972"/>
                  </a:lnTo>
                  <a:lnTo>
                    <a:pt x="843" y="984"/>
                  </a:lnTo>
                  <a:lnTo>
                    <a:pt x="828" y="995"/>
                  </a:lnTo>
                  <a:lnTo>
                    <a:pt x="812" y="1005"/>
                  </a:lnTo>
                  <a:lnTo>
                    <a:pt x="794" y="1015"/>
                  </a:lnTo>
                  <a:lnTo>
                    <a:pt x="777" y="1023"/>
                  </a:lnTo>
                  <a:lnTo>
                    <a:pt x="759" y="1031"/>
                  </a:lnTo>
                  <a:lnTo>
                    <a:pt x="741" y="1038"/>
                  </a:lnTo>
                  <a:lnTo>
                    <a:pt x="722" y="1044"/>
                  </a:lnTo>
                  <a:lnTo>
                    <a:pt x="702" y="1049"/>
                  </a:lnTo>
                  <a:lnTo>
                    <a:pt x="683" y="1054"/>
                  </a:lnTo>
                  <a:lnTo>
                    <a:pt x="662" y="1057"/>
                  </a:lnTo>
                  <a:lnTo>
                    <a:pt x="643" y="1061"/>
                  </a:lnTo>
                  <a:lnTo>
                    <a:pt x="621" y="1063"/>
                  </a:lnTo>
                  <a:lnTo>
                    <a:pt x="601" y="1065"/>
                  </a:lnTo>
                  <a:lnTo>
                    <a:pt x="579" y="1065"/>
                  </a:lnTo>
                  <a:lnTo>
                    <a:pt x="579" y="1065"/>
                  </a:lnTo>
                  <a:lnTo>
                    <a:pt x="558" y="1065"/>
                  </a:lnTo>
                  <a:lnTo>
                    <a:pt x="538" y="1063"/>
                  </a:lnTo>
                  <a:lnTo>
                    <a:pt x="516" y="1061"/>
                  </a:lnTo>
                  <a:lnTo>
                    <a:pt x="496" y="1057"/>
                  </a:lnTo>
                  <a:lnTo>
                    <a:pt x="476" y="1054"/>
                  </a:lnTo>
                  <a:lnTo>
                    <a:pt x="456" y="1049"/>
                  </a:lnTo>
                  <a:lnTo>
                    <a:pt x="437" y="1044"/>
                  </a:lnTo>
                  <a:lnTo>
                    <a:pt x="418" y="1038"/>
                  </a:lnTo>
                  <a:lnTo>
                    <a:pt x="399" y="1031"/>
                  </a:lnTo>
                  <a:lnTo>
                    <a:pt x="382" y="1023"/>
                  </a:lnTo>
                  <a:lnTo>
                    <a:pt x="365" y="1015"/>
                  </a:lnTo>
                  <a:lnTo>
                    <a:pt x="347" y="1005"/>
                  </a:lnTo>
                  <a:lnTo>
                    <a:pt x="331" y="995"/>
                  </a:lnTo>
                  <a:lnTo>
                    <a:pt x="316" y="984"/>
                  </a:lnTo>
                  <a:lnTo>
                    <a:pt x="301" y="972"/>
                  </a:lnTo>
                  <a:lnTo>
                    <a:pt x="286" y="959"/>
                  </a:lnTo>
                  <a:lnTo>
                    <a:pt x="273" y="946"/>
                  </a:lnTo>
                  <a:lnTo>
                    <a:pt x="259" y="932"/>
                  </a:lnTo>
                  <a:lnTo>
                    <a:pt x="247" y="916"/>
                  </a:lnTo>
                  <a:lnTo>
                    <a:pt x="236" y="901"/>
                  </a:lnTo>
                  <a:lnTo>
                    <a:pt x="226" y="884"/>
                  </a:lnTo>
                  <a:lnTo>
                    <a:pt x="215" y="866"/>
                  </a:lnTo>
                  <a:lnTo>
                    <a:pt x="206" y="849"/>
                  </a:lnTo>
                  <a:lnTo>
                    <a:pt x="198" y="829"/>
                  </a:lnTo>
                  <a:lnTo>
                    <a:pt x="191" y="810"/>
                  </a:lnTo>
                  <a:lnTo>
                    <a:pt x="184" y="790"/>
                  </a:lnTo>
                  <a:lnTo>
                    <a:pt x="179" y="768"/>
                  </a:lnTo>
                  <a:lnTo>
                    <a:pt x="174" y="746"/>
                  </a:lnTo>
                  <a:lnTo>
                    <a:pt x="170" y="723"/>
                  </a:lnTo>
                  <a:lnTo>
                    <a:pt x="167" y="700"/>
                  </a:lnTo>
                  <a:lnTo>
                    <a:pt x="166" y="675"/>
                  </a:lnTo>
                  <a:lnTo>
                    <a:pt x="165" y="651"/>
                  </a:lnTo>
                  <a:lnTo>
                    <a:pt x="165" y="252"/>
                  </a:lnTo>
                  <a:lnTo>
                    <a:pt x="165" y="252"/>
                  </a:lnTo>
                  <a:lnTo>
                    <a:pt x="165" y="221"/>
                  </a:lnTo>
                  <a:lnTo>
                    <a:pt x="164" y="194"/>
                  </a:lnTo>
                  <a:lnTo>
                    <a:pt x="162" y="169"/>
                  </a:lnTo>
                  <a:lnTo>
                    <a:pt x="160" y="148"/>
                  </a:lnTo>
                  <a:lnTo>
                    <a:pt x="156" y="129"/>
                  </a:lnTo>
                  <a:lnTo>
                    <a:pt x="151" y="113"/>
                  </a:lnTo>
                  <a:lnTo>
                    <a:pt x="145" y="98"/>
                  </a:lnTo>
                  <a:lnTo>
                    <a:pt x="141" y="92"/>
                  </a:lnTo>
                  <a:lnTo>
                    <a:pt x="137" y="86"/>
                  </a:lnTo>
                  <a:lnTo>
                    <a:pt x="132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7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47" y="0"/>
                  </a:lnTo>
                  <a:lnTo>
                    <a:pt x="547" y="50"/>
                  </a:lnTo>
                  <a:lnTo>
                    <a:pt x="547" y="50"/>
                  </a:lnTo>
                  <a:lnTo>
                    <a:pt x="521" y="50"/>
                  </a:lnTo>
                  <a:lnTo>
                    <a:pt x="498" y="51"/>
                  </a:lnTo>
                  <a:lnTo>
                    <a:pt x="477" y="54"/>
                  </a:lnTo>
                  <a:lnTo>
                    <a:pt x="460" y="58"/>
                  </a:lnTo>
                  <a:lnTo>
                    <a:pt x="444" y="63"/>
                  </a:lnTo>
                  <a:lnTo>
                    <a:pt x="430" y="69"/>
                  </a:lnTo>
                  <a:lnTo>
                    <a:pt x="425" y="73"/>
                  </a:lnTo>
                  <a:lnTo>
                    <a:pt x="419" y="77"/>
                  </a:lnTo>
                  <a:lnTo>
                    <a:pt x="414" y="81"/>
                  </a:lnTo>
                  <a:lnTo>
                    <a:pt x="410" y="86"/>
                  </a:lnTo>
                  <a:lnTo>
                    <a:pt x="406" y="92"/>
                  </a:lnTo>
                  <a:lnTo>
                    <a:pt x="402" y="98"/>
                  </a:lnTo>
                  <a:lnTo>
                    <a:pt x="395" y="113"/>
                  </a:lnTo>
                  <a:lnTo>
                    <a:pt x="390" y="129"/>
                  </a:lnTo>
                  <a:lnTo>
                    <a:pt x="386" y="148"/>
                  </a:lnTo>
                  <a:lnTo>
                    <a:pt x="384" y="169"/>
                  </a:lnTo>
                  <a:lnTo>
                    <a:pt x="382" y="194"/>
                  </a:lnTo>
                  <a:lnTo>
                    <a:pt x="381" y="221"/>
                  </a:lnTo>
                  <a:lnTo>
                    <a:pt x="381" y="252"/>
                  </a:lnTo>
                  <a:lnTo>
                    <a:pt x="381" y="631"/>
                  </a:lnTo>
                  <a:lnTo>
                    <a:pt x="381" y="631"/>
                  </a:lnTo>
                  <a:lnTo>
                    <a:pt x="381" y="652"/>
                  </a:lnTo>
                  <a:lnTo>
                    <a:pt x="382" y="672"/>
                  </a:lnTo>
                  <a:lnTo>
                    <a:pt x="384" y="691"/>
                  </a:lnTo>
                  <a:lnTo>
                    <a:pt x="386" y="710"/>
                  </a:lnTo>
                  <a:lnTo>
                    <a:pt x="389" y="727"/>
                  </a:lnTo>
                  <a:lnTo>
                    <a:pt x="393" y="745"/>
                  </a:lnTo>
                  <a:lnTo>
                    <a:pt x="397" y="761"/>
                  </a:lnTo>
                  <a:lnTo>
                    <a:pt x="403" y="776"/>
                  </a:lnTo>
                  <a:lnTo>
                    <a:pt x="408" y="792"/>
                  </a:lnTo>
                  <a:lnTo>
                    <a:pt x="413" y="806"/>
                  </a:lnTo>
                  <a:lnTo>
                    <a:pt x="420" y="819"/>
                  </a:lnTo>
                  <a:lnTo>
                    <a:pt x="427" y="833"/>
                  </a:lnTo>
                  <a:lnTo>
                    <a:pt x="434" y="845"/>
                  </a:lnTo>
                  <a:lnTo>
                    <a:pt x="442" y="857"/>
                  </a:lnTo>
                  <a:lnTo>
                    <a:pt x="451" y="867"/>
                  </a:lnTo>
                  <a:lnTo>
                    <a:pt x="459" y="878"/>
                  </a:lnTo>
                  <a:lnTo>
                    <a:pt x="468" y="888"/>
                  </a:lnTo>
                  <a:lnTo>
                    <a:pt x="478" y="897"/>
                  </a:lnTo>
                  <a:lnTo>
                    <a:pt x="488" y="905"/>
                  </a:lnTo>
                  <a:lnTo>
                    <a:pt x="499" y="913"/>
                  </a:lnTo>
                  <a:lnTo>
                    <a:pt x="510" y="920"/>
                  </a:lnTo>
                  <a:lnTo>
                    <a:pt x="521" y="927"/>
                  </a:lnTo>
                  <a:lnTo>
                    <a:pt x="532" y="933"/>
                  </a:lnTo>
                  <a:lnTo>
                    <a:pt x="544" y="938"/>
                  </a:lnTo>
                  <a:lnTo>
                    <a:pt x="556" y="943"/>
                  </a:lnTo>
                  <a:lnTo>
                    <a:pt x="569" y="947"/>
                  </a:lnTo>
                  <a:lnTo>
                    <a:pt x="581" y="950"/>
                  </a:lnTo>
                  <a:lnTo>
                    <a:pt x="595" y="953"/>
                  </a:lnTo>
                  <a:lnTo>
                    <a:pt x="608" y="955"/>
                  </a:lnTo>
                  <a:lnTo>
                    <a:pt x="621" y="956"/>
                  </a:lnTo>
                  <a:lnTo>
                    <a:pt x="635" y="957"/>
                  </a:lnTo>
                  <a:lnTo>
                    <a:pt x="649" y="957"/>
                  </a:lnTo>
                  <a:lnTo>
                    <a:pt x="649" y="957"/>
                  </a:lnTo>
                  <a:lnTo>
                    <a:pt x="662" y="957"/>
                  </a:lnTo>
                  <a:lnTo>
                    <a:pt x="676" y="956"/>
                  </a:lnTo>
                  <a:lnTo>
                    <a:pt x="689" y="955"/>
                  </a:lnTo>
                  <a:lnTo>
                    <a:pt x="702" y="953"/>
                  </a:lnTo>
                  <a:lnTo>
                    <a:pt x="714" y="950"/>
                  </a:lnTo>
                  <a:lnTo>
                    <a:pt x="727" y="947"/>
                  </a:lnTo>
                  <a:lnTo>
                    <a:pt x="739" y="943"/>
                  </a:lnTo>
                  <a:lnTo>
                    <a:pt x="751" y="938"/>
                  </a:lnTo>
                  <a:lnTo>
                    <a:pt x="762" y="933"/>
                  </a:lnTo>
                  <a:lnTo>
                    <a:pt x="773" y="927"/>
                  </a:lnTo>
                  <a:lnTo>
                    <a:pt x="784" y="920"/>
                  </a:lnTo>
                  <a:lnTo>
                    <a:pt x="794" y="913"/>
                  </a:lnTo>
                  <a:lnTo>
                    <a:pt x="803" y="905"/>
                  </a:lnTo>
                  <a:lnTo>
                    <a:pt x="814" y="897"/>
                  </a:lnTo>
                  <a:lnTo>
                    <a:pt x="823" y="888"/>
                  </a:lnTo>
                  <a:lnTo>
                    <a:pt x="831" y="878"/>
                  </a:lnTo>
                  <a:lnTo>
                    <a:pt x="839" y="867"/>
                  </a:lnTo>
                  <a:lnTo>
                    <a:pt x="847" y="857"/>
                  </a:lnTo>
                  <a:lnTo>
                    <a:pt x="854" y="845"/>
                  </a:lnTo>
                  <a:lnTo>
                    <a:pt x="861" y="833"/>
                  </a:lnTo>
                  <a:lnTo>
                    <a:pt x="868" y="819"/>
                  </a:lnTo>
                  <a:lnTo>
                    <a:pt x="873" y="806"/>
                  </a:lnTo>
                  <a:lnTo>
                    <a:pt x="879" y="792"/>
                  </a:lnTo>
                  <a:lnTo>
                    <a:pt x="883" y="776"/>
                  </a:lnTo>
                  <a:lnTo>
                    <a:pt x="887" y="761"/>
                  </a:lnTo>
                  <a:lnTo>
                    <a:pt x="891" y="745"/>
                  </a:lnTo>
                  <a:lnTo>
                    <a:pt x="894" y="727"/>
                  </a:lnTo>
                  <a:lnTo>
                    <a:pt x="897" y="710"/>
                  </a:lnTo>
                  <a:lnTo>
                    <a:pt x="899" y="691"/>
                  </a:lnTo>
                  <a:lnTo>
                    <a:pt x="901" y="672"/>
                  </a:lnTo>
                  <a:lnTo>
                    <a:pt x="902" y="652"/>
                  </a:lnTo>
                  <a:lnTo>
                    <a:pt x="903" y="631"/>
                  </a:lnTo>
                  <a:lnTo>
                    <a:pt x="903" y="252"/>
                  </a:lnTo>
                  <a:lnTo>
                    <a:pt x="903" y="252"/>
                  </a:lnTo>
                  <a:lnTo>
                    <a:pt x="902" y="221"/>
                  </a:lnTo>
                  <a:lnTo>
                    <a:pt x="901" y="194"/>
                  </a:lnTo>
                  <a:lnTo>
                    <a:pt x="899" y="169"/>
                  </a:lnTo>
                  <a:lnTo>
                    <a:pt x="896" y="148"/>
                  </a:lnTo>
                  <a:lnTo>
                    <a:pt x="893" y="129"/>
                  </a:lnTo>
                  <a:lnTo>
                    <a:pt x="888" y="113"/>
                  </a:lnTo>
                  <a:lnTo>
                    <a:pt x="881" y="98"/>
                  </a:lnTo>
                  <a:lnTo>
                    <a:pt x="878" y="92"/>
                  </a:lnTo>
                  <a:lnTo>
                    <a:pt x="874" y="86"/>
                  </a:lnTo>
                  <a:lnTo>
                    <a:pt x="869" y="81"/>
                  </a:lnTo>
                  <a:lnTo>
                    <a:pt x="864" y="77"/>
                  </a:lnTo>
                  <a:lnTo>
                    <a:pt x="859" y="73"/>
                  </a:lnTo>
                  <a:lnTo>
                    <a:pt x="852" y="69"/>
                  </a:lnTo>
                  <a:lnTo>
                    <a:pt x="839" y="63"/>
                  </a:lnTo>
                  <a:lnTo>
                    <a:pt x="824" y="58"/>
                  </a:lnTo>
                  <a:lnTo>
                    <a:pt x="805" y="54"/>
                  </a:lnTo>
                  <a:lnTo>
                    <a:pt x="785" y="51"/>
                  </a:lnTo>
                  <a:lnTo>
                    <a:pt x="762" y="50"/>
                  </a:lnTo>
                  <a:lnTo>
                    <a:pt x="737" y="50"/>
                  </a:lnTo>
                  <a:lnTo>
                    <a:pt x="737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8002834" y="633580"/>
              <a:ext cx="160338" cy="141288"/>
            </a:xfrm>
            <a:custGeom>
              <a:avLst/>
              <a:gdLst>
                <a:gd name="T0" fmla="*/ 623 w 1210"/>
                <a:gd name="T1" fmla="*/ 1065 h 1065"/>
                <a:gd name="T2" fmla="*/ 211 w 1210"/>
                <a:gd name="T3" fmla="*/ 202 h 1065"/>
                <a:gd name="T4" fmla="*/ 193 w 1210"/>
                <a:gd name="T5" fmla="*/ 163 h 1065"/>
                <a:gd name="T6" fmla="*/ 177 w 1210"/>
                <a:gd name="T7" fmla="*/ 131 h 1065"/>
                <a:gd name="T8" fmla="*/ 159 w 1210"/>
                <a:gd name="T9" fmla="*/ 105 h 1065"/>
                <a:gd name="T10" fmla="*/ 139 w 1210"/>
                <a:gd name="T11" fmla="*/ 84 h 1065"/>
                <a:gd name="T12" fmla="*/ 114 w 1210"/>
                <a:gd name="T13" fmla="*/ 69 h 1065"/>
                <a:gd name="T14" fmla="*/ 85 w 1210"/>
                <a:gd name="T15" fmla="*/ 59 h 1065"/>
                <a:gd name="T16" fmla="*/ 47 w 1210"/>
                <a:gd name="T17" fmla="*/ 52 h 1065"/>
                <a:gd name="T18" fmla="*/ 0 w 1210"/>
                <a:gd name="T19" fmla="*/ 50 h 1065"/>
                <a:gd name="T20" fmla="*/ 566 w 1210"/>
                <a:gd name="T21" fmla="*/ 0 h 1065"/>
                <a:gd name="T22" fmla="*/ 566 w 1210"/>
                <a:gd name="T23" fmla="*/ 50 h 1065"/>
                <a:gd name="T24" fmla="*/ 515 w 1210"/>
                <a:gd name="T25" fmla="*/ 52 h 1065"/>
                <a:gd name="T26" fmla="*/ 476 w 1210"/>
                <a:gd name="T27" fmla="*/ 58 h 1065"/>
                <a:gd name="T28" fmla="*/ 448 w 1210"/>
                <a:gd name="T29" fmla="*/ 68 h 1065"/>
                <a:gd name="T30" fmla="*/ 429 w 1210"/>
                <a:gd name="T31" fmla="*/ 81 h 1065"/>
                <a:gd name="T32" fmla="*/ 420 w 1210"/>
                <a:gd name="T33" fmla="*/ 99 h 1065"/>
                <a:gd name="T34" fmla="*/ 419 w 1210"/>
                <a:gd name="T35" fmla="*/ 122 h 1065"/>
                <a:gd name="T36" fmla="*/ 424 w 1210"/>
                <a:gd name="T37" fmla="*/ 150 h 1065"/>
                <a:gd name="T38" fmla="*/ 436 w 1210"/>
                <a:gd name="T39" fmla="*/ 181 h 1065"/>
                <a:gd name="T40" fmla="*/ 921 w 1210"/>
                <a:gd name="T41" fmla="*/ 181 h 1065"/>
                <a:gd name="T42" fmla="*/ 928 w 1210"/>
                <a:gd name="T43" fmla="*/ 165 h 1065"/>
                <a:gd name="T44" fmla="*/ 936 w 1210"/>
                <a:gd name="T45" fmla="*/ 134 h 1065"/>
                <a:gd name="T46" fmla="*/ 938 w 1210"/>
                <a:gd name="T47" fmla="*/ 110 h 1065"/>
                <a:gd name="T48" fmla="*/ 931 w 1210"/>
                <a:gd name="T49" fmla="*/ 89 h 1065"/>
                <a:gd name="T50" fmla="*/ 917 w 1210"/>
                <a:gd name="T51" fmla="*/ 74 h 1065"/>
                <a:gd name="T52" fmla="*/ 894 w 1210"/>
                <a:gd name="T53" fmla="*/ 62 h 1065"/>
                <a:gd name="T54" fmla="*/ 861 w 1210"/>
                <a:gd name="T55" fmla="*/ 54 h 1065"/>
                <a:gd name="T56" fmla="*/ 817 w 1210"/>
                <a:gd name="T57" fmla="*/ 50 h 1065"/>
                <a:gd name="T58" fmla="*/ 792 w 1210"/>
                <a:gd name="T59" fmla="*/ 0 h 1065"/>
                <a:gd name="T60" fmla="*/ 1210 w 1210"/>
                <a:gd name="T61" fmla="*/ 50 h 1065"/>
                <a:gd name="T62" fmla="*/ 1188 w 1210"/>
                <a:gd name="T63" fmla="*/ 50 h 1065"/>
                <a:gd name="T64" fmla="*/ 1150 w 1210"/>
                <a:gd name="T65" fmla="*/ 53 h 1065"/>
                <a:gd name="T66" fmla="*/ 1119 w 1210"/>
                <a:gd name="T67" fmla="*/ 61 h 1065"/>
                <a:gd name="T68" fmla="*/ 1091 w 1210"/>
                <a:gd name="T69" fmla="*/ 73 h 1065"/>
                <a:gd name="T70" fmla="*/ 1067 w 1210"/>
                <a:gd name="T71" fmla="*/ 89 h 1065"/>
                <a:gd name="T72" fmla="*/ 1046 w 1210"/>
                <a:gd name="T73" fmla="*/ 113 h 1065"/>
                <a:gd name="T74" fmla="*/ 1026 w 1210"/>
                <a:gd name="T75" fmla="*/ 142 h 1065"/>
                <a:gd name="T76" fmla="*/ 1007 w 1210"/>
                <a:gd name="T77" fmla="*/ 180 h 1065"/>
                <a:gd name="T78" fmla="*/ 997 w 1210"/>
                <a:gd name="T79" fmla="*/ 20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0" h="1065">
                  <a:moveTo>
                    <a:pt x="997" y="202"/>
                  </a:moveTo>
                  <a:lnTo>
                    <a:pt x="623" y="1065"/>
                  </a:lnTo>
                  <a:lnTo>
                    <a:pt x="587" y="1065"/>
                  </a:lnTo>
                  <a:lnTo>
                    <a:pt x="211" y="202"/>
                  </a:lnTo>
                  <a:lnTo>
                    <a:pt x="211" y="202"/>
                  </a:lnTo>
                  <a:lnTo>
                    <a:pt x="193" y="163"/>
                  </a:lnTo>
                  <a:lnTo>
                    <a:pt x="185" y="146"/>
                  </a:lnTo>
                  <a:lnTo>
                    <a:pt x="177" y="131"/>
                  </a:lnTo>
                  <a:lnTo>
                    <a:pt x="169" y="117"/>
                  </a:lnTo>
                  <a:lnTo>
                    <a:pt x="159" y="105"/>
                  </a:lnTo>
                  <a:lnTo>
                    <a:pt x="149" y="93"/>
                  </a:lnTo>
                  <a:lnTo>
                    <a:pt x="139" y="84"/>
                  </a:lnTo>
                  <a:lnTo>
                    <a:pt x="128" y="76"/>
                  </a:lnTo>
                  <a:lnTo>
                    <a:pt x="114" y="69"/>
                  </a:lnTo>
                  <a:lnTo>
                    <a:pt x="100" y="63"/>
                  </a:lnTo>
                  <a:lnTo>
                    <a:pt x="85" y="59"/>
                  </a:lnTo>
                  <a:lnTo>
                    <a:pt x="66" y="54"/>
                  </a:lnTo>
                  <a:lnTo>
                    <a:pt x="47" y="52"/>
                  </a:lnTo>
                  <a:lnTo>
                    <a:pt x="24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66" y="0"/>
                  </a:lnTo>
                  <a:lnTo>
                    <a:pt x="566" y="50"/>
                  </a:lnTo>
                  <a:lnTo>
                    <a:pt x="566" y="50"/>
                  </a:lnTo>
                  <a:lnTo>
                    <a:pt x="539" y="50"/>
                  </a:lnTo>
                  <a:lnTo>
                    <a:pt x="515" y="52"/>
                  </a:lnTo>
                  <a:lnTo>
                    <a:pt x="494" y="54"/>
                  </a:lnTo>
                  <a:lnTo>
                    <a:pt x="476" y="58"/>
                  </a:lnTo>
                  <a:lnTo>
                    <a:pt x="461" y="63"/>
                  </a:lnTo>
                  <a:lnTo>
                    <a:pt x="448" y="68"/>
                  </a:lnTo>
                  <a:lnTo>
                    <a:pt x="438" y="74"/>
                  </a:lnTo>
                  <a:lnTo>
                    <a:pt x="429" y="81"/>
                  </a:lnTo>
                  <a:lnTo>
                    <a:pt x="423" y="90"/>
                  </a:lnTo>
                  <a:lnTo>
                    <a:pt x="420" y="99"/>
                  </a:lnTo>
                  <a:lnTo>
                    <a:pt x="418" y="111"/>
                  </a:lnTo>
                  <a:lnTo>
                    <a:pt x="419" y="122"/>
                  </a:lnTo>
                  <a:lnTo>
                    <a:pt x="421" y="135"/>
                  </a:lnTo>
                  <a:lnTo>
                    <a:pt x="424" y="150"/>
                  </a:lnTo>
                  <a:lnTo>
                    <a:pt x="429" y="165"/>
                  </a:lnTo>
                  <a:lnTo>
                    <a:pt x="436" y="181"/>
                  </a:lnTo>
                  <a:lnTo>
                    <a:pt x="678" y="742"/>
                  </a:lnTo>
                  <a:lnTo>
                    <a:pt x="921" y="181"/>
                  </a:lnTo>
                  <a:lnTo>
                    <a:pt x="921" y="181"/>
                  </a:lnTo>
                  <a:lnTo>
                    <a:pt x="928" y="165"/>
                  </a:lnTo>
                  <a:lnTo>
                    <a:pt x="933" y="149"/>
                  </a:lnTo>
                  <a:lnTo>
                    <a:pt x="936" y="134"/>
                  </a:lnTo>
                  <a:lnTo>
                    <a:pt x="938" y="122"/>
                  </a:lnTo>
                  <a:lnTo>
                    <a:pt x="938" y="110"/>
                  </a:lnTo>
                  <a:lnTo>
                    <a:pt x="935" y="98"/>
                  </a:lnTo>
                  <a:lnTo>
                    <a:pt x="931" y="89"/>
                  </a:lnTo>
                  <a:lnTo>
                    <a:pt x="925" y="81"/>
                  </a:lnTo>
                  <a:lnTo>
                    <a:pt x="917" y="74"/>
                  </a:lnTo>
                  <a:lnTo>
                    <a:pt x="906" y="67"/>
                  </a:lnTo>
                  <a:lnTo>
                    <a:pt x="894" y="62"/>
                  </a:lnTo>
                  <a:lnTo>
                    <a:pt x="878" y="58"/>
                  </a:lnTo>
                  <a:lnTo>
                    <a:pt x="861" y="54"/>
                  </a:lnTo>
                  <a:lnTo>
                    <a:pt x="840" y="52"/>
                  </a:lnTo>
                  <a:lnTo>
                    <a:pt x="817" y="50"/>
                  </a:lnTo>
                  <a:lnTo>
                    <a:pt x="792" y="50"/>
                  </a:lnTo>
                  <a:lnTo>
                    <a:pt x="792" y="0"/>
                  </a:lnTo>
                  <a:lnTo>
                    <a:pt x="1210" y="0"/>
                  </a:lnTo>
                  <a:lnTo>
                    <a:pt x="1210" y="50"/>
                  </a:lnTo>
                  <a:lnTo>
                    <a:pt x="1210" y="50"/>
                  </a:lnTo>
                  <a:lnTo>
                    <a:pt x="1188" y="50"/>
                  </a:lnTo>
                  <a:lnTo>
                    <a:pt x="1169" y="51"/>
                  </a:lnTo>
                  <a:lnTo>
                    <a:pt x="1150" y="53"/>
                  </a:lnTo>
                  <a:lnTo>
                    <a:pt x="1134" y="57"/>
                  </a:lnTo>
                  <a:lnTo>
                    <a:pt x="1119" y="61"/>
                  </a:lnTo>
                  <a:lnTo>
                    <a:pt x="1104" y="66"/>
                  </a:lnTo>
                  <a:lnTo>
                    <a:pt x="1091" y="73"/>
                  </a:lnTo>
                  <a:lnTo>
                    <a:pt x="1079" y="80"/>
                  </a:lnTo>
                  <a:lnTo>
                    <a:pt x="1067" y="89"/>
                  </a:lnTo>
                  <a:lnTo>
                    <a:pt x="1056" y="100"/>
                  </a:lnTo>
                  <a:lnTo>
                    <a:pt x="1046" y="113"/>
                  </a:lnTo>
                  <a:lnTo>
                    <a:pt x="1036" y="127"/>
                  </a:lnTo>
                  <a:lnTo>
                    <a:pt x="1026" y="142"/>
                  </a:lnTo>
                  <a:lnTo>
                    <a:pt x="1016" y="161"/>
                  </a:lnTo>
                  <a:lnTo>
                    <a:pt x="1007" y="180"/>
                  </a:lnTo>
                  <a:lnTo>
                    <a:pt x="997" y="202"/>
                  </a:lnTo>
                  <a:lnTo>
                    <a:pt x="997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7" name="Freeform 15"/>
            <p:cNvSpPr>
              <a:spLocks noEditPoints="1"/>
            </p:cNvSpPr>
            <p:nvPr userDrawn="1"/>
          </p:nvSpPr>
          <p:spPr bwMode="auto">
            <a:xfrm>
              <a:off x="8175869" y="630404"/>
              <a:ext cx="152400" cy="144463"/>
            </a:xfrm>
            <a:custGeom>
              <a:avLst/>
              <a:gdLst>
                <a:gd name="T0" fmla="*/ 489 w 1151"/>
                <a:gd name="T1" fmla="*/ 1087 h 1094"/>
                <a:gd name="T2" fmla="*/ 353 w 1151"/>
                <a:gd name="T3" fmla="*/ 1051 h 1094"/>
                <a:gd name="T4" fmla="*/ 232 w 1151"/>
                <a:gd name="T5" fmla="*/ 984 h 1094"/>
                <a:gd name="T6" fmla="*/ 132 w 1151"/>
                <a:gd name="T7" fmla="*/ 894 h 1094"/>
                <a:gd name="T8" fmla="*/ 57 w 1151"/>
                <a:gd name="T9" fmla="*/ 783 h 1094"/>
                <a:gd name="T10" fmla="*/ 12 w 1151"/>
                <a:gd name="T11" fmla="*/ 656 h 1094"/>
                <a:gd name="T12" fmla="*/ 0 w 1151"/>
                <a:gd name="T13" fmla="*/ 547 h 1094"/>
                <a:gd name="T14" fmla="*/ 18 w 1151"/>
                <a:gd name="T15" fmla="*/ 411 h 1094"/>
                <a:gd name="T16" fmla="*/ 70 w 1151"/>
                <a:gd name="T17" fmla="*/ 287 h 1094"/>
                <a:gd name="T18" fmla="*/ 150 w 1151"/>
                <a:gd name="T19" fmla="*/ 180 h 1094"/>
                <a:gd name="T20" fmla="*/ 254 w 1151"/>
                <a:gd name="T21" fmla="*/ 94 h 1094"/>
                <a:gd name="T22" fmla="*/ 379 w 1151"/>
                <a:gd name="T23" fmla="*/ 33 h 1094"/>
                <a:gd name="T24" fmla="*/ 517 w 1151"/>
                <a:gd name="T25" fmla="*/ 3 h 1094"/>
                <a:gd name="T26" fmla="*/ 635 w 1151"/>
                <a:gd name="T27" fmla="*/ 3 h 1094"/>
                <a:gd name="T28" fmla="*/ 774 w 1151"/>
                <a:gd name="T29" fmla="*/ 33 h 1094"/>
                <a:gd name="T30" fmla="*/ 897 w 1151"/>
                <a:gd name="T31" fmla="*/ 94 h 1094"/>
                <a:gd name="T32" fmla="*/ 1001 w 1151"/>
                <a:gd name="T33" fmla="*/ 180 h 1094"/>
                <a:gd name="T34" fmla="*/ 1082 w 1151"/>
                <a:gd name="T35" fmla="*/ 287 h 1094"/>
                <a:gd name="T36" fmla="*/ 1133 w 1151"/>
                <a:gd name="T37" fmla="*/ 411 h 1094"/>
                <a:gd name="T38" fmla="*/ 1151 w 1151"/>
                <a:gd name="T39" fmla="*/ 547 h 1094"/>
                <a:gd name="T40" fmla="*/ 1139 w 1151"/>
                <a:gd name="T41" fmla="*/ 656 h 1094"/>
                <a:gd name="T42" fmla="*/ 1094 w 1151"/>
                <a:gd name="T43" fmla="*/ 783 h 1094"/>
                <a:gd name="T44" fmla="*/ 1019 w 1151"/>
                <a:gd name="T45" fmla="*/ 894 h 1094"/>
                <a:gd name="T46" fmla="*/ 919 w 1151"/>
                <a:gd name="T47" fmla="*/ 984 h 1094"/>
                <a:gd name="T48" fmla="*/ 799 w 1151"/>
                <a:gd name="T49" fmla="*/ 1051 h 1094"/>
                <a:gd name="T50" fmla="*/ 663 w 1151"/>
                <a:gd name="T51" fmla="*/ 1087 h 1094"/>
                <a:gd name="T52" fmla="*/ 577 w 1151"/>
                <a:gd name="T53" fmla="*/ 82 h 1094"/>
                <a:gd name="T54" fmla="*/ 492 w 1151"/>
                <a:gd name="T55" fmla="*/ 94 h 1094"/>
                <a:gd name="T56" fmla="*/ 404 w 1151"/>
                <a:gd name="T57" fmla="*/ 137 h 1094"/>
                <a:gd name="T58" fmla="*/ 335 w 1151"/>
                <a:gd name="T59" fmla="*/ 204 h 1094"/>
                <a:gd name="T60" fmla="*/ 285 w 1151"/>
                <a:gd name="T61" fmla="*/ 290 h 1094"/>
                <a:gd name="T62" fmla="*/ 252 w 1151"/>
                <a:gd name="T63" fmla="*/ 386 h 1094"/>
                <a:gd name="T64" fmla="*/ 234 w 1151"/>
                <a:gd name="T65" fmla="*/ 507 h 1094"/>
                <a:gd name="T66" fmla="*/ 240 w 1151"/>
                <a:gd name="T67" fmla="*/ 647 h 1094"/>
                <a:gd name="T68" fmla="*/ 264 w 1151"/>
                <a:gd name="T69" fmla="*/ 747 h 1094"/>
                <a:gd name="T70" fmla="*/ 303 w 1151"/>
                <a:gd name="T71" fmla="*/ 840 h 1094"/>
                <a:gd name="T72" fmla="*/ 360 w 1151"/>
                <a:gd name="T73" fmla="*/ 919 h 1094"/>
                <a:gd name="T74" fmla="*/ 436 w 1151"/>
                <a:gd name="T75" fmla="*/ 977 h 1094"/>
                <a:gd name="T76" fmla="*/ 533 w 1151"/>
                <a:gd name="T77" fmla="*/ 1008 h 1094"/>
                <a:gd name="T78" fmla="*/ 621 w 1151"/>
                <a:gd name="T79" fmla="*/ 1008 h 1094"/>
                <a:gd name="T80" fmla="*/ 716 w 1151"/>
                <a:gd name="T81" fmla="*/ 977 h 1094"/>
                <a:gd name="T82" fmla="*/ 792 w 1151"/>
                <a:gd name="T83" fmla="*/ 919 h 1094"/>
                <a:gd name="T84" fmla="*/ 850 w 1151"/>
                <a:gd name="T85" fmla="*/ 840 h 1094"/>
                <a:gd name="T86" fmla="*/ 889 w 1151"/>
                <a:gd name="T87" fmla="*/ 747 h 1094"/>
                <a:gd name="T88" fmla="*/ 912 w 1151"/>
                <a:gd name="T89" fmla="*/ 647 h 1094"/>
                <a:gd name="T90" fmla="*/ 919 w 1151"/>
                <a:gd name="T91" fmla="*/ 507 h 1094"/>
                <a:gd name="T92" fmla="*/ 901 w 1151"/>
                <a:gd name="T93" fmla="*/ 386 h 1094"/>
                <a:gd name="T94" fmla="*/ 867 w 1151"/>
                <a:gd name="T95" fmla="*/ 290 h 1094"/>
                <a:gd name="T96" fmla="*/ 817 w 1151"/>
                <a:gd name="T97" fmla="*/ 204 h 1094"/>
                <a:gd name="T98" fmla="*/ 748 w 1151"/>
                <a:gd name="T99" fmla="*/ 137 h 1094"/>
                <a:gd name="T100" fmla="*/ 661 w 1151"/>
                <a:gd name="T101" fmla="*/ 94 h 1094"/>
                <a:gd name="T102" fmla="*/ 577 w 1151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1" h="1094">
                  <a:moveTo>
                    <a:pt x="577" y="1094"/>
                  </a:moveTo>
                  <a:lnTo>
                    <a:pt x="577" y="1094"/>
                  </a:lnTo>
                  <a:lnTo>
                    <a:pt x="547" y="1093"/>
                  </a:lnTo>
                  <a:lnTo>
                    <a:pt x="517" y="1091"/>
                  </a:lnTo>
                  <a:lnTo>
                    <a:pt x="489" y="1087"/>
                  </a:lnTo>
                  <a:lnTo>
                    <a:pt x="461" y="1082"/>
                  </a:lnTo>
                  <a:lnTo>
                    <a:pt x="432" y="1076"/>
                  </a:lnTo>
                  <a:lnTo>
                    <a:pt x="406" y="1069"/>
                  </a:lnTo>
                  <a:lnTo>
                    <a:pt x="379" y="1060"/>
                  </a:lnTo>
                  <a:lnTo>
                    <a:pt x="353" y="1051"/>
                  </a:lnTo>
                  <a:lnTo>
                    <a:pt x="327" y="1039"/>
                  </a:lnTo>
                  <a:lnTo>
                    <a:pt x="303" y="1027"/>
                  </a:lnTo>
                  <a:lnTo>
                    <a:pt x="278" y="1014"/>
                  </a:lnTo>
                  <a:lnTo>
                    <a:pt x="254" y="1000"/>
                  </a:lnTo>
                  <a:lnTo>
                    <a:pt x="232" y="984"/>
                  </a:lnTo>
                  <a:lnTo>
                    <a:pt x="210" y="968"/>
                  </a:lnTo>
                  <a:lnTo>
                    <a:pt x="189" y="950"/>
                  </a:lnTo>
                  <a:lnTo>
                    <a:pt x="170" y="933"/>
                  </a:lnTo>
                  <a:lnTo>
                    <a:pt x="150" y="914"/>
                  </a:lnTo>
                  <a:lnTo>
                    <a:pt x="132" y="894"/>
                  </a:lnTo>
                  <a:lnTo>
                    <a:pt x="115" y="873"/>
                  </a:lnTo>
                  <a:lnTo>
                    <a:pt x="99" y="851"/>
                  </a:lnTo>
                  <a:lnTo>
                    <a:pt x="84" y="830"/>
                  </a:lnTo>
                  <a:lnTo>
                    <a:pt x="70" y="806"/>
                  </a:lnTo>
                  <a:lnTo>
                    <a:pt x="57" y="783"/>
                  </a:lnTo>
                  <a:lnTo>
                    <a:pt x="46" y="758"/>
                  </a:lnTo>
                  <a:lnTo>
                    <a:pt x="36" y="734"/>
                  </a:lnTo>
                  <a:lnTo>
                    <a:pt x="26" y="708"/>
                  </a:lnTo>
                  <a:lnTo>
                    <a:pt x="18" y="683"/>
                  </a:lnTo>
                  <a:lnTo>
                    <a:pt x="12" y="656"/>
                  </a:lnTo>
                  <a:lnTo>
                    <a:pt x="7" y="629"/>
                  </a:lnTo>
                  <a:lnTo>
                    <a:pt x="3" y="602"/>
                  </a:lnTo>
                  <a:lnTo>
                    <a:pt x="1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1" y="519"/>
                  </a:lnTo>
                  <a:lnTo>
                    <a:pt x="3" y="491"/>
                  </a:lnTo>
                  <a:lnTo>
                    <a:pt x="7" y="464"/>
                  </a:lnTo>
                  <a:lnTo>
                    <a:pt x="12" y="437"/>
                  </a:lnTo>
                  <a:lnTo>
                    <a:pt x="18" y="411"/>
                  </a:lnTo>
                  <a:lnTo>
                    <a:pt x="26" y="385"/>
                  </a:lnTo>
                  <a:lnTo>
                    <a:pt x="36" y="360"/>
                  </a:lnTo>
                  <a:lnTo>
                    <a:pt x="46" y="335"/>
                  </a:lnTo>
                  <a:lnTo>
                    <a:pt x="57" y="310"/>
                  </a:lnTo>
                  <a:lnTo>
                    <a:pt x="70" y="287"/>
                  </a:lnTo>
                  <a:lnTo>
                    <a:pt x="84" y="264"/>
                  </a:lnTo>
                  <a:lnTo>
                    <a:pt x="99" y="242"/>
                  </a:lnTo>
                  <a:lnTo>
                    <a:pt x="115" y="220"/>
                  </a:lnTo>
                  <a:lnTo>
                    <a:pt x="132" y="200"/>
                  </a:lnTo>
                  <a:lnTo>
                    <a:pt x="150" y="180"/>
                  </a:lnTo>
                  <a:lnTo>
                    <a:pt x="170" y="161"/>
                  </a:lnTo>
                  <a:lnTo>
                    <a:pt x="189" y="143"/>
                  </a:lnTo>
                  <a:lnTo>
                    <a:pt x="210" y="125"/>
                  </a:lnTo>
                  <a:lnTo>
                    <a:pt x="232" y="109"/>
                  </a:lnTo>
                  <a:lnTo>
                    <a:pt x="254" y="94"/>
                  </a:lnTo>
                  <a:lnTo>
                    <a:pt x="278" y="79"/>
                  </a:lnTo>
                  <a:lnTo>
                    <a:pt x="303" y="66"/>
                  </a:lnTo>
                  <a:lnTo>
                    <a:pt x="327" y="54"/>
                  </a:lnTo>
                  <a:lnTo>
                    <a:pt x="353" y="44"/>
                  </a:lnTo>
                  <a:lnTo>
                    <a:pt x="379" y="33"/>
                  </a:lnTo>
                  <a:lnTo>
                    <a:pt x="406" y="24"/>
                  </a:lnTo>
                  <a:lnTo>
                    <a:pt x="432" y="17"/>
                  </a:lnTo>
                  <a:lnTo>
                    <a:pt x="461" y="11"/>
                  </a:lnTo>
                  <a:lnTo>
                    <a:pt x="489" y="6"/>
                  </a:lnTo>
                  <a:lnTo>
                    <a:pt x="517" y="3"/>
                  </a:lnTo>
                  <a:lnTo>
                    <a:pt x="547" y="1"/>
                  </a:lnTo>
                  <a:lnTo>
                    <a:pt x="577" y="0"/>
                  </a:lnTo>
                  <a:lnTo>
                    <a:pt x="577" y="0"/>
                  </a:lnTo>
                  <a:lnTo>
                    <a:pt x="606" y="1"/>
                  </a:lnTo>
                  <a:lnTo>
                    <a:pt x="635" y="3"/>
                  </a:lnTo>
                  <a:lnTo>
                    <a:pt x="663" y="6"/>
                  </a:lnTo>
                  <a:lnTo>
                    <a:pt x="692" y="11"/>
                  </a:lnTo>
                  <a:lnTo>
                    <a:pt x="720" y="17"/>
                  </a:lnTo>
                  <a:lnTo>
                    <a:pt x="746" y="24"/>
                  </a:lnTo>
                  <a:lnTo>
                    <a:pt x="774" y="33"/>
                  </a:lnTo>
                  <a:lnTo>
                    <a:pt x="799" y="44"/>
                  </a:lnTo>
                  <a:lnTo>
                    <a:pt x="825" y="54"/>
                  </a:lnTo>
                  <a:lnTo>
                    <a:pt x="850" y="66"/>
                  </a:lnTo>
                  <a:lnTo>
                    <a:pt x="874" y="79"/>
                  </a:lnTo>
                  <a:lnTo>
                    <a:pt x="897" y="94"/>
                  </a:lnTo>
                  <a:lnTo>
                    <a:pt x="919" y="109"/>
                  </a:lnTo>
                  <a:lnTo>
                    <a:pt x="942" y="125"/>
                  </a:lnTo>
                  <a:lnTo>
                    <a:pt x="962" y="143"/>
                  </a:lnTo>
                  <a:lnTo>
                    <a:pt x="982" y="161"/>
                  </a:lnTo>
                  <a:lnTo>
                    <a:pt x="1001" y="180"/>
                  </a:lnTo>
                  <a:lnTo>
                    <a:pt x="1019" y="200"/>
                  </a:lnTo>
                  <a:lnTo>
                    <a:pt x="1037" y="220"/>
                  </a:lnTo>
                  <a:lnTo>
                    <a:pt x="1052" y="242"/>
                  </a:lnTo>
                  <a:lnTo>
                    <a:pt x="1067" y="264"/>
                  </a:lnTo>
                  <a:lnTo>
                    <a:pt x="1082" y="287"/>
                  </a:lnTo>
                  <a:lnTo>
                    <a:pt x="1094" y="310"/>
                  </a:lnTo>
                  <a:lnTo>
                    <a:pt x="1105" y="335"/>
                  </a:lnTo>
                  <a:lnTo>
                    <a:pt x="1116" y="360"/>
                  </a:lnTo>
                  <a:lnTo>
                    <a:pt x="1125" y="385"/>
                  </a:lnTo>
                  <a:lnTo>
                    <a:pt x="1133" y="411"/>
                  </a:lnTo>
                  <a:lnTo>
                    <a:pt x="1139" y="437"/>
                  </a:lnTo>
                  <a:lnTo>
                    <a:pt x="1144" y="464"/>
                  </a:lnTo>
                  <a:lnTo>
                    <a:pt x="1148" y="491"/>
                  </a:lnTo>
                  <a:lnTo>
                    <a:pt x="1150" y="519"/>
                  </a:lnTo>
                  <a:lnTo>
                    <a:pt x="1151" y="547"/>
                  </a:lnTo>
                  <a:lnTo>
                    <a:pt x="1151" y="547"/>
                  </a:lnTo>
                  <a:lnTo>
                    <a:pt x="1150" y="574"/>
                  </a:lnTo>
                  <a:lnTo>
                    <a:pt x="1148" y="602"/>
                  </a:lnTo>
                  <a:lnTo>
                    <a:pt x="1144" y="629"/>
                  </a:lnTo>
                  <a:lnTo>
                    <a:pt x="1139" y="656"/>
                  </a:lnTo>
                  <a:lnTo>
                    <a:pt x="1133" y="683"/>
                  </a:lnTo>
                  <a:lnTo>
                    <a:pt x="1125" y="708"/>
                  </a:lnTo>
                  <a:lnTo>
                    <a:pt x="1116" y="734"/>
                  </a:lnTo>
                  <a:lnTo>
                    <a:pt x="1105" y="758"/>
                  </a:lnTo>
                  <a:lnTo>
                    <a:pt x="1094" y="783"/>
                  </a:lnTo>
                  <a:lnTo>
                    <a:pt x="1082" y="806"/>
                  </a:lnTo>
                  <a:lnTo>
                    <a:pt x="1067" y="830"/>
                  </a:lnTo>
                  <a:lnTo>
                    <a:pt x="1052" y="851"/>
                  </a:lnTo>
                  <a:lnTo>
                    <a:pt x="1037" y="873"/>
                  </a:lnTo>
                  <a:lnTo>
                    <a:pt x="1019" y="894"/>
                  </a:lnTo>
                  <a:lnTo>
                    <a:pt x="1001" y="914"/>
                  </a:lnTo>
                  <a:lnTo>
                    <a:pt x="982" y="933"/>
                  </a:lnTo>
                  <a:lnTo>
                    <a:pt x="962" y="950"/>
                  </a:lnTo>
                  <a:lnTo>
                    <a:pt x="942" y="968"/>
                  </a:lnTo>
                  <a:lnTo>
                    <a:pt x="919" y="984"/>
                  </a:lnTo>
                  <a:lnTo>
                    <a:pt x="897" y="1000"/>
                  </a:lnTo>
                  <a:lnTo>
                    <a:pt x="874" y="1014"/>
                  </a:lnTo>
                  <a:lnTo>
                    <a:pt x="850" y="1027"/>
                  </a:lnTo>
                  <a:lnTo>
                    <a:pt x="825" y="1039"/>
                  </a:lnTo>
                  <a:lnTo>
                    <a:pt x="799" y="1051"/>
                  </a:lnTo>
                  <a:lnTo>
                    <a:pt x="774" y="1060"/>
                  </a:lnTo>
                  <a:lnTo>
                    <a:pt x="746" y="1069"/>
                  </a:lnTo>
                  <a:lnTo>
                    <a:pt x="720" y="1076"/>
                  </a:lnTo>
                  <a:lnTo>
                    <a:pt x="692" y="1082"/>
                  </a:lnTo>
                  <a:lnTo>
                    <a:pt x="663" y="1087"/>
                  </a:lnTo>
                  <a:lnTo>
                    <a:pt x="635" y="1091"/>
                  </a:lnTo>
                  <a:lnTo>
                    <a:pt x="606" y="1093"/>
                  </a:lnTo>
                  <a:lnTo>
                    <a:pt x="577" y="1094"/>
                  </a:lnTo>
                  <a:lnTo>
                    <a:pt x="577" y="1094"/>
                  </a:lnTo>
                  <a:close/>
                  <a:moveTo>
                    <a:pt x="577" y="82"/>
                  </a:moveTo>
                  <a:lnTo>
                    <a:pt x="577" y="82"/>
                  </a:lnTo>
                  <a:lnTo>
                    <a:pt x="554" y="83"/>
                  </a:lnTo>
                  <a:lnTo>
                    <a:pt x="533" y="86"/>
                  </a:lnTo>
                  <a:lnTo>
                    <a:pt x="511" y="90"/>
                  </a:lnTo>
                  <a:lnTo>
                    <a:pt x="492" y="94"/>
                  </a:lnTo>
                  <a:lnTo>
                    <a:pt x="472" y="100"/>
                  </a:lnTo>
                  <a:lnTo>
                    <a:pt x="454" y="108"/>
                  </a:lnTo>
                  <a:lnTo>
                    <a:pt x="436" y="116"/>
                  </a:lnTo>
                  <a:lnTo>
                    <a:pt x="419" y="125"/>
                  </a:lnTo>
                  <a:lnTo>
                    <a:pt x="404" y="137"/>
                  </a:lnTo>
                  <a:lnTo>
                    <a:pt x="388" y="148"/>
                  </a:lnTo>
                  <a:lnTo>
                    <a:pt x="374" y="161"/>
                  </a:lnTo>
                  <a:lnTo>
                    <a:pt x="360" y="174"/>
                  </a:lnTo>
                  <a:lnTo>
                    <a:pt x="347" y="189"/>
                  </a:lnTo>
                  <a:lnTo>
                    <a:pt x="335" y="204"/>
                  </a:lnTo>
                  <a:lnTo>
                    <a:pt x="324" y="219"/>
                  </a:lnTo>
                  <a:lnTo>
                    <a:pt x="313" y="237"/>
                  </a:lnTo>
                  <a:lnTo>
                    <a:pt x="303" y="253"/>
                  </a:lnTo>
                  <a:lnTo>
                    <a:pt x="293" y="272"/>
                  </a:lnTo>
                  <a:lnTo>
                    <a:pt x="285" y="290"/>
                  </a:lnTo>
                  <a:lnTo>
                    <a:pt x="277" y="308"/>
                  </a:lnTo>
                  <a:lnTo>
                    <a:pt x="270" y="327"/>
                  </a:lnTo>
                  <a:lnTo>
                    <a:pt x="264" y="346"/>
                  </a:lnTo>
                  <a:lnTo>
                    <a:pt x="258" y="367"/>
                  </a:lnTo>
                  <a:lnTo>
                    <a:pt x="252" y="386"/>
                  </a:lnTo>
                  <a:lnTo>
                    <a:pt x="248" y="407"/>
                  </a:lnTo>
                  <a:lnTo>
                    <a:pt x="244" y="426"/>
                  </a:lnTo>
                  <a:lnTo>
                    <a:pt x="240" y="446"/>
                  </a:lnTo>
                  <a:lnTo>
                    <a:pt x="238" y="467"/>
                  </a:lnTo>
                  <a:lnTo>
                    <a:pt x="234" y="507"/>
                  </a:lnTo>
                  <a:lnTo>
                    <a:pt x="233" y="547"/>
                  </a:lnTo>
                  <a:lnTo>
                    <a:pt x="233" y="547"/>
                  </a:lnTo>
                  <a:lnTo>
                    <a:pt x="234" y="587"/>
                  </a:lnTo>
                  <a:lnTo>
                    <a:pt x="238" y="626"/>
                  </a:lnTo>
                  <a:lnTo>
                    <a:pt x="240" y="647"/>
                  </a:lnTo>
                  <a:lnTo>
                    <a:pt x="244" y="667"/>
                  </a:lnTo>
                  <a:lnTo>
                    <a:pt x="248" y="687"/>
                  </a:lnTo>
                  <a:lnTo>
                    <a:pt x="252" y="707"/>
                  </a:lnTo>
                  <a:lnTo>
                    <a:pt x="258" y="728"/>
                  </a:lnTo>
                  <a:lnTo>
                    <a:pt x="264" y="747"/>
                  </a:lnTo>
                  <a:lnTo>
                    <a:pt x="270" y="766"/>
                  </a:lnTo>
                  <a:lnTo>
                    <a:pt x="277" y="785"/>
                  </a:lnTo>
                  <a:lnTo>
                    <a:pt x="285" y="804"/>
                  </a:lnTo>
                  <a:lnTo>
                    <a:pt x="293" y="822"/>
                  </a:lnTo>
                  <a:lnTo>
                    <a:pt x="303" y="840"/>
                  </a:lnTo>
                  <a:lnTo>
                    <a:pt x="313" y="857"/>
                  </a:lnTo>
                  <a:lnTo>
                    <a:pt x="324" y="874"/>
                  </a:lnTo>
                  <a:lnTo>
                    <a:pt x="335" y="889"/>
                  </a:lnTo>
                  <a:lnTo>
                    <a:pt x="347" y="904"/>
                  </a:lnTo>
                  <a:lnTo>
                    <a:pt x="360" y="919"/>
                  </a:lnTo>
                  <a:lnTo>
                    <a:pt x="374" y="932"/>
                  </a:lnTo>
                  <a:lnTo>
                    <a:pt x="388" y="945"/>
                  </a:lnTo>
                  <a:lnTo>
                    <a:pt x="404" y="957"/>
                  </a:lnTo>
                  <a:lnTo>
                    <a:pt x="419" y="968"/>
                  </a:lnTo>
                  <a:lnTo>
                    <a:pt x="436" y="977"/>
                  </a:lnTo>
                  <a:lnTo>
                    <a:pt x="454" y="986"/>
                  </a:lnTo>
                  <a:lnTo>
                    <a:pt x="472" y="993"/>
                  </a:lnTo>
                  <a:lnTo>
                    <a:pt x="492" y="1000"/>
                  </a:lnTo>
                  <a:lnTo>
                    <a:pt x="511" y="1005"/>
                  </a:lnTo>
                  <a:lnTo>
                    <a:pt x="533" y="1008"/>
                  </a:lnTo>
                  <a:lnTo>
                    <a:pt x="554" y="1010"/>
                  </a:lnTo>
                  <a:lnTo>
                    <a:pt x="577" y="1011"/>
                  </a:lnTo>
                  <a:lnTo>
                    <a:pt x="577" y="1011"/>
                  </a:lnTo>
                  <a:lnTo>
                    <a:pt x="599" y="1010"/>
                  </a:lnTo>
                  <a:lnTo>
                    <a:pt x="621" y="1008"/>
                  </a:lnTo>
                  <a:lnTo>
                    <a:pt x="641" y="1005"/>
                  </a:lnTo>
                  <a:lnTo>
                    <a:pt x="661" y="1000"/>
                  </a:lnTo>
                  <a:lnTo>
                    <a:pt x="680" y="993"/>
                  </a:lnTo>
                  <a:lnTo>
                    <a:pt x="698" y="986"/>
                  </a:lnTo>
                  <a:lnTo>
                    <a:pt x="716" y="977"/>
                  </a:lnTo>
                  <a:lnTo>
                    <a:pt x="733" y="968"/>
                  </a:lnTo>
                  <a:lnTo>
                    <a:pt x="748" y="957"/>
                  </a:lnTo>
                  <a:lnTo>
                    <a:pt x="764" y="945"/>
                  </a:lnTo>
                  <a:lnTo>
                    <a:pt x="778" y="932"/>
                  </a:lnTo>
                  <a:lnTo>
                    <a:pt x="792" y="919"/>
                  </a:lnTo>
                  <a:lnTo>
                    <a:pt x="805" y="904"/>
                  </a:lnTo>
                  <a:lnTo>
                    <a:pt x="817" y="889"/>
                  </a:lnTo>
                  <a:lnTo>
                    <a:pt x="829" y="874"/>
                  </a:lnTo>
                  <a:lnTo>
                    <a:pt x="839" y="857"/>
                  </a:lnTo>
                  <a:lnTo>
                    <a:pt x="850" y="840"/>
                  </a:lnTo>
                  <a:lnTo>
                    <a:pt x="859" y="822"/>
                  </a:lnTo>
                  <a:lnTo>
                    <a:pt x="867" y="804"/>
                  </a:lnTo>
                  <a:lnTo>
                    <a:pt x="875" y="785"/>
                  </a:lnTo>
                  <a:lnTo>
                    <a:pt x="882" y="766"/>
                  </a:lnTo>
                  <a:lnTo>
                    <a:pt x="889" y="747"/>
                  </a:lnTo>
                  <a:lnTo>
                    <a:pt x="896" y="728"/>
                  </a:lnTo>
                  <a:lnTo>
                    <a:pt x="901" y="707"/>
                  </a:lnTo>
                  <a:lnTo>
                    <a:pt x="905" y="687"/>
                  </a:lnTo>
                  <a:lnTo>
                    <a:pt x="909" y="667"/>
                  </a:lnTo>
                  <a:lnTo>
                    <a:pt x="912" y="647"/>
                  </a:lnTo>
                  <a:lnTo>
                    <a:pt x="915" y="626"/>
                  </a:lnTo>
                  <a:lnTo>
                    <a:pt x="919" y="587"/>
                  </a:lnTo>
                  <a:lnTo>
                    <a:pt x="920" y="547"/>
                  </a:lnTo>
                  <a:lnTo>
                    <a:pt x="920" y="547"/>
                  </a:lnTo>
                  <a:lnTo>
                    <a:pt x="919" y="507"/>
                  </a:lnTo>
                  <a:lnTo>
                    <a:pt x="915" y="467"/>
                  </a:lnTo>
                  <a:lnTo>
                    <a:pt x="912" y="446"/>
                  </a:lnTo>
                  <a:lnTo>
                    <a:pt x="909" y="426"/>
                  </a:lnTo>
                  <a:lnTo>
                    <a:pt x="905" y="407"/>
                  </a:lnTo>
                  <a:lnTo>
                    <a:pt x="901" y="386"/>
                  </a:lnTo>
                  <a:lnTo>
                    <a:pt x="896" y="367"/>
                  </a:lnTo>
                  <a:lnTo>
                    <a:pt x="889" y="346"/>
                  </a:lnTo>
                  <a:lnTo>
                    <a:pt x="882" y="327"/>
                  </a:lnTo>
                  <a:lnTo>
                    <a:pt x="875" y="308"/>
                  </a:lnTo>
                  <a:lnTo>
                    <a:pt x="867" y="290"/>
                  </a:lnTo>
                  <a:lnTo>
                    <a:pt x="859" y="272"/>
                  </a:lnTo>
                  <a:lnTo>
                    <a:pt x="850" y="253"/>
                  </a:lnTo>
                  <a:lnTo>
                    <a:pt x="839" y="237"/>
                  </a:lnTo>
                  <a:lnTo>
                    <a:pt x="829" y="219"/>
                  </a:lnTo>
                  <a:lnTo>
                    <a:pt x="817" y="204"/>
                  </a:lnTo>
                  <a:lnTo>
                    <a:pt x="805" y="189"/>
                  </a:lnTo>
                  <a:lnTo>
                    <a:pt x="792" y="174"/>
                  </a:lnTo>
                  <a:lnTo>
                    <a:pt x="778" y="161"/>
                  </a:lnTo>
                  <a:lnTo>
                    <a:pt x="764" y="148"/>
                  </a:lnTo>
                  <a:lnTo>
                    <a:pt x="748" y="137"/>
                  </a:lnTo>
                  <a:lnTo>
                    <a:pt x="733" y="125"/>
                  </a:lnTo>
                  <a:lnTo>
                    <a:pt x="716" y="116"/>
                  </a:lnTo>
                  <a:lnTo>
                    <a:pt x="698" y="108"/>
                  </a:lnTo>
                  <a:lnTo>
                    <a:pt x="680" y="100"/>
                  </a:lnTo>
                  <a:lnTo>
                    <a:pt x="661" y="94"/>
                  </a:lnTo>
                  <a:lnTo>
                    <a:pt x="641" y="90"/>
                  </a:lnTo>
                  <a:lnTo>
                    <a:pt x="621" y="86"/>
                  </a:lnTo>
                  <a:lnTo>
                    <a:pt x="599" y="83"/>
                  </a:lnTo>
                  <a:lnTo>
                    <a:pt x="577" y="82"/>
                  </a:lnTo>
                  <a:lnTo>
                    <a:pt x="577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8" name="Freeform 16"/>
            <p:cNvSpPr>
              <a:spLocks/>
            </p:cNvSpPr>
            <p:nvPr userDrawn="1"/>
          </p:nvSpPr>
          <p:spPr bwMode="auto">
            <a:xfrm>
              <a:off x="8372721" y="628817"/>
              <a:ext cx="93663" cy="146050"/>
            </a:xfrm>
            <a:custGeom>
              <a:avLst/>
              <a:gdLst>
                <a:gd name="T0" fmla="*/ 52 w 712"/>
                <a:gd name="T1" fmla="*/ 723 h 1103"/>
                <a:gd name="T2" fmla="*/ 75 w 712"/>
                <a:gd name="T3" fmla="*/ 804 h 1103"/>
                <a:gd name="T4" fmla="*/ 112 w 712"/>
                <a:gd name="T5" fmla="*/ 875 h 1103"/>
                <a:gd name="T6" fmla="*/ 159 w 712"/>
                <a:gd name="T7" fmla="*/ 933 h 1103"/>
                <a:gd name="T8" fmla="*/ 215 w 712"/>
                <a:gd name="T9" fmla="*/ 978 h 1103"/>
                <a:gd name="T10" fmla="*/ 278 w 712"/>
                <a:gd name="T11" fmla="*/ 1009 h 1103"/>
                <a:gd name="T12" fmla="*/ 343 w 712"/>
                <a:gd name="T13" fmla="*/ 1024 h 1103"/>
                <a:gd name="T14" fmla="*/ 405 w 712"/>
                <a:gd name="T15" fmla="*/ 1022 h 1103"/>
                <a:gd name="T16" fmla="*/ 481 w 712"/>
                <a:gd name="T17" fmla="*/ 992 h 1103"/>
                <a:gd name="T18" fmla="*/ 529 w 712"/>
                <a:gd name="T19" fmla="*/ 929 h 1103"/>
                <a:gd name="T20" fmla="*/ 541 w 712"/>
                <a:gd name="T21" fmla="*/ 854 h 1103"/>
                <a:gd name="T22" fmla="*/ 528 w 712"/>
                <a:gd name="T23" fmla="*/ 795 h 1103"/>
                <a:gd name="T24" fmla="*/ 490 w 712"/>
                <a:gd name="T25" fmla="*/ 737 h 1103"/>
                <a:gd name="T26" fmla="*/ 429 w 712"/>
                <a:gd name="T27" fmla="*/ 688 h 1103"/>
                <a:gd name="T28" fmla="*/ 198 w 712"/>
                <a:gd name="T29" fmla="*/ 566 h 1103"/>
                <a:gd name="T30" fmla="*/ 94 w 712"/>
                <a:gd name="T31" fmla="*/ 485 h 1103"/>
                <a:gd name="T32" fmla="*/ 32 w 712"/>
                <a:gd name="T33" fmla="*/ 380 h 1103"/>
                <a:gd name="T34" fmla="*/ 16 w 712"/>
                <a:gd name="T35" fmla="*/ 267 h 1103"/>
                <a:gd name="T36" fmla="*/ 25 w 712"/>
                <a:gd name="T37" fmla="*/ 204 h 1103"/>
                <a:gd name="T38" fmla="*/ 52 w 712"/>
                <a:gd name="T39" fmla="*/ 145 h 1103"/>
                <a:gd name="T40" fmla="*/ 94 w 712"/>
                <a:gd name="T41" fmla="*/ 95 h 1103"/>
                <a:gd name="T42" fmla="*/ 148 w 712"/>
                <a:gd name="T43" fmla="*/ 54 h 1103"/>
                <a:gd name="T44" fmla="*/ 212 w 712"/>
                <a:gd name="T45" fmla="*/ 25 h 1103"/>
                <a:gd name="T46" fmla="*/ 285 w 712"/>
                <a:gd name="T47" fmla="*/ 11 h 1103"/>
                <a:gd name="T48" fmla="*/ 352 w 712"/>
                <a:gd name="T49" fmla="*/ 11 h 1103"/>
                <a:gd name="T50" fmla="*/ 427 w 712"/>
                <a:gd name="T51" fmla="*/ 25 h 1103"/>
                <a:gd name="T52" fmla="*/ 526 w 712"/>
                <a:gd name="T53" fmla="*/ 79 h 1103"/>
                <a:gd name="T54" fmla="*/ 556 w 712"/>
                <a:gd name="T55" fmla="*/ 47 h 1103"/>
                <a:gd name="T56" fmla="*/ 624 w 712"/>
                <a:gd name="T57" fmla="*/ 0 h 1103"/>
                <a:gd name="T58" fmla="*/ 568 w 712"/>
                <a:gd name="T59" fmla="*/ 328 h 1103"/>
                <a:gd name="T60" fmla="*/ 527 w 712"/>
                <a:gd name="T61" fmla="*/ 203 h 1103"/>
                <a:gd name="T62" fmla="*/ 481 w 712"/>
                <a:gd name="T63" fmla="*/ 142 h 1103"/>
                <a:gd name="T64" fmla="*/ 428 w 712"/>
                <a:gd name="T65" fmla="*/ 106 h 1103"/>
                <a:gd name="T66" fmla="*/ 358 w 712"/>
                <a:gd name="T67" fmla="*/ 86 h 1103"/>
                <a:gd name="T68" fmla="*/ 300 w 712"/>
                <a:gd name="T69" fmla="*/ 87 h 1103"/>
                <a:gd name="T70" fmla="*/ 240 w 712"/>
                <a:gd name="T71" fmla="*/ 113 h 1103"/>
                <a:gd name="T72" fmla="*/ 199 w 712"/>
                <a:gd name="T73" fmla="*/ 165 h 1103"/>
                <a:gd name="T74" fmla="*/ 187 w 712"/>
                <a:gd name="T75" fmla="*/ 222 h 1103"/>
                <a:gd name="T76" fmla="*/ 200 w 712"/>
                <a:gd name="T77" fmla="*/ 278 h 1103"/>
                <a:gd name="T78" fmla="*/ 241 w 712"/>
                <a:gd name="T79" fmla="*/ 336 h 1103"/>
                <a:gd name="T80" fmla="*/ 308 w 712"/>
                <a:gd name="T81" fmla="*/ 390 h 1103"/>
                <a:gd name="T82" fmla="*/ 535 w 712"/>
                <a:gd name="T83" fmla="*/ 510 h 1103"/>
                <a:gd name="T84" fmla="*/ 631 w 712"/>
                <a:gd name="T85" fmla="*/ 590 h 1103"/>
                <a:gd name="T86" fmla="*/ 695 w 712"/>
                <a:gd name="T87" fmla="*/ 693 h 1103"/>
                <a:gd name="T88" fmla="*/ 712 w 712"/>
                <a:gd name="T89" fmla="*/ 789 h 1103"/>
                <a:gd name="T90" fmla="*/ 701 w 712"/>
                <a:gd name="T91" fmla="*/ 872 h 1103"/>
                <a:gd name="T92" fmla="*/ 669 w 712"/>
                <a:gd name="T93" fmla="*/ 945 h 1103"/>
                <a:gd name="T94" fmla="*/ 619 w 712"/>
                <a:gd name="T95" fmla="*/ 1005 h 1103"/>
                <a:gd name="T96" fmla="*/ 556 w 712"/>
                <a:gd name="T97" fmla="*/ 1053 h 1103"/>
                <a:gd name="T98" fmla="*/ 483 w 712"/>
                <a:gd name="T99" fmla="*/ 1085 h 1103"/>
                <a:gd name="T100" fmla="*/ 402 w 712"/>
                <a:gd name="T101" fmla="*/ 1101 h 1103"/>
                <a:gd name="T102" fmla="*/ 323 w 712"/>
                <a:gd name="T103" fmla="*/ 1100 h 1103"/>
                <a:gd name="T104" fmla="*/ 223 w 712"/>
                <a:gd name="T105" fmla="*/ 1073 h 1103"/>
                <a:gd name="T106" fmla="*/ 111 w 712"/>
                <a:gd name="T107" fmla="*/ 1024 h 1103"/>
                <a:gd name="T108" fmla="*/ 77 w 712"/>
                <a:gd name="T109" fmla="*/ 1044 h 1103"/>
                <a:gd name="T110" fmla="*/ 51 w 712"/>
                <a:gd name="T111" fmla="*/ 1103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2" h="1103">
                  <a:moveTo>
                    <a:pt x="51" y="1103"/>
                  </a:moveTo>
                  <a:lnTo>
                    <a:pt x="0" y="1103"/>
                  </a:lnTo>
                  <a:lnTo>
                    <a:pt x="0" y="723"/>
                  </a:lnTo>
                  <a:lnTo>
                    <a:pt x="52" y="723"/>
                  </a:lnTo>
                  <a:lnTo>
                    <a:pt x="52" y="723"/>
                  </a:lnTo>
                  <a:lnTo>
                    <a:pt x="56" y="740"/>
                  </a:lnTo>
                  <a:lnTo>
                    <a:pt x="60" y="757"/>
                  </a:lnTo>
                  <a:lnTo>
                    <a:pt x="64" y="773"/>
                  </a:lnTo>
                  <a:lnTo>
                    <a:pt x="69" y="789"/>
                  </a:lnTo>
                  <a:lnTo>
                    <a:pt x="75" y="804"/>
                  </a:lnTo>
                  <a:lnTo>
                    <a:pt x="81" y="819"/>
                  </a:lnTo>
                  <a:lnTo>
                    <a:pt x="88" y="834"/>
                  </a:lnTo>
                  <a:lnTo>
                    <a:pt x="96" y="848"/>
                  </a:lnTo>
                  <a:lnTo>
                    <a:pt x="104" y="861"/>
                  </a:lnTo>
                  <a:lnTo>
                    <a:pt x="112" y="875"/>
                  </a:lnTo>
                  <a:lnTo>
                    <a:pt x="120" y="888"/>
                  </a:lnTo>
                  <a:lnTo>
                    <a:pt x="129" y="899"/>
                  </a:lnTo>
                  <a:lnTo>
                    <a:pt x="139" y="911"/>
                  </a:lnTo>
                  <a:lnTo>
                    <a:pt x="149" y="923"/>
                  </a:lnTo>
                  <a:lnTo>
                    <a:pt x="159" y="933"/>
                  </a:lnTo>
                  <a:lnTo>
                    <a:pt x="170" y="943"/>
                  </a:lnTo>
                  <a:lnTo>
                    <a:pt x="180" y="952"/>
                  </a:lnTo>
                  <a:lnTo>
                    <a:pt x="192" y="962"/>
                  </a:lnTo>
                  <a:lnTo>
                    <a:pt x="204" y="970"/>
                  </a:lnTo>
                  <a:lnTo>
                    <a:pt x="215" y="978"/>
                  </a:lnTo>
                  <a:lnTo>
                    <a:pt x="227" y="985"/>
                  </a:lnTo>
                  <a:lnTo>
                    <a:pt x="240" y="992"/>
                  </a:lnTo>
                  <a:lnTo>
                    <a:pt x="252" y="998"/>
                  </a:lnTo>
                  <a:lnTo>
                    <a:pt x="264" y="1003"/>
                  </a:lnTo>
                  <a:lnTo>
                    <a:pt x="278" y="1009"/>
                  </a:lnTo>
                  <a:lnTo>
                    <a:pt x="290" y="1013"/>
                  </a:lnTo>
                  <a:lnTo>
                    <a:pt x="303" y="1017"/>
                  </a:lnTo>
                  <a:lnTo>
                    <a:pt x="316" y="1020"/>
                  </a:lnTo>
                  <a:lnTo>
                    <a:pt x="330" y="1022"/>
                  </a:lnTo>
                  <a:lnTo>
                    <a:pt x="343" y="1024"/>
                  </a:lnTo>
                  <a:lnTo>
                    <a:pt x="356" y="1025"/>
                  </a:lnTo>
                  <a:lnTo>
                    <a:pt x="370" y="1025"/>
                  </a:lnTo>
                  <a:lnTo>
                    <a:pt x="370" y="1025"/>
                  </a:lnTo>
                  <a:lnTo>
                    <a:pt x="388" y="1024"/>
                  </a:lnTo>
                  <a:lnTo>
                    <a:pt x="405" y="1022"/>
                  </a:lnTo>
                  <a:lnTo>
                    <a:pt x="423" y="1019"/>
                  </a:lnTo>
                  <a:lnTo>
                    <a:pt x="438" y="1015"/>
                  </a:lnTo>
                  <a:lnTo>
                    <a:pt x="453" y="1009"/>
                  </a:lnTo>
                  <a:lnTo>
                    <a:pt x="468" y="1000"/>
                  </a:lnTo>
                  <a:lnTo>
                    <a:pt x="481" y="992"/>
                  </a:lnTo>
                  <a:lnTo>
                    <a:pt x="493" y="982"/>
                  </a:lnTo>
                  <a:lnTo>
                    <a:pt x="504" y="971"/>
                  </a:lnTo>
                  <a:lnTo>
                    <a:pt x="514" y="958"/>
                  </a:lnTo>
                  <a:lnTo>
                    <a:pt x="522" y="944"/>
                  </a:lnTo>
                  <a:lnTo>
                    <a:pt x="529" y="929"/>
                  </a:lnTo>
                  <a:lnTo>
                    <a:pt x="534" y="912"/>
                  </a:lnTo>
                  <a:lnTo>
                    <a:pt x="538" y="894"/>
                  </a:lnTo>
                  <a:lnTo>
                    <a:pt x="541" y="875"/>
                  </a:lnTo>
                  <a:lnTo>
                    <a:pt x="541" y="854"/>
                  </a:lnTo>
                  <a:lnTo>
                    <a:pt x="541" y="854"/>
                  </a:lnTo>
                  <a:lnTo>
                    <a:pt x="541" y="842"/>
                  </a:lnTo>
                  <a:lnTo>
                    <a:pt x="539" y="831"/>
                  </a:lnTo>
                  <a:lnTo>
                    <a:pt x="537" y="818"/>
                  </a:lnTo>
                  <a:lnTo>
                    <a:pt x="533" y="806"/>
                  </a:lnTo>
                  <a:lnTo>
                    <a:pt x="528" y="795"/>
                  </a:lnTo>
                  <a:lnTo>
                    <a:pt x="523" y="783"/>
                  </a:lnTo>
                  <a:lnTo>
                    <a:pt x="516" y="771"/>
                  </a:lnTo>
                  <a:lnTo>
                    <a:pt x="509" y="759"/>
                  </a:lnTo>
                  <a:lnTo>
                    <a:pt x="499" y="748"/>
                  </a:lnTo>
                  <a:lnTo>
                    <a:pt x="490" y="737"/>
                  </a:lnTo>
                  <a:lnTo>
                    <a:pt x="480" y="726"/>
                  </a:lnTo>
                  <a:lnTo>
                    <a:pt x="469" y="716"/>
                  </a:lnTo>
                  <a:lnTo>
                    <a:pt x="457" y="706"/>
                  </a:lnTo>
                  <a:lnTo>
                    <a:pt x="443" y="697"/>
                  </a:lnTo>
                  <a:lnTo>
                    <a:pt x="429" y="688"/>
                  </a:lnTo>
                  <a:lnTo>
                    <a:pt x="415" y="680"/>
                  </a:lnTo>
                  <a:lnTo>
                    <a:pt x="250" y="593"/>
                  </a:lnTo>
                  <a:lnTo>
                    <a:pt x="250" y="593"/>
                  </a:lnTo>
                  <a:lnTo>
                    <a:pt x="223" y="580"/>
                  </a:lnTo>
                  <a:lnTo>
                    <a:pt x="198" y="566"/>
                  </a:lnTo>
                  <a:lnTo>
                    <a:pt x="174" y="551"/>
                  </a:lnTo>
                  <a:lnTo>
                    <a:pt x="152" y="535"/>
                  </a:lnTo>
                  <a:lnTo>
                    <a:pt x="131" y="520"/>
                  </a:lnTo>
                  <a:lnTo>
                    <a:pt x="112" y="502"/>
                  </a:lnTo>
                  <a:lnTo>
                    <a:pt x="94" y="485"/>
                  </a:lnTo>
                  <a:lnTo>
                    <a:pt x="78" y="467"/>
                  </a:lnTo>
                  <a:lnTo>
                    <a:pt x="64" y="447"/>
                  </a:lnTo>
                  <a:lnTo>
                    <a:pt x="52" y="426"/>
                  </a:lnTo>
                  <a:lnTo>
                    <a:pt x="40" y="404"/>
                  </a:lnTo>
                  <a:lnTo>
                    <a:pt x="32" y="380"/>
                  </a:lnTo>
                  <a:lnTo>
                    <a:pt x="25" y="355"/>
                  </a:lnTo>
                  <a:lnTo>
                    <a:pt x="20" y="328"/>
                  </a:lnTo>
                  <a:lnTo>
                    <a:pt x="17" y="299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54"/>
                  </a:lnTo>
                  <a:lnTo>
                    <a:pt x="17" y="242"/>
                  </a:lnTo>
                  <a:lnTo>
                    <a:pt x="19" y="228"/>
                  </a:lnTo>
                  <a:lnTo>
                    <a:pt x="22" y="216"/>
                  </a:lnTo>
                  <a:lnTo>
                    <a:pt x="25" y="204"/>
                  </a:lnTo>
                  <a:lnTo>
                    <a:pt x="29" y="192"/>
                  </a:lnTo>
                  <a:lnTo>
                    <a:pt x="34" y="179"/>
                  </a:lnTo>
                  <a:lnTo>
                    <a:pt x="39" y="167"/>
                  </a:lnTo>
                  <a:lnTo>
                    <a:pt x="45" y="156"/>
                  </a:lnTo>
                  <a:lnTo>
                    <a:pt x="52" y="145"/>
                  </a:lnTo>
                  <a:lnTo>
                    <a:pt x="59" y="134"/>
                  </a:lnTo>
                  <a:lnTo>
                    <a:pt x="67" y="123"/>
                  </a:lnTo>
                  <a:lnTo>
                    <a:pt x="75" y="114"/>
                  </a:lnTo>
                  <a:lnTo>
                    <a:pt x="83" y="104"/>
                  </a:lnTo>
                  <a:lnTo>
                    <a:pt x="94" y="95"/>
                  </a:lnTo>
                  <a:lnTo>
                    <a:pt x="103" y="85"/>
                  </a:lnTo>
                  <a:lnTo>
                    <a:pt x="113" y="76"/>
                  </a:lnTo>
                  <a:lnTo>
                    <a:pt x="124" y="69"/>
                  </a:lnTo>
                  <a:lnTo>
                    <a:pt x="135" y="61"/>
                  </a:lnTo>
                  <a:lnTo>
                    <a:pt x="148" y="54"/>
                  </a:lnTo>
                  <a:lnTo>
                    <a:pt x="160" y="46"/>
                  </a:lnTo>
                  <a:lnTo>
                    <a:pt x="172" y="40"/>
                  </a:lnTo>
                  <a:lnTo>
                    <a:pt x="186" y="34"/>
                  </a:lnTo>
                  <a:lnTo>
                    <a:pt x="199" y="29"/>
                  </a:lnTo>
                  <a:lnTo>
                    <a:pt x="212" y="25"/>
                  </a:lnTo>
                  <a:lnTo>
                    <a:pt x="226" y="21"/>
                  </a:lnTo>
                  <a:lnTo>
                    <a:pt x="241" y="17"/>
                  </a:lnTo>
                  <a:lnTo>
                    <a:pt x="255" y="14"/>
                  </a:lnTo>
                  <a:lnTo>
                    <a:pt x="269" y="12"/>
                  </a:lnTo>
                  <a:lnTo>
                    <a:pt x="285" y="11"/>
                  </a:lnTo>
                  <a:lnTo>
                    <a:pt x="300" y="10"/>
                  </a:lnTo>
                  <a:lnTo>
                    <a:pt x="315" y="9"/>
                  </a:lnTo>
                  <a:lnTo>
                    <a:pt x="315" y="9"/>
                  </a:lnTo>
                  <a:lnTo>
                    <a:pt x="335" y="10"/>
                  </a:lnTo>
                  <a:lnTo>
                    <a:pt x="352" y="11"/>
                  </a:lnTo>
                  <a:lnTo>
                    <a:pt x="369" y="12"/>
                  </a:lnTo>
                  <a:lnTo>
                    <a:pt x="384" y="15"/>
                  </a:lnTo>
                  <a:lnTo>
                    <a:pt x="399" y="18"/>
                  </a:lnTo>
                  <a:lnTo>
                    <a:pt x="414" y="21"/>
                  </a:lnTo>
                  <a:lnTo>
                    <a:pt x="427" y="25"/>
                  </a:lnTo>
                  <a:lnTo>
                    <a:pt x="440" y="30"/>
                  </a:lnTo>
                  <a:lnTo>
                    <a:pt x="464" y="40"/>
                  </a:lnTo>
                  <a:lnTo>
                    <a:pt x="486" y="53"/>
                  </a:lnTo>
                  <a:lnTo>
                    <a:pt x="507" y="66"/>
                  </a:lnTo>
                  <a:lnTo>
                    <a:pt x="526" y="79"/>
                  </a:lnTo>
                  <a:lnTo>
                    <a:pt x="526" y="79"/>
                  </a:lnTo>
                  <a:lnTo>
                    <a:pt x="534" y="73"/>
                  </a:lnTo>
                  <a:lnTo>
                    <a:pt x="541" y="65"/>
                  </a:lnTo>
                  <a:lnTo>
                    <a:pt x="549" y="57"/>
                  </a:lnTo>
                  <a:lnTo>
                    <a:pt x="556" y="47"/>
                  </a:lnTo>
                  <a:lnTo>
                    <a:pt x="562" y="36"/>
                  </a:lnTo>
                  <a:lnTo>
                    <a:pt x="568" y="26"/>
                  </a:lnTo>
                  <a:lnTo>
                    <a:pt x="572" y="14"/>
                  </a:lnTo>
                  <a:lnTo>
                    <a:pt x="576" y="0"/>
                  </a:lnTo>
                  <a:lnTo>
                    <a:pt x="624" y="0"/>
                  </a:lnTo>
                  <a:lnTo>
                    <a:pt x="624" y="380"/>
                  </a:lnTo>
                  <a:lnTo>
                    <a:pt x="575" y="380"/>
                  </a:lnTo>
                  <a:lnTo>
                    <a:pt x="575" y="380"/>
                  </a:lnTo>
                  <a:lnTo>
                    <a:pt x="572" y="354"/>
                  </a:lnTo>
                  <a:lnTo>
                    <a:pt x="568" y="328"/>
                  </a:lnTo>
                  <a:lnTo>
                    <a:pt x="563" y="301"/>
                  </a:lnTo>
                  <a:lnTo>
                    <a:pt x="556" y="275"/>
                  </a:lnTo>
                  <a:lnTo>
                    <a:pt x="549" y="250"/>
                  </a:lnTo>
                  <a:lnTo>
                    <a:pt x="538" y="225"/>
                  </a:lnTo>
                  <a:lnTo>
                    <a:pt x="527" y="203"/>
                  </a:lnTo>
                  <a:lnTo>
                    <a:pt x="514" y="180"/>
                  </a:lnTo>
                  <a:lnTo>
                    <a:pt x="507" y="170"/>
                  </a:lnTo>
                  <a:lnTo>
                    <a:pt x="498" y="160"/>
                  </a:lnTo>
                  <a:lnTo>
                    <a:pt x="490" y="151"/>
                  </a:lnTo>
                  <a:lnTo>
                    <a:pt x="481" y="142"/>
                  </a:lnTo>
                  <a:lnTo>
                    <a:pt x="472" y="133"/>
                  </a:lnTo>
                  <a:lnTo>
                    <a:pt x="462" y="125"/>
                  </a:lnTo>
                  <a:lnTo>
                    <a:pt x="451" y="118"/>
                  </a:lnTo>
                  <a:lnTo>
                    <a:pt x="440" y="112"/>
                  </a:lnTo>
                  <a:lnTo>
                    <a:pt x="428" y="106"/>
                  </a:lnTo>
                  <a:lnTo>
                    <a:pt x="416" y="101"/>
                  </a:lnTo>
                  <a:lnTo>
                    <a:pt x="402" y="96"/>
                  </a:lnTo>
                  <a:lnTo>
                    <a:pt x="388" y="91"/>
                  </a:lnTo>
                  <a:lnTo>
                    <a:pt x="374" y="88"/>
                  </a:lnTo>
                  <a:lnTo>
                    <a:pt x="358" y="86"/>
                  </a:lnTo>
                  <a:lnTo>
                    <a:pt x="343" y="85"/>
                  </a:lnTo>
                  <a:lnTo>
                    <a:pt x="327" y="84"/>
                  </a:lnTo>
                  <a:lnTo>
                    <a:pt x="327" y="84"/>
                  </a:lnTo>
                  <a:lnTo>
                    <a:pt x="313" y="85"/>
                  </a:lnTo>
                  <a:lnTo>
                    <a:pt x="300" y="87"/>
                  </a:lnTo>
                  <a:lnTo>
                    <a:pt x="287" y="90"/>
                  </a:lnTo>
                  <a:lnTo>
                    <a:pt x="275" y="95"/>
                  </a:lnTo>
                  <a:lnTo>
                    <a:pt x="262" y="100"/>
                  </a:lnTo>
                  <a:lnTo>
                    <a:pt x="251" y="106"/>
                  </a:lnTo>
                  <a:lnTo>
                    <a:pt x="240" y="113"/>
                  </a:lnTo>
                  <a:lnTo>
                    <a:pt x="230" y="121"/>
                  </a:lnTo>
                  <a:lnTo>
                    <a:pt x="220" y="131"/>
                  </a:lnTo>
                  <a:lnTo>
                    <a:pt x="212" y="142"/>
                  </a:lnTo>
                  <a:lnTo>
                    <a:pt x="205" y="153"/>
                  </a:lnTo>
                  <a:lnTo>
                    <a:pt x="199" y="165"/>
                  </a:lnTo>
                  <a:lnTo>
                    <a:pt x="194" y="178"/>
                  </a:lnTo>
                  <a:lnTo>
                    <a:pt x="190" y="192"/>
                  </a:lnTo>
                  <a:lnTo>
                    <a:pt x="188" y="207"/>
                  </a:lnTo>
                  <a:lnTo>
                    <a:pt x="187" y="222"/>
                  </a:lnTo>
                  <a:lnTo>
                    <a:pt x="187" y="222"/>
                  </a:lnTo>
                  <a:lnTo>
                    <a:pt x="187" y="233"/>
                  </a:lnTo>
                  <a:lnTo>
                    <a:pt x="189" y="244"/>
                  </a:lnTo>
                  <a:lnTo>
                    <a:pt x="192" y="254"/>
                  </a:lnTo>
                  <a:lnTo>
                    <a:pt x="195" y="265"/>
                  </a:lnTo>
                  <a:lnTo>
                    <a:pt x="200" y="278"/>
                  </a:lnTo>
                  <a:lnTo>
                    <a:pt x="206" y="289"/>
                  </a:lnTo>
                  <a:lnTo>
                    <a:pt x="213" y="301"/>
                  </a:lnTo>
                  <a:lnTo>
                    <a:pt x="221" y="312"/>
                  </a:lnTo>
                  <a:lnTo>
                    <a:pt x="231" y="325"/>
                  </a:lnTo>
                  <a:lnTo>
                    <a:pt x="241" y="336"/>
                  </a:lnTo>
                  <a:lnTo>
                    <a:pt x="252" y="348"/>
                  </a:lnTo>
                  <a:lnTo>
                    <a:pt x="264" y="359"/>
                  </a:lnTo>
                  <a:lnTo>
                    <a:pt x="278" y="370"/>
                  </a:lnTo>
                  <a:lnTo>
                    <a:pt x="292" y="380"/>
                  </a:lnTo>
                  <a:lnTo>
                    <a:pt x="308" y="390"/>
                  </a:lnTo>
                  <a:lnTo>
                    <a:pt x="325" y="399"/>
                  </a:lnTo>
                  <a:lnTo>
                    <a:pt x="490" y="483"/>
                  </a:lnTo>
                  <a:lnTo>
                    <a:pt x="490" y="483"/>
                  </a:lnTo>
                  <a:lnTo>
                    <a:pt x="513" y="495"/>
                  </a:lnTo>
                  <a:lnTo>
                    <a:pt x="535" y="510"/>
                  </a:lnTo>
                  <a:lnTo>
                    <a:pt x="556" y="524"/>
                  </a:lnTo>
                  <a:lnTo>
                    <a:pt x="576" y="538"/>
                  </a:lnTo>
                  <a:lnTo>
                    <a:pt x="596" y="555"/>
                  </a:lnTo>
                  <a:lnTo>
                    <a:pt x="614" y="572"/>
                  </a:lnTo>
                  <a:lnTo>
                    <a:pt x="631" y="590"/>
                  </a:lnTo>
                  <a:lnTo>
                    <a:pt x="648" y="609"/>
                  </a:lnTo>
                  <a:lnTo>
                    <a:pt x="662" y="628"/>
                  </a:lnTo>
                  <a:lnTo>
                    <a:pt x="674" y="649"/>
                  </a:lnTo>
                  <a:lnTo>
                    <a:pt x="686" y="670"/>
                  </a:lnTo>
                  <a:lnTo>
                    <a:pt x="695" y="693"/>
                  </a:lnTo>
                  <a:lnTo>
                    <a:pt x="703" y="715"/>
                  </a:lnTo>
                  <a:lnTo>
                    <a:pt x="708" y="739"/>
                  </a:lnTo>
                  <a:lnTo>
                    <a:pt x="711" y="763"/>
                  </a:lnTo>
                  <a:lnTo>
                    <a:pt x="712" y="789"/>
                  </a:lnTo>
                  <a:lnTo>
                    <a:pt x="712" y="789"/>
                  </a:lnTo>
                  <a:lnTo>
                    <a:pt x="712" y="806"/>
                  </a:lnTo>
                  <a:lnTo>
                    <a:pt x="711" y="824"/>
                  </a:lnTo>
                  <a:lnTo>
                    <a:pt x="708" y="840"/>
                  </a:lnTo>
                  <a:lnTo>
                    <a:pt x="705" y="856"/>
                  </a:lnTo>
                  <a:lnTo>
                    <a:pt x="701" y="872"/>
                  </a:lnTo>
                  <a:lnTo>
                    <a:pt x="696" y="887"/>
                  </a:lnTo>
                  <a:lnTo>
                    <a:pt x="691" y="902"/>
                  </a:lnTo>
                  <a:lnTo>
                    <a:pt x="684" y="917"/>
                  </a:lnTo>
                  <a:lnTo>
                    <a:pt x="676" y="931"/>
                  </a:lnTo>
                  <a:lnTo>
                    <a:pt x="669" y="945"/>
                  </a:lnTo>
                  <a:lnTo>
                    <a:pt x="660" y="957"/>
                  </a:lnTo>
                  <a:lnTo>
                    <a:pt x="651" y="971"/>
                  </a:lnTo>
                  <a:lnTo>
                    <a:pt x="641" y="983"/>
                  </a:lnTo>
                  <a:lnTo>
                    <a:pt x="630" y="994"/>
                  </a:lnTo>
                  <a:lnTo>
                    <a:pt x="619" y="1005"/>
                  </a:lnTo>
                  <a:lnTo>
                    <a:pt x="608" y="1016"/>
                  </a:lnTo>
                  <a:lnTo>
                    <a:pt x="596" y="1026"/>
                  </a:lnTo>
                  <a:lnTo>
                    <a:pt x="582" y="1035"/>
                  </a:lnTo>
                  <a:lnTo>
                    <a:pt x="570" y="1044"/>
                  </a:lnTo>
                  <a:lnTo>
                    <a:pt x="556" y="1053"/>
                  </a:lnTo>
                  <a:lnTo>
                    <a:pt x="542" y="1061"/>
                  </a:lnTo>
                  <a:lnTo>
                    <a:pt x="528" y="1068"/>
                  </a:lnTo>
                  <a:lnTo>
                    <a:pt x="513" y="1074"/>
                  </a:lnTo>
                  <a:lnTo>
                    <a:pt x="498" y="1080"/>
                  </a:lnTo>
                  <a:lnTo>
                    <a:pt x="483" y="1085"/>
                  </a:lnTo>
                  <a:lnTo>
                    <a:pt x="467" y="1089"/>
                  </a:lnTo>
                  <a:lnTo>
                    <a:pt x="451" y="1093"/>
                  </a:lnTo>
                  <a:lnTo>
                    <a:pt x="435" y="1096"/>
                  </a:lnTo>
                  <a:lnTo>
                    <a:pt x="419" y="1100"/>
                  </a:lnTo>
                  <a:lnTo>
                    <a:pt x="402" y="1101"/>
                  </a:lnTo>
                  <a:lnTo>
                    <a:pt x="386" y="1103"/>
                  </a:lnTo>
                  <a:lnTo>
                    <a:pt x="370" y="1103"/>
                  </a:lnTo>
                  <a:lnTo>
                    <a:pt x="370" y="1103"/>
                  </a:lnTo>
                  <a:lnTo>
                    <a:pt x="345" y="1102"/>
                  </a:lnTo>
                  <a:lnTo>
                    <a:pt x="323" y="1100"/>
                  </a:lnTo>
                  <a:lnTo>
                    <a:pt x="300" y="1096"/>
                  </a:lnTo>
                  <a:lnTo>
                    <a:pt x="280" y="1091"/>
                  </a:lnTo>
                  <a:lnTo>
                    <a:pt x="260" y="1086"/>
                  </a:lnTo>
                  <a:lnTo>
                    <a:pt x="241" y="1080"/>
                  </a:lnTo>
                  <a:lnTo>
                    <a:pt x="223" y="1073"/>
                  </a:lnTo>
                  <a:lnTo>
                    <a:pt x="206" y="1067"/>
                  </a:lnTo>
                  <a:lnTo>
                    <a:pt x="175" y="1053"/>
                  </a:lnTo>
                  <a:lnTo>
                    <a:pt x="147" y="1039"/>
                  </a:lnTo>
                  <a:lnTo>
                    <a:pt x="122" y="1028"/>
                  </a:lnTo>
                  <a:lnTo>
                    <a:pt x="111" y="1024"/>
                  </a:lnTo>
                  <a:lnTo>
                    <a:pt x="101" y="1022"/>
                  </a:lnTo>
                  <a:lnTo>
                    <a:pt x="101" y="1022"/>
                  </a:lnTo>
                  <a:lnTo>
                    <a:pt x="93" y="1028"/>
                  </a:lnTo>
                  <a:lnTo>
                    <a:pt x="85" y="1036"/>
                  </a:lnTo>
                  <a:lnTo>
                    <a:pt x="77" y="1044"/>
                  </a:lnTo>
                  <a:lnTo>
                    <a:pt x="71" y="1055"/>
                  </a:lnTo>
                  <a:lnTo>
                    <a:pt x="64" y="1065"/>
                  </a:lnTo>
                  <a:lnTo>
                    <a:pt x="59" y="1076"/>
                  </a:lnTo>
                  <a:lnTo>
                    <a:pt x="54" y="1089"/>
                  </a:lnTo>
                  <a:lnTo>
                    <a:pt x="51" y="1103"/>
                  </a:lnTo>
                  <a:lnTo>
                    <a:pt x="51" y="1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9" name="Freeform 17"/>
            <p:cNvSpPr>
              <a:spLocks/>
            </p:cNvSpPr>
            <p:nvPr userDrawn="1"/>
          </p:nvSpPr>
          <p:spPr bwMode="auto">
            <a:xfrm>
              <a:off x="8496546" y="633580"/>
              <a:ext cx="142875" cy="136525"/>
            </a:xfrm>
            <a:custGeom>
              <a:avLst/>
              <a:gdLst>
                <a:gd name="T0" fmla="*/ 1028 w 1078"/>
                <a:gd name="T1" fmla="*/ 244 h 1035"/>
                <a:gd name="T2" fmla="*/ 1020 w 1078"/>
                <a:gd name="T3" fmla="*/ 209 h 1035"/>
                <a:gd name="T4" fmla="*/ 1006 w 1078"/>
                <a:gd name="T5" fmla="*/ 163 h 1035"/>
                <a:gd name="T6" fmla="*/ 995 w 1078"/>
                <a:gd name="T7" fmla="*/ 138 h 1035"/>
                <a:gd name="T8" fmla="*/ 980 w 1078"/>
                <a:gd name="T9" fmla="*/ 118 h 1035"/>
                <a:gd name="T10" fmla="*/ 959 w 1078"/>
                <a:gd name="T11" fmla="*/ 101 h 1035"/>
                <a:gd name="T12" fmla="*/ 932 w 1078"/>
                <a:gd name="T13" fmla="*/ 90 h 1035"/>
                <a:gd name="T14" fmla="*/ 895 w 1078"/>
                <a:gd name="T15" fmla="*/ 82 h 1035"/>
                <a:gd name="T16" fmla="*/ 848 w 1078"/>
                <a:gd name="T17" fmla="*/ 78 h 1035"/>
                <a:gd name="T18" fmla="*/ 646 w 1078"/>
                <a:gd name="T19" fmla="*/ 78 h 1035"/>
                <a:gd name="T20" fmla="*/ 646 w 1078"/>
                <a:gd name="T21" fmla="*/ 783 h 1035"/>
                <a:gd name="T22" fmla="*/ 648 w 1078"/>
                <a:gd name="T23" fmla="*/ 842 h 1035"/>
                <a:gd name="T24" fmla="*/ 652 w 1078"/>
                <a:gd name="T25" fmla="*/ 888 h 1035"/>
                <a:gd name="T26" fmla="*/ 662 w 1078"/>
                <a:gd name="T27" fmla="*/ 923 h 1035"/>
                <a:gd name="T28" fmla="*/ 672 w 1078"/>
                <a:gd name="T29" fmla="*/ 943 h 1035"/>
                <a:gd name="T30" fmla="*/ 680 w 1078"/>
                <a:gd name="T31" fmla="*/ 954 h 1035"/>
                <a:gd name="T32" fmla="*/ 691 w 1078"/>
                <a:gd name="T33" fmla="*/ 963 h 1035"/>
                <a:gd name="T34" fmla="*/ 711 w 1078"/>
                <a:gd name="T35" fmla="*/ 973 h 1035"/>
                <a:gd name="T36" fmla="*/ 743 w 1078"/>
                <a:gd name="T37" fmla="*/ 982 h 1035"/>
                <a:gd name="T38" fmla="*/ 787 w 1078"/>
                <a:gd name="T39" fmla="*/ 985 h 1035"/>
                <a:gd name="T40" fmla="*/ 812 w 1078"/>
                <a:gd name="T41" fmla="*/ 1035 h 1035"/>
                <a:gd name="T42" fmla="*/ 267 w 1078"/>
                <a:gd name="T43" fmla="*/ 985 h 1035"/>
                <a:gd name="T44" fmla="*/ 293 w 1078"/>
                <a:gd name="T45" fmla="*/ 985 h 1035"/>
                <a:gd name="T46" fmla="*/ 335 w 1078"/>
                <a:gd name="T47" fmla="*/ 982 h 1035"/>
                <a:gd name="T48" fmla="*/ 369 w 1078"/>
                <a:gd name="T49" fmla="*/ 973 h 1035"/>
                <a:gd name="T50" fmla="*/ 388 w 1078"/>
                <a:gd name="T51" fmla="*/ 963 h 1035"/>
                <a:gd name="T52" fmla="*/ 399 w 1078"/>
                <a:gd name="T53" fmla="*/ 954 h 1035"/>
                <a:gd name="T54" fmla="*/ 407 w 1078"/>
                <a:gd name="T55" fmla="*/ 943 h 1035"/>
                <a:gd name="T56" fmla="*/ 417 w 1078"/>
                <a:gd name="T57" fmla="*/ 923 h 1035"/>
                <a:gd name="T58" fmla="*/ 425 w 1078"/>
                <a:gd name="T59" fmla="*/ 888 h 1035"/>
                <a:gd name="T60" fmla="*/ 430 w 1078"/>
                <a:gd name="T61" fmla="*/ 842 h 1035"/>
                <a:gd name="T62" fmla="*/ 432 w 1078"/>
                <a:gd name="T63" fmla="*/ 783 h 1035"/>
                <a:gd name="T64" fmla="*/ 259 w 1078"/>
                <a:gd name="T65" fmla="*/ 78 h 1035"/>
                <a:gd name="T66" fmla="*/ 231 w 1078"/>
                <a:gd name="T67" fmla="*/ 78 h 1035"/>
                <a:gd name="T68" fmla="*/ 184 w 1078"/>
                <a:gd name="T69" fmla="*/ 82 h 1035"/>
                <a:gd name="T70" fmla="*/ 147 w 1078"/>
                <a:gd name="T71" fmla="*/ 90 h 1035"/>
                <a:gd name="T72" fmla="*/ 120 w 1078"/>
                <a:gd name="T73" fmla="*/ 101 h 1035"/>
                <a:gd name="T74" fmla="*/ 99 w 1078"/>
                <a:gd name="T75" fmla="*/ 118 h 1035"/>
                <a:gd name="T76" fmla="*/ 85 w 1078"/>
                <a:gd name="T77" fmla="*/ 138 h 1035"/>
                <a:gd name="T78" fmla="*/ 74 w 1078"/>
                <a:gd name="T79" fmla="*/ 163 h 1035"/>
                <a:gd name="T80" fmla="*/ 60 w 1078"/>
                <a:gd name="T81" fmla="*/ 209 h 1035"/>
                <a:gd name="T82" fmla="*/ 0 w 1078"/>
                <a:gd name="T83" fmla="*/ 244 h 1035"/>
                <a:gd name="T84" fmla="*/ 1065 w 1078"/>
                <a:gd name="T85" fmla="*/ 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8" h="1035">
                  <a:moveTo>
                    <a:pt x="1078" y="244"/>
                  </a:moveTo>
                  <a:lnTo>
                    <a:pt x="1028" y="244"/>
                  </a:lnTo>
                  <a:lnTo>
                    <a:pt x="1020" y="209"/>
                  </a:lnTo>
                  <a:lnTo>
                    <a:pt x="1020" y="209"/>
                  </a:lnTo>
                  <a:lnTo>
                    <a:pt x="1011" y="177"/>
                  </a:lnTo>
                  <a:lnTo>
                    <a:pt x="1006" y="163"/>
                  </a:lnTo>
                  <a:lnTo>
                    <a:pt x="1001" y="150"/>
                  </a:lnTo>
                  <a:lnTo>
                    <a:pt x="995" y="138"/>
                  </a:lnTo>
                  <a:lnTo>
                    <a:pt x="988" y="127"/>
                  </a:lnTo>
                  <a:lnTo>
                    <a:pt x="980" y="118"/>
                  </a:lnTo>
                  <a:lnTo>
                    <a:pt x="970" y="109"/>
                  </a:lnTo>
                  <a:lnTo>
                    <a:pt x="959" y="101"/>
                  </a:lnTo>
                  <a:lnTo>
                    <a:pt x="947" y="95"/>
                  </a:lnTo>
                  <a:lnTo>
                    <a:pt x="932" y="90"/>
                  </a:lnTo>
                  <a:lnTo>
                    <a:pt x="914" y="85"/>
                  </a:lnTo>
                  <a:lnTo>
                    <a:pt x="895" y="82"/>
                  </a:lnTo>
                  <a:lnTo>
                    <a:pt x="872" y="80"/>
                  </a:lnTo>
                  <a:lnTo>
                    <a:pt x="848" y="78"/>
                  </a:lnTo>
                  <a:lnTo>
                    <a:pt x="819" y="78"/>
                  </a:lnTo>
                  <a:lnTo>
                    <a:pt x="646" y="78"/>
                  </a:lnTo>
                  <a:lnTo>
                    <a:pt x="646" y="783"/>
                  </a:lnTo>
                  <a:lnTo>
                    <a:pt x="646" y="783"/>
                  </a:lnTo>
                  <a:lnTo>
                    <a:pt x="647" y="814"/>
                  </a:lnTo>
                  <a:lnTo>
                    <a:pt x="648" y="842"/>
                  </a:lnTo>
                  <a:lnTo>
                    <a:pt x="649" y="866"/>
                  </a:lnTo>
                  <a:lnTo>
                    <a:pt x="652" y="888"/>
                  </a:lnTo>
                  <a:lnTo>
                    <a:pt x="657" y="906"/>
                  </a:lnTo>
                  <a:lnTo>
                    <a:pt x="662" y="923"/>
                  </a:lnTo>
                  <a:lnTo>
                    <a:pt x="668" y="937"/>
                  </a:lnTo>
                  <a:lnTo>
                    <a:pt x="672" y="943"/>
                  </a:lnTo>
                  <a:lnTo>
                    <a:pt x="676" y="949"/>
                  </a:lnTo>
                  <a:lnTo>
                    <a:pt x="680" y="954"/>
                  </a:lnTo>
                  <a:lnTo>
                    <a:pt x="685" y="958"/>
                  </a:lnTo>
                  <a:lnTo>
                    <a:pt x="691" y="963"/>
                  </a:lnTo>
                  <a:lnTo>
                    <a:pt x="697" y="966"/>
                  </a:lnTo>
                  <a:lnTo>
                    <a:pt x="711" y="973"/>
                  </a:lnTo>
                  <a:lnTo>
                    <a:pt x="726" y="978"/>
                  </a:lnTo>
                  <a:lnTo>
                    <a:pt x="743" y="982"/>
                  </a:lnTo>
                  <a:lnTo>
                    <a:pt x="764" y="984"/>
                  </a:lnTo>
                  <a:lnTo>
                    <a:pt x="787" y="985"/>
                  </a:lnTo>
                  <a:lnTo>
                    <a:pt x="812" y="985"/>
                  </a:lnTo>
                  <a:lnTo>
                    <a:pt x="812" y="1035"/>
                  </a:lnTo>
                  <a:lnTo>
                    <a:pt x="267" y="1035"/>
                  </a:lnTo>
                  <a:lnTo>
                    <a:pt x="267" y="985"/>
                  </a:lnTo>
                  <a:lnTo>
                    <a:pt x="267" y="985"/>
                  </a:lnTo>
                  <a:lnTo>
                    <a:pt x="293" y="985"/>
                  </a:lnTo>
                  <a:lnTo>
                    <a:pt x="315" y="984"/>
                  </a:lnTo>
                  <a:lnTo>
                    <a:pt x="335" y="982"/>
                  </a:lnTo>
                  <a:lnTo>
                    <a:pt x="353" y="978"/>
                  </a:lnTo>
                  <a:lnTo>
                    <a:pt x="369" y="973"/>
                  </a:lnTo>
                  <a:lnTo>
                    <a:pt x="383" y="966"/>
                  </a:lnTo>
                  <a:lnTo>
                    <a:pt x="388" y="963"/>
                  </a:lnTo>
                  <a:lnTo>
                    <a:pt x="394" y="958"/>
                  </a:lnTo>
                  <a:lnTo>
                    <a:pt x="399" y="954"/>
                  </a:lnTo>
                  <a:lnTo>
                    <a:pt x="403" y="949"/>
                  </a:lnTo>
                  <a:lnTo>
                    <a:pt x="407" y="943"/>
                  </a:lnTo>
                  <a:lnTo>
                    <a:pt x="411" y="937"/>
                  </a:lnTo>
                  <a:lnTo>
                    <a:pt x="417" y="923"/>
                  </a:lnTo>
                  <a:lnTo>
                    <a:pt x="422" y="906"/>
                  </a:lnTo>
                  <a:lnTo>
                    <a:pt x="425" y="888"/>
                  </a:lnTo>
                  <a:lnTo>
                    <a:pt x="429" y="866"/>
                  </a:lnTo>
                  <a:lnTo>
                    <a:pt x="430" y="842"/>
                  </a:lnTo>
                  <a:lnTo>
                    <a:pt x="431" y="814"/>
                  </a:lnTo>
                  <a:lnTo>
                    <a:pt x="432" y="783"/>
                  </a:lnTo>
                  <a:lnTo>
                    <a:pt x="432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31" y="78"/>
                  </a:lnTo>
                  <a:lnTo>
                    <a:pt x="206" y="80"/>
                  </a:lnTo>
                  <a:lnTo>
                    <a:pt x="184" y="82"/>
                  </a:lnTo>
                  <a:lnTo>
                    <a:pt x="165" y="85"/>
                  </a:lnTo>
                  <a:lnTo>
                    <a:pt x="147" y="90"/>
                  </a:lnTo>
                  <a:lnTo>
                    <a:pt x="133" y="95"/>
                  </a:lnTo>
                  <a:lnTo>
                    <a:pt x="120" y="101"/>
                  </a:lnTo>
                  <a:lnTo>
                    <a:pt x="110" y="109"/>
                  </a:lnTo>
                  <a:lnTo>
                    <a:pt x="99" y="118"/>
                  </a:lnTo>
                  <a:lnTo>
                    <a:pt x="91" y="127"/>
                  </a:lnTo>
                  <a:lnTo>
                    <a:pt x="85" y="138"/>
                  </a:lnTo>
                  <a:lnTo>
                    <a:pt x="79" y="150"/>
                  </a:lnTo>
                  <a:lnTo>
                    <a:pt x="74" y="163"/>
                  </a:lnTo>
                  <a:lnTo>
                    <a:pt x="69" y="177"/>
                  </a:lnTo>
                  <a:lnTo>
                    <a:pt x="60" y="209"/>
                  </a:lnTo>
                  <a:lnTo>
                    <a:pt x="51" y="244"/>
                  </a:lnTo>
                  <a:lnTo>
                    <a:pt x="0" y="244"/>
                  </a:lnTo>
                  <a:lnTo>
                    <a:pt x="15" y="0"/>
                  </a:lnTo>
                  <a:lnTo>
                    <a:pt x="1065" y="0"/>
                  </a:lnTo>
                  <a:lnTo>
                    <a:pt x="1078" y="2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0" name="Freeform 18"/>
            <p:cNvSpPr>
              <a:spLocks noEditPoints="1"/>
            </p:cNvSpPr>
            <p:nvPr userDrawn="1"/>
          </p:nvSpPr>
          <p:spPr bwMode="auto">
            <a:xfrm>
              <a:off x="8667995" y="630404"/>
              <a:ext cx="152400" cy="144463"/>
            </a:xfrm>
            <a:custGeom>
              <a:avLst/>
              <a:gdLst>
                <a:gd name="T0" fmla="*/ 487 w 1150"/>
                <a:gd name="T1" fmla="*/ 1087 h 1094"/>
                <a:gd name="T2" fmla="*/ 351 w 1150"/>
                <a:gd name="T3" fmla="*/ 1051 h 1094"/>
                <a:gd name="T4" fmla="*/ 231 w 1150"/>
                <a:gd name="T5" fmla="*/ 984 h 1094"/>
                <a:gd name="T6" fmla="*/ 131 w 1150"/>
                <a:gd name="T7" fmla="*/ 894 h 1094"/>
                <a:gd name="T8" fmla="*/ 56 w 1150"/>
                <a:gd name="T9" fmla="*/ 783 h 1094"/>
                <a:gd name="T10" fmla="*/ 11 w 1150"/>
                <a:gd name="T11" fmla="*/ 656 h 1094"/>
                <a:gd name="T12" fmla="*/ 0 w 1150"/>
                <a:gd name="T13" fmla="*/ 547 h 1094"/>
                <a:gd name="T14" fmla="*/ 17 w 1150"/>
                <a:gd name="T15" fmla="*/ 411 h 1094"/>
                <a:gd name="T16" fmla="*/ 69 w 1150"/>
                <a:gd name="T17" fmla="*/ 287 h 1094"/>
                <a:gd name="T18" fmla="*/ 149 w 1150"/>
                <a:gd name="T19" fmla="*/ 180 h 1094"/>
                <a:gd name="T20" fmla="*/ 253 w 1150"/>
                <a:gd name="T21" fmla="*/ 94 h 1094"/>
                <a:gd name="T22" fmla="*/ 378 w 1150"/>
                <a:gd name="T23" fmla="*/ 33 h 1094"/>
                <a:gd name="T24" fmla="*/ 517 w 1150"/>
                <a:gd name="T25" fmla="*/ 3 h 1094"/>
                <a:gd name="T26" fmla="*/ 634 w 1150"/>
                <a:gd name="T27" fmla="*/ 3 h 1094"/>
                <a:gd name="T28" fmla="*/ 773 w 1150"/>
                <a:gd name="T29" fmla="*/ 33 h 1094"/>
                <a:gd name="T30" fmla="*/ 895 w 1150"/>
                <a:gd name="T31" fmla="*/ 94 h 1094"/>
                <a:gd name="T32" fmla="*/ 1000 w 1150"/>
                <a:gd name="T33" fmla="*/ 180 h 1094"/>
                <a:gd name="T34" fmla="*/ 1080 w 1150"/>
                <a:gd name="T35" fmla="*/ 287 h 1094"/>
                <a:gd name="T36" fmla="*/ 1132 w 1150"/>
                <a:gd name="T37" fmla="*/ 411 h 1094"/>
                <a:gd name="T38" fmla="*/ 1150 w 1150"/>
                <a:gd name="T39" fmla="*/ 547 h 1094"/>
                <a:gd name="T40" fmla="*/ 1138 w 1150"/>
                <a:gd name="T41" fmla="*/ 656 h 1094"/>
                <a:gd name="T42" fmla="*/ 1093 w 1150"/>
                <a:gd name="T43" fmla="*/ 783 h 1094"/>
                <a:gd name="T44" fmla="*/ 1018 w 1150"/>
                <a:gd name="T45" fmla="*/ 894 h 1094"/>
                <a:gd name="T46" fmla="*/ 919 w 1150"/>
                <a:gd name="T47" fmla="*/ 984 h 1094"/>
                <a:gd name="T48" fmla="*/ 798 w 1150"/>
                <a:gd name="T49" fmla="*/ 1051 h 1094"/>
                <a:gd name="T50" fmla="*/ 662 w 1150"/>
                <a:gd name="T51" fmla="*/ 1087 h 1094"/>
                <a:gd name="T52" fmla="*/ 575 w 1150"/>
                <a:gd name="T53" fmla="*/ 82 h 1094"/>
                <a:gd name="T54" fmla="*/ 490 w 1150"/>
                <a:gd name="T55" fmla="*/ 94 h 1094"/>
                <a:gd name="T56" fmla="*/ 403 w 1150"/>
                <a:gd name="T57" fmla="*/ 137 h 1094"/>
                <a:gd name="T58" fmla="*/ 334 w 1150"/>
                <a:gd name="T59" fmla="*/ 204 h 1094"/>
                <a:gd name="T60" fmla="*/ 284 w 1150"/>
                <a:gd name="T61" fmla="*/ 290 h 1094"/>
                <a:gd name="T62" fmla="*/ 251 w 1150"/>
                <a:gd name="T63" fmla="*/ 386 h 1094"/>
                <a:gd name="T64" fmla="*/ 233 w 1150"/>
                <a:gd name="T65" fmla="*/ 507 h 1094"/>
                <a:gd name="T66" fmla="*/ 240 w 1150"/>
                <a:gd name="T67" fmla="*/ 647 h 1094"/>
                <a:gd name="T68" fmla="*/ 262 w 1150"/>
                <a:gd name="T69" fmla="*/ 747 h 1094"/>
                <a:gd name="T70" fmla="*/ 302 w 1150"/>
                <a:gd name="T71" fmla="*/ 840 h 1094"/>
                <a:gd name="T72" fmla="*/ 360 w 1150"/>
                <a:gd name="T73" fmla="*/ 919 h 1094"/>
                <a:gd name="T74" fmla="*/ 435 w 1150"/>
                <a:gd name="T75" fmla="*/ 977 h 1094"/>
                <a:gd name="T76" fmla="*/ 531 w 1150"/>
                <a:gd name="T77" fmla="*/ 1008 h 1094"/>
                <a:gd name="T78" fmla="*/ 619 w 1150"/>
                <a:gd name="T79" fmla="*/ 1008 h 1094"/>
                <a:gd name="T80" fmla="*/ 715 w 1150"/>
                <a:gd name="T81" fmla="*/ 977 h 1094"/>
                <a:gd name="T82" fmla="*/ 791 w 1150"/>
                <a:gd name="T83" fmla="*/ 919 h 1094"/>
                <a:gd name="T84" fmla="*/ 848 w 1150"/>
                <a:gd name="T85" fmla="*/ 840 h 1094"/>
                <a:gd name="T86" fmla="*/ 888 w 1150"/>
                <a:gd name="T87" fmla="*/ 747 h 1094"/>
                <a:gd name="T88" fmla="*/ 911 w 1150"/>
                <a:gd name="T89" fmla="*/ 647 h 1094"/>
                <a:gd name="T90" fmla="*/ 918 w 1150"/>
                <a:gd name="T91" fmla="*/ 507 h 1094"/>
                <a:gd name="T92" fmla="*/ 899 w 1150"/>
                <a:gd name="T93" fmla="*/ 386 h 1094"/>
                <a:gd name="T94" fmla="*/ 867 w 1150"/>
                <a:gd name="T95" fmla="*/ 290 h 1094"/>
                <a:gd name="T96" fmla="*/ 816 w 1150"/>
                <a:gd name="T97" fmla="*/ 204 h 1094"/>
                <a:gd name="T98" fmla="*/ 747 w 1150"/>
                <a:gd name="T99" fmla="*/ 137 h 1094"/>
                <a:gd name="T100" fmla="*/ 660 w 1150"/>
                <a:gd name="T101" fmla="*/ 94 h 1094"/>
                <a:gd name="T102" fmla="*/ 575 w 1150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0" h="1094">
                  <a:moveTo>
                    <a:pt x="575" y="1094"/>
                  </a:moveTo>
                  <a:lnTo>
                    <a:pt x="575" y="1094"/>
                  </a:lnTo>
                  <a:lnTo>
                    <a:pt x="546" y="1093"/>
                  </a:lnTo>
                  <a:lnTo>
                    <a:pt x="517" y="1091"/>
                  </a:lnTo>
                  <a:lnTo>
                    <a:pt x="487" y="1087"/>
                  </a:lnTo>
                  <a:lnTo>
                    <a:pt x="460" y="1082"/>
                  </a:lnTo>
                  <a:lnTo>
                    <a:pt x="431" y="1076"/>
                  </a:lnTo>
                  <a:lnTo>
                    <a:pt x="405" y="1069"/>
                  </a:lnTo>
                  <a:lnTo>
                    <a:pt x="378" y="1060"/>
                  </a:lnTo>
                  <a:lnTo>
                    <a:pt x="351" y="1051"/>
                  </a:lnTo>
                  <a:lnTo>
                    <a:pt x="326" y="1039"/>
                  </a:lnTo>
                  <a:lnTo>
                    <a:pt x="301" y="1027"/>
                  </a:lnTo>
                  <a:lnTo>
                    <a:pt x="277" y="1014"/>
                  </a:lnTo>
                  <a:lnTo>
                    <a:pt x="253" y="1000"/>
                  </a:lnTo>
                  <a:lnTo>
                    <a:pt x="231" y="984"/>
                  </a:lnTo>
                  <a:lnTo>
                    <a:pt x="209" y="968"/>
                  </a:lnTo>
                  <a:lnTo>
                    <a:pt x="188" y="950"/>
                  </a:lnTo>
                  <a:lnTo>
                    <a:pt x="168" y="933"/>
                  </a:lnTo>
                  <a:lnTo>
                    <a:pt x="149" y="914"/>
                  </a:lnTo>
                  <a:lnTo>
                    <a:pt x="131" y="894"/>
                  </a:lnTo>
                  <a:lnTo>
                    <a:pt x="114" y="873"/>
                  </a:lnTo>
                  <a:lnTo>
                    <a:pt x="98" y="851"/>
                  </a:lnTo>
                  <a:lnTo>
                    <a:pt x="82" y="830"/>
                  </a:lnTo>
                  <a:lnTo>
                    <a:pt x="69" y="806"/>
                  </a:lnTo>
                  <a:lnTo>
                    <a:pt x="56" y="783"/>
                  </a:lnTo>
                  <a:lnTo>
                    <a:pt x="45" y="758"/>
                  </a:lnTo>
                  <a:lnTo>
                    <a:pt x="34" y="734"/>
                  </a:lnTo>
                  <a:lnTo>
                    <a:pt x="25" y="708"/>
                  </a:lnTo>
                  <a:lnTo>
                    <a:pt x="17" y="683"/>
                  </a:lnTo>
                  <a:lnTo>
                    <a:pt x="11" y="656"/>
                  </a:lnTo>
                  <a:lnTo>
                    <a:pt x="6" y="629"/>
                  </a:lnTo>
                  <a:lnTo>
                    <a:pt x="2" y="602"/>
                  </a:lnTo>
                  <a:lnTo>
                    <a:pt x="0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519"/>
                  </a:lnTo>
                  <a:lnTo>
                    <a:pt x="2" y="491"/>
                  </a:lnTo>
                  <a:lnTo>
                    <a:pt x="6" y="464"/>
                  </a:lnTo>
                  <a:lnTo>
                    <a:pt x="11" y="437"/>
                  </a:lnTo>
                  <a:lnTo>
                    <a:pt x="17" y="411"/>
                  </a:lnTo>
                  <a:lnTo>
                    <a:pt x="25" y="385"/>
                  </a:lnTo>
                  <a:lnTo>
                    <a:pt x="34" y="360"/>
                  </a:lnTo>
                  <a:lnTo>
                    <a:pt x="45" y="335"/>
                  </a:lnTo>
                  <a:lnTo>
                    <a:pt x="56" y="310"/>
                  </a:lnTo>
                  <a:lnTo>
                    <a:pt x="69" y="287"/>
                  </a:lnTo>
                  <a:lnTo>
                    <a:pt x="82" y="264"/>
                  </a:lnTo>
                  <a:lnTo>
                    <a:pt x="98" y="242"/>
                  </a:lnTo>
                  <a:lnTo>
                    <a:pt x="114" y="220"/>
                  </a:lnTo>
                  <a:lnTo>
                    <a:pt x="131" y="200"/>
                  </a:lnTo>
                  <a:lnTo>
                    <a:pt x="149" y="180"/>
                  </a:lnTo>
                  <a:lnTo>
                    <a:pt x="168" y="161"/>
                  </a:lnTo>
                  <a:lnTo>
                    <a:pt x="188" y="143"/>
                  </a:lnTo>
                  <a:lnTo>
                    <a:pt x="209" y="125"/>
                  </a:lnTo>
                  <a:lnTo>
                    <a:pt x="231" y="109"/>
                  </a:lnTo>
                  <a:lnTo>
                    <a:pt x="253" y="94"/>
                  </a:lnTo>
                  <a:lnTo>
                    <a:pt x="277" y="79"/>
                  </a:lnTo>
                  <a:lnTo>
                    <a:pt x="301" y="66"/>
                  </a:lnTo>
                  <a:lnTo>
                    <a:pt x="326" y="54"/>
                  </a:lnTo>
                  <a:lnTo>
                    <a:pt x="351" y="44"/>
                  </a:lnTo>
                  <a:lnTo>
                    <a:pt x="378" y="33"/>
                  </a:lnTo>
                  <a:lnTo>
                    <a:pt x="405" y="24"/>
                  </a:lnTo>
                  <a:lnTo>
                    <a:pt x="431" y="17"/>
                  </a:lnTo>
                  <a:lnTo>
                    <a:pt x="460" y="11"/>
                  </a:lnTo>
                  <a:lnTo>
                    <a:pt x="487" y="6"/>
                  </a:lnTo>
                  <a:lnTo>
                    <a:pt x="517" y="3"/>
                  </a:lnTo>
                  <a:lnTo>
                    <a:pt x="546" y="1"/>
                  </a:lnTo>
                  <a:lnTo>
                    <a:pt x="575" y="0"/>
                  </a:lnTo>
                  <a:lnTo>
                    <a:pt x="575" y="0"/>
                  </a:lnTo>
                  <a:lnTo>
                    <a:pt x="605" y="1"/>
                  </a:lnTo>
                  <a:lnTo>
                    <a:pt x="634" y="3"/>
                  </a:lnTo>
                  <a:lnTo>
                    <a:pt x="662" y="6"/>
                  </a:lnTo>
                  <a:lnTo>
                    <a:pt x="691" y="11"/>
                  </a:lnTo>
                  <a:lnTo>
                    <a:pt x="719" y="17"/>
                  </a:lnTo>
                  <a:lnTo>
                    <a:pt x="746" y="24"/>
                  </a:lnTo>
                  <a:lnTo>
                    <a:pt x="773" y="33"/>
                  </a:lnTo>
                  <a:lnTo>
                    <a:pt x="798" y="44"/>
                  </a:lnTo>
                  <a:lnTo>
                    <a:pt x="824" y="54"/>
                  </a:lnTo>
                  <a:lnTo>
                    <a:pt x="848" y="66"/>
                  </a:lnTo>
                  <a:lnTo>
                    <a:pt x="873" y="79"/>
                  </a:lnTo>
                  <a:lnTo>
                    <a:pt x="895" y="94"/>
                  </a:lnTo>
                  <a:lnTo>
                    <a:pt x="919" y="109"/>
                  </a:lnTo>
                  <a:lnTo>
                    <a:pt x="940" y="125"/>
                  </a:lnTo>
                  <a:lnTo>
                    <a:pt x="961" y="143"/>
                  </a:lnTo>
                  <a:lnTo>
                    <a:pt x="981" y="161"/>
                  </a:lnTo>
                  <a:lnTo>
                    <a:pt x="1000" y="180"/>
                  </a:lnTo>
                  <a:lnTo>
                    <a:pt x="1018" y="200"/>
                  </a:lnTo>
                  <a:lnTo>
                    <a:pt x="1035" y="220"/>
                  </a:lnTo>
                  <a:lnTo>
                    <a:pt x="1052" y="242"/>
                  </a:lnTo>
                  <a:lnTo>
                    <a:pt x="1066" y="264"/>
                  </a:lnTo>
                  <a:lnTo>
                    <a:pt x="1080" y="287"/>
                  </a:lnTo>
                  <a:lnTo>
                    <a:pt x="1093" y="310"/>
                  </a:lnTo>
                  <a:lnTo>
                    <a:pt x="1104" y="335"/>
                  </a:lnTo>
                  <a:lnTo>
                    <a:pt x="1115" y="360"/>
                  </a:lnTo>
                  <a:lnTo>
                    <a:pt x="1123" y="385"/>
                  </a:lnTo>
                  <a:lnTo>
                    <a:pt x="1132" y="411"/>
                  </a:lnTo>
                  <a:lnTo>
                    <a:pt x="1138" y="437"/>
                  </a:lnTo>
                  <a:lnTo>
                    <a:pt x="1143" y="464"/>
                  </a:lnTo>
                  <a:lnTo>
                    <a:pt x="1147" y="491"/>
                  </a:lnTo>
                  <a:lnTo>
                    <a:pt x="1149" y="519"/>
                  </a:lnTo>
                  <a:lnTo>
                    <a:pt x="1150" y="547"/>
                  </a:lnTo>
                  <a:lnTo>
                    <a:pt x="1150" y="547"/>
                  </a:lnTo>
                  <a:lnTo>
                    <a:pt x="1149" y="574"/>
                  </a:lnTo>
                  <a:lnTo>
                    <a:pt x="1147" y="602"/>
                  </a:lnTo>
                  <a:lnTo>
                    <a:pt x="1143" y="629"/>
                  </a:lnTo>
                  <a:lnTo>
                    <a:pt x="1138" y="656"/>
                  </a:lnTo>
                  <a:lnTo>
                    <a:pt x="1132" y="683"/>
                  </a:lnTo>
                  <a:lnTo>
                    <a:pt x="1123" y="708"/>
                  </a:lnTo>
                  <a:lnTo>
                    <a:pt x="1115" y="734"/>
                  </a:lnTo>
                  <a:lnTo>
                    <a:pt x="1104" y="758"/>
                  </a:lnTo>
                  <a:lnTo>
                    <a:pt x="1093" y="783"/>
                  </a:lnTo>
                  <a:lnTo>
                    <a:pt x="1080" y="806"/>
                  </a:lnTo>
                  <a:lnTo>
                    <a:pt x="1066" y="830"/>
                  </a:lnTo>
                  <a:lnTo>
                    <a:pt x="1052" y="851"/>
                  </a:lnTo>
                  <a:lnTo>
                    <a:pt x="1035" y="873"/>
                  </a:lnTo>
                  <a:lnTo>
                    <a:pt x="1018" y="894"/>
                  </a:lnTo>
                  <a:lnTo>
                    <a:pt x="1000" y="914"/>
                  </a:lnTo>
                  <a:lnTo>
                    <a:pt x="981" y="933"/>
                  </a:lnTo>
                  <a:lnTo>
                    <a:pt x="961" y="950"/>
                  </a:lnTo>
                  <a:lnTo>
                    <a:pt x="940" y="968"/>
                  </a:lnTo>
                  <a:lnTo>
                    <a:pt x="919" y="984"/>
                  </a:lnTo>
                  <a:lnTo>
                    <a:pt x="895" y="1000"/>
                  </a:lnTo>
                  <a:lnTo>
                    <a:pt x="873" y="1014"/>
                  </a:lnTo>
                  <a:lnTo>
                    <a:pt x="848" y="1027"/>
                  </a:lnTo>
                  <a:lnTo>
                    <a:pt x="824" y="1039"/>
                  </a:lnTo>
                  <a:lnTo>
                    <a:pt x="798" y="1051"/>
                  </a:lnTo>
                  <a:lnTo>
                    <a:pt x="773" y="1060"/>
                  </a:lnTo>
                  <a:lnTo>
                    <a:pt x="746" y="1069"/>
                  </a:lnTo>
                  <a:lnTo>
                    <a:pt x="719" y="1076"/>
                  </a:lnTo>
                  <a:lnTo>
                    <a:pt x="691" y="1082"/>
                  </a:lnTo>
                  <a:lnTo>
                    <a:pt x="662" y="1087"/>
                  </a:lnTo>
                  <a:lnTo>
                    <a:pt x="634" y="1091"/>
                  </a:lnTo>
                  <a:lnTo>
                    <a:pt x="605" y="1093"/>
                  </a:lnTo>
                  <a:lnTo>
                    <a:pt x="575" y="1094"/>
                  </a:lnTo>
                  <a:lnTo>
                    <a:pt x="575" y="1094"/>
                  </a:lnTo>
                  <a:close/>
                  <a:moveTo>
                    <a:pt x="575" y="82"/>
                  </a:moveTo>
                  <a:lnTo>
                    <a:pt x="575" y="82"/>
                  </a:lnTo>
                  <a:lnTo>
                    <a:pt x="553" y="83"/>
                  </a:lnTo>
                  <a:lnTo>
                    <a:pt x="531" y="86"/>
                  </a:lnTo>
                  <a:lnTo>
                    <a:pt x="510" y="90"/>
                  </a:lnTo>
                  <a:lnTo>
                    <a:pt x="490" y="94"/>
                  </a:lnTo>
                  <a:lnTo>
                    <a:pt x="471" y="100"/>
                  </a:lnTo>
                  <a:lnTo>
                    <a:pt x="453" y="108"/>
                  </a:lnTo>
                  <a:lnTo>
                    <a:pt x="435" y="116"/>
                  </a:lnTo>
                  <a:lnTo>
                    <a:pt x="419" y="125"/>
                  </a:lnTo>
                  <a:lnTo>
                    <a:pt x="403" y="137"/>
                  </a:lnTo>
                  <a:lnTo>
                    <a:pt x="387" y="148"/>
                  </a:lnTo>
                  <a:lnTo>
                    <a:pt x="373" y="161"/>
                  </a:lnTo>
                  <a:lnTo>
                    <a:pt x="360" y="174"/>
                  </a:lnTo>
                  <a:lnTo>
                    <a:pt x="346" y="189"/>
                  </a:lnTo>
                  <a:lnTo>
                    <a:pt x="334" y="204"/>
                  </a:lnTo>
                  <a:lnTo>
                    <a:pt x="323" y="219"/>
                  </a:lnTo>
                  <a:lnTo>
                    <a:pt x="312" y="237"/>
                  </a:lnTo>
                  <a:lnTo>
                    <a:pt x="302" y="253"/>
                  </a:lnTo>
                  <a:lnTo>
                    <a:pt x="292" y="272"/>
                  </a:lnTo>
                  <a:lnTo>
                    <a:pt x="284" y="290"/>
                  </a:lnTo>
                  <a:lnTo>
                    <a:pt x="276" y="308"/>
                  </a:lnTo>
                  <a:lnTo>
                    <a:pt x="269" y="327"/>
                  </a:lnTo>
                  <a:lnTo>
                    <a:pt x="262" y="346"/>
                  </a:lnTo>
                  <a:lnTo>
                    <a:pt x="256" y="367"/>
                  </a:lnTo>
                  <a:lnTo>
                    <a:pt x="251" y="386"/>
                  </a:lnTo>
                  <a:lnTo>
                    <a:pt x="247" y="407"/>
                  </a:lnTo>
                  <a:lnTo>
                    <a:pt x="243" y="426"/>
                  </a:lnTo>
                  <a:lnTo>
                    <a:pt x="240" y="446"/>
                  </a:lnTo>
                  <a:lnTo>
                    <a:pt x="237" y="467"/>
                  </a:lnTo>
                  <a:lnTo>
                    <a:pt x="233" y="507"/>
                  </a:lnTo>
                  <a:lnTo>
                    <a:pt x="232" y="547"/>
                  </a:lnTo>
                  <a:lnTo>
                    <a:pt x="232" y="547"/>
                  </a:lnTo>
                  <a:lnTo>
                    <a:pt x="233" y="587"/>
                  </a:lnTo>
                  <a:lnTo>
                    <a:pt x="237" y="626"/>
                  </a:lnTo>
                  <a:lnTo>
                    <a:pt x="240" y="647"/>
                  </a:lnTo>
                  <a:lnTo>
                    <a:pt x="243" y="667"/>
                  </a:lnTo>
                  <a:lnTo>
                    <a:pt x="247" y="687"/>
                  </a:lnTo>
                  <a:lnTo>
                    <a:pt x="251" y="707"/>
                  </a:lnTo>
                  <a:lnTo>
                    <a:pt x="256" y="728"/>
                  </a:lnTo>
                  <a:lnTo>
                    <a:pt x="262" y="747"/>
                  </a:lnTo>
                  <a:lnTo>
                    <a:pt x="269" y="766"/>
                  </a:lnTo>
                  <a:lnTo>
                    <a:pt x="276" y="785"/>
                  </a:lnTo>
                  <a:lnTo>
                    <a:pt x="284" y="804"/>
                  </a:lnTo>
                  <a:lnTo>
                    <a:pt x="292" y="822"/>
                  </a:lnTo>
                  <a:lnTo>
                    <a:pt x="302" y="840"/>
                  </a:lnTo>
                  <a:lnTo>
                    <a:pt x="312" y="857"/>
                  </a:lnTo>
                  <a:lnTo>
                    <a:pt x="323" y="874"/>
                  </a:lnTo>
                  <a:lnTo>
                    <a:pt x="334" y="889"/>
                  </a:lnTo>
                  <a:lnTo>
                    <a:pt x="346" y="904"/>
                  </a:lnTo>
                  <a:lnTo>
                    <a:pt x="360" y="919"/>
                  </a:lnTo>
                  <a:lnTo>
                    <a:pt x="373" y="932"/>
                  </a:lnTo>
                  <a:lnTo>
                    <a:pt x="387" y="945"/>
                  </a:lnTo>
                  <a:lnTo>
                    <a:pt x="403" y="957"/>
                  </a:lnTo>
                  <a:lnTo>
                    <a:pt x="419" y="968"/>
                  </a:lnTo>
                  <a:lnTo>
                    <a:pt x="435" y="977"/>
                  </a:lnTo>
                  <a:lnTo>
                    <a:pt x="453" y="986"/>
                  </a:lnTo>
                  <a:lnTo>
                    <a:pt x="471" y="993"/>
                  </a:lnTo>
                  <a:lnTo>
                    <a:pt x="490" y="1000"/>
                  </a:lnTo>
                  <a:lnTo>
                    <a:pt x="510" y="1005"/>
                  </a:lnTo>
                  <a:lnTo>
                    <a:pt x="531" y="1008"/>
                  </a:lnTo>
                  <a:lnTo>
                    <a:pt x="553" y="1010"/>
                  </a:lnTo>
                  <a:lnTo>
                    <a:pt x="575" y="1011"/>
                  </a:lnTo>
                  <a:lnTo>
                    <a:pt x="575" y="1011"/>
                  </a:lnTo>
                  <a:lnTo>
                    <a:pt x="598" y="1010"/>
                  </a:lnTo>
                  <a:lnTo>
                    <a:pt x="619" y="1008"/>
                  </a:lnTo>
                  <a:lnTo>
                    <a:pt x="640" y="1005"/>
                  </a:lnTo>
                  <a:lnTo>
                    <a:pt x="660" y="1000"/>
                  </a:lnTo>
                  <a:lnTo>
                    <a:pt x="679" y="993"/>
                  </a:lnTo>
                  <a:lnTo>
                    <a:pt x="697" y="986"/>
                  </a:lnTo>
                  <a:lnTo>
                    <a:pt x="715" y="977"/>
                  </a:lnTo>
                  <a:lnTo>
                    <a:pt x="732" y="968"/>
                  </a:lnTo>
                  <a:lnTo>
                    <a:pt x="747" y="957"/>
                  </a:lnTo>
                  <a:lnTo>
                    <a:pt x="762" y="945"/>
                  </a:lnTo>
                  <a:lnTo>
                    <a:pt x="777" y="932"/>
                  </a:lnTo>
                  <a:lnTo>
                    <a:pt x="791" y="919"/>
                  </a:lnTo>
                  <a:lnTo>
                    <a:pt x="803" y="904"/>
                  </a:lnTo>
                  <a:lnTo>
                    <a:pt x="816" y="889"/>
                  </a:lnTo>
                  <a:lnTo>
                    <a:pt x="828" y="874"/>
                  </a:lnTo>
                  <a:lnTo>
                    <a:pt x="838" y="857"/>
                  </a:lnTo>
                  <a:lnTo>
                    <a:pt x="848" y="840"/>
                  </a:lnTo>
                  <a:lnTo>
                    <a:pt x="858" y="822"/>
                  </a:lnTo>
                  <a:lnTo>
                    <a:pt x="867" y="804"/>
                  </a:lnTo>
                  <a:lnTo>
                    <a:pt x="874" y="785"/>
                  </a:lnTo>
                  <a:lnTo>
                    <a:pt x="881" y="766"/>
                  </a:lnTo>
                  <a:lnTo>
                    <a:pt x="888" y="747"/>
                  </a:lnTo>
                  <a:lnTo>
                    <a:pt x="894" y="728"/>
                  </a:lnTo>
                  <a:lnTo>
                    <a:pt x="899" y="707"/>
                  </a:lnTo>
                  <a:lnTo>
                    <a:pt x="904" y="687"/>
                  </a:lnTo>
                  <a:lnTo>
                    <a:pt x="908" y="667"/>
                  </a:lnTo>
                  <a:lnTo>
                    <a:pt x="911" y="647"/>
                  </a:lnTo>
                  <a:lnTo>
                    <a:pt x="914" y="626"/>
                  </a:lnTo>
                  <a:lnTo>
                    <a:pt x="918" y="58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8" y="507"/>
                  </a:lnTo>
                  <a:lnTo>
                    <a:pt x="914" y="467"/>
                  </a:lnTo>
                  <a:lnTo>
                    <a:pt x="911" y="446"/>
                  </a:lnTo>
                  <a:lnTo>
                    <a:pt x="908" y="426"/>
                  </a:lnTo>
                  <a:lnTo>
                    <a:pt x="904" y="407"/>
                  </a:lnTo>
                  <a:lnTo>
                    <a:pt x="899" y="386"/>
                  </a:lnTo>
                  <a:lnTo>
                    <a:pt x="894" y="367"/>
                  </a:lnTo>
                  <a:lnTo>
                    <a:pt x="888" y="346"/>
                  </a:lnTo>
                  <a:lnTo>
                    <a:pt x="881" y="327"/>
                  </a:lnTo>
                  <a:lnTo>
                    <a:pt x="874" y="308"/>
                  </a:lnTo>
                  <a:lnTo>
                    <a:pt x="867" y="290"/>
                  </a:lnTo>
                  <a:lnTo>
                    <a:pt x="858" y="272"/>
                  </a:lnTo>
                  <a:lnTo>
                    <a:pt x="848" y="253"/>
                  </a:lnTo>
                  <a:lnTo>
                    <a:pt x="838" y="237"/>
                  </a:lnTo>
                  <a:lnTo>
                    <a:pt x="828" y="219"/>
                  </a:lnTo>
                  <a:lnTo>
                    <a:pt x="816" y="204"/>
                  </a:lnTo>
                  <a:lnTo>
                    <a:pt x="803" y="189"/>
                  </a:lnTo>
                  <a:lnTo>
                    <a:pt x="791" y="174"/>
                  </a:lnTo>
                  <a:lnTo>
                    <a:pt x="777" y="161"/>
                  </a:lnTo>
                  <a:lnTo>
                    <a:pt x="762" y="148"/>
                  </a:lnTo>
                  <a:lnTo>
                    <a:pt x="747" y="137"/>
                  </a:lnTo>
                  <a:lnTo>
                    <a:pt x="732" y="125"/>
                  </a:lnTo>
                  <a:lnTo>
                    <a:pt x="715" y="116"/>
                  </a:lnTo>
                  <a:lnTo>
                    <a:pt x="697" y="108"/>
                  </a:lnTo>
                  <a:lnTo>
                    <a:pt x="679" y="100"/>
                  </a:lnTo>
                  <a:lnTo>
                    <a:pt x="660" y="94"/>
                  </a:lnTo>
                  <a:lnTo>
                    <a:pt x="640" y="90"/>
                  </a:lnTo>
                  <a:lnTo>
                    <a:pt x="619" y="86"/>
                  </a:lnTo>
                  <a:lnTo>
                    <a:pt x="598" y="83"/>
                  </a:lnTo>
                  <a:lnTo>
                    <a:pt x="575" y="82"/>
                  </a:lnTo>
                  <a:lnTo>
                    <a:pt x="575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auto">
            <a:xfrm>
              <a:off x="6593134" y="893930"/>
              <a:ext cx="90489" cy="144463"/>
            </a:xfrm>
            <a:custGeom>
              <a:avLst/>
              <a:gdLst>
                <a:gd name="T0" fmla="*/ 38 w 683"/>
                <a:gd name="T1" fmla="*/ 752 h 1102"/>
                <a:gd name="T2" fmla="*/ 64 w 683"/>
                <a:gd name="T3" fmla="*/ 849 h 1102"/>
                <a:gd name="T4" fmla="*/ 104 w 683"/>
                <a:gd name="T5" fmla="*/ 921 h 1102"/>
                <a:gd name="T6" fmla="*/ 171 w 683"/>
                <a:gd name="T7" fmla="*/ 985 h 1102"/>
                <a:gd name="T8" fmla="*/ 273 w 683"/>
                <a:gd name="T9" fmla="*/ 1026 h 1102"/>
                <a:gd name="T10" fmla="*/ 377 w 683"/>
                <a:gd name="T11" fmla="*/ 1032 h 1102"/>
                <a:gd name="T12" fmla="*/ 476 w 683"/>
                <a:gd name="T13" fmla="*/ 1002 h 1102"/>
                <a:gd name="T14" fmla="*/ 544 w 683"/>
                <a:gd name="T15" fmla="*/ 937 h 1102"/>
                <a:gd name="T16" fmla="*/ 570 w 683"/>
                <a:gd name="T17" fmla="*/ 844 h 1102"/>
                <a:gd name="T18" fmla="*/ 556 w 683"/>
                <a:gd name="T19" fmla="*/ 787 h 1102"/>
                <a:gd name="T20" fmla="*/ 501 w 683"/>
                <a:gd name="T21" fmla="*/ 720 h 1102"/>
                <a:gd name="T22" fmla="*/ 413 w 683"/>
                <a:gd name="T23" fmla="*/ 659 h 1102"/>
                <a:gd name="T24" fmla="*/ 168 w 683"/>
                <a:gd name="T25" fmla="*/ 529 h 1102"/>
                <a:gd name="T26" fmla="*/ 86 w 683"/>
                <a:gd name="T27" fmla="*/ 455 h 1102"/>
                <a:gd name="T28" fmla="*/ 30 w 683"/>
                <a:gd name="T29" fmla="*/ 358 h 1102"/>
                <a:gd name="T30" fmla="*/ 14 w 683"/>
                <a:gd name="T31" fmla="*/ 265 h 1102"/>
                <a:gd name="T32" fmla="*/ 23 w 683"/>
                <a:gd name="T33" fmla="*/ 201 h 1102"/>
                <a:gd name="T34" fmla="*/ 46 w 683"/>
                <a:gd name="T35" fmla="*/ 142 h 1102"/>
                <a:gd name="T36" fmla="*/ 85 w 683"/>
                <a:gd name="T37" fmla="*/ 92 h 1102"/>
                <a:gd name="T38" fmla="*/ 136 w 683"/>
                <a:gd name="T39" fmla="*/ 52 h 1102"/>
                <a:gd name="T40" fmla="*/ 199 w 683"/>
                <a:gd name="T41" fmla="*/ 24 h 1102"/>
                <a:gd name="T42" fmla="*/ 269 w 683"/>
                <a:gd name="T43" fmla="*/ 9 h 1102"/>
                <a:gd name="T44" fmla="*/ 337 w 683"/>
                <a:gd name="T45" fmla="*/ 10 h 1102"/>
                <a:gd name="T46" fmla="*/ 411 w 683"/>
                <a:gd name="T47" fmla="*/ 25 h 1102"/>
                <a:gd name="T48" fmla="*/ 511 w 683"/>
                <a:gd name="T49" fmla="*/ 79 h 1102"/>
                <a:gd name="T50" fmla="*/ 540 w 683"/>
                <a:gd name="T51" fmla="*/ 46 h 1102"/>
                <a:gd name="T52" fmla="*/ 595 w 683"/>
                <a:gd name="T53" fmla="*/ 0 h 1102"/>
                <a:gd name="T54" fmla="*/ 553 w 683"/>
                <a:gd name="T55" fmla="*/ 326 h 1102"/>
                <a:gd name="T56" fmla="*/ 512 w 683"/>
                <a:gd name="T57" fmla="*/ 200 h 1102"/>
                <a:gd name="T58" fmla="*/ 473 w 683"/>
                <a:gd name="T59" fmla="*/ 145 h 1102"/>
                <a:gd name="T60" fmla="*/ 420 w 683"/>
                <a:gd name="T61" fmla="*/ 106 h 1102"/>
                <a:gd name="T62" fmla="*/ 348 w 683"/>
                <a:gd name="T63" fmla="*/ 82 h 1102"/>
                <a:gd name="T64" fmla="*/ 277 w 683"/>
                <a:gd name="T65" fmla="*/ 78 h 1102"/>
                <a:gd name="T66" fmla="*/ 200 w 683"/>
                <a:gd name="T67" fmla="*/ 104 h 1102"/>
                <a:gd name="T68" fmla="*/ 148 w 683"/>
                <a:gd name="T69" fmla="*/ 158 h 1102"/>
                <a:gd name="T70" fmla="*/ 128 w 683"/>
                <a:gd name="T71" fmla="*/ 231 h 1102"/>
                <a:gd name="T72" fmla="*/ 139 w 683"/>
                <a:gd name="T73" fmla="*/ 292 h 1102"/>
                <a:gd name="T74" fmla="*/ 191 w 683"/>
                <a:gd name="T75" fmla="*/ 355 h 1102"/>
                <a:gd name="T76" fmla="*/ 287 w 683"/>
                <a:gd name="T77" fmla="*/ 417 h 1102"/>
                <a:gd name="T78" fmla="*/ 548 w 683"/>
                <a:gd name="T79" fmla="*/ 556 h 1102"/>
                <a:gd name="T80" fmla="*/ 631 w 683"/>
                <a:gd name="T81" fmla="*/ 633 h 1102"/>
                <a:gd name="T82" fmla="*/ 674 w 683"/>
                <a:gd name="T83" fmla="*/ 720 h 1102"/>
                <a:gd name="T84" fmla="*/ 683 w 683"/>
                <a:gd name="T85" fmla="*/ 792 h 1102"/>
                <a:gd name="T86" fmla="*/ 673 w 683"/>
                <a:gd name="T87" fmla="*/ 874 h 1102"/>
                <a:gd name="T88" fmla="*/ 643 w 683"/>
                <a:gd name="T89" fmla="*/ 947 h 1102"/>
                <a:gd name="T90" fmla="*/ 597 w 683"/>
                <a:gd name="T91" fmla="*/ 1007 h 1102"/>
                <a:gd name="T92" fmla="*/ 536 w 683"/>
                <a:gd name="T93" fmla="*/ 1053 h 1102"/>
                <a:gd name="T94" fmla="*/ 466 w 683"/>
                <a:gd name="T95" fmla="*/ 1085 h 1102"/>
                <a:gd name="T96" fmla="*/ 387 w 683"/>
                <a:gd name="T97" fmla="*/ 1100 h 1102"/>
                <a:gd name="T98" fmla="*/ 307 w 683"/>
                <a:gd name="T99" fmla="*/ 1099 h 1102"/>
                <a:gd name="T100" fmla="*/ 208 w 683"/>
                <a:gd name="T101" fmla="*/ 1073 h 1102"/>
                <a:gd name="T102" fmla="*/ 95 w 683"/>
                <a:gd name="T103" fmla="*/ 1024 h 1102"/>
                <a:gd name="T104" fmla="*/ 62 w 683"/>
                <a:gd name="T105" fmla="*/ 1044 h 1102"/>
                <a:gd name="T106" fmla="*/ 35 w 683"/>
                <a:gd name="T107" fmla="*/ 110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3" h="1102">
                  <a:moveTo>
                    <a:pt x="0" y="723"/>
                  </a:moveTo>
                  <a:lnTo>
                    <a:pt x="36" y="723"/>
                  </a:lnTo>
                  <a:lnTo>
                    <a:pt x="36" y="723"/>
                  </a:lnTo>
                  <a:lnTo>
                    <a:pt x="37" y="736"/>
                  </a:lnTo>
                  <a:lnTo>
                    <a:pt x="38" y="752"/>
                  </a:lnTo>
                  <a:lnTo>
                    <a:pt x="41" y="771"/>
                  </a:lnTo>
                  <a:lnTo>
                    <a:pt x="46" y="795"/>
                  </a:lnTo>
                  <a:lnTo>
                    <a:pt x="54" y="821"/>
                  </a:lnTo>
                  <a:lnTo>
                    <a:pt x="59" y="835"/>
                  </a:lnTo>
                  <a:lnTo>
                    <a:pt x="64" y="849"/>
                  </a:lnTo>
                  <a:lnTo>
                    <a:pt x="70" y="863"/>
                  </a:lnTo>
                  <a:lnTo>
                    <a:pt x="77" y="878"/>
                  </a:lnTo>
                  <a:lnTo>
                    <a:pt x="84" y="893"/>
                  </a:lnTo>
                  <a:lnTo>
                    <a:pt x="93" y="907"/>
                  </a:lnTo>
                  <a:lnTo>
                    <a:pt x="104" y="921"/>
                  </a:lnTo>
                  <a:lnTo>
                    <a:pt x="115" y="935"/>
                  </a:lnTo>
                  <a:lnTo>
                    <a:pt x="127" y="948"/>
                  </a:lnTo>
                  <a:lnTo>
                    <a:pt x="140" y="961"/>
                  </a:lnTo>
                  <a:lnTo>
                    <a:pt x="155" y="974"/>
                  </a:lnTo>
                  <a:lnTo>
                    <a:pt x="171" y="985"/>
                  </a:lnTo>
                  <a:lnTo>
                    <a:pt x="189" y="995"/>
                  </a:lnTo>
                  <a:lnTo>
                    <a:pt x="207" y="1004"/>
                  </a:lnTo>
                  <a:lnTo>
                    <a:pt x="227" y="1012"/>
                  </a:lnTo>
                  <a:lnTo>
                    <a:pt x="250" y="1020"/>
                  </a:lnTo>
                  <a:lnTo>
                    <a:pt x="273" y="1026"/>
                  </a:lnTo>
                  <a:lnTo>
                    <a:pt x="298" y="1030"/>
                  </a:lnTo>
                  <a:lnTo>
                    <a:pt x="326" y="1032"/>
                  </a:lnTo>
                  <a:lnTo>
                    <a:pt x="354" y="1033"/>
                  </a:lnTo>
                  <a:lnTo>
                    <a:pt x="354" y="1033"/>
                  </a:lnTo>
                  <a:lnTo>
                    <a:pt x="377" y="1032"/>
                  </a:lnTo>
                  <a:lnTo>
                    <a:pt x="398" y="1030"/>
                  </a:lnTo>
                  <a:lnTo>
                    <a:pt x="420" y="1025"/>
                  </a:lnTo>
                  <a:lnTo>
                    <a:pt x="439" y="1019"/>
                  </a:lnTo>
                  <a:lnTo>
                    <a:pt x="458" y="1011"/>
                  </a:lnTo>
                  <a:lnTo>
                    <a:pt x="476" y="1002"/>
                  </a:lnTo>
                  <a:lnTo>
                    <a:pt x="492" y="992"/>
                  </a:lnTo>
                  <a:lnTo>
                    <a:pt x="508" y="980"/>
                  </a:lnTo>
                  <a:lnTo>
                    <a:pt x="522" y="966"/>
                  </a:lnTo>
                  <a:lnTo>
                    <a:pt x="533" y="952"/>
                  </a:lnTo>
                  <a:lnTo>
                    <a:pt x="544" y="937"/>
                  </a:lnTo>
                  <a:lnTo>
                    <a:pt x="553" y="919"/>
                  </a:lnTo>
                  <a:lnTo>
                    <a:pt x="560" y="902"/>
                  </a:lnTo>
                  <a:lnTo>
                    <a:pt x="565" y="884"/>
                  </a:lnTo>
                  <a:lnTo>
                    <a:pt x="569" y="864"/>
                  </a:lnTo>
                  <a:lnTo>
                    <a:pt x="570" y="844"/>
                  </a:lnTo>
                  <a:lnTo>
                    <a:pt x="570" y="844"/>
                  </a:lnTo>
                  <a:lnTo>
                    <a:pt x="569" y="828"/>
                  </a:lnTo>
                  <a:lnTo>
                    <a:pt x="566" y="814"/>
                  </a:lnTo>
                  <a:lnTo>
                    <a:pt x="562" y="800"/>
                  </a:lnTo>
                  <a:lnTo>
                    <a:pt x="556" y="787"/>
                  </a:lnTo>
                  <a:lnTo>
                    <a:pt x="547" y="772"/>
                  </a:lnTo>
                  <a:lnTo>
                    <a:pt x="538" y="759"/>
                  </a:lnTo>
                  <a:lnTo>
                    <a:pt x="527" y="746"/>
                  </a:lnTo>
                  <a:lnTo>
                    <a:pt x="515" y="732"/>
                  </a:lnTo>
                  <a:lnTo>
                    <a:pt x="501" y="720"/>
                  </a:lnTo>
                  <a:lnTo>
                    <a:pt x="486" y="707"/>
                  </a:lnTo>
                  <a:lnTo>
                    <a:pt x="470" y="695"/>
                  </a:lnTo>
                  <a:lnTo>
                    <a:pt x="452" y="682"/>
                  </a:lnTo>
                  <a:lnTo>
                    <a:pt x="434" y="670"/>
                  </a:lnTo>
                  <a:lnTo>
                    <a:pt x="413" y="659"/>
                  </a:lnTo>
                  <a:lnTo>
                    <a:pt x="372" y="634"/>
                  </a:lnTo>
                  <a:lnTo>
                    <a:pt x="206" y="550"/>
                  </a:lnTo>
                  <a:lnTo>
                    <a:pt x="206" y="550"/>
                  </a:lnTo>
                  <a:lnTo>
                    <a:pt x="186" y="540"/>
                  </a:lnTo>
                  <a:lnTo>
                    <a:pt x="168" y="529"/>
                  </a:lnTo>
                  <a:lnTo>
                    <a:pt x="151" y="516"/>
                  </a:lnTo>
                  <a:lnTo>
                    <a:pt x="133" y="502"/>
                  </a:lnTo>
                  <a:lnTo>
                    <a:pt x="117" y="488"/>
                  </a:lnTo>
                  <a:lnTo>
                    <a:pt x="101" y="472"/>
                  </a:lnTo>
                  <a:lnTo>
                    <a:pt x="86" y="455"/>
                  </a:lnTo>
                  <a:lnTo>
                    <a:pt x="72" y="438"/>
                  </a:lnTo>
                  <a:lnTo>
                    <a:pt x="60" y="419"/>
                  </a:lnTo>
                  <a:lnTo>
                    <a:pt x="48" y="400"/>
                  </a:lnTo>
                  <a:lnTo>
                    <a:pt x="38" y="380"/>
                  </a:lnTo>
                  <a:lnTo>
                    <a:pt x="30" y="358"/>
                  </a:lnTo>
                  <a:lnTo>
                    <a:pt x="23" y="336"/>
                  </a:lnTo>
                  <a:lnTo>
                    <a:pt x="18" y="313"/>
                  </a:lnTo>
                  <a:lnTo>
                    <a:pt x="15" y="290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5" y="252"/>
                  </a:lnTo>
                  <a:lnTo>
                    <a:pt x="16" y="240"/>
                  </a:lnTo>
                  <a:lnTo>
                    <a:pt x="17" y="226"/>
                  </a:lnTo>
                  <a:lnTo>
                    <a:pt x="20" y="213"/>
                  </a:lnTo>
                  <a:lnTo>
                    <a:pt x="23" y="201"/>
                  </a:lnTo>
                  <a:lnTo>
                    <a:pt x="26" y="188"/>
                  </a:lnTo>
                  <a:lnTo>
                    <a:pt x="30" y="177"/>
                  </a:lnTo>
                  <a:lnTo>
                    <a:pt x="35" y="165"/>
                  </a:lnTo>
                  <a:lnTo>
                    <a:pt x="40" y="154"/>
                  </a:lnTo>
                  <a:lnTo>
                    <a:pt x="46" y="142"/>
                  </a:lnTo>
                  <a:lnTo>
                    <a:pt x="54" y="132"/>
                  </a:lnTo>
                  <a:lnTo>
                    <a:pt x="61" y="121"/>
                  </a:lnTo>
                  <a:lnTo>
                    <a:pt x="68" y="112"/>
                  </a:lnTo>
                  <a:lnTo>
                    <a:pt x="76" y="101"/>
                  </a:lnTo>
                  <a:lnTo>
                    <a:pt x="85" y="92"/>
                  </a:lnTo>
                  <a:lnTo>
                    <a:pt x="94" y="83"/>
                  </a:lnTo>
                  <a:lnTo>
                    <a:pt x="105" y="75"/>
                  </a:lnTo>
                  <a:lnTo>
                    <a:pt x="115" y="67"/>
                  </a:lnTo>
                  <a:lnTo>
                    <a:pt x="125" y="60"/>
                  </a:lnTo>
                  <a:lnTo>
                    <a:pt x="136" y="52"/>
                  </a:lnTo>
                  <a:lnTo>
                    <a:pt x="148" y="45"/>
                  </a:lnTo>
                  <a:lnTo>
                    <a:pt x="160" y="39"/>
                  </a:lnTo>
                  <a:lnTo>
                    <a:pt x="172" y="34"/>
                  </a:lnTo>
                  <a:lnTo>
                    <a:pt x="185" y="29"/>
                  </a:lnTo>
                  <a:lnTo>
                    <a:pt x="199" y="24"/>
                  </a:lnTo>
                  <a:lnTo>
                    <a:pt x="212" y="20"/>
                  </a:lnTo>
                  <a:lnTo>
                    <a:pt x="225" y="17"/>
                  </a:lnTo>
                  <a:lnTo>
                    <a:pt x="240" y="14"/>
                  </a:lnTo>
                  <a:lnTo>
                    <a:pt x="255" y="12"/>
                  </a:lnTo>
                  <a:lnTo>
                    <a:pt x="269" y="9"/>
                  </a:lnTo>
                  <a:lnTo>
                    <a:pt x="285" y="8"/>
                  </a:lnTo>
                  <a:lnTo>
                    <a:pt x="300" y="8"/>
                  </a:lnTo>
                  <a:lnTo>
                    <a:pt x="300" y="8"/>
                  </a:lnTo>
                  <a:lnTo>
                    <a:pt x="319" y="8"/>
                  </a:lnTo>
                  <a:lnTo>
                    <a:pt x="337" y="10"/>
                  </a:lnTo>
                  <a:lnTo>
                    <a:pt x="353" y="12"/>
                  </a:lnTo>
                  <a:lnTo>
                    <a:pt x="368" y="15"/>
                  </a:lnTo>
                  <a:lnTo>
                    <a:pt x="384" y="18"/>
                  </a:lnTo>
                  <a:lnTo>
                    <a:pt x="398" y="21"/>
                  </a:lnTo>
                  <a:lnTo>
                    <a:pt x="411" y="25"/>
                  </a:lnTo>
                  <a:lnTo>
                    <a:pt x="425" y="30"/>
                  </a:lnTo>
                  <a:lnTo>
                    <a:pt x="448" y="40"/>
                  </a:lnTo>
                  <a:lnTo>
                    <a:pt x="471" y="52"/>
                  </a:lnTo>
                  <a:lnTo>
                    <a:pt x="491" y="66"/>
                  </a:lnTo>
                  <a:lnTo>
                    <a:pt x="511" y="79"/>
                  </a:lnTo>
                  <a:lnTo>
                    <a:pt x="511" y="79"/>
                  </a:lnTo>
                  <a:lnTo>
                    <a:pt x="519" y="73"/>
                  </a:lnTo>
                  <a:lnTo>
                    <a:pt x="526" y="65"/>
                  </a:lnTo>
                  <a:lnTo>
                    <a:pt x="533" y="57"/>
                  </a:lnTo>
                  <a:lnTo>
                    <a:pt x="540" y="46"/>
                  </a:lnTo>
                  <a:lnTo>
                    <a:pt x="546" y="36"/>
                  </a:lnTo>
                  <a:lnTo>
                    <a:pt x="553" y="25"/>
                  </a:lnTo>
                  <a:lnTo>
                    <a:pt x="557" y="13"/>
                  </a:lnTo>
                  <a:lnTo>
                    <a:pt x="561" y="0"/>
                  </a:lnTo>
                  <a:lnTo>
                    <a:pt x="595" y="0"/>
                  </a:lnTo>
                  <a:lnTo>
                    <a:pt x="595" y="380"/>
                  </a:lnTo>
                  <a:lnTo>
                    <a:pt x="559" y="380"/>
                  </a:lnTo>
                  <a:lnTo>
                    <a:pt x="559" y="380"/>
                  </a:lnTo>
                  <a:lnTo>
                    <a:pt x="557" y="353"/>
                  </a:lnTo>
                  <a:lnTo>
                    <a:pt x="553" y="326"/>
                  </a:lnTo>
                  <a:lnTo>
                    <a:pt x="547" y="300"/>
                  </a:lnTo>
                  <a:lnTo>
                    <a:pt x="541" y="274"/>
                  </a:lnTo>
                  <a:lnTo>
                    <a:pt x="533" y="249"/>
                  </a:lnTo>
                  <a:lnTo>
                    <a:pt x="523" y="223"/>
                  </a:lnTo>
                  <a:lnTo>
                    <a:pt x="512" y="200"/>
                  </a:lnTo>
                  <a:lnTo>
                    <a:pt x="504" y="187"/>
                  </a:lnTo>
                  <a:lnTo>
                    <a:pt x="497" y="177"/>
                  </a:lnTo>
                  <a:lnTo>
                    <a:pt x="490" y="166"/>
                  </a:lnTo>
                  <a:lnTo>
                    <a:pt x="482" y="156"/>
                  </a:lnTo>
                  <a:lnTo>
                    <a:pt x="473" y="145"/>
                  </a:lnTo>
                  <a:lnTo>
                    <a:pt x="464" y="136"/>
                  </a:lnTo>
                  <a:lnTo>
                    <a:pt x="453" y="128"/>
                  </a:lnTo>
                  <a:lnTo>
                    <a:pt x="443" y="120"/>
                  </a:lnTo>
                  <a:lnTo>
                    <a:pt x="431" y="112"/>
                  </a:lnTo>
                  <a:lnTo>
                    <a:pt x="420" y="106"/>
                  </a:lnTo>
                  <a:lnTo>
                    <a:pt x="406" y="99"/>
                  </a:lnTo>
                  <a:lnTo>
                    <a:pt x="393" y="93"/>
                  </a:lnTo>
                  <a:lnTo>
                    <a:pt x="379" y="89"/>
                  </a:lnTo>
                  <a:lnTo>
                    <a:pt x="363" y="85"/>
                  </a:lnTo>
                  <a:lnTo>
                    <a:pt x="348" y="82"/>
                  </a:lnTo>
                  <a:lnTo>
                    <a:pt x="331" y="79"/>
                  </a:lnTo>
                  <a:lnTo>
                    <a:pt x="313" y="78"/>
                  </a:lnTo>
                  <a:lnTo>
                    <a:pt x="295" y="78"/>
                  </a:lnTo>
                  <a:lnTo>
                    <a:pt x="295" y="78"/>
                  </a:lnTo>
                  <a:lnTo>
                    <a:pt x="277" y="78"/>
                  </a:lnTo>
                  <a:lnTo>
                    <a:pt x="260" y="81"/>
                  </a:lnTo>
                  <a:lnTo>
                    <a:pt x="244" y="84"/>
                  </a:lnTo>
                  <a:lnTo>
                    <a:pt x="228" y="89"/>
                  </a:lnTo>
                  <a:lnTo>
                    <a:pt x="214" y="95"/>
                  </a:lnTo>
                  <a:lnTo>
                    <a:pt x="200" y="104"/>
                  </a:lnTo>
                  <a:lnTo>
                    <a:pt x="188" y="112"/>
                  </a:lnTo>
                  <a:lnTo>
                    <a:pt x="175" y="122"/>
                  </a:lnTo>
                  <a:lnTo>
                    <a:pt x="165" y="133"/>
                  </a:lnTo>
                  <a:lnTo>
                    <a:pt x="156" y="144"/>
                  </a:lnTo>
                  <a:lnTo>
                    <a:pt x="148" y="158"/>
                  </a:lnTo>
                  <a:lnTo>
                    <a:pt x="140" y="171"/>
                  </a:lnTo>
                  <a:lnTo>
                    <a:pt x="135" y="185"/>
                  </a:lnTo>
                  <a:lnTo>
                    <a:pt x="131" y="200"/>
                  </a:lnTo>
                  <a:lnTo>
                    <a:pt x="128" y="215"/>
                  </a:lnTo>
                  <a:lnTo>
                    <a:pt x="128" y="231"/>
                  </a:lnTo>
                  <a:lnTo>
                    <a:pt x="128" y="231"/>
                  </a:lnTo>
                  <a:lnTo>
                    <a:pt x="128" y="248"/>
                  </a:lnTo>
                  <a:lnTo>
                    <a:pt x="131" y="263"/>
                  </a:lnTo>
                  <a:lnTo>
                    <a:pt x="134" y="277"/>
                  </a:lnTo>
                  <a:lnTo>
                    <a:pt x="139" y="292"/>
                  </a:lnTo>
                  <a:lnTo>
                    <a:pt x="147" y="305"/>
                  </a:lnTo>
                  <a:lnTo>
                    <a:pt x="155" y="317"/>
                  </a:lnTo>
                  <a:lnTo>
                    <a:pt x="165" y="331"/>
                  </a:lnTo>
                  <a:lnTo>
                    <a:pt x="177" y="343"/>
                  </a:lnTo>
                  <a:lnTo>
                    <a:pt x="191" y="355"/>
                  </a:lnTo>
                  <a:lnTo>
                    <a:pt x="206" y="366"/>
                  </a:lnTo>
                  <a:lnTo>
                    <a:pt x="223" y="379"/>
                  </a:lnTo>
                  <a:lnTo>
                    <a:pt x="242" y="392"/>
                  </a:lnTo>
                  <a:lnTo>
                    <a:pt x="263" y="404"/>
                  </a:lnTo>
                  <a:lnTo>
                    <a:pt x="287" y="417"/>
                  </a:lnTo>
                  <a:lnTo>
                    <a:pt x="339" y="445"/>
                  </a:lnTo>
                  <a:lnTo>
                    <a:pt x="502" y="530"/>
                  </a:lnTo>
                  <a:lnTo>
                    <a:pt x="502" y="530"/>
                  </a:lnTo>
                  <a:lnTo>
                    <a:pt x="526" y="542"/>
                  </a:lnTo>
                  <a:lnTo>
                    <a:pt x="548" y="556"/>
                  </a:lnTo>
                  <a:lnTo>
                    <a:pt x="568" y="571"/>
                  </a:lnTo>
                  <a:lnTo>
                    <a:pt x="586" y="585"/>
                  </a:lnTo>
                  <a:lnTo>
                    <a:pt x="603" y="601"/>
                  </a:lnTo>
                  <a:lnTo>
                    <a:pt x="618" y="617"/>
                  </a:lnTo>
                  <a:lnTo>
                    <a:pt x="631" y="633"/>
                  </a:lnTo>
                  <a:lnTo>
                    <a:pt x="643" y="651"/>
                  </a:lnTo>
                  <a:lnTo>
                    <a:pt x="653" y="667"/>
                  </a:lnTo>
                  <a:lnTo>
                    <a:pt x="661" y="684"/>
                  </a:lnTo>
                  <a:lnTo>
                    <a:pt x="668" y="703"/>
                  </a:lnTo>
                  <a:lnTo>
                    <a:pt x="674" y="720"/>
                  </a:lnTo>
                  <a:lnTo>
                    <a:pt x="678" y="738"/>
                  </a:lnTo>
                  <a:lnTo>
                    <a:pt x="681" y="756"/>
                  </a:lnTo>
                  <a:lnTo>
                    <a:pt x="682" y="774"/>
                  </a:lnTo>
                  <a:lnTo>
                    <a:pt x="683" y="792"/>
                  </a:lnTo>
                  <a:lnTo>
                    <a:pt x="683" y="792"/>
                  </a:lnTo>
                  <a:lnTo>
                    <a:pt x="683" y="809"/>
                  </a:lnTo>
                  <a:lnTo>
                    <a:pt x="681" y="826"/>
                  </a:lnTo>
                  <a:lnTo>
                    <a:pt x="679" y="843"/>
                  </a:lnTo>
                  <a:lnTo>
                    <a:pt x="676" y="859"/>
                  </a:lnTo>
                  <a:lnTo>
                    <a:pt x="673" y="874"/>
                  </a:lnTo>
                  <a:lnTo>
                    <a:pt x="668" y="890"/>
                  </a:lnTo>
                  <a:lnTo>
                    <a:pt x="663" y="905"/>
                  </a:lnTo>
                  <a:lnTo>
                    <a:pt x="657" y="919"/>
                  </a:lnTo>
                  <a:lnTo>
                    <a:pt x="650" y="934"/>
                  </a:lnTo>
                  <a:lnTo>
                    <a:pt x="643" y="947"/>
                  </a:lnTo>
                  <a:lnTo>
                    <a:pt x="634" y="960"/>
                  </a:lnTo>
                  <a:lnTo>
                    <a:pt x="626" y="973"/>
                  </a:lnTo>
                  <a:lnTo>
                    <a:pt x="617" y="985"/>
                  </a:lnTo>
                  <a:lnTo>
                    <a:pt x="607" y="996"/>
                  </a:lnTo>
                  <a:lnTo>
                    <a:pt x="597" y="1007"/>
                  </a:lnTo>
                  <a:lnTo>
                    <a:pt x="585" y="1018"/>
                  </a:lnTo>
                  <a:lnTo>
                    <a:pt x="574" y="1028"/>
                  </a:lnTo>
                  <a:lnTo>
                    <a:pt x="562" y="1037"/>
                  </a:lnTo>
                  <a:lnTo>
                    <a:pt x="549" y="1045"/>
                  </a:lnTo>
                  <a:lnTo>
                    <a:pt x="536" y="1053"/>
                  </a:lnTo>
                  <a:lnTo>
                    <a:pt x="523" y="1062"/>
                  </a:lnTo>
                  <a:lnTo>
                    <a:pt x="509" y="1068"/>
                  </a:lnTo>
                  <a:lnTo>
                    <a:pt x="495" y="1075"/>
                  </a:lnTo>
                  <a:lnTo>
                    <a:pt x="480" y="1080"/>
                  </a:lnTo>
                  <a:lnTo>
                    <a:pt x="466" y="1085"/>
                  </a:lnTo>
                  <a:lnTo>
                    <a:pt x="450" y="1089"/>
                  </a:lnTo>
                  <a:lnTo>
                    <a:pt x="435" y="1093"/>
                  </a:lnTo>
                  <a:lnTo>
                    <a:pt x="419" y="1096"/>
                  </a:lnTo>
                  <a:lnTo>
                    <a:pt x="403" y="1099"/>
                  </a:lnTo>
                  <a:lnTo>
                    <a:pt x="387" y="1100"/>
                  </a:lnTo>
                  <a:lnTo>
                    <a:pt x="371" y="1101"/>
                  </a:lnTo>
                  <a:lnTo>
                    <a:pt x="354" y="1102"/>
                  </a:lnTo>
                  <a:lnTo>
                    <a:pt x="354" y="1102"/>
                  </a:lnTo>
                  <a:lnTo>
                    <a:pt x="330" y="1101"/>
                  </a:lnTo>
                  <a:lnTo>
                    <a:pt x="307" y="1099"/>
                  </a:lnTo>
                  <a:lnTo>
                    <a:pt x="285" y="1095"/>
                  </a:lnTo>
                  <a:lnTo>
                    <a:pt x="264" y="1091"/>
                  </a:lnTo>
                  <a:lnTo>
                    <a:pt x="245" y="1086"/>
                  </a:lnTo>
                  <a:lnTo>
                    <a:pt x="225" y="1080"/>
                  </a:lnTo>
                  <a:lnTo>
                    <a:pt x="208" y="1073"/>
                  </a:lnTo>
                  <a:lnTo>
                    <a:pt x="191" y="1067"/>
                  </a:lnTo>
                  <a:lnTo>
                    <a:pt x="160" y="1052"/>
                  </a:lnTo>
                  <a:lnTo>
                    <a:pt x="131" y="1039"/>
                  </a:lnTo>
                  <a:lnTo>
                    <a:pt x="107" y="1028"/>
                  </a:lnTo>
                  <a:lnTo>
                    <a:pt x="95" y="1024"/>
                  </a:lnTo>
                  <a:lnTo>
                    <a:pt x="85" y="1021"/>
                  </a:lnTo>
                  <a:lnTo>
                    <a:pt x="85" y="1021"/>
                  </a:lnTo>
                  <a:lnTo>
                    <a:pt x="77" y="1028"/>
                  </a:lnTo>
                  <a:lnTo>
                    <a:pt x="70" y="1036"/>
                  </a:lnTo>
                  <a:lnTo>
                    <a:pt x="62" y="1044"/>
                  </a:lnTo>
                  <a:lnTo>
                    <a:pt x="56" y="1053"/>
                  </a:lnTo>
                  <a:lnTo>
                    <a:pt x="48" y="1065"/>
                  </a:lnTo>
                  <a:lnTo>
                    <a:pt x="43" y="1076"/>
                  </a:lnTo>
                  <a:lnTo>
                    <a:pt x="38" y="1088"/>
                  </a:lnTo>
                  <a:lnTo>
                    <a:pt x="35" y="1102"/>
                  </a:lnTo>
                  <a:lnTo>
                    <a:pt x="0" y="1102"/>
                  </a:lnTo>
                  <a:lnTo>
                    <a:pt x="0" y="7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2" name="Freeform 20"/>
            <p:cNvSpPr>
              <a:spLocks/>
            </p:cNvSpPr>
            <p:nvPr userDrawn="1"/>
          </p:nvSpPr>
          <p:spPr bwMode="auto">
            <a:xfrm>
              <a:off x="6712196" y="898692"/>
              <a:ext cx="141288" cy="136525"/>
            </a:xfrm>
            <a:custGeom>
              <a:avLst/>
              <a:gdLst>
                <a:gd name="T0" fmla="*/ 304 w 1077"/>
                <a:gd name="T1" fmla="*/ 999 h 1035"/>
                <a:gd name="T2" fmla="*/ 352 w 1077"/>
                <a:gd name="T3" fmla="*/ 997 h 1035"/>
                <a:gd name="T4" fmla="*/ 390 w 1077"/>
                <a:gd name="T5" fmla="*/ 991 h 1035"/>
                <a:gd name="T6" fmla="*/ 419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8 w 1077"/>
                <a:gd name="T13" fmla="*/ 951 h 1035"/>
                <a:gd name="T14" fmla="*/ 460 w 1077"/>
                <a:gd name="T15" fmla="*/ 920 h 1035"/>
                <a:gd name="T16" fmla="*/ 466 w 1077"/>
                <a:gd name="T17" fmla="*/ 879 h 1035"/>
                <a:gd name="T18" fmla="*/ 469 w 1077"/>
                <a:gd name="T19" fmla="*/ 827 h 1035"/>
                <a:gd name="T20" fmla="*/ 469 w 1077"/>
                <a:gd name="T21" fmla="*/ 68 h 1035"/>
                <a:gd name="T22" fmla="*/ 245 w 1077"/>
                <a:gd name="T23" fmla="*/ 68 h 1035"/>
                <a:gd name="T24" fmla="*/ 192 w 1077"/>
                <a:gd name="T25" fmla="*/ 69 h 1035"/>
                <a:gd name="T26" fmla="*/ 150 w 1077"/>
                <a:gd name="T27" fmla="*/ 75 h 1035"/>
                <a:gd name="T28" fmla="*/ 119 w 1077"/>
                <a:gd name="T29" fmla="*/ 85 h 1035"/>
                <a:gd name="T30" fmla="*/ 94 w 1077"/>
                <a:gd name="T31" fmla="*/ 98 h 1035"/>
                <a:gd name="T32" fmla="*/ 77 w 1077"/>
                <a:gd name="T33" fmla="*/ 117 h 1035"/>
                <a:gd name="T34" fmla="*/ 64 w 1077"/>
                <a:gd name="T35" fmla="*/ 139 h 1035"/>
                <a:gd name="T36" fmla="*/ 54 w 1077"/>
                <a:gd name="T37" fmla="*/ 167 h 1035"/>
                <a:gd name="T38" fmla="*/ 37 w 1077"/>
                <a:gd name="T39" fmla="*/ 233 h 1035"/>
                <a:gd name="T40" fmla="*/ 15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3 w 1077"/>
                <a:gd name="T47" fmla="*/ 167 h 1035"/>
                <a:gd name="T48" fmla="*/ 1012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58 w 1077"/>
                <a:gd name="T55" fmla="*/ 85 h 1035"/>
                <a:gd name="T56" fmla="*/ 926 w 1077"/>
                <a:gd name="T57" fmla="*/ 75 h 1035"/>
                <a:gd name="T58" fmla="*/ 884 w 1077"/>
                <a:gd name="T59" fmla="*/ 69 h 1035"/>
                <a:gd name="T60" fmla="*/ 831 w 1077"/>
                <a:gd name="T61" fmla="*/ 68 h 1035"/>
                <a:gd name="T62" fmla="*/ 607 w 1077"/>
                <a:gd name="T63" fmla="*/ 797 h 1035"/>
                <a:gd name="T64" fmla="*/ 607 w 1077"/>
                <a:gd name="T65" fmla="*/ 827 h 1035"/>
                <a:gd name="T66" fmla="*/ 610 w 1077"/>
                <a:gd name="T67" fmla="*/ 879 h 1035"/>
                <a:gd name="T68" fmla="*/ 617 w 1077"/>
                <a:gd name="T69" fmla="*/ 920 h 1035"/>
                <a:gd name="T70" fmla="*/ 629 w 1077"/>
                <a:gd name="T71" fmla="*/ 951 h 1035"/>
                <a:gd name="T72" fmla="*/ 636 w 1077"/>
                <a:gd name="T73" fmla="*/ 962 h 1035"/>
                <a:gd name="T74" fmla="*/ 646 w 1077"/>
                <a:gd name="T75" fmla="*/ 972 h 1035"/>
                <a:gd name="T76" fmla="*/ 657 w 1077"/>
                <a:gd name="T77" fmla="*/ 981 h 1035"/>
                <a:gd name="T78" fmla="*/ 687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29" y="998"/>
                  </a:lnTo>
                  <a:lnTo>
                    <a:pt x="352" y="997"/>
                  </a:lnTo>
                  <a:lnTo>
                    <a:pt x="372" y="995"/>
                  </a:lnTo>
                  <a:lnTo>
                    <a:pt x="390" y="991"/>
                  </a:lnTo>
                  <a:lnTo>
                    <a:pt x="406" y="987"/>
                  </a:lnTo>
                  <a:lnTo>
                    <a:pt x="419" y="981"/>
                  </a:lnTo>
                  <a:lnTo>
                    <a:pt x="425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8" y="951"/>
                  </a:lnTo>
                  <a:lnTo>
                    <a:pt x="455" y="937"/>
                  </a:lnTo>
                  <a:lnTo>
                    <a:pt x="460" y="920"/>
                  </a:lnTo>
                  <a:lnTo>
                    <a:pt x="463" y="901"/>
                  </a:lnTo>
                  <a:lnTo>
                    <a:pt x="466" y="879"/>
                  </a:lnTo>
                  <a:lnTo>
                    <a:pt x="468" y="855"/>
                  </a:lnTo>
                  <a:lnTo>
                    <a:pt x="469" y="827"/>
                  </a:lnTo>
                  <a:lnTo>
                    <a:pt x="469" y="797"/>
                  </a:lnTo>
                  <a:lnTo>
                    <a:pt x="469" y="68"/>
                  </a:lnTo>
                  <a:lnTo>
                    <a:pt x="245" y="68"/>
                  </a:lnTo>
                  <a:lnTo>
                    <a:pt x="245" y="68"/>
                  </a:lnTo>
                  <a:lnTo>
                    <a:pt x="217" y="68"/>
                  </a:lnTo>
                  <a:lnTo>
                    <a:pt x="192" y="69"/>
                  </a:lnTo>
                  <a:lnTo>
                    <a:pt x="170" y="72"/>
                  </a:lnTo>
                  <a:lnTo>
                    <a:pt x="150" y="75"/>
                  </a:lnTo>
                  <a:lnTo>
                    <a:pt x="133" y="79"/>
                  </a:lnTo>
                  <a:lnTo>
                    <a:pt x="119" y="85"/>
                  </a:lnTo>
                  <a:lnTo>
                    <a:pt x="105" y="91"/>
                  </a:lnTo>
                  <a:lnTo>
                    <a:pt x="94" y="98"/>
                  </a:lnTo>
                  <a:lnTo>
                    <a:pt x="85" y="106"/>
                  </a:lnTo>
                  <a:lnTo>
                    <a:pt x="77" y="117"/>
                  </a:lnTo>
                  <a:lnTo>
                    <a:pt x="71" y="127"/>
                  </a:lnTo>
                  <a:lnTo>
                    <a:pt x="64" y="139"/>
                  </a:lnTo>
                  <a:lnTo>
                    <a:pt x="59" y="152"/>
                  </a:lnTo>
                  <a:lnTo>
                    <a:pt x="54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5" y="0"/>
                  </a:lnTo>
                  <a:lnTo>
                    <a:pt x="1061" y="0"/>
                  </a:lnTo>
                  <a:lnTo>
                    <a:pt x="1077" y="233"/>
                  </a:lnTo>
                  <a:lnTo>
                    <a:pt x="1040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3" y="167"/>
                  </a:lnTo>
                  <a:lnTo>
                    <a:pt x="1017" y="152"/>
                  </a:lnTo>
                  <a:lnTo>
                    <a:pt x="1012" y="139"/>
                  </a:lnTo>
                  <a:lnTo>
                    <a:pt x="1006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1" y="91"/>
                  </a:lnTo>
                  <a:lnTo>
                    <a:pt x="958" y="85"/>
                  </a:lnTo>
                  <a:lnTo>
                    <a:pt x="944" y="79"/>
                  </a:lnTo>
                  <a:lnTo>
                    <a:pt x="926" y="75"/>
                  </a:lnTo>
                  <a:lnTo>
                    <a:pt x="907" y="72"/>
                  </a:lnTo>
                  <a:lnTo>
                    <a:pt x="884" y="69"/>
                  </a:lnTo>
                  <a:lnTo>
                    <a:pt x="860" y="68"/>
                  </a:lnTo>
                  <a:lnTo>
                    <a:pt x="831" y="68"/>
                  </a:lnTo>
                  <a:lnTo>
                    <a:pt x="607" y="68"/>
                  </a:lnTo>
                  <a:lnTo>
                    <a:pt x="607" y="797"/>
                  </a:lnTo>
                  <a:lnTo>
                    <a:pt x="607" y="797"/>
                  </a:lnTo>
                  <a:lnTo>
                    <a:pt x="607" y="827"/>
                  </a:lnTo>
                  <a:lnTo>
                    <a:pt x="608" y="855"/>
                  </a:lnTo>
                  <a:lnTo>
                    <a:pt x="610" y="879"/>
                  </a:lnTo>
                  <a:lnTo>
                    <a:pt x="614" y="901"/>
                  </a:lnTo>
                  <a:lnTo>
                    <a:pt x="617" y="920"/>
                  </a:lnTo>
                  <a:lnTo>
                    <a:pt x="622" y="937"/>
                  </a:lnTo>
                  <a:lnTo>
                    <a:pt x="629" y="951"/>
                  </a:lnTo>
                  <a:lnTo>
                    <a:pt x="632" y="957"/>
                  </a:lnTo>
                  <a:lnTo>
                    <a:pt x="636" y="962"/>
                  </a:lnTo>
                  <a:lnTo>
                    <a:pt x="641" y="967"/>
                  </a:lnTo>
                  <a:lnTo>
                    <a:pt x="646" y="972"/>
                  </a:lnTo>
                  <a:lnTo>
                    <a:pt x="651" y="977"/>
                  </a:lnTo>
                  <a:lnTo>
                    <a:pt x="657" y="981"/>
                  </a:lnTo>
                  <a:lnTo>
                    <a:pt x="671" y="987"/>
                  </a:lnTo>
                  <a:lnTo>
                    <a:pt x="687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7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6851897" y="893930"/>
              <a:ext cx="157162" cy="141288"/>
            </a:xfrm>
            <a:custGeom>
              <a:avLst/>
              <a:gdLst>
                <a:gd name="T0" fmla="*/ 0 w 1196"/>
                <a:gd name="T1" fmla="*/ 1029 h 1065"/>
                <a:gd name="T2" fmla="*/ 48 w 1196"/>
                <a:gd name="T3" fmla="*/ 1027 h 1065"/>
                <a:gd name="T4" fmla="*/ 86 w 1196"/>
                <a:gd name="T5" fmla="*/ 1022 h 1065"/>
                <a:gd name="T6" fmla="*/ 115 w 1196"/>
                <a:gd name="T7" fmla="*/ 1013 h 1065"/>
                <a:gd name="T8" fmla="*/ 137 w 1196"/>
                <a:gd name="T9" fmla="*/ 999 h 1065"/>
                <a:gd name="T10" fmla="*/ 156 w 1196"/>
                <a:gd name="T11" fmla="*/ 979 h 1065"/>
                <a:gd name="T12" fmla="*/ 172 w 1196"/>
                <a:gd name="T13" fmla="*/ 953 h 1065"/>
                <a:gd name="T14" fmla="*/ 188 w 1196"/>
                <a:gd name="T15" fmla="*/ 920 h 1065"/>
                <a:gd name="T16" fmla="*/ 586 w 1196"/>
                <a:gd name="T17" fmla="*/ 0 h 1065"/>
                <a:gd name="T18" fmla="*/ 990 w 1196"/>
                <a:gd name="T19" fmla="*/ 879 h 1065"/>
                <a:gd name="T20" fmla="*/ 1008 w 1196"/>
                <a:gd name="T21" fmla="*/ 920 h 1065"/>
                <a:gd name="T22" fmla="*/ 1025 w 1196"/>
                <a:gd name="T23" fmla="*/ 953 h 1065"/>
                <a:gd name="T24" fmla="*/ 1041 w 1196"/>
                <a:gd name="T25" fmla="*/ 979 h 1065"/>
                <a:gd name="T26" fmla="*/ 1060 w 1196"/>
                <a:gd name="T27" fmla="*/ 999 h 1065"/>
                <a:gd name="T28" fmla="*/ 1082 w 1196"/>
                <a:gd name="T29" fmla="*/ 1013 h 1065"/>
                <a:gd name="T30" fmla="*/ 1111 w 1196"/>
                <a:gd name="T31" fmla="*/ 1022 h 1065"/>
                <a:gd name="T32" fmla="*/ 1148 w 1196"/>
                <a:gd name="T33" fmla="*/ 1027 h 1065"/>
                <a:gd name="T34" fmla="*/ 1196 w 1196"/>
                <a:gd name="T35" fmla="*/ 1029 h 1065"/>
                <a:gd name="T36" fmla="*/ 717 w 1196"/>
                <a:gd name="T37" fmla="*/ 1065 h 1065"/>
                <a:gd name="T38" fmla="*/ 717 w 1196"/>
                <a:gd name="T39" fmla="*/ 1029 h 1065"/>
                <a:gd name="T40" fmla="*/ 766 w 1196"/>
                <a:gd name="T41" fmla="*/ 1027 h 1065"/>
                <a:gd name="T42" fmla="*/ 805 w 1196"/>
                <a:gd name="T43" fmla="*/ 1022 h 1065"/>
                <a:gd name="T44" fmla="*/ 834 w 1196"/>
                <a:gd name="T45" fmla="*/ 1013 h 1065"/>
                <a:gd name="T46" fmla="*/ 854 w 1196"/>
                <a:gd name="T47" fmla="*/ 998 h 1065"/>
                <a:gd name="T48" fmla="*/ 865 w 1196"/>
                <a:gd name="T49" fmla="*/ 981 h 1065"/>
                <a:gd name="T50" fmla="*/ 868 w 1196"/>
                <a:gd name="T51" fmla="*/ 958 h 1065"/>
                <a:gd name="T52" fmla="*/ 864 w 1196"/>
                <a:gd name="T53" fmla="*/ 931 h 1065"/>
                <a:gd name="T54" fmla="*/ 852 w 1196"/>
                <a:gd name="T55" fmla="*/ 897 h 1065"/>
                <a:gd name="T56" fmla="*/ 352 w 1196"/>
                <a:gd name="T57" fmla="*/ 706 h 1065"/>
                <a:gd name="T58" fmla="*/ 269 w 1196"/>
                <a:gd name="T59" fmla="*/ 897 h 1065"/>
                <a:gd name="T60" fmla="*/ 257 w 1196"/>
                <a:gd name="T61" fmla="*/ 930 h 1065"/>
                <a:gd name="T62" fmla="*/ 253 w 1196"/>
                <a:gd name="T63" fmla="*/ 957 h 1065"/>
                <a:gd name="T64" fmla="*/ 256 w 1196"/>
                <a:gd name="T65" fmla="*/ 980 h 1065"/>
                <a:gd name="T66" fmla="*/ 267 w 1196"/>
                <a:gd name="T67" fmla="*/ 998 h 1065"/>
                <a:gd name="T68" fmla="*/ 288 w 1196"/>
                <a:gd name="T69" fmla="*/ 1012 h 1065"/>
                <a:gd name="T70" fmla="*/ 316 w 1196"/>
                <a:gd name="T71" fmla="*/ 1021 h 1065"/>
                <a:gd name="T72" fmla="*/ 355 w 1196"/>
                <a:gd name="T73" fmla="*/ 1027 h 1065"/>
                <a:gd name="T74" fmla="*/ 403 w 1196"/>
                <a:gd name="T75" fmla="*/ 1029 h 1065"/>
                <a:gd name="T76" fmla="*/ 0 w 1196"/>
                <a:gd name="T77" fmla="*/ 1065 h 1065"/>
                <a:gd name="T78" fmla="*/ 740 w 1196"/>
                <a:gd name="T79" fmla="*/ 643 h 1065"/>
                <a:gd name="T80" fmla="*/ 380 w 1196"/>
                <a:gd name="T81" fmla="*/ 643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6" h="1065">
                  <a:moveTo>
                    <a:pt x="0" y="1029"/>
                  </a:moveTo>
                  <a:lnTo>
                    <a:pt x="0" y="1029"/>
                  </a:lnTo>
                  <a:lnTo>
                    <a:pt x="26" y="1028"/>
                  </a:lnTo>
                  <a:lnTo>
                    <a:pt x="48" y="1027"/>
                  </a:lnTo>
                  <a:lnTo>
                    <a:pt x="68" y="1025"/>
                  </a:lnTo>
                  <a:lnTo>
                    <a:pt x="86" y="1022"/>
                  </a:lnTo>
                  <a:lnTo>
                    <a:pt x="102" y="1018"/>
                  </a:lnTo>
                  <a:lnTo>
                    <a:pt x="115" y="1013"/>
                  </a:lnTo>
                  <a:lnTo>
                    <a:pt x="127" y="1007"/>
                  </a:lnTo>
                  <a:lnTo>
                    <a:pt x="137" y="999"/>
                  </a:lnTo>
                  <a:lnTo>
                    <a:pt x="148" y="990"/>
                  </a:lnTo>
                  <a:lnTo>
                    <a:pt x="156" y="979"/>
                  </a:lnTo>
                  <a:lnTo>
                    <a:pt x="164" y="967"/>
                  </a:lnTo>
                  <a:lnTo>
                    <a:pt x="172" y="953"/>
                  </a:lnTo>
                  <a:lnTo>
                    <a:pt x="180" y="937"/>
                  </a:lnTo>
                  <a:lnTo>
                    <a:pt x="188" y="920"/>
                  </a:lnTo>
                  <a:lnTo>
                    <a:pt x="207" y="879"/>
                  </a:lnTo>
                  <a:lnTo>
                    <a:pt x="586" y="0"/>
                  </a:lnTo>
                  <a:lnTo>
                    <a:pt x="609" y="0"/>
                  </a:lnTo>
                  <a:lnTo>
                    <a:pt x="990" y="879"/>
                  </a:lnTo>
                  <a:lnTo>
                    <a:pt x="990" y="879"/>
                  </a:lnTo>
                  <a:lnTo>
                    <a:pt x="1008" y="920"/>
                  </a:lnTo>
                  <a:lnTo>
                    <a:pt x="1017" y="937"/>
                  </a:lnTo>
                  <a:lnTo>
                    <a:pt x="1025" y="953"/>
                  </a:lnTo>
                  <a:lnTo>
                    <a:pt x="1033" y="967"/>
                  </a:lnTo>
                  <a:lnTo>
                    <a:pt x="1041" y="979"/>
                  </a:lnTo>
                  <a:lnTo>
                    <a:pt x="1049" y="990"/>
                  </a:lnTo>
                  <a:lnTo>
                    <a:pt x="1060" y="999"/>
                  </a:lnTo>
                  <a:lnTo>
                    <a:pt x="1070" y="1007"/>
                  </a:lnTo>
                  <a:lnTo>
                    <a:pt x="1082" y="1013"/>
                  </a:lnTo>
                  <a:lnTo>
                    <a:pt x="1095" y="1018"/>
                  </a:lnTo>
                  <a:lnTo>
                    <a:pt x="1111" y="1022"/>
                  </a:lnTo>
                  <a:lnTo>
                    <a:pt x="1128" y="1025"/>
                  </a:lnTo>
                  <a:lnTo>
                    <a:pt x="1148" y="1027"/>
                  </a:lnTo>
                  <a:lnTo>
                    <a:pt x="1170" y="1028"/>
                  </a:lnTo>
                  <a:lnTo>
                    <a:pt x="1196" y="1029"/>
                  </a:lnTo>
                  <a:lnTo>
                    <a:pt x="1196" y="1065"/>
                  </a:lnTo>
                  <a:lnTo>
                    <a:pt x="717" y="1065"/>
                  </a:lnTo>
                  <a:lnTo>
                    <a:pt x="717" y="1029"/>
                  </a:lnTo>
                  <a:lnTo>
                    <a:pt x="717" y="1029"/>
                  </a:lnTo>
                  <a:lnTo>
                    <a:pt x="743" y="1028"/>
                  </a:lnTo>
                  <a:lnTo>
                    <a:pt x="766" y="1027"/>
                  </a:lnTo>
                  <a:lnTo>
                    <a:pt x="787" y="1025"/>
                  </a:lnTo>
                  <a:lnTo>
                    <a:pt x="805" y="1022"/>
                  </a:lnTo>
                  <a:lnTo>
                    <a:pt x="820" y="1018"/>
                  </a:lnTo>
                  <a:lnTo>
                    <a:pt x="834" y="1013"/>
                  </a:lnTo>
                  <a:lnTo>
                    <a:pt x="845" y="1006"/>
                  </a:lnTo>
                  <a:lnTo>
                    <a:pt x="854" y="998"/>
                  </a:lnTo>
                  <a:lnTo>
                    <a:pt x="861" y="990"/>
                  </a:lnTo>
                  <a:lnTo>
                    <a:pt x="865" y="981"/>
                  </a:lnTo>
                  <a:lnTo>
                    <a:pt x="868" y="970"/>
                  </a:lnTo>
                  <a:lnTo>
                    <a:pt x="868" y="958"/>
                  </a:lnTo>
                  <a:lnTo>
                    <a:pt x="867" y="945"/>
                  </a:lnTo>
                  <a:lnTo>
                    <a:pt x="864" y="931"/>
                  </a:lnTo>
                  <a:lnTo>
                    <a:pt x="859" y="915"/>
                  </a:lnTo>
                  <a:lnTo>
                    <a:pt x="852" y="897"/>
                  </a:lnTo>
                  <a:lnTo>
                    <a:pt x="769" y="706"/>
                  </a:lnTo>
                  <a:lnTo>
                    <a:pt x="352" y="706"/>
                  </a:lnTo>
                  <a:lnTo>
                    <a:pt x="269" y="897"/>
                  </a:lnTo>
                  <a:lnTo>
                    <a:pt x="269" y="897"/>
                  </a:lnTo>
                  <a:lnTo>
                    <a:pt x="262" y="915"/>
                  </a:lnTo>
                  <a:lnTo>
                    <a:pt x="257" y="930"/>
                  </a:lnTo>
                  <a:lnTo>
                    <a:pt x="254" y="944"/>
                  </a:lnTo>
                  <a:lnTo>
                    <a:pt x="253" y="957"/>
                  </a:lnTo>
                  <a:lnTo>
                    <a:pt x="253" y="969"/>
                  </a:lnTo>
                  <a:lnTo>
                    <a:pt x="256" y="980"/>
                  </a:lnTo>
                  <a:lnTo>
                    <a:pt x="260" y="989"/>
                  </a:lnTo>
                  <a:lnTo>
                    <a:pt x="267" y="998"/>
                  </a:lnTo>
                  <a:lnTo>
                    <a:pt x="276" y="1006"/>
                  </a:lnTo>
                  <a:lnTo>
                    <a:pt x="288" y="1012"/>
                  </a:lnTo>
                  <a:lnTo>
                    <a:pt x="301" y="1017"/>
                  </a:lnTo>
                  <a:lnTo>
                    <a:pt x="316" y="1021"/>
                  </a:lnTo>
                  <a:lnTo>
                    <a:pt x="335" y="1025"/>
                  </a:lnTo>
                  <a:lnTo>
                    <a:pt x="355" y="1027"/>
                  </a:lnTo>
                  <a:lnTo>
                    <a:pt x="378" y="1028"/>
                  </a:lnTo>
                  <a:lnTo>
                    <a:pt x="403" y="1029"/>
                  </a:lnTo>
                  <a:lnTo>
                    <a:pt x="403" y="1065"/>
                  </a:lnTo>
                  <a:lnTo>
                    <a:pt x="0" y="1065"/>
                  </a:lnTo>
                  <a:lnTo>
                    <a:pt x="0" y="1029"/>
                  </a:lnTo>
                  <a:close/>
                  <a:moveTo>
                    <a:pt x="740" y="643"/>
                  </a:moveTo>
                  <a:lnTo>
                    <a:pt x="559" y="226"/>
                  </a:lnTo>
                  <a:lnTo>
                    <a:pt x="380" y="643"/>
                  </a:lnTo>
                  <a:lnTo>
                    <a:pt x="740" y="6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4" name="Freeform 22"/>
            <p:cNvSpPr>
              <a:spLocks/>
            </p:cNvSpPr>
            <p:nvPr userDrawn="1"/>
          </p:nvSpPr>
          <p:spPr bwMode="auto">
            <a:xfrm>
              <a:off x="7007471" y="898692"/>
              <a:ext cx="142875" cy="136525"/>
            </a:xfrm>
            <a:custGeom>
              <a:avLst/>
              <a:gdLst>
                <a:gd name="T0" fmla="*/ 304 w 1077"/>
                <a:gd name="T1" fmla="*/ 999 h 1035"/>
                <a:gd name="T2" fmla="*/ 353 w 1077"/>
                <a:gd name="T3" fmla="*/ 997 h 1035"/>
                <a:gd name="T4" fmla="*/ 391 w 1077"/>
                <a:gd name="T5" fmla="*/ 991 h 1035"/>
                <a:gd name="T6" fmla="*/ 420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9 w 1077"/>
                <a:gd name="T13" fmla="*/ 951 h 1035"/>
                <a:gd name="T14" fmla="*/ 461 w 1077"/>
                <a:gd name="T15" fmla="*/ 920 h 1035"/>
                <a:gd name="T16" fmla="*/ 467 w 1077"/>
                <a:gd name="T17" fmla="*/ 879 h 1035"/>
                <a:gd name="T18" fmla="*/ 470 w 1077"/>
                <a:gd name="T19" fmla="*/ 827 h 1035"/>
                <a:gd name="T20" fmla="*/ 470 w 1077"/>
                <a:gd name="T21" fmla="*/ 68 h 1035"/>
                <a:gd name="T22" fmla="*/ 246 w 1077"/>
                <a:gd name="T23" fmla="*/ 68 h 1035"/>
                <a:gd name="T24" fmla="*/ 193 w 1077"/>
                <a:gd name="T25" fmla="*/ 69 h 1035"/>
                <a:gd name="T26" fmla="*/ 151 w 1077"/>
                <a:gd name="T27" fmla="*/ 75 h 1035"/>
                <a:gd name="T28" fmla="*/ 119 w 1077"/>
                <a:gd name="T29" fmla="*/ 85 h 1035"/>
                <a:gd name="T30" fmla="*/ 95 w 1077"/>
                <a:gd name="T31" fmla="*/ 98 h 1035"/>
                <a:gd name="T32" fmla="*/ 78 w 1077"/>
                <a:gd name="T33" fmla="*/ 117 h 1035"/>
                <a:gd name="T34" fmla="*/ 65 w 1077"/>
                <a:gd name="T35" fmla="*/ 139 h 1035"/>
                <a:gd name="T36" fmla="*/ 55 w 1077"/>
                <a:gd name="T37" fmla="*/ 167 h 1035"/>
                <a:gd name="T38" fmla="*/ 37 w 1077"/>
                <a:gd name="T39" fmla="*/ 233 h 1035"/>
                <a:gd name="T40" fmla="*/ 17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4 w 1077"/>
                <a:gd name="T47" fmla="*/ 167 h 1035"/>
                <a:gd name="T48" fmla="*/ 1014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60 w 1077"/>
                <a:gd name="T55" fmla="*/ 85 h 1035"/>
                <a:gd name="T56" fmla="*/ 927 w 1077"/>
                <a:gd name="T57" fmla="*/ 75 h 1035"/>
                <a:gd name="T58" fmla="*/ 886 w 1077"/>
                <a:gd name="T59" fmla="*/ 69 h 1035"/>
                <a:gd name="T60" fmla="*/ 833 w 1077"/>
                <a:gd name="T61" fmla="*/ 68 h 1035"/>
                <a:gd name="T62" fmla="*/ 608 w 1077"/>
                <a:gd name="T63" fmla="*/ 797 h 1035"/>
                <a:gd name="T64" fmla="*/ 609 w 1077"/>
                <a:gd name="T65" fmla="*/ 827 h 1035"/>
                <a:gd name="T66" fmla="*/ 611 w 1077"/>
                <a:gd name="T67" fmla="*/ 879 h 1035"/>
                <a:gd name="T68" fmla="*/ 618 w 1077"/>
                <a:gd name="T69" fmla="*/ 920 h 1035"/>
                <a:gd name="T70" fmla="*/ 629 w 1077"/>
                <a:gd name="T71" fmla="*/ 951 h 1035"/>
                <a:gd name="T72" fmla="*/ 637 w 1077"/>
                <a:gd name="T73" fmla="*/ 962 h 1035"/>
                <a:gd name="T74" fmla="*/ 647 w 1077"/>
                <a:gd name="T75" fmla="*/ 972 h 1035"/>
                <a:gd name="T76" fmla="*/ 658 w 1077"/>
                <a:gd name="T77" fmla="*/ 981 h 1035"/>
                <a:gd name="T78" fmla="*/ 688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30" y="998"/>
                  </a:lnTo>
                  <a:lnTo>
                    <a:pt x="353" y="997"/>
                  </a:lnTo>
                  <a:lnTo>
                    <a:pt x="373" y="995"/>
                  </a:lnTo>
                  <a:lnTo>
                    <a:pt x="391" y="991"/>
                  </a:lnTo>
                  <a:lnTo>
                    <a:pt x="406" y="987"/>
                  </a:lnTo>
                  <a:lnTo>
                    <a:pt x="420" y="981"/>
                  </a:lnTo>
                  <a:lnTo>
                    <a:pt x="426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9" y="951"/>
                  </a:lnTo>
                  <a:lnTo>
                    <a:pt x="455" y="937"/>
                  </a:lnTo>
                  <a:lnTo>
                    <a:pt x="461" y="920"/>
                  </a:lnTo>
                  <a:lnTo>
                    <a:pt x="465" y="901"/>
                  </a:lnTo>
                  <a:lnTo>
                    <a:pt x="467" y="879"/>
                  </a:lnTo>
                  <a:lnTo>
                    <a:pt x="469" y="855"/>
                  </a:lnTo>
                  <a:lnTo>
                    <a:pt x="470" y="827"/>
                  </a:lnTo>
                  <a:lnTo>
                    <a:pt x="470" y="797"/>
                  </a:lnTo>
                  <a:lnTo>
                    <a:pt x="470" y="68"/>
                  </a:lnTo>
                  <a:lnTo>
                    <a:pt x="246" y="68"/>
                  </a:lnTo>
                  <a:lnTo>
                    <a:pt x="246" y="68"/>
                  </a:lnTo>
                  <a:lnTo>
                    <a:pt x="217" y="68"/>
                  </a:lnTo>
                  <a:lnTo>
                    <a:pt x="193" y="69"/>
                  </a:lnTo>
                  <a:lnTo>
                    <a:pt x="170" y="72"/>
                  </a:lnTo>
                  <a:lnTo>
                    <a:pt x="151" y="75"/>
                  </a:lnTo>
                  <a:lnTo>
                    <a:pt x="134" y="79"/>
                  </a:lnTo>
                  <a:lnTo>
                    <a:pt x="119" y="85"/>
                  </a:lnTo>
                  <a:lnTo>
                    <a:pt x="107" y="91"/>
                  </a:lnTo>
                  <a:lnTo>
                    <a:pt x="95" y="98"/>
                  </a:lnTo>
                  <a:lnTo>
                    <a:pt x="86" y="106"/>
                  </a:lnTo>
                  <a:lnTo>
                    <a:pt x="78" y="117"/>
                  </a:lnTo>
                  <a:lnTo>
                    <a:pt x="71" y="127"/>
                  </a:lnTo>
                  <a:lnTo>
                    <a:pt x="65" y="139"/>
                  </a:lnTo>
                  <a:lnTo>
                    <a:pt x="60" y="152"/>
                  </a:lnTo>
                  <a:lnTo>
                    <a:pt x="55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7" y="0"/>
                  </a:lnTo>
                  <a:lnTo>
                    <a:pt x="1062" y="0"/>
                  </a:lnTo>
                  <a:lnTo>
                    <a:pt x="1077" y="233"/>
                  </a:lnTo>
                  <a:lnTo>
                    <a:pt x="1041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4" y="167"/>
                  </a:lnTo>
                  <a:lnTo>
                    <a:pt x="1019" y="152"/>
                  </a:lnTo>
                  <a:lnTo>
                    <a:pt x="1014" y="139"/>
                  </a:lnTo>
                  <a:lnTo>
                    <a:pt x="1008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2" y="91"/>
                  </a:lnTo>
                  <a:lnTo>
                    <a:pt x="960" y="85"/>
                  </a:lnTo>
                  <a:lnTo>
                    <a:pt x="944" y="79"/>
                  </a:lnTo>
                  <a:lnTo>
                    <a:pt x="927" y="75"/>
                  </a:lnTo>
                  <a:lnTo>
                    <a:pt x="907" y="72"/>
                  </a:lnTo>
                  <a:lnTo>
                    <a:pt x="886" y="69"/>
                  </a:lnTo>
                  <a:lnTo>
                    <a:pt x="860" y="68"/>
                  </a:lnTo>
                  <a:lnTo>
                    <a:pt x="833" y="68"/>
                  </a:lnTo>
                  <a:lnTo>
                    <a:pt x="608" y="68"/>
                  </a:lnTo>
                  <a:lnTo>
                    <a:pt x="608" y="797"/>
                  </a:lnTo>
                  <a:lnTo>
                    <a:pt x="608" y="797"/>
                  </a:lnTo>
                  <a:lnTo>
                    <a:pt x="609" y="827"/>
                  </a:lnTo>
                  <a:lnTo>
                    <a:pt x="609" y="855"/>
                  </a:lnTo>
                  <a:lnTo>
                    <a:pt x="611" y="879"/>
                  </a:lnTo>
                  <a:lnTo>
                    <a:pt x="614" y="901"/>
                  </a:lnTo>
                  <a:lnTo>
                    <a:pt x="618" y="920"/>
                  </a:lnTo>
                  <a:lnTo>
                    <a:pt x="623" y="937"/>
                  </a:lnTo>
                  <a:lnTo>
                    <a:pt x="629" y="951"/>
                  </a:lnTo>
                  <a:lnTo>
                    <a:pt x="633" y="957"/>
                  </a:lnTo>
                  <a:lnTo>
                    <a:pt x="637" y="962"/>
                  </a:lnTo>
                  <a:lnTo>
                    <a:pt x="642" y="967"/>
                  </a:lnTo>
                  <a:lnTo>
                    <a:pt x="647" y="972"/>
                  </a:lnTo>
                  <a:lnTo>
                    <a:pt x="653" y="977"/>
                  </a:lnTo>
                  <a:lnTo>
                    <a:pt x="658" y="981"/>
                  </a:lnTo>
                  <a:lnTo>
                    <a:pt x="672" y="987"/>
                  </a:lnTo>
                  <a:lnTo>
                    <a:pt x="688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8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5" name="Freeform 23"/>
            <p:cNvSpPr>
              <a:spLocks/>
            </p:cNvSpPr>
            <p:nvPr userDrawn="1"/>
          </p:nvSpPr>
          <p:spPr bwMode="auto">
            <a:xfrm>
              <a:off x="7182096" y="893930"/>
              <a:ext cx="88900" cy="144463"/>
            </a:xfrm>
            <a:custGeom>
              <a:avLst/>
              <a:gdLst>
                <a:gd name="T0" fmla="*/ 39 w 683"/>
                <a:gd name="T1" fmla="*/ 752 h 1102"/>
                <a:gd name="T2" fmla="*/ 64 w 683"/>
                <a:gd name="T3" fmla="*/ 849 h 1102"/>
                <a:gd name="T4" fmla="*/ 104 w 683"/>
                <a:gd name="T5" fmla="*/ 921 h 1102"/>
                <a:gd name="T6" fmla="*/ 171 w 683"/>
                <a:gd name="T7" fmla="*/ 985 h 1102"/>
                <a:gd name="T8" fmla="*/ 273 w 683"/>
                <a:gd name="T9" fmla="*/ 1026 h 1102"/>
                <a:gd name="T10" fmla="*/ 377 w 683"/>
                <a:gd name="T11" fmla="*/ 1032 h 1102"/>
                <a:gd name="T12" fmla="*/ 476 w 683"/>
                <a:gd name="T13" fmla="*/ 1002 h 1102"/>
                <a:gd name="T14" fmla="*/ 544 w 683"/>
                <a:gd name="T15" fmla="*/ 937 h 1102"/>
                <a:gd name="T16" fmla="*/ 570 w 683"/>
                <a:gd name="T17" fmla="*/ 844 h 1102"/>
                <a:gd name="T18" fmla="*/ 555 w 683"/>
                <a:gd name="T19" fmla="*/ 787 h 1102"/>
                <a:gd name="T20" fmla="*/ 501 w 683"/>
                <a:gd name="T21" fmla="*/ 720 h 1102"/>
                <a:gd name="T22" fmla="*/ 413 w 683"/>
                <a:gd name="T23" fmla="*/ 659 h 1102"/>
                <a:gd name="T24" fmla="*/ 169 w 683"/>
                <a:gd name="T25" fmla="*/ 529 h 1102"/>
                <a:gd name="T26" fmla="*/ 86 w 683"/>
                <a:gd name="T27" fmla="*/ 455 h 1102"/>
                <a:gd name="T28" fmla="*/ 30 w 683"/>
                <a:gd name="T29" fmla="*/ 358 h 1102"/>
                <a:gd name="T30" fmla="*/ 14 w 683"/>
                <a:gd name="T31" fmla="*/ 265 h 1102"/>
                <a:gd name="T32" fmla="*/ 23 w 683"/>
                <a:gd name="T33" fmla="*/ 201 h 1102"/>
                <a:gd name="T34" fmla="*/ 46 w 683"/>
                <a:gd name="T35" fmla="*/ 142 h 1102"/>
                <a:gd name="T36" fmla="*/ 85 w 683"/>
                <a:gd name="T37" fmla="*/ 92 h 1102"/>
                <a:gd name="T38" fmla="*/ 136 w 683"/>
                <a:gd name="T39" fmla="*/ 52 h 1102"/>
                <a:gd name="T40" fmla="*/ 199 w 683"/>
                <a:gd name="T41" fmla="*/ 24 h 1102"/>
                <a:gd name="T42" fmla="*/ 269 w 683"/>
                <a:gd name="T43" fmla="*/ 9 h 1102"/>
                <a:gd name="T44" fmla="*/ 337 w 683"/>
                <a:gd name="T45" fmla="*/ 10 h 1102"/>
                <a:gd name="T46" fmla="*/ 411 w 683"/>
                <a:gd name="T47" fmla="*/ 25 h 1102"/>
                <a:gd name="T48" fmla="*/ 510 w 683"/>
                <a:gd name="T49" fmla="*/ 79 h 1102"/>
                <a:gd name="T50" fmla="*/ 540 w 683"/>
                <a:gd name="T51" fmla="*/ 46 h 1102"/>
                <a:gd name="T52" fmla="*/ 595 w 683"/>
                <a:gd name="T53" fmla="*/ 0 h 1102"/>
                <a:gd name="T54" fmla="*/ 552 w 683"/>
                <a:gd name="T55" fmla="*/ 326 h 1102"/>
                <a:gd name="T56" fmla="*/ 511 w 683"/>
                <a:gd name="T57" fmla="*/ 200 h 1102"/>
                <a:gd name="T58" fmla="*/ 473 w 683"/>
                <a:gd name="T59" fmla="*/ 145 h 1102"/>
                <a:gd name="T60" fmla="*/ 419 w 683"/>
                <a:gd name="T61" fmla="*/ 106 h 1102"/>
                <a:gd name="T62" fmla="*/ 348 w 683"/>
                <a:gd name="T63" fmla="*/ 82 h 1102"/>
                <a:gd name="T64" fmla="*/ 277 w 683"/>
                <a:gd name="T65" fmla="*/ 78 h 1102"/>
                <a:gd name="T66" fmla="*/ 200 w 683"/>
                <a:gd name="T67" fmla="*/ 104 h 1102"/>
                <a:gd name="T68" fmla="*/ 147 w 683"/>
                <a:gd name="T69" fmla="*/ 158 h 1102"/>
                <a:gd name="T70" fmla="*/ 128 w 683"/>
                <a:gd name="T71" fmla="*/ 231 h 1102"/>
                <a:gd name="T72" fmla="*/ 139 w 683"/>
                <a:gd name="T73" fmla="*/ 292 h 1102"/>
                <a:gd name="T74" fmla="*/ 190 w 683"/>
                <a:gd name="T75" fmla="*/ 355 h 1102"/>
                <a:gd name="T76" fmla="*/ 287 w 683"/>
                <a:gd name="T77" fmla="*/ 417 h 1102"/>
                <a:gd name="T78" fmla="*/ 548 w 683"/>
                <a:gd name="T79" fmla="*/ 556 h 1102"/>
                <a:gd name="T80" fmla="*/ 631 w 683"/>
                <a:gd name="T81" fmla="*/ 633 h 1102"/>
                <a:gd name="T82" fmla="*/ 674 w 683"/>
                <a:gd name="T83" fmla="*/ 720 h 1102"/>
                <a:gd name="T84" fmla="*/ 683 w 683"/>
                <a:gd name="T85" fmla="*/ 792 h 1102"/>
                <a:gd name="T86" fmla="*/ 673 w 683"/>
                <a:gd name="T87" fmla="*/ 874 h 1102"/>
                <a:gd name="T88" fmla="*/ 642 w 683"/>
                <a:gd name="T89" fmla="*/ 947 h 1102"/>
                <a:gd name="T90" fmla="*/ 596 w 683"/>
                <a:gd name="T91" fmla="*/ 1007 h 1102"/>
                <a:gd name="T92" fmla="*/ 536 w 683"/>
                <a:gd name="T93" fmla="*/ 1053 h 1102"/>
                <a:gd name="T94" fmla="*/ 465 w 683"/>
                <a:gd name="T95" fmla="*/ 1085 h 1102"/>
                <a:gd name="T96" fmla="*/ 387 w 683"/>
                <a:gd name="T97" fmla="*/ 1100 h 1102"/>
                <a:gd name="T98" fmla="*/ 307 w 683"/>
                <a:gd name="T99" fmla="*/ 1099 h 1102"/>
                <a:gd name="T100" fmla="*/ 208 w 683"/>
                <a:gd name="T101" fmla="*/ 1073 h 1102"/>
                <a:gd name="T102" fmla="*/ 95 w 683"/>
                <a:gd name="T103" fmla="*/ 1024 h 1102"/>
                <a:gd name="T104" fmla="*/ 62 w 683"/>
                <a:gd name="T105" fmla="*/ 1044 h 1102"/>
                <a:gd name="T106" fmla="*/ 35 w 683"/>
                <a:gd name="T107" fmla="*/ 110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3" h="1102">
                  <a:moveTo>
                    <a:pt x="0" y="723"/>
                  </a:moveTo>
                  <a:lnTo>
                    <a:pt x="36" y="723"/>
                  </a:lnTo>
                  <a:lnTo>
                    <a:pt x="36" y="723"/>
                  </a:lnTo>
                  <a:lnTo>
                    <a:pt x="37" y="736"/>
                  </a:lnTo>
                  <a:lnTo>
                    <a:pt x="39" y="752"/>
                  </a:lnTo>
                  <a:lnTo>
                    <a:pt x="41" y="771"/>
                  </a:lnTo>
                  <a:lnTo>
                    <a:pt x="46" y="795"/>
                  </a:lnTo>
                  <a:lnTo>
                    <a:pt x="53" y="821"/>
                  </a:lnTo>
                  <a:lnTo>
                    <a:pt x="59" y="835"/>
                  </a:lnTo>
                  <a:lnTo>
                    <a:pt x="64" y="849"/>
                  </a:lnTo>
                  <a:lnTo>
                    <a:pt x="70" y="863"/>
                  </a:lnTo>
                  <a:lnTo>
                    <a:pt x="77" y="878"/>
                  </a:lnTo>
                  <a:lnTo>
                    <a:pt x="85" y="893"/>
                  </a:lnTo>
                  <a:lnTo>
                    <a:pt x="93" y="907"/>
                  </a:lnTo>
                  <a:lnTo>
                    <a:pt x="104" y="921"/>
                  </a:lnTo>
                  <a:lnTo>
                    <a:pt x="115" y="935"/>
                  </a:lnTo>
                  <a:lnTo>
                    <a:pt x="127" y="948"/>
                  </a:lnTo>
                  <a:lnTo>
                    <a:pt x="140" y="961"/>
                  </a:lnTo>
                  <a:lnTo>
                    <a:pt x="155" y="974"/>
                  </a:lnTo>
                  <a:lnTo>
                    <a:pt x="171" y="985"/>
                  </a:lnTo>
                  <a:lnTo>
                    <a:pt x="188" y="995"/>
                  </a:lnTo>
                  <a:lnTo>
                    <a:pt x="207" y="1004"/>
                  </a:lnTo>
                  <a:lnTo>
                    <a:pt x="227" y="1012"/>
                  </a:lnTo>
                  <a:lnTo>
                    <a:pt x="250" y="1020"/>
                  </a:lnTo>
                  <a:lnTo>
                    <a:pt x="273" y="1026"/>
                  </a:lnTo>
                  <a:lnTo>
                    <a:pt x="298" y="1030"/>
                  </a:lnTo>
                  <a:lnTo>
                    <a:pt x="325" y="1032"/>
                  </a:lnTo>
                  <a:lnTo>
                    <a:pt x="354" y="1033"/>
                  </a:lnTo>
                  <a:lnTo>
                    <a:pt x="354" y="1033"/>
                  </a:lnTo>
                  <a:lnTo>
                    <a:pt x="377" y="1032"/>
                  </a:lnTo>
                  <a:lnTo>
                    <a:pt x="398" y="1030"/>
                  </a:lnTo>
                  <a:lnTo>
                    <a:pt x="419" y="1025"/>
                  </a:lnTo>
                  <a:lnTo>
                    <a:pt x="439" y="1019"/>
                  </a:lnTo>
                  <a:lnTo>
                    <a:pt x="458" y="1011"/>
                  </a:lnTo>
                  <a:lnTo>
                    <a:pt x="476" y="1002"/>
                  </a:lnTo>
                  <a:lnTo>
                    <a:pt x="492" y="992"/>
                  </a:lnTo>
                  <a:lnTo>
                    <a:pt x="507" y="980"/>
                  </a:lnTo>
                  <a:lnTo>
                    <a:pt x="522" y="966"/>
                  </a:lnTo>
                  <a:lnTo>
                    <a:pt x="534" y="952"/>
                  </a:lnTo>
                  <a:lnTo>
                    <a:pt x="544" y="937"/>
                  </a:lnTo>
                  <a:lnTo>
                    <a:pt x="553" y="919"/>
                  </a:lnTo>
                  <a:lnTo>
                    <a:pt x="560" y="902"/>
                  </a:lnTo>
                  <a:lnTo>
                    <a:pt x="566" y="884"/>
                  </a:lnTo>
                  <a:lnTo>
                    <a:pt x="569" y="864"/>
                  </a:lnTo>
                  <a:lnTo>
                    <a:pt x="570" y="844"/>
                  </a:lnTo>
                  <a:lnTo>
                    <a:pt x="570" y="844"/>
                  </a:lnTo>
                  <a:lnTo>
                    <a:pt x="569" y="828"/>
                  </a:lnTo>
                  <a:lnTo>
                    <a:pt x="566" y="814"/>
                  </a:lnTo>
                  <a:lnTo>
                    <a:pt x="562" y="800"/>
                  </a:lnTo>
                  <a:lnTo>
                    <a:pt x="555" y="787"/>
                  </a:lnTo>
                  <a:lnTo>
                    <a:pt x="547" y="772"/>
                  </a:lnTo>
                  <a:lnTo>
                    <a:pt x="538" y="759"/>
                  </a:lnTo>
                  <a:lnTo>
                    <a:pt x="527" y="746"/>
                  </a:lnTo>
                  <a:lnTo>
                    <a:pt x="515" y="732"/>
                  </a:lnTo>
                  <a:lnTo>
                    <a:pt x="501" y="720"/>
                  </a:lnTo>
                  <a:lnTo>
                    <a:pt x="486" y="707"/>
                  </a:lnTo>
                  <a:lnTo>
                    <a:pt x="470" y="695"/>
                  </a:lnTo>
                  <a:lnTo>
                    <a:pt x="452" y="682"/>
                  </a:lnTo>
                  <a:lnTo>
                    <a:pt x="434" y="670"/>
                  </a:lnTo>
                  <a:lnTo>
                    <a:pt x="413" y="659"/>
                  </a:lnTo>
                  <a:lnTo>
                    <a:pt x="371" y="634"/>
                  </a:lnTo>
                  <a:lnTo>
                    <a:pt x="206" y="550"/>
                  </a:lnTo>
                  <a:lnTo>
                    <a:pt x="206" y="550"/>
                  </a:lnTo>
                  <a:lnTo>
                    <a:pt x="186" y="540"/>
                  </a:lnTo>
                  <a:lnTo>
                    <a:pt x="169" y="529"/>
                  </a:lnTo>
                  <a:lnTo>
                    <a:pt x="151" y="516"/>
                  </a:lnTo>
                  <a:lnTo>
                    <a:pt x="133" y="502"/>
                  </a:lnTo>
                  <a:lnTo>
                    <a:pt x="117" y="488"/>
                  </a:lnTo>
                  <a:lnTo>
                    <a:pt x="100" y="472"/>
                  </a:lnTo>
                  <a:lnTo>
                    <a:pt x="86" y="455"/>
                  </a:lnTo>
                  <a:lnTo>
                    <a:pt x="72" y="438"/>
                  </a:lnTo>
                  <a:lnTo>
                    <a:pt x="60" y="419"/>
                  </a:lnTo>
                  <a:lnTo>
                    <a:pt x="48" y="400"/>
                  </a:lnTo>
                  <a:lnTo>
                    <a:pt x="38" y="380"/>
                  </a:lnTo>
                  <a:lnTo>
                    <a:pt x="30" y="358"/>
                  </a:lnTo>
                  <a:lnTo>
                    <a:pt x="23" y="336"/>
                  </a:lnTo>
                  <a:lnTo>
                    <a:pt x="18" y="313"/>
                  </a:lnTo>
                  <a:lnTo>
                    <a:pt x="15" y="290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5" y="252"/>
                  </a:lnTo>
                  <a:lnTo>
                    <a:pt x="16" y="240"/>
                  </a:lnTo>
                  <a:lnTo>
                    <a:pt x="17" y="226"/>
                  </a:lnTo>
                  <a:lnTo>
                    <a:pt x="20" y="213"/>
                  </a:lnTo>
                  <a:lnTo>
                    <a:pt x="23" y="201"/>
                  </a:lnTo>
                  <a:lnTo>
                    <a:pt x="26" y="188"/>
                  </a:lnTo>
                  <a:lnTo>
                    <a:pt x="30" y="177"/>
                  </a:lnTo>
                  <a:lnTo>
                    <a:pt x="35" y="165"/>
                  </a:lnTo>
                  <a:lnTo>
                    <a:pt x="41" y="154"/>
                  </a:lnTo>
                  <a:lnTo>
                    <a:pt x="46" y="142"/>
                  </a:lnTo>
                  <a:lnTo>
                    <a:pt x="53" y="132"/>
                  </a:lnTo>
                  <a:lnTo>
                    <a:pt x="61" y="121"/>
                  </a:lnTo>
                  <a:lnTo>
                    <a:pt x="68" y="112"/>
                  </a:lnTo>
                  <a:lnTo>
                    <a:pt x="76" y="101"/>
                  </a:lnTo>
                  <a:lnTo>
                    <a:pt x="85" y="92"/>
                  </a:lnTo>
                  <a:lnTo>
                    <a:pt x="94" y="83"/>
                  </a:lnTo>
                  <a:lnTo>
                    <a:pt x="105" y="75"/>
                  </a:lnTo>
                  <a:lnTo>
                    <a:pt x="115" y="67"/>
                  </a:lnTo>
                  <a:lnTo>
                    <a:pt x="125" y="60"/>
                  </a:lnTo>
                  <a:lnTo>
                    <a:pt x="136" y="52"/>
                  </a:lnTo>
                  <a:lnTo>
                    <a:pt x="147" y="45"/>
                  </a:lnTo>
                  <a:lnTo>
                    <a:pt x="160" y="39"/>
                  </a:lnTo>
                  <a:lnTo>
                    <a:pt x="172" y="34"/>
                  </a:lnTo>
                  <a:lnTo>
                    <a:pt x="185" y="29"/>
                  </a:lnTo>
                  <a:lnTo>
                    <a:pt x="199" y="24"/>
                  </a:lnTo>
                  <a:lnTo>
                    <a:pt x="212" y="20"/>
                  </a:lnTo>
                  <a:lnTo>
                    <a:pt x="226" y="17"/>
                  </a:lnTo>
                  <a:lnTo>
                    <a:pt x="239" y="14"/>
                  </a:lnTo>
                  <a:lnTo>
                    <a:pt x="255" y="12"/>
                  </a:lnTo>
                  <a:lnTo>
                    <a:pt x="269" y="9"/>
                  </a:lnTo>
                  <a:lnTo>
                    <a:pt x="284" y="8"/>
                  </a:lnTo>
                  <a:lnTo>
                    <a:pt x="300" y="8"/>
                  </a:lnTo>
                  <a:lnTo>
                    <a:pt x="300" y="8"/>
                  </a:lnTo>
                  <a:lnTo>
                    <a:pt x="319" y="8"/>
                  </a:lnTo>
                  <a:lnTo>
                    <a:pt x="337" y="10"/>
                  </a:lnTo>
                  <a:lnTo>
                    <a:pt x="353" y="12"/>
                  </a:lnTo>
                  <a:lnTo>
                    <a:pt x="369" y="15"/>
                  </a:lnTo>
                  <a:lnTo>
                    <a:pt x="384" y="18"/>
                  </a:lnTo>
                  <a:lnTo>
                    <a:pt x="398" y="21"/>
                  </a:lnTo>
                  <a:lnTo>
                    <a:pt x="411" y="25"/>
                  </a:lnTo>
                  <a:lnTo>
                    <a:pt x="425" y="30"/>
                  </a:lnTo>
                  <a:lnTo>
                    <a:pt x="448" y="40"/>
                  </a:lnTo>
                  <a:lnTo>
                    <a:pt x="471" y="52"/>
                  </a:lnTo>
                  <a:lnTo>
                    <a:pt x="491" y="66"/>
                  </a:lnTo>
                  <a:lnTo>
                    <a:pt x="510" y="79"/>
                  </a:lnTo>
                  <a:lnTo>
                    <a:pt x="510" y="79"/>
                  </a:lnTo>
                  <a:lnTo>
                    <a:pt x="519" y="73"/>
                  </a:lnTo>
                  <a:lnTo>
                    <a:pt x="526" y="65"/>
                  </a:lnTo>
                  <a:lnTo>
                    <a:pt x="533" y="57"/>
                  </a:lnTo>
                  <a:lnTo>
                    <a:pt x="540" y="46"/>
                  </a:lnTo>
                  <a:lnTo>
                    <a:pt x="546" y="36"/>
                  </a:lnTo>
                  <a:lnTo>
                    <a:pt x="552" y="25"/>
                  </a:lnTo>
                  <a:lnTo>
                    <a:pt x="557" y="13"/>
                  </a:lnTo>
                  <a:lnTo>
                    <a:pt x="561" y="0"/>
                  </a:lnTo>
                  <a:lnTo>
                    <a:pt x="595" y="0"/>
                  </a:lnTo>
                  <a:lnTo>
                    <a:pt x="595" y="380"/>
                  </a:lnTo>
                  <a:lnTo>
                    <a:pt x="560" y="380"/>
                  </a:lnTo>
                  <a:lnTo>
                    <a:pt x="560" y="380"/>
                  </a:lnTo>
                  <a:lnTo>
                    <a:pt x="556" y="353"/>
                  </a:lnTo>
                  <a:lnTo>
                    <a:pt x="552" y="326"/>
                  </a:lnTo>
                  <a:lnTo>
                    <a:pt x="547" y="300"/>
                  </a:lnTo>
                  <a:lnTo>
                    <a:pt x="541" y="274"/>
                  </a:lnTo>
                  <a:lnTo>
                    <a:pt x="533" y="249"/>
                  </a:lnTo>
                  <a:lnTo>
                    <a:pt x="523" y="223"/>
                  </a:lnTo>
                  <a:lnTo>
                    <a:pt x="511" y="200"/>
                  </a:lnTo>
                  <a:lnTo>
                    <a:pt x="504" y="187"/>
                  </a:lnTo>
                  <a:lnTo>
                    <a:pt x="497" y="177"/>
                  </a:lnTo>
                  <a:lnTo>
                    <a:pt x="490" y="166"/>
                  </a:lnTo>
                  <a:lnTo>
                    <a:pt x="482" y="156"/>
                  </a:lnTo>
                  <a:lnTo>
                    <a:pt x="473" y="145"/>
                  </a:lnTo>
                  <a:lnTo>
                    <a:pt x="463" y="136"/>
                  </a:lnTo>
                  <a:lnTo>
                    <a:pt x="453" y="128"/>
                  </a:lnTo>
                  <a:lnTo>
                    <a:pt x="443" y="120"/>
                  </a:lnTo>
                  <a:lnTo>
                    <a:pt x="431" y="112"/>
                  </a:lnTo>
                  <a:lnTo>
                    <a:pt x="419" y="106"/>
                  </a:lnTo>
                  <a:lnTo>
                    <a:pt x="406" y="99"/>
                  </a:lnTo>
                  <a:lnTo>
                    <a:pt x="393" y="93"/>
                  </a:lnTo>
                  <a:lnTo>
                    <a:pt x="379" y="89"/>
                  </a:lnTo>
                  <a:lnTo>
                    <a:pt x="363" y="85"/>
                  </a:lnTo>
                  <a:lnTo>
                    <a:pt x="348" y="82"/>
                  </a:lnTo>
                  <a:lnTo>
                    <a:pt x="331" y="79"/>
                  </a:lnTo>
                  <a:lnTo>
                    <a:pt x="313" y="78"/>
                  </a:lnTo>
                  <a:lnTo>
                    <a:pt x="295" y="78"/>
                  </a:lnTo>
                  <a:lnTo>
                    <a:pt x="295" y="78"/>
                  </a:lnTo>
                  <a:lnTo>
                    <a:pt x="277" y="78"/>
                  </a:lnTo>
                  <a:lnTo>
                    <a:pt x="260" y="81"/>
                  </a:lnTo>
                  <a:lnTo>
                    <a:pt x="244" y="84"/>
                  </a:lnTo>
                  <a:lnTo>
                    <a:pt x="228" y="89"/>
                  </a:lnTo>
                  <a:lnTo>
                    <a:pt x="214" y="95"/>
                  </a:lnTo>
                  <a:lnTo>
                    <a:pt x="200" y="104"/>
                  </a:lnTo>
                  <a:lnTo>
                    <a:pt x="187" y="112"/>
                  </a:lnTo>
                  <a:lnTo>
                    <a:pt x="175" y="122"/>
                  </a:lnTo>
                  <a:lnTo>
                    <a:pt x="165" y="133"/>
                  </a:lnTo>
                  <a:lnTo>
                    <a:pt x="156" y="144"/>
                  </a:lnTo>
                  <a:lnTo>
                    <a:pt x="147" y="158"/>
                  </a:lnTo>
                  <a:lnTo>
                    <a:pt x="140" y="171"/>
                  </a:lnTo>
                  <a:lnTo>
                    <a:pt x="135" y="185"/>
                  </a:lnTo>
                  <a:lnTo>
                    <a:pt x="131" y="200"/>
                  </a:lnTo>
                  <a:lnTo>
                    <a:pt x="129" y="215"/>
                  </a:lnTo>
                  <a:lnTo>
                    <a:pt x="128" y="231"/>
                  </a:lnTo>
                  <a:lnTo>
                    <a:pt x="128" y="231"/>
                  </a:lnTo>
                  <a:lnTo>
                    <a:pt x="128" y="248"/>
                  </a:lnTo>
                  <a:lnTo>
                    <a:pt x="131" y="263"/>
                  </a:lnTo>
                  <a:lnTo>
                    <a:pt x="134" y="277"/>
                  </a:lnTo>
                  <a:lnTo>
                    <a:pt x="139" y="292"/>
                  </a:lnTo>
                  <a:lnTo>
                    <a:pt x="146" y="305"/>
                  </a:lnTo>
                  <a:lnTo>
                    <a:pt x="155" y="317"/>
                  </a:lnTo>
                  <a:lnTo>
                    <a:pt x="165" y="331"/>
                  </a:lnTo>
                  <a:lnTo>
                    <a:pt x="177" y="343"/>
                  </a:lnTo>
                  <a:lnTo>
                    <a:pt x="190" y="355"/>
                  </a:lnTo>
                  <a:lnTo>
                    <a:pt x="206" y="366"/>
                  </a:lnTo>
                  <a:lnTo>
                    <a:pt x="223" y="379"/>
                  </a:lnTo>
                  <a:lnTo>
                    <a:pt x="243" y="392"/>
                  </a:lnTo>
                  <a:lnTo>
                    <a:pt x="263" y="404"/>
                  </a:lnTo>
                  <a:lnTo>
                    <a:pt x="287" y="417"/>
                  </a:lnTo>
                  <a:lnTo>
                    <a:pt x="339" y="445"/>
                  </a:lnTo>
                  <a:lnTo>
                    <a:pt x="502" y="530"/>
                  </a:lnTo>
                  <a:lnTo>
                    <a:pt x="502" y="530"/>
                  </a:lnTo>
                  <a:lnTo>
                    <a:pt x="526" y="542"/>
                  </a:lnTo>
                  <a:lnTo>
                    <a:pt x="548" y="556"/>
                  </a:lnTo>
                  <a:lnTo>
                    <a:pt x="568" y="571"/>
                  </a:lnTo>
                  <a:lnTo>
                    <a:pt x="586" y="585"/>
                  </a:lnTo>
                  <a:lnTo>
                    <a:pt x="604" y="601"/>
                  </a:lnTo>
                  <a:lnTo>
                    <a:pt x="618" y="617"/>
                  </a:lnTo>
                  <a:lnTo>
                    <a:pt x="631" y="633"/>
                  </a:lnTo>
                  <a:lnTo>
                    <a:pt x="642" y="651"/>
                  </a:lnTo>
                  <a:lnTo>
                    <a:pt x="653" y="667"/>
                  </a:lnTo>
                  <a:lnTo>
                    <a:pt x="661" y="684"/>
                  </a:lnTo>
                  <a:lnTo>
                    <a:pt x="668" y="703"/>
                  </a:lnTo>
                  <a:lnTo>
                    <a:pt x="674" y="720"/>
                  </a:lnTo>
                  <a:lnTo>
                    <a:pt x="678" y="738"/>
                  </a:lnTo>
                  <a:lnTo>
                    <a:pt x="681" y="756"/>
                  </a:lnTo>
                  <a:lnTo>
                    <a:pt x="682" y="774"/>
                  </a:lnTo>
                  <a:lnTo>
                    <a:pt x="683" y="792"/>
                  </a:lnTo>
                  <a:lnTo>
                    <a:pt x="683" y="792"/>
                  </a:lnTo>
                  <a:lnTo>
                    <a:pt x="683" y="809"/>
                  </a:lnTo>
                  <a:lnTo>
                    <a:pt x="681" y="826"/>
                  </a:lnTo>
                  <a:lnTo>
                    <a:pt x="679" y="843"/>
                  </a:lnTo>
                  <a:lnTo>
                    <a:pt x="676" y="859"/>
                  </a:lnTo>
                  <a:lnTo>
                    <a:pt x="673" y="874"/>
                  </a:lnTo>
                  <a:lnTo>
                    <a:pt x="668" y="890"/>
                  </a:lnTo>
                  <a:lnTo>
                    <a:pt x="663" y="905"/>
                  </a:lnTo>
                  <a:lnTo>
                    <a:pt x="657" y="919"/>
                  </a:lnTo>
                  <a:lnTo>
                    <a:pt x="651" y="934"/>
                  </a:lnTo>
                  <a:lnTo>
                    <a:pt x="642" y="947"/>
                  </a:lnTo>
                  <a:lnTo>
                    <a:pt x="634" y="960"/>
                  </a:lnTo>
                  <a:lnTo>
                    <a:pt x="626" y="973"/>
                  </a:lnTo>
                  <a:lnTo>
                    <a:pt x="617" y="985"/>
                  </a:lnTo>
                  <a:lnTo>
                    <a:pt x="607" y="996"/>
                  </a:lnTo>
                  <a:lnTo>
                    <a:pt x="596" y="1007"/>
                  </a:lnTo>
                  <a:lnTo>
                    <a:pt x="585" y="1018"/>
                  </a:lnTo>
                  <a:lnTo>
                    <a:pt x="574" y="1028"/>
                  </a:lnTo>
                  <a:lnTo>
                    <a:pt x="562" y="1037"/>
                  </a:lnTo>
                  <a:lnTo>
                    <a:pt x="549" y="1045"/>
                  </a:lnTo>
                  <a:lnTo>
                    <a:pt x="536" y="1053"/>
                  </a:lnTo>
                  <a:lnTo>
                    <a:pt x="523" y="1062"/>
                  </a:lnTo>
                  <a:lnTo>
                    <a:pt x="509" y="1068"/>
                  </a:lnTo>
                  <a:lnTo>
                    <a:pt x="495" y="1075"/>
                  </a:lnTo>
                  <a:lnTo>
                    <a:pt x="480" y="1080"/>
                  </a:lnTo>
                  <a:lnTo>
                    <a:pt x="465" y="1085"/>
                  </a:lnTo>
                  <a:lnTo>
                    <a:pt x="450" y="1089"/>
                  </a:lnTo>
                  <a:lnTo>
                    <a:pt x="435" y="1093"/>
                  </a:lnTo>
                  <a:lnTo>
                    <a:pt x="419" y="1096"/>
                  </a:lnTo>
                  <a:lnTo>
                    <a:pt x="403" y="1099"/>
                  </a:lnTo>
                  <a:lnTo>
                    <a:pt x="387" y="1100"/>
                  </a:lnTo>
                  <a:lnTo>
                    <a:pt x="370" y="1101"/>
                  </a:lnTo>
                  <a:lnTo>
                    <a:pt x="354" y="1102"/>
                  </a:lnTo>
                  <a:lnTo>
                    <a:pt x="354" y="1102"/>
                  </a:lnTo>
                  <a:lnTo>
                    <a:pt x="329" y="1101"/>
                  </a:lnTo>
                  <a:lnTo>
                    <a:pt x="307" y="1099"/>
                  </a:lnTo>
                  <a:lnTo>
                    <a:pt x="286" y="1095"/>
                  </a:lnTo>
                  <a:lnTo>
                    <a:pt x="264" y="1091"/>
                  </a:lnTo>
                  <a:lnTo>
                    <a:pt x="245" y="1086"/>
                  </a:lnTo>
                  <a:lnTo>
                    <a:pt x="225" y="1080"/>
                  </a:lnTo>
                  <a:lnTo>
                    <a:pt x="208" y="1073"/>
                  </a:lnTo>
                  <a:lnTo>
                    <a:pt x="190" y="1067"/>
                  </a:lnTo>
                  <a:lnTo>
                    <a:pt x="160" y="1052"/>
                  </a:lnTo>
                  <a:lnTo>
                    <a:pt x="131" y="1039"/>
                  </a:lnTo>
                  <a:lnTo>
                    <a:pt x="107" y="1028"/>
                  </a:lnTo>
                  <a:lnTo>
                    <a:pt x="95" y="1024"/>
                  </a:lnTo>
                  <a:lnTo>
                    <a:pt x="85" y="1021"/>
                  </a:lnTo>
                  <a:lnTo>
                    <a:pt x="85" y="1021"/>
                  </a:lnTo>
                  <a:lnTo>
                    <a:pt x="77" y="1028"/>
                  </a:lnTo>
                  <a:lnTo>
                    <a:pt x="70" y="1036"/>
                  </a:lnTo>
                  <a:lnTo>
                    <a:pt x="62" y="1044"/>
                  </a:lnTo>
                  <a:lnTo>
                    <a:pt x="55" y="1053"/>
                  </a:lnTo>
                  <a:lnTo>
                    <a:pt x="49" y="1065"/>
                  </a:lnTo>
                  <a:lnTo>
                    <a:pt x="43" y="1076"/>
                  </a:lnTo>
                  <a:lnTo>
                    <a:pt x="38" y="1088"/>
                  </a:lnTo>
                  <a:lnTo>
                    <a:pt x="35" y="1102"/>
                  </a:lnTo>
                  <a:lnTo>
                    <a:pt x="0" y="1102"/>
                  </a:lnTo>
                  <a:lnTo>
                    <a:pt x="0" y="7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6" name="Freeform 24"/>
            <p:cNvSpPr>
              <a:spLocks noEditPoints="1"/>
            </p:cNvSpPr>
            <p:nvPr userDrawn="1"/>
          </p:nvSpPr>
          <p:spPr bwMode="auto">
            <a:xfrm>
              <a:off x="7310683" y="898692"/>
              <a:ext cx="133350" cy="136525"/>
            </a:xfrm>
            <a:custGeom>
              <a:avLst/>
              <a:gdLst>
                <a:gd name="T0" fmla="*/ 49 w 1009"/>
                <a:gd name="T1" fmla="*/ 997 h 1035"/>
                <a:gd name="T2" fmla="*/ 115 w 1009"/>
                <a:gd name="T3" fmla="*/ 981 h 1035"/>
                <a:gd name="T4" fmla="*/ 136 w 1009"/>
                <a:gd name="T5" fmla="*/ 962 h 1035"/>
                <a:gd name="T6" fmla="*/ 155 w 1009"/>
                <a:gd name="T7" fmla="*/ 920 h 1035"/>
                <a:gd name="T8" fmla="*/ 163 w 1009"/>
                <a:gd name="T9" fmla="*/ 827 h 1035"/>
                <a:gd name="T10" fmla="*/ 163 w 1009"/>
                <a:gd name="T11" fmla="*/ 206 h 1035"/>
                <a:gd name="T12" fmla="*/ 155 w 1009"/>
                <a:gd name="T13" fmla="*/ 114 h 1035"/>
                <a:gd name="T14" fmla="*/ 136 w 1009"/>
                <a:gd name="T15" fmla="*/ 72 h 1035"/>
                <a:gd name="T16" fmla="*/ 115 w 1009"/>
                <a:gd name="T17" fmla="*/ 54 h 1035"/>
                <a:gd name="T18" fmla="*/ 49 w 1009"/>
                <a:gd name="T19" fmla="*/ 38 h 1035"/>
                <a:gd name="T20" fmla="*/ 456 w 1009"/>
                <a:gd name="T21" fmla="*/ 0 h 1035"/>
                <a:gd name="T22" fmla="*/ 520 w 1009"/>
                <a:gd name="T23" fmla="*/ 3 h 1035"/>
                <a:gd name="T24" fmla="*/ 597 w 1009"/>
                <a:gd name="T25" fmla="*/ 17 h 1035"/>
                <a:gd name="T26" fmla="*/ 663 w 1009"/>
                <a:gd name="T27" fmla="*/ 42 h 1035"/>
                <a:gd name="T28" fmla="*/ 718 w 1009"/>
                <a:gd name="T29" fmla="*/ 76 h 1035"/>
                <a:gd name="T30" fmla="*/ 763 w 1009"/>
                <a:gd name="T31" fmla="*/ 118 h 1035"/>
                <a:gd name="T32" fmla="*/ 796 w 1009"/>
                <a:gd name="T33" fmla="*/ 166 h 1035"/>
                <a:gd name="T34" fmla="*/ 817 w 1009"/>
                <a:gd name="T35" fmla="*/ 219 h 1035"/>
                <a:gd name="T36" fmla="*/ 826 w 1009"/>
                <a:gd name="T37" fmla="*/ 276 h 1035"/>
                <a:gd name="T38" fmla="*/ 825 w 1009"/>
                <a:gd name="T39" fmla="*/ 319 h 1035"/>
                <a:gd name="T40" fmla="*/ 815 w 1009"/>
                <a:gd name="T41" fmla="*/ 372 h 1035"/>
                <a:gd name="T42" fmla="*/ 794 w 1009"/>
                <a:gd name="T43" fmla="*/ 421 h 1035"/>
                <a:gd name="T44" fmla="*/ 764 w 1009"/>
                <a:gd name="T45" fmla="*/ 465 h 1035"/>
                <a:gd name="T46" fmla="*/ 726 w 1009"/>
                <a:gd name="T47" fmla="*/ 503 h 1035"/>
                <a:gd name="T48" fmla="*/ 677 w 1009"/>
                <a:gd name="T49" fmla="*/ 535 h 1035"/>
                <a:gd name="T50" fmla="*/ 620 w 1009"/>
                <a:gd name="T51" fmla="*/ 559 h 1035"/>
                <a:gd name="T52" fmla="*/ 555 w 1009"/>
                <a:gd name="T53" fmla="*/ 576 h 1035"/>
                <a:gd name="T54" fmla="*/ 689 w 1009"/>
                <a:gd name="T55" fmla="*/ 779 h 1035"/>
                <a:gd name="T56" fmla="*/ 767 w 1009"/>
                <a:gd name="T57" fmla="*/ 863 h 1035"/>
                <a:gd name="T58" fmla="*/ 848 w 1009"/>
                <a:gd name="T59" fmla="*/ 929 h 1035"/>
                <a:gd name="T60" fmla="*/ 930 w 1009"/>
                <a:gd name="T61" fmla="*/ 977 h 1035"/>
                <a:gd name="T62" fmla="*/ 1009 w 1009"/>
                <a:gd name="T63" fmla="*/ 999 h 1035"/>
                <a:gd name="T64" fmla="*/ 302 w 1009"/>
                <a:gd name="T65" fmla="*/ 581 h 1035"/>
                <a:gd name="T66" fmla="*/ 303 w 1009"/>
                <a:gd name="T67" fmla="*/ 855 h 1035"/>
                <a:gd name="T68" fmla="*/ 316 w 1009"/>
                <a:gd name="T69" fmla="*/ 937 h 1035"/>
                <a:gd name="T70" fmla="*/ 335 w 1009"/>
                <a:gd name="T71" fmla="*/ 967 h 1035"/>
                <a:gd name="T72" fmla="*/ 365 w 1009"/>
                <a:gd name="T73" fmla="*/ 987 h 1035"/>
                <a:gd name="T74" fmla="*/ 440 w 1009"/>
                <a:gd name="T75" fmla="*/ 998 h 1035"/>
                <a:gd name="T76" fmla="*/ 0 w 1009"/>
                <a:gd name="T77" fmla="*/ 999 h 1035"/>
                <a:gd name="T78" fmla="*/ 494 w 1009"/>
                <a:gd name="T79" fmla="*/ 516 h 1035"/>
                <a:gd name="T80" fmla="*/ 541 w 1009"/>
                <a:gd name="T81" fmla="*/ 505 h 1035"/>
                <a:gd name="T82" fmla="*/ 580 w 1009"/>
                <a:gd name="T83" fmla="*/ 486 h 1035"/>
                <a:gd name="T84" fmla="*/ 633 w 1009"/>
                <a:gd name="T85" fmla="*/ 437 h 1035"/>
                <a:gd name="T86" fmla="*/ 665 w 1009"/>
                <a:gd name="T87" fmla="*/ 359 h 1035"/>
                <a:gd name="T88" fmla="*/ 672 w 1009"/>
                <a:gd name="T89" fmla="*/ 291 h 1035"/>
                <a:gd name="T90" fmla="*/ 660 w 1009"/>
                <a:gd name="T91" fmla="*/ 204 h 1035"/>
                <a:gd name="T92" fmla="*/ 619 w 1009"/>
                <a:gd name="T93" fmla="*/ 131 h 1035"/>
                <a:gd name="T94" fmla="*/ 571 w 1009"/>
                <a:gd name="T95" fmla="*/ 91 h 1035"/>
                <a:gd name="T96" fmla="*/ 529 w 1009"/>
                <a:gd name="T97" fmla="*/ 74 h 1035"/>
                <a:gd name="T98" fmla="*/ 481 w 1009"/>
                <a:gd name="T99" fmla="*/ 65 h 1035"/>
                <a:gd name="T100" fmla="*/ 302 w 1009"/>
                <a:gd name="T101" fmla="*/ 519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09" h="1035">
                  <a:moveTo>
                    <a:pt x="0" y="999"/>
                  </a:moveTo>
                  <a:lnTo>
                    <a:pt x="0" y="999"/>
                  </a:lnTo>
                  <a:lnTo>
                    <a:pt x="25" y="998"/>
                  </a:lnTo>
                  <a:lnTo>
                    <a:pt x="49" y="997"/>
                  </a:lnTo>
                  <a:lnTo>
                    <a:pt x="68" y="995"/>
                  </a:lnTo>
                  <a:lnTo>
                    <a:pt x="87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0" y="977"/>
                  </a:lnTo>
                  <a:lnTo>
                    <a:pt x="126" y="972"/>
                  </a:lnTo>
                  <a:lnTo>
                    <a:pt x="132" y="967"/>
                  </a:lnTo>
                  <a:lnTo>
                    <a:pt x="136" y="962"/>
                  </a:lnTo>
                  <a:lnTo>
                    <a:pt x="140" y="957"/>
                  </a:lnTo>
                  <a:lnTo>
                    <a:pt x="144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8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3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3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8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4" y="83"/>
                  </a:lnTo>
                  <a:lnTo>
                    <a:pt x="140" y="77"/>
                  </a:lnTo>
                  <a:lnTo>
                    <a:pt x="136" y="72"/>
                  </a:lnTo>
                  <a:lnTo>
                    <a:pt x="132" y="67"/>
                  </a:lnTo>
                  <a:lnTo>
                    <a:pt x="126" y="61"/>
                  </a:lnTo>
                  <a:lnTo>
                    <a:pt x="120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7" y="43"/>
                  </a:lnTo>
                  <a:lnTo>
                    <a:pt x="68" y="40"/>
                  </a:lnTo>
                  <a:lnTo>
                    <a:pt x="49" y="38"/>
                  </a:lnTo>
                  <a:lnTo>
                    <a:pt x="25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456" y="0"/>
                  </a:lnTo>
                  <a:lnTo>
                    <a:pt x="456" y="0"/>
                  </a:lnTo>
                  <a:lnTo>
                    <a:pt x="478" y="0"/>
                  </a:lnTo>
                  <a:lnTo>
                    <a:pt x="500" y="1"/>
                  </a:lnTo>
                  <a:lnTo>
                    <a:pt x="520" y="3"/>
                  </a:lnTo>
                  <a:lnTo>
                    <a:pt x="541" y="6"/>
                  </a:lnTo>
                  <a:lnTo>
                    <a:pt x="560" y="9"/>
                  </a:lnTo>
                  <a:lnTo>
                    <a:pt x="578" y="13"/>
                  </a:lnTo>
                  <a:lnTo>
                    <a:pt x="597" y="17"/>
                  </a:lnTo>
                  <a:lnTo>
                    <a:pt x="614" y="23"/>
                  </a:lnTo>
                  <a:lnTo>
                    <a:pt x="632" y="29"/>
                  </a:lnTo>
                  <a:lnTo>
                    <a:pt x="648" y="35"/>
                  </a:lnTo>
                  <a:lnTo>
                    <a:pt x="663" y="42"/>
                  </a:lnTo>
                  <a:lnTo>
                    <a:pt x="679" y="50"/>
                  </a:lnTo>
                  <a:lnTo>
                    <a:pt x="693" y="58"/>
                  </a:lnTo>
                  <a:lnTo>
                    <a:pt x="706" y="67"/>
                  </a:lnTo>
                  <a:lnTo>
                    <a:pt x="718" y="76"/>
                  </a:lnTo>
                  <a:lnTo>
                    <a:pt x="731" y="85"/>
                  </a:lnTo>
                  <a:lnTo>
                    <a:pt x="742" y="95"/>
                  </a:lnTo>
                  <a:lnTo>
                    <a:pt x="753" y="106"/>
                  </a:lnTo>
                  <a:lnTo>
                    <a:pt x="763" y="118"/>
                  </a:lnTo>
                  <a:lnTo>
                    <a:pt x="773" y="129"/>
                  </a:lnTo>
                  <a:lnTo>
                    <a:pt x="781" y="140"/>
                  </a:lnTo>
                  <a:lnTo>
                    <a:pt x="789" y="152"/>
                  </a:lnTo>
                  <a:lnTo>
                    <a:pt x="796" y="166"/>
                  </a:lnTo>
                  <a:lnTo>
                    <a:pt x="802" y="178"/>
                  </a:lnTo>
                  <a:lnTo>
                    <a:pt x="807" y="191"/>
                  </a:lnTo>
                  <a:lnTo>
                    <a:pt x="813" y="205"/>
                  </a:lnTo>
                  <a:lnTo>
                    <a:pt x="817" y="219"/>
                  </a:lnTo>
                  <a:lnTo>
                    <a:pt x="821" y="233"/>
                  </a:lnTo>
                  <a:lnTo>
                    <a:pt x="823" y="248"/>
                  </a:lnTo>
                  <a:lnTo>
                    <a:pt x="825" y="262"/>
                  </a:lnTo>
                  <a:lnTo>
                    <a:pt x="826" y="276"/>
                  </a:lnTo>
                  <a:lnTo>
                    <a:pt x="827" y="291"/>
                  </a:lnTo>
                  <a:lnTo>
                    <a:pt x="827" y="291"/>
                  </a:lnTo>
                  <a:lnTo>
                    <a:pt x="826" y="306"/>
                  </a:lnTo>
                  <a:lnTo>
                    <a:pt x="825" y="319"/>
                  </a:lnTo>
                  <a:lnTo>
                    <a:pt x="824" y="332"/>
                  </a:lnTo>
                  <a:lnTo>
                    <a:pt x="822" y="346"/>
                  </a:lnTo>
                  <a:lnTo>
                    <a:pt x="819" y="359"/>
                  </a:lnTo>
                  <a:lnTo>
                    <a:pt x="815" y="372"/>
                  </a:lnTo>
                  <a:lnTo>
                    <a:pt x="810" y="385"/>
                  </a:lnTo>
                  <a:lnTo>
                    <a:pt x="805" y="397"/>
                  </a:lnTo>
                  <a:lnTo>
                    <a:pt x="800" y="409"/>
                  </a:lnTo>
                  <a:lnTo>
                    <a:pt x="794" y="421"/>
                  </a:lnTo>
                  <a:lnTo>
                    <a:pt x="788" y="433"/>
                  </a:lnTo>
                  <a:lnTo>
                    <a:pt x="781" y="444"/>
                  </a:lnTo>
                  <a:lnTo>
                    <a:pt x="773" y="454"/>
                  </a:lnTo>
                  <a:lnTo>
                    <a:pt x="764" y="465"/>
                  </a:lnTo>
                  <a:lnTo>
                    <a:pt x="755" y="475"/>
                  </a:lnTo>
                  <a:lnTo>
                    <a:pt x="746" y="485"/>
                  </a:lnTo>
                  <a:lnTo>
                    <a:pt x="736" y="494"/>
                  </a:lnTo>
                  <a:lnTo>
                    <a:pt x="726" y="503"/>
                  </a:lnTo>
                  <a:lnTo>
                    <a:pt x="714" y="511"/>
                  </a:lnTo>
                  <a:lnTo>
                    <a:pt x="702" y="519"/>
                  </a:lnTo>
                  <a:lnTo>
                    <a:pt x="690" y="528"/>
                  </a:lnTo>
                  <a:lnTo>
                    <a:pt x="677" y="535"/>
                  </a:lnTo>
                  <a:lnTo>
                    <a:pt x="663" y="542"/>
                  </a:lnTo>
                  <a:lnTo>
                    <a:pt x="650" y="548"/>
                  </a:lnTo>
                  <a:lnTo>
                    <a:pt x="635" y="554"/>
                  </a:lnTo>
                  <a:lnTo>
                    <a:pt x="620" y="559"/>
                  </a:lnTo>
                  <a:lnTo>
                    <a:pt x="605" y="564"/>
                  </a:lnTo>
                  <a:lnTo>
                    <a:pt x="589" y="569"/>
                  </a:lnTo>
                  <a:lnTo>
                    <a:pt x="572" y="573"/>
                  </a:lnTo>
                  <a:lnTo>
                    <a:pt x="555" y="576"/>
                  </a:lnTo>
                  <a:lnTo>
                    <a:pt x="537" y="579"/>
                  </a:lnTo>
                  <a:lnTo>
                    <a:pt x="519" y="581"/>
                  </a:lnTo>
                  <a:lnTo>
                    <a:pt x="689" y="779"/>
                  </a:lnTo>
                  <a:lnTo>
                    <a:pt x="689" y="779"/>
                  </a:lnTo>
                  <a:lnTo>
                    <a:pt x="707" y="802"/>
                  </a:lnTo>
                  <a:lnTo>
                    <a:pt x="728" y="823"/>
                  </a:lnTo>
                  <a:lnTo>
                    <a:pt x="747" y="844"/>
                  </a:lnTo>
                  <a:lnTo>
                    <a:pt x="767" y="863"/>
                  </a:lnTo>
                  <a:lnTo>
                    <a:pt x="787" y="881"/>
                  </a:lnTo>
                  <a:lnTo>
                    <a:pt x="807" y="899"/>
                  </a:lnTo>
                  <a:lnTo>
                    <a:pt x="828" y="915"/>
                  </a:lnTo>
                  <a:lnTo>
                    <a:pt x="848" y="929"/>
                  </a:lnTo>
                  <a:lnTo>
                    <a:pt x="869" y="944"/>
                  </a:lnTo>
                  <a:lnTo>
                    <a:pt x="889" y="956"/>
                  </a:lnTo>
                  <a:lnTo>
                    <a:pt x="910" y="966"/>
                  </a:lnTo>
                  <a:lnTo>
                    <a:pt x="930" y="977"/>
                  </a:lnTo>
                  <a:lnTo>
                    <a:pt x="950" y="985"/>
                  </a:lnTo>
                  <a:lnTo>
                    <a:pt x="970" y="991"/>
                  </a:lnTo>
                  <a:lnTo>
                    <a:pt x="989" y="996"/>
                  </a:lnTo>
                  <a:lnTo>
                    <a:pt x="1009" y="999"/>
                  </a:lnTo>
                  <a:lnTo>
                    <a:pt x="1009" y="1035"/>
                  </a:lnTo>
                  <a:lnTo>
                    <a:pt x="725" y="1035"/>
                  </a:lnTo>
                  <a:lnTo>
                    <a:pt x="383" y="581"/>
                  </a:lnTo>
                  <a:lnTo>
                    <a:pt x="302" y="581"/>
                  </a:lnTo>
                  <a:lnTo>
                    <a:pt x="302" y="797"/>
                  </a:lnTo>
                  <a:lnTo>
                    <a:pt x="302" y="797"/>
                  </a:lnTo>
                  <a:lnTo>
                    <a:pt x="302" y="827"/>
                  </a:lnTo>
                  <a:lnTo>
                    <a:pt x="303" y="855"/>
                  </a:lnTo>
                  <a:lnTo>
                    <a:pt x="304" y="879"/>
                  </a:lnTo>
                  <a:lnTo>
                    <a:pt x="307" y="901"/>
                  </a:lnTo>
                  <a:lnTo>
                    <a:pt x="312" y="920"/>
                  </a:lnTo>
                  <a:lnTo>
                    <a:pt x="316" y="937"/>
                  </a:lnTo>
                  <a:lnTo>
                    <a:pt x="323" y="951"/>
                  </a:lnTo>
                  <a:lnTo>
                    <a:pt x="326" y="957"/>
                  </a:lnTo>
                  <a:lnTo>
                    <a:pt x="330" y="962"/>
                  </a:lnTo>
                  <a:lnTo>
                    <a:pt x="335" y="967"/>
                  </a:lnTo>
                  <a:lnTo>
                    <a:pt x="340" y="972"/>
                  </a:lnTo>
                  <a:lnTo>
                    <a:pt x="345" y="977"/>
                  </a:lnTo>
                  <a:lnTo>
                    <a:pt x="351" y="981"/>
                  </a:lnTo>
                  <a:lnTo>
                    <a:pt x="365" y="987"/>
                  </a:lnTo>
                  <a:lnTo>
                    <a:pt x="380" y="991"/>
                  </a:lnTo>
                  <a:lnTo>
                    <a:pt x="397" y="995"/>
                  </a:lnTo>
                  <a:lnTo>
                    <a:pt x="418" y="997"/>
                  </a:lnTo>
                  <a:lnTo>
                    <a:pt x="440" y="998"/>
                  </a:lnTo>
                  <a:lnTo>
                    <a:pt x="466" y="999"/>
                  </a:lnTo>
                  <a:lnTo>
                    <a:pt x="466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  <a:moveTo>
                    <a:pt x="454" y="519"/>
                  </a:moveTo>
                  <a:lnTo>
                    <a:pt x="454" y="519"/>
                  </a:lnTo>
                  <a:lnTo>
                    <a:pt x="481" y="517"/>
                  </a:lnTo>
                  <a:lnTo>
                    <a:pt x="494" y="516"/>
                  </a:lnTo>
                  <a:lnTo>
                    <a:pt x="507" y="514"/>
                  </a:lnTo>
                  <a:lnTo>
                    <a:pt x="518" y="512"/>
                  </a:lnTo>
                  <a:lnTo>
                    <a:pt x="529" y="509"/>
                  </a:lnTo>
                  <a:lnTo>
                    <a:pt x="541" y="505"/>
                  </a:lnTo>
                  <a:lnTo>
                    <a:pt x="552" y="501"/>
                  </a:lnTo>
                  <a:lnTo>
                    <a:pt x="561" y="497"/>
                  </a:lnTo>
                  <a:lnTo>
                    <a:pt x="571" y="492"/>
                  </a:lnTo>
                  <a:lnTo>
                    <a:pt x="580" y="486"/>
                  </a:lnTo>
                  <a:lnTo>
                    <a:pt x="589" y="481"/>
                  </a:lnTo>
                  <a:lnTo>
                    <a:pt x="605" y="467"/>
                  </a:lnTo>
                  <a:lnTo>
                    <a:pt x="619" y="452"/>
                  </a:lnTo>
                  <a:lnTo>
                    <a:pt x="633" y="437"/>
                  </a:lnTo>
                  <a:lnTo>
                    <a:pt x="643" y="418"/>
                  </a:lnTo>
                  <a:lnTo>
                    <a:pt x="652" y="400"/>
                  </a:lnTo>
                  <a:lnTo>
                    <a:pt x="660" y="380"/>
                  </a:lnTo>
                  <a:lnTo>
                    <a:pt x="665" y="359"/>
                  </a:lnTo>
                  <a:lnTo>
                    <a:pt x="669" y="338"/>
                  </a:lnTo>
                  <a:lnTo>
                    <a:pt x="672" y="315"/>
                  </a:lnTo>
                  <a:lnTo>
                    <a:pt x="672" y="291"/>
                  </a:lnTo>
                  <a:lnTo>
                    <a:pt x="672" y="291"/>
                  </a:lnTo>
                  <a:lnTo>
                    <a:pt x="672" y="268"/>
                  </a:lnTo>
                  <a:lnTo>
                    <a:pt x="669" y="245"/>
                  </a:lnTo>
                  <a:lnTo>
                    <a:pt x="665" y="224"/>
                  </a:lnTo>
                  <a:lnTo>
                    <a:pt x="660" y="204"/>
                  </a:lnTo>
                  <a:lnTo>
                    <a:pt x="652" y="183"/>
                  </a:lnTo>
                  <a:lnTo>
                    <a:pt x="643" y="165"/>
                  </a:lnTo>
                  <a:lnTo>
                    <a:pt x="633" y="147"/>
                  </a:lnTo>
                  <a:lnTo>
                    <a:pt x="619" y="131"/>
                  </a:lnTo>
                  <a:lnTo>
                    <a:pt x="605" y="117"/>
                  </a:lnTo>
                  <a:lnTo>
                    <a:pt x="589" y="103"/>
                  </a:lnTo>
                  <a:lnTo>
                    <a:pt x="580" y="97"/>
                  </a:lnTo>
                  <a:lnTo>
                    <a:pt x="571" y="91"/>
                  </a:lnTo>
                  <a:lnTo>
                    <a:pt x="561" y="86"/>
                  </a:lnTo>
                  <a:lnTo>
                    <a:pt x="552" y="82"/>
                  </a:lnTo>
                  <a:lnTo>
                    <a:pt x="541" y="78"/>
                  </a:lnTo>
                  <a:lnTo>
                    <a:pt x="529" y="74"/>
                  </a:lnTo>
                  <a:lnTo>
                    <a:pt x="518" y="71"/>
                  </a:lnTo>
                  <a:lnTo>
                    <a:pt x="507" y="69"/>
                  </a:lnTo>
                  <a:lnTo>
                    <a:pt x="494" y="67"/>
                  </a:lnTo>
                  <a:lnTo>
                    <a:pt x="481" y="65"/>
                  </a:lnTo>
                  <a:lnTo>
                    <a:pt x="468" y="63"/>
                  </a:lnTo>
                  <a:lnTo>
                    <a:pt x="454" y="63"/>
                  </a:lnTo>
                  <a:lnTo>
                    <a:pt x="302" y="63"/>
                  </a:lnTo>
                  <a:lnTo>
                    <a:pt x="302" y="519"/>
                  </a:lnTo>
                  <a:lnTo>
                    <a:pt x="454" y="5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7" name="Freeform 25"/>
            <p:cNvSpPr>
              <a:spLocks noEditPoints="1"/>
            </p:cNvSpPr>
            <p:nvPr userDrawn="1"/>
          </p:nvSpPr>
          <p:spPr bwMode="auto">
            <a:xfrm>
              <a:off x="7451971" y="843129"/>
              <a:ext cx="157162" cy="192088"/>
            </a:xfrm>
            <a:custGeom>
              <a:avLst/>
              <a:gdLst>
                <a:gd name="T0" fmla="*/ 48 w 1195"/>
                <a:gd name="T1" fmla="*/ 1411 h 1449"/>
                <a:gd name="T2" fmla="*/ 115 w 1195"/>
                <a:gd name="T3" fmla="*/ 1397 h 1449"/>
                <a:gd name="T4" fmla="*/ 157 w 1195"/>
                <a:gd name="T5" fmla="*/ 1363 h 1449"/>
                <a:gd name="T6" fmla="*/ 188 w 1195"/>
                <a:gd name="T7" fmla="*/ 1304 h 1449"/>
                <a:gd name="T8" fmla="*/ 990 w 1195"/>
                <a:gd name="T9" fmla="*/ 1263 h 1449"/>
                <a:gd name="T10" fmla="*/ 1025 w 1195"/>
                <a:gd name="T11" fmla="*/ 1337 h 1449"/>
                <a:gd name="T12" fmla="*/ 1059 w 1195"/>
                <a:gd name="T13" fmla="*/ 1383 h 1449"/>
                <a:gd name="T14" fmla="*/ 1111 w 1195"/>
                <a:gd name="T15" fmla="*/ 1406 h 1449"/>
                <a:gd name="T16" fmla="*/ 1195 w 1195"/>
                <a:gd name="T17" fmla="*/ 1413 h 1449"/>
                <a:gd name="T18" fmla="*/ 718 w 1195"/>
                <a:gd name="T19" fmla="*/ 1413 h 1449"/>
                <a:gd name="T20" fmla="*/ 805 w 1195"/>
                <a:gd name="T21" fmla="*/ 1406 h 1449"/>
                <a:gd name="T22" fmla="*/ 854 w 1195"/>
                <a:gd name="T23" fmla="*/ 1382 h 1449"/>
                <a:gd name="T24" fmla="*/ 868 w 1195"/>
                <a:gd name="T25" fmla="*/ 1342 h 1449"/>
                <a:gd name="T26" fmla="*/ 852 w 1195"/>
                <a:gd name="T27" fmla="*/ 1281 h 1449"/>
                <a:gd name="T28" fmla="*/ 269 w 1195"/>
                <a:gd name="T29" fmla="*/ 1281 h 1449"/>
                <a:gd name="T30" fmla="*/ 253 w 1195"/>
                <a:gd name="T31" fmla="*/ 1341 h 1449"/>
                <a:gd name="T32" fmla="*/ 267 w 1195"/>
                <a:gd name="T33" fmla="*/ 1382 h 1449"/>
                <a:gd name="T34" fmla="*/ 316 w 1195"/>
                <a:gd name="T35" fmla="*/ 1405 h 1449"/>
                <a:gd name="T36" fmla="*/ 404 w 1195"/>
                <a:gd name="T37" fmla="*/ 1413 h 1449"/>
                <a:gd name="T38" fmla="*/ 740 w 1195"/>
                <a:gd name="T39" fmla="*/ 1027 h 1449"/>
                <a:gd name="T40" fmla="*/ 450 w 1195"/>
                <a:gd name="T41" fmla="*/ 141 h 1449"/>
                <a:gd name="T42" fmla="*/ 456 w 1195"/>
                <a:gd name="T43" fmla="*/ 99 h 1449"/>
                <a:gd name="T44" fmla="*/ 482 w 1195"/>
                <a:gd name="T45" fmla="*/ 51 h 1449"/>
                <a:gd name="T46" fmla="*/ 524 w 1195"/>
                <a:gd name="T47" fmla="*/ 17 h 1449"/>
                <a:gd name="T48" fmla="*/ 577 w 1195"/>
                <a:gd name="T49" fmla="*/ 1 h 1449"/>
                <a:gd name="T50" fmla="*/ 621 w 1195"/>
                <a:gd name="T51" fmla="*/ 3 h 1449"/>
                <a:gd name="T52" fmla="*/ 672 w 1195"/>
                <a:gd name="T53" fmla="*/ 25 h 1449"/>
                <a:gd name="T54" fmla="*/ 711 w 1195"/>
                <a:gd name="T55" fmla="*/ 62 h 1449"/>
                <a:gd name="T56" fmla="*/ 732 w 1195"/>
                <a:gd name="T57" fmla="*/ 112 h 1449"/>
                <a:gd name="T58" fmla="*/ 734 w 1195"/>
                <a:gd name="T59" fmla="*/ 156 h 1449"/>
                <a:gd name="T60" fmla="*/ 718 w 1195"/>
                <a:gd name="T61" fmla="*/ 210 h 1449"/>
                <a:gd name="T62" fmla="*/ 683 w 1195"/>
                <a:gd name="T63" fmla="*/ 252 h 1449"/>
                <a:gd name="T64" fmla="*/ 634 w 1195"/>
                <a:gd name="T65" fmla="*/ 278 h 1449"/>
                <a:gd name="T66" fmla="*/ 591 w 1195"/>
                <a:gd name="T67" fmla="*/ 284 h 1449"/>
                <a:gd name="T68" fmla="*/ 536 w 1195"/>
                <a:gd name="T69" fmla="*/ 273 h 1449"/>
                <a:gd name="T70" fmla="*/ 491 w 1195"/>
                <a:gd name="T71" fmla="*/ 242 h 1449"/>
                <a:gd name="T72" fmla="*/ 461 w 1195"/>
                <a:gd name="T73" fmla="*/ 197 h 1449"/>
                <a:gd name="T74" fmla="*/ 450 w 1195"/>
                <a:gd name="T75" fmla="*/ 141 h 1449"/>
                <a:gd name="T76" fmla="*/ 671 w 1195"/>
                <a:gd name="T77" fmla="*/ 133 h 1449"/>
                <a:gd name="T78" fmla="*/ 662 w 1195"/>
                <a:gd name="T79" fmla="*/ 104 h 1449"/>
                <a:gd name="T80" fmla="*/ 642 w 1195"/>
                <a:gd name="T81" fmla="*/ 82 h 1449"/>
                <a:gd name="T82" fmla="*/ 615 w 1195"/>
                <a:gd name="T83" fmla="*/ 67 h 1449"/>
                <a:gd name="T84" fmla="*/ 591 w 1195"/>
                <a:gd name="T85" fmla="*/ 63 h 1449"/>
                <a:gd name="T86" fmla="*/ 562 w 1195"/>
                <a:gd name="T87" fmla="*/ 70 h 1449"/>
                <a:gd name="T88" fmla="*/ 536 w 1195"/>
                <a:gd name="T89" fmla="*/ 86 h 1449"/>
                <a:gd name="T90" fmla="*/ 519 w 1195"/>
                <a:gd name="T91" fmla="*/ 111 h 1449"/>
                <a:gd name="T92" fmla="*/ 512 w 1195"/>
                <a:gd name="T93" fmla="*/ 141 h 1449"/>
                <a:gd name="T94" fmla="*/ 516 w 1195"/>
                <a:gd name="T95" fmla="*/ 165 h 1449"/>
                <a:gd name="T96" fmla="*/ 531 w 1195"/>
                <a:gd name="T97" fmla="*/ 191 h 1449"/>
                <a:gd name="T98" fmla="*/ 554 w 1195"/>
                <a:gd name="T99" fmla="*/ 211 h 1449"/>
                <a:gd name="T100" fmla="*/ 584 w 1195"/>
                <a:gd name="T101" fmla="*/ 220 h 1449"/>
                <a:gd name="T102" fmla="*/ 608 w 1195"/>
                <a:gd name="T103" fmla="*/ 219 h 1449"/>
                <a:gd name="T104" fmla="*/ 636 w 1195"/>
                <a:gd name="T105" fmla="*/ 207 h 1449"/>
                <a:gd name="T106" fmla="*/ 658 w 1195"/>
                <a:gd name="T107" fmla="*/ 185 h 1449"/>
                <a:gd name="T108" fmla="*/ 669 w 1195"/>
                <a:gd name="T109" fmla="*/ 157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95" h="1449">
                  <a:moveTo>
                    <a:pt x="0" y="1413"/>
                  </a:moveTo>
                  <a:lnTo>
                    <a:pt x="0" y="1413"/>
                  </a:lnTo>
                  <a:lnTo>
                    <a:pt x="26" y="1412"/>
                  </a:lnTo>
                  <a:lnTo>
                    <a:pt x="48" y="1411"/>
                  </a:lnTo>
                  <a:lnTo>
                    <a:pt x="69" y="1409"/>
                  </a:lnTo>
                  <a:lnTo>
                    <a:pt x="86" y="1406"/>
                  </a:lnTo>
                  <a:lnTo>
                    <a:pt x="101" y="1402"/>
                  </a:lnTo>
                  <a:lnTo>
                    <a:pt x="115" y="1397"/>
                  </a:lnTo>
                  <a:lnTo>
                    <a:pt x="127" y="1391"/>
                  </a:lnTo>
                  <a:lnTo>
                    <a:pt x="138" y="1383"/>
                  </a:lnTo>
                  <a:lnTo>
                    <a:pt x="147" y="1374"/>
                  </a:lnTo>
                  <a:lnTo>
                    <a:pt x="157" y="1363"/>
                  </a:lnTo>
                  <a:lnTo>
                    <a:pt x="165" y="1351"/>
                  </a:lnTo>
                  <a:lnTo>
                    <a:pt x="172" y="1337"/>
                  </a:lnTo>
                  <a:lnTo>
                    <a:pt x="180" y="1321"/>
                  </a:lnTo>
                  <a:lnTo>
                    <a:pt x="188" y="1304"/>
                  </a:lnTo>
                  <a:lnTo>
                    <a:pt x="207" y="1263"/>
                  </a:lnTo>
                  <a:lnTo>
                    <a:pt x="586" y="384"/>
                  </a:lnTo>
                  <a:lnTo>
                    <a:pt x="609" y="384"/>
                  </a:lnTo>
                  <a:lnTo>
                    <a:pt x="990" y="1263"/>
                  </a:lnTo>
                  <a:lnTo>
                    <a:pt x="990" y="1263"/>
                  </a:lnTo>
                  <a:lnTo>
                    <a:pt x="1008" y="1304"/>
                  </a:lnTo>
                  <a:lnTo>
                    <a:pt x="1017" y="1321"/>
                  </a:lnTo>
                  <a:lnTo>
                    <a:pt x="1025" y="1337"/>
                  </a:lnTo>
                  <a:lnTo>
                    <a:pt x="1033" y="1351"/>
                  </a:lnTo>
                  <a:lnTo>
                    <a:pt x="1041" y="1363"/>
                  </a:lnTo>
                  <a:lnTo>
                    <a:pt x="1049" y="1374"/>
                  </a:lnTo>
                  <a:lnTo>
                    <a:pt x="1059" y="1383"/>
                  </a:lnTo>
                  <a:lnTo>
                    <a:pt x="1070" y="1391"/>
                  </a:lnTo>
                  <a:lnTo>
                    <a:pt x="1082" y="1397"/>
                  </a:lnTo>
                  <a:lnTo>
                    <a:pt x="1095" y="1402"/>
                  </a:lnTo>
                  <a:lnTo>
                    <a:pt x="1111" y="1406"/>
                  </a:lnTo>
                  <a:lnTo>
                    <a:pt x="1128" y="1409"/>
                  </a:lnTo>
                  <a:lnTo>
                    <a:pt x="1147" y="1411"/>
                  </a:lnTo>
                  <a:lnTo>
                    <a:pt x="1170" y="1412"/>
                  </a:lnTo>
                  <a:lnTo>
                    <a:pt x="1195" y="1413"/>
                  </a:lnTo>
                  <a:lnTo>
                    <a:pt x="1195" y="1449"/>
                  </a:lnTo>
                  <a:lnTo>
                    <a:pt x="718" y="1449"/>
                  </a:lnTo>
                  <a:lnTo>
                    <a:pt x="718" y="1413"/>
                  </a:lnTo>
                  <a:lnTo>
                    <a:pt x="718" y="1413"/>
                  </a:lnTo>
                  <a:lnTo>
                    <a:pt x="744" y="1412"/>
                  </a:lnTo>
                  <a:lnTo>
                    <a:pt x="766" y="1411"/>
                  </a:lnTo>
                  <a:lnTo>
                    <a:pt x="786" y="1409"/>
                  </a:lnTo>
                  <a:lnTo>
                    <a:pt x="805" y="1406"/>
                  </a:lnTo>
                  <a:lnTo>
                    <a:pt x="820" y="1402"/>
                  </a:lnTo>
                  <a:lnTo>
                    <a:pt x="834" y="1397"/>
                  </a:lnTo>
                  <a:lnTo>
                    <a:pt x="845" y="1390"/>
                  </a:lnTo>
                  <a:lnTo>
                    <a:pt x="854" y="1382"/>
                  </a:lnTo>
                  <a:lnTo>
                    <a:pt x="861" y="1374"/>
                  </a:lnTo>
                  <a:lnTo>
                    <a:pt x="865" y="1365"/>
                  </a:lnTo>
                  <a:lnTo>
                    <a:pt x="868" y="1354"/>
                  </a:lnTo>
                  <a:lnTo>
                    <a:pt x="868" y="1342"/>
                  </a:lnTo>
                  <a:lnTo>
                    <a:pt x="867" y="1329"/>
                  </a:lnTo>
                  <a:lnTo>
                    <a:pt x="864" y="1315"/>
                  </a:lnTo>
                  <a:lnTo>
                    <a:pt x="859" y="1299"/>
                  </a:lnTo>
                  <a:lnTo>
                    <a:pt x="852" y="1281"/>
                  </a:lnTo>
                  <a:lnTo>
                    <a:pt x="769" y="1090"/>
                  </a:lnTo>
                  <a:lnTo>
                    <a:pt x="352" y="1090"/>
                  </a:lnTo>
                  <a:lnTo>
                    <a:pt x="269" y="1281"/>
                  </a:lnTo>
                  <a:lnTo>
                    <a:pt x="269" y="1281"/>
                  </a:lnTo>
                  <a:lnTo>
                    <a:pt x="262" y="1299"/>
                  </a:lnTo>
                  <a:lnTo>
                    <a:pt x="257" y="1314"/>
                  </a:lnTo>
                  <a:lnTo>
                    <a:pt x="254" y="1328"/>
                  </a:lnTo>
                  <a:lnTo>
                    <a:pt x="253" y="1341"/>
                  </a:lnTo>
                  <a:lnTo>
                    <a:pt x="253" y="1353"/>
                  </a:lnTo>
                  <a:lnTo>
                    <a:pt x="256" y="1364"/>
                  </a:lnTo>
                  <a:lnTo>
                    <a:pt x="260" y="1373"/>
                  </a:lnTo>
                  <a:lnTo>
                    <a:pt x="267" y="1382"/>
                  </a:lnTo>
                  <a:lnTo>
                    <a:pt x="276" y="1390"/>
                  </a:lnTo>
                  <a:lnTo>
                    <a:pt x="287" y="1396"/>
                  </a:lnTo>
                  <a:lnTo>
                    <a:pt x="301" y="1401"/>
                  </a:lnTo>
                  <a:lnTo>
                    <a:pt x="316" y="1405"/>
                  </a:lnTo>
                  <a:lnTo>
                    <a:pt x="335" y="1409"/>
                  </a:lnTo>
                  <a:lnTo>
                    <a:pt x="355" y="1411"/>
                  </a:lnTo>
                  <a:lnTo>
                    <a:pt x="378" y="1412"/>
                  </a:lnTo>
                  <a:lnTo>
                    <a:pt x="404" y="1413"/>
                  </a:lnTo>
                  <a:lnTo>
                    <a:pt x="404" y="1449"/>
                  </a:lnTo>
                  <a:lnTo>
                    <a:pt x="0" y="1449"/>
                  </a:lnTo>
                  <a:lnTo>
                    <a:pt x="0" y="1413"/>
                  </a:lnTo>
                  <a:close/>
                  <a:moveTo>
                    <a:pt x="740" y="1027"/>
                  </a:moveTo>
                  <a:lnTo>
                    <a:pt x="558" y="610"/>
                  </a:lnTo>
                  <a:lnTo>
                    <a:pt x="380" y="1027"/>
                  </a:lnTo>
                  <a:lnTo>
                    <a:pt x="740" y="1027"/>
                  </a:lnTo>
                  <a:close/>
                  <a:moveTo>
                    <a:pt x="450" y="141"/>
                  </a:moveTo>
                  <a:lnTo>
                    <a:pt x="450" y="141"/>
                  </a:lnTo>
                  <a:lnTo>
                    <a:pt x="451" y="127"/>
                  </a:lnTo>
                  <a:lnTo>
                    <a:pt x="453" y="112"/>
                  </a:lnTo>
                  <a:lnTo>
                    <a:pt x="456" y="99"/>
                  </a:lnTo>
                  <a:lnTo>
                    <a:pt x="461" y="87"/>
                  </a:lnTo>
                  <a:lnTo>
                    <a:pt x="467" y="74"/>
                  </a:lnTo>
                  <a:lnTo>
                    <a:pt x="474" y="62"/>
                  </a:lnTo>
                  <a:lnTo>
                    <a:pt x="482" y="51"/>
                  </a:lnTo>
                  <a:lnTo>
                    <a:pt x="491" y="42"/>
                  </a:lnTo>
                  <a:lnTo>
                    <a:pt x="501" y="33"/>
                  </a:lnTo>
                  <a:lnTo>
                    <a:pt x="512" y="25"/>
                  </a:lnTo>
                  <a:lnTo>
                    <a:pt x="524" y="17"/>
                  </a:lnTo>
                  <a:lnTo>
                    <a:pt x="536" y="11"/>
                  </a:lnTo>
                  <a:lnTo>
                    <a:pt x="549" y="6"/>
                  </a:lnTo>
                  <a:lnTo>
                    <a:pt x="563" y="3"/>
                  </a:lnTo>
                  <a:lnTo>
                    <a:pt x="577" y="1"/>
                  </a:lnTo>
                  <a:lnTo>
                    <a:pt x="591" y="0"/>
                  </a:lnTo>
                  <a:lnTo>
                    <a:pt x="591" y="0"/>
                  </a:lnTo>
                  <a:lnTo>
                    <a:pt x="607" y="1"/>
                  </a:lnTo>
                  <a:lnTo>
                    <a:pt x="621" y="3"/>
                  </a:lnTo>
                  <a:lnTo>
                    <a:pt x="634" y="6"/>
                  </a:lnTo>
                  <a:lnTo>
                    <a:pt x="647" y="11"/>
                  </a:lnTo>
                  <a:lnTo>
                    <a:pt x="660" y="17"/>
                  </a:lnTo>
                  <a:lnTo>
                    <a:pt x="672" y="25"/>
                  </a:lnTo>
                  <a:lnTo>
                    <a:pt x="683" y="33"/>
                  </a:lnTo>
                  <a:lnTo>
                    <a:pt x="693" y="42"/>
                  </a:lnTo>
                  <a:lnTo>
                    <a:pt x="703" y="51"/>
                  </a:lnTo>
                  <a:lnTo>
                    <a:pt x="711" y="62"/>
                  </a:lnTo>
                  <a:lnTo>
                    <a:pt x="718" y="74"/>
                  </a:lnTo>
                  <a:lnTo>
                    <a:pt x="724" y="87"/>
                  </a:lnTo>
                  <a:lnTo>
                    <a:pt x="728" y="99"/>
                  </a:lnTo>
                  <a:lnTo>
                    <a:pt x="732" y="112"/>
                  </a:lnTo>
                  <a:lnTo>
                    <a:pt x="734" y="127"/>
                  </a:lnTo>
                  <a:lnTo>
                    <a:pt x="735" y="141"/>
                  </a:lnTo>
                  <a:lnTo>
                    <a:pt x="735" y="141"/>
                  </a:lnTo>
                  <a:lnTo>
                    <a:pt x="734" y="156"/>
                  </a:lnTo>
                  <a:lnTo>
                    <a:pt x="732" y="170"/>
                  </a:lnTo>
                  <a:lnTo>
                    <a:pt x="728" y="184"/>
                  </a:lnTo>
                  <a:lnTo>
                    <a:pt x="724" y="197"/>
                  </a:lnTo>
                  <a:lnTo>
                    <a:pt x="718" y="210"/>
                  </a:lnTo>
                  <a:lnTo>
                    <a:pt x="711" y="222"/>
                  </a:lnTo>
                  <a:lnTo>
                    <a:pt x="703" y="232"/>
                  </a:lnTo>
                  <a:lnTo>
                    <a:pt x="693" y="242"/>
                  </a:lnTo>
                  <a:lnTo>
                    <a:pt x="683" y="252"/>
                  </a:lnTo>
                  <a:lnTo>
                    <a:pt x="672" y="260"/>
                  </a:lnTo>
                  <a:lnTo>
                    <a:pt x="660" y="267"/>
                  </a:lnTo>
                  <a:lnTo>
                    <a:pt x="647" y="273"/>
                  </a:lnTo>
                  <a:lnTo>
                    <a:pt x="634" y="278"/>
                  </a:lnTo>
                  <a:lnTo>
                    <a:pt x="621" y="281"/>
                  </a:lnTo>
                  <a:lnTo>
                    <a:pt x="607" y="284"/>
                  </a:lnTo>
                  <a:lnTo>
                    <a:pt x="591" y="284"/>
                  </a:lnTo>
                  <a:lnTo>
                    <a:pt x="591" y="284"/>
                  </a:lnTo>
                  <a:lnTo>
                    <a:pt x="577" y="284"/>
                  </a:lnTo>
                  <a:lnTo>
                    <a:pt x="563" y="281"/>
                  </a:lnTo>
                  <a:lnTo>
                    <a:pt x="549" y="278"/>
                  </a:lnTo>
                  <a:lnTo>
                    <a:pt x="536" y="273"/>
                  </a:lnTo>
                  <a:lnTo>
                    <a:pt x="524" y="267"/>
                  </a:lnTo>
                  <a:lnTo>
                    <a:pt x="512" y="260"/>
                  </a:lnTo>
                  <a:lnTo>
                    <a:pt x="501" y="252"/>
                  </a:lnTo>
                  <a:lnTo>
                    <a:pt x="491" y="242"/>
                  </a:lnTo>
                  <a:lnTo>
                    <a:pt x="482" y="232"/>
                  </a:lnTo>
                  <a:lnTo>
                    <a:pt x="474" y="222"/>
                  </a:lnTo>
                  <a:lnTo>
                    <a:pt x="467" y="210"/>
                  </a:lnTo>
                  <a:lnTo>
                    <a:pt x="461" y="197"/>
                  </a:lnTo>
                  <a:lnTo>
                    <a:pt x="456" y="184"/>
                  </a:lnTo>
                  <a:lnTo>
                    <a:pt x="453" y="170"/>
                  </a:lnTo>
                  <a:lnTo>
                    <a:pt x="451" y="156"/>
                  </a:lnTo>
                  <a:lnTo>
                    <a:pt x="450" y="141"/>
                  </a:lnTo>
                  <a:lnTo>
                    <a:pt x="450" y="141"/>
                  </a:lnTo>
                  <a:close/>
                  <a:moveTo>
                    <a:pt x="671" y="141"/>
                  </a:moveTo>
                  <a:lnTo>
                    <a:pt x="671" y="141"/>
                  </a:lnTo>
                  <a:lnTo>
                    <a:pt x="671" y="133"/>
                  </a:lnTo>
                  <a:lnTo>
                    <a:pt x="669" y="126"/>
                  </a:lnTo>
                  <a:lnTo>
                    <a:pt x="668" y="119"/>
                  </a:lnTo>
                  <a:lnTo>
                    <a:pt x="665" y="111"/>
                  </a:lnTo>
                  <a:lnTo>
                    <a:pt x="662" y="104"/>
                  </a:lnTo>
                  <a:lnTo>
                    <a:pt x="658" y="98"/>
                  </a:lnTo>
                  <a:lnTo>
                    <a:pt x="653" y="92"/>
                  </a:lnTo>
                  <a:lnTo>
                    <a:pt x="647" y="86"/>
                  </a:lnTo>
                  <a:lnTo>
                    <a:pt x="642" y="82"/>
                  </a:lnTo>
                  <a:lnTo>
                    <a:pt x="636" y="77"/>
                  </a:lnTo>
                  <a:lnTo>
                    <a:pt x="629" y="73"/>
                  </a:lnTo>
                  <a:lnTo>
                    <a:pt x="622" y="70"/>
                  </a:lnTo>
                  <a:lnTo>
                    <a:pt x="615" y="67"/>
                  </a:lnTo>
                  <a:lnTo>
                    <a:pt x="608" y="65"/>
                  </a:lnTo>
                  <a:lnTo>
                    <a:pt x="599" y="64"/>
                  </a:lnTo>
                  <a:lnTo>
                    <a:pt x="591" y="63"/>
                  </a:lnTo>
                  <a:lnTo>
                    <a:pt x="591" y="63"/>
                  </a:lnTo>
                  <a:lnTo>
                    <a:pt x="584" y="64"/>
                  </a:lnTo>
                  <a:lnTo>
                    <a:pt x="576" y="65"/>
                  </a:lnTo>
                  <a:lnTo>
                    <a:pt x="569" y="67"/>
                  </a:lnTo>
                  <a:lnTo>
                    <a:pt x="562" y="70"/>
                  </a:lnTo>
                  <a:lnTo>
                    <a:pt x="554" y="73"/>
                  </a:lnTo>
                  <a:lnTo>
                    <a:pt x="547" y="77"/>
                  </a:lnTo>
                  <a:lnTo>
                    <a:pt x="541" y="82"/>
                  </a:lnTo>
                  <a:lnTo>
                    <a:pt x="536" y="86"/>
                  </a:lnTo>
                  <a:lnTo>
                    <a:pt x="531" y="92"/>
                  </a:lnTo>
                  <a:lnTo>
                    <a:pt x="526" y="98"/>
                  </a:lnTo>
                  <a:lnTo>
                    <a:pt x="522" y="104"/>
                  </a:lnTo>
                  <a:lnTo>
                    <a:pt x="519" y="111"/>
                  </a:lnTo>
                  <a:lnTo>
                    <a:pt x="516" y="119"/>
                  </a:lnTo>
                  <a:lnTo>
                    <a:pt x="513" y="126"/>
                  </a:lnTo>
                  <a:lnTo>
                    <a:pt x="512" y="133"/>
                  </a:lnTo>
                  <a:lnTo>
                    <a:pt x="512" y="141"/>
                  </a:lnTo>
                  <a:lnTo>
                    <a:pt x="512" y="141"/>
                  </a:lnTo>
                  <a:lnTo>
                    <a:pt x="512" y="149"/>
                  </a:lnTo>
                  <a:lnTo>
                    <a:pt x="513" y="157"/>
                  </a:lnTo>
                  <a:lnTo>
                    <a:pt x="516" y="165"/>
                  </a:lnTo>
                  <a:lnTo>
                    <a:pt x="519" y="172"/>
                  </a:lnTo>
                  <a:lnTo>
                    <a:pt x="522" y="179"/>
                  </a:lnTo>
                  <a:lnTo>
                    <a:pt x="526" y="185"/>
                  </a:lnTo>
                  <a:lnTo>
                    <a:pt x="531" y="191"/>
                  </a:lnTo>
                  <a:lnTo>
                    <a:pt x="536" y="197"/>
                  </a:lnTo>
                  <a:lnTo>
                    <a:pt x="541" y="202"/>
                  </a:lnTo>
                  <a:lnTo>
                    <a:pt x="547" y="207"/>
                  </a:lnTo>
                  <a:lnTo>
                    <a:pt x="554" y="211"/>
                  </a:lnTo>
                  <a:lnTo>
                    <a:pt x="562" y="215"/>
                  </a:lnTo>
                  <a:lnTo>
                    <a:pt x="569" y="217"/>
                  </a:lnTo>
                  <a:lnTo>
                    <a:pt x="576" y="219"/>
                  </a:lnTo>
                  <a:lnTo>
                    <a:pt x="584" y="220"/>
                  </a:lnTo>
                  <a:lnTo>
                    <a:pt x="591" y="221"/>
                  </a:lnTo>
                  <a:lnTo>
                    <a:pt x="591" y="221"/>
                  </a:lnTo>
                  <a:lnTo>
                    <a:pt x="599" y="220"/>
                  </a:lnTo>
                  <a:lnTo>
                    <a:pt x="608" y="219"/>
                  </a:lnTo>
                  <a:lnTo>
                    <a:pt x="615" y="217"/>
                  </a:lnTo>
                  <a:lnTo>
                    <a:pt x="622" y="215"/>
                  </a:lnTo>
                  <a:lnTo>
                    <a:pt x="629" y="211"/>
                  </a:lnTo>
                  <a:lnTo>
                    <a:pt x="636" y="207"/>
                  </a:lnTo>
                  <a:lnTo>
                    <a:pt x="642" y="202"/>
                  </a:lnTo>
                  <a:lnTo>
                    <a:pt x="647" y="197"/>
                  </a:lnTo>
                  <a:lnTo>
                    <a:pt x="653" y="191"/>
                  </a:lnTo>
                  <a:lnTo>
                    <a:pt x="658" y="185"/>
                  </a:lnTo>
                  <a:lnTo>
                    <a:pt x="662" y="179"/>
                  </a:lnTo>
                  <a:lnTo>
                    <a:pt x="665" y="172"/>
                  </a:lnTo>
                  <a:lnTo>
                    <a:pt x="668" y="165"/>
                  </a:lnTo>
                  <a:lnTo>
                    <a:pt x="669" y="157"/>
                  </a:lnTo>
                  <a:lnTo>
                    <a:pt x="671" y="149"/>
                  </a:lnTo>
                  <a:lnTo>
                    <a:pt x="671" y="141"/>
                  </a:lnTo>
                  <a:lnTo>
                    <a:pt x="671" y="1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8" name="Freeform 26"/>
            <p:cNvSpPr>
              <a:spLocks noEditPoints="1"/>
            </p:cNvSpPr>
            <p:nvPr userDrawn="1"/>
          </p:nvSpPr>
          <p:spPr bwMode="auto">
            <a:xfrm>
              <a:off x="7626596" y="898692"/>
              <a:ext cx="138114" cy="136525"/>
            </a:xfrm>
            <a:custGeom>
              <a:avLst/>
              <a:gdLst>
                <a:gd name="T0" fmla="*/ 48 w 1043"/>
                <a:gd name="T1" fmla="*/ 997 h 1035"/>
                <a:gd name="T2" fmla="*/ 115 w 1043"/>
                <a:gd name="T3" fmla="*/ 981 h 1035"/>
                <a:gd name="T4" fmla="*/ 135 w 1043"/>
                <a:gd name="T5" fmla="*/ 962 h 1035"/>
                <a:gd name="T6" fmla="*/ 155 w 1043"/>
                <a:gd name="T7" fmla="*/ 920 h 1035"/>
                <a:gd name="T8" fmla="*/ 164 w 1043"/>
                <a:gd name="T9" fmla="*/ 827 h 1035"/>
                <a:gd name="T10" fmla="*/ 164 w 1043"/>
                <a:gd name="T11" fmla="*/ 206 h 1035"/>
                <a:gd name="T12" fmla="*/ 155 w 1043"/>
                <a:gd name="T13" fmla="*/ 114 h 1035"/>
                <a:gd name="T14" fmla="*/ 135 w 1043"/>
                <a:gd name="T15" fmla="*/ 72 h 1035"/>
                <a:gd name="T16" fmla="*/ 115 w 1043"/>
                <a:gd name="T17" fmla="*/ 54 h 1035"/>
                <a:gd name="T18" fmla="*/ 48 w 1043"/>
                <a:gd name="T19" fmla="*/ 38 h 1035"/>
                <a:gd name="T20" fmla="*/ 468 w 1043"/>
                <a:gd name="T21" fmla="*/ 0 h 1035"/>
                <a:gd name="T22" fmla="*/ 574 w 1043"/>
                <a:gd name="T23" fmla="*/ 6 h 1035"/>
                <a:gd name="T24" fmla="*/ 699 w 1043"/>
                <a:gd name="T25" fmla="*/ 32 h 1035"/>
                <a:gd name="T26" fmla="*/ 803 w 1043"/>
                <a:gd name="T27" fmla="*/ 75 h 1035"/>
                <a:gd name="T28" fmla="*/ 888 w 1043"/>
                <a:gd name="T29" fmla="*/ 135 h 1035"/>
                <a:gd name="T30" fmla="*/ 953 w 1043"/>
                <a:gd name="T31" fmla="*/ 209 h 1035"/>
                <a:gd name="T32" fmla="*/ 1001 w 1043"/>
                <a:gd name="T33" fmla="*/ 294 h 1035"/>
                <a:gd name="T34" fmla="*/ 1031 w 1043"/>
                <a:gd name="T35" fmla="*/ 389 h 1035"/>
                <a:gd name="T36" fmla="*/ 1043 w 1043"/>
                <a:gd name="T37" fmla="*/ 491 h 1035"/>
                <a:gd name="T38" fmla="*/ 1041 w 1043"/>
                <a:gd name="T39" fmla="*/ 570 h 1035"/>
                <a:gd name="T40" fmla="*/ 1025 w 1043"/>
                <a:gd name="T41" fmla="*/ 671 h 1035"/>
                <a:gd name="T42" fmla="*/ 991 w 1043"/>
                <a:gd name="T43" fmla="*/ 764 h 1035"/>
                <a:gd name="T44" fmla="*/ 939 w 1043"/>
                <a:gd name="T45" fmla="*/ 846 h 1035"/>
                <a:gd name="T46" fmla="*/ 868 w 1043"/>
                <a:gd name="T47" fmla="*/ 916 h 1035"/>
                <a:gd name="T48" fmla="*/ 779 w 1043"/>
                <a:gd name="T49" fmla="*/ 972 h 1035"/>
                <a:gd name="T50" fmla="*/ 670 w 1043"/>
                <a:gd name="T51" fmla="*/ 1011 h 1035"/>
                <a:gd name="T52" fmla="*/ 540 w 1043"/>
                <a:gd name="T53" fmla="*/ 1032 h 1035"/>
                <a:gd name="T54" fmla="*/ 0 w 1043"/>
                <a:gd name="T55" fmla="*/ 999 h 1035"/>
                <a:gd name="T56" fmla="*/ 529 w 1043"/>
                <a:gd name="T57" fmla="*/ 968 h 1035"/>
                <a:gd name="T58" fmla="*/ 631 w 1043"/>
                <a:gd name="T59" fmla="*/ 947 h 1035"/>
                <a:gd name="T60" fmla="*/ 713 w 1043"/>
                <a:gd name="T61" fmla="*/ 906 h 1035"/>
                <a:gd name="T62" fmla="*/ 775 w 1043"/>
                <a:gd name="T63" fmla="*/ 852 h 1035"/>
                <a:gd name="T64" fmla="*/ 820 w 1043"/>
                <a:gd name="T65" fmla="*/ 785 h 1035"/>
                <a:gd name="T66" fmla="*/ 851 w 1043"/>
                <a:gd name="T67" fmla="*/ 712 h 1035"/>
                <a:gd name="T68" fmla="*/ 869 w 1043"/>
                <a:gd name="T69" fmla="*/ 634 h 1035"/>
                <a:gd name="T70" fmla="*/ 878 w 1043"/>
                <a:gd name="T71" fmla="*/ 517 h 1035"/>
                <a:gd name="T72" fmla="*/ 865 w 1043"/>
                <a:gd name="T73" fmla="*/ 380 h 1035"/>
                <a:gd name="T74" fmla="*/ 845 w 1043"/>
                <a:gd name="T75" fmla="*/ 304 h 1035"/>
                <a:gd name="T76" fmla="*/ 810 w 1043"/>
                <a:gd name="T77" fmla="*/ 231 h 1035"/>
                <a:gd name="T78" fmla="*/ 761 w 1043"/>
                <a:gd name="T79" fmla="*/ 168 h 1035"/>
                <a:gd name="T80" fmla="*/ 695 w 1043"/>
                <a:gd name="T81" fmla="*/ 117 h 1035"/>
                <a:gd name="T82" fmla="*/ 608 w 1043"/>
                <a:gd name="T83" fmla="*/ 81 h 1035"/>
                <a:gd name="T84" fmla="*/ 500 w 1043"/>
                <a:gd name="T85" fmla="*/ 65 h 1035"/>
                <a:gd name="T86" fmla="*/ 302 w 1043"/>
                <a:gd name="T87" fmla="*/ 771 h 1035"/>
                <a:gd name="T88" fmla="*/ 307 w 1043"/>
                <a:gd name="T89" fmla="*/ 875 h 1035"/>
                <a:gd name="T90" fmla="*/ 324 w 1043"/>
                <a:gd name="T91" fmla="*/ 931 h 1035"/>
                <a:gd name="T92" fmla="*/ 344 w 1043"/>
                <a:gd name="T93" fmla="*/ 950 h 1035"/>
                <a:gd name="T94" fmla="*/ 395 w 1043"/>
                <a:gd name="T95" fmla="*/ 967 h 1035"/>
                <a:gd name="T96" fmla="*/ 469 w 1043"/>
                <a:gd name="T97" fmla="*/ 971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43" h="1035">
                  <a:moveTo>
                    <a:pt x="0" y="999"/>
                  </a:moveTo>
                  <a:lnTo>
                    <a:pt x="0" y="999"/>
                  </a:lnTo>
                  <a:lnTo>
                    <a:pt x="25" y="998"/>
                  </a:lnTo>
                  <a:lnTo>
                    <a:pt x="48" y="997"/>
                  </a:lnTo>
                  <a:lnTo>
                    <a:pt x="68" y="995"/>
                  </a:lnTo>
                  <a:lnTo>
                    <a:pt x="86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1" y="977"/>
                  </a:lnTo>
                  <a:lnTo>
                    <a:pt x="126" y="972"/>
                  </a:lnTo>
                  <a:lnTo>
                    <a:pt x="131" y="967"/>
                  </a:lnTo>
                  <a:lnTo>
                    <a:pt x="135" y="962"/>
                  </a:lnTo>
                  <a:lnTo>
                    <a:pt x="139" y="957"/>
                  </a:lnTo>
                  <a:lnTo>
                    <a:pt x="143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8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4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4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8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3" y="83"/>
                  </a:lnTo>
                  <a:lnTo>
                    <a:pt x="139" y="77"/>
                  </a:lnTo>
                  <a:lnTo>
                    <a:pt x="135" y="72"/>
                  </a:lnTo>
                  <a:lnTo>
                    <a:pt x="131" y="67"/>
                  </a:lnTo>
                  <a:lnTo>
                    <a:pt x="126" y="61"/>
                  </a:lnTo>
                  <a:lnTo>
                    <a:pt x="121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6" y="43"/>
                  </a:lnTo>
                  <a:lnTo>
                    <a:pt x="68" y="40"/>
                  </a:lnTo>
                  <a:lnTo>
                    <a:pt x="48" y="38"/>
                  </a:lnTo>
                  <a:lnTo>
                    <a:pt x="25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468" y="0"/>
                  </a:lnTo>
                  <a:lnTo>
                    <a:pt x="468" y="0"/>
                  </a:lnTo>
                  <a:lnTo>
                    <a:pt x="504" y="0"/>
                  </a:lnTo>
                  <a:lnTo>
                    <a:pt x="540" y="2"/>
                  </a:lnTo>
                  <a:lnTo>
                    <a:pt x="574" y="6"/>
                  </a:lnTo>
                  <a:lnTo>
                    <a:pt x="608" y="10"/>
                  </a:lnTo>
                  <a:lnTo>
                    <a:pt x="639" y="16"/>
                  </a:lnTo>
                  <a:lnTo>
                    <a:pt x="670" y="24"/>
                  </a:lnTo>
                  <a:lnTo>
                    <a:pt x="699" y="32"/>
                  </a:lnTo>
                  <a:lnTo>
                    <a:pt x="727" y="41"/>
                  </a:lnTo>
                  <a:lnTo>
                    <a:pt x="754" y="51"/>
                  </a:lnTo>
                  <a:lnTo>
                    <a:pt x="779" y="62"/>
                  </a:lnTo>
                  <a:lnTo>
                    <a:pt x="803" y="75"/>
                  </a:lnTo>
                  <a:lnTo>
                    <a:pt x="827" y="88"/>
                  </a:lnTo>
                  <a:lnTo>
                    <a:pt x="848" y="103"/>
                  </a:lnTo>
                  <a:lnTo>
                    <a:pt x="868" y="119"/>
                  </a:lnTo>
                  <a:lnTo>
                    <a:pt x="888" y="135"/>
                  </a:lnTo>
                  <a:lnTo>
                    <a:pt x="906" y="151"/>
                  </a:lnTo>
                  <a:lnTo>
                    <a:pt x="924" y="170"/>
                  </a:lnTo>
                  <a:lnTo>
                    <a:pt x="939" y="188"/>
                  </a:lnTo>
                  <a:lnTo>
                    <a:pt x="953" y="209"/>
                  </a:lnTo>
                  <a:lnTo>
                    <a:pt x="968" y="228"/>
                  </a:lnTo>
                  <a:lnTo>
                    <a:pt x="980" y="250"/>
                  </a:lnTo>
                  <a:lnTo>
                    <a:pt x="991" y="271"/>
                  </a:lnTo>
                  <a:lnTo>
                    <a:pt x="1001" y="294"/>
                  </a:lnTo>
                  <a:lnTo>
                    <a:pt x="1010" y="316"/>
                  </a:lnTo>
                  <a:lnTo>
                    <a:pt x="1018" y="340"/>
                  </a:lnTo>
                  <a:lnTo>
                    <a:pt x="1025" y="364"/>
                  </a:lnTo>
                  <a:lnTo>
                    <a:pt x="1031" y="389"/>
                  </a:lnTo>
                  <a:lnTo>
                    <a:pt x="1035" y="413"/>
                  </a:lnTo>
                  <a:lnTo>
                    <a:pt x="1039" y="439"/>
                  </a:lnTo>
                  <a:lnTo>
                    <a:pt x="1041" y="464"/>
                  </a:lnTo>
                  <a:lnTo>
                    <a:pt x="1043" y="491"/>
                  </a:lnTo>
                  <a:lnTo>
                    <a:pt x="1043" y="517"/>
                  </a:lnTo>
                  <a:lnTo>
                    <a:pt x="1043" y="517"/>
                  </a:lnTo>
                  <a:lnTo>
                    <a:pt x="1043" y="544"/>
                  </a:lnTo>
                  <a:lnTo>
                    <a:pt x="1041" y="570"/>
                  </a:lnTo>
                  <a:lnTo>
                    <a:pt x="1039" y="596"/>
                  </a:lnTo>
                  <a:lnTo>
                    <a:pt x="1035" y="622"/>
                  </a:lnTo>
                  <a:lnTo>
                    <a:pt x="1031" y="646"/>
                  </a:lnTo>
                  <a:lnTo>
                    <a:pt x="1025" y="671"/>
                  </a:lnTo>
                  <a:lnTo>
                    <a:pt x="1018" y="694"/>
                  </a:lnTo>
                  <a:lnTo>
                    <a:pt x="1010" y="718"/>
                  </a:lnTo>
                  <a:lnTo>
                    <a:pt x="1001" y="741"/>
                  </a:lnTo>
                  <a:lnTo>
                    <a:pt x="991" y="764"/>
                  </a:lnTo>
                  <a:lnTo>
                    <a:pt x="980" y="785"/>
                  </a:lnTo>
                  <a:lnTo>
                    <a:pt x="968" y="806"/>
                  </a:lnTo>
                  <a:lnTo>
                    <a:pt x="953" y="826"/>
                  </a:lnTo>
                  <a:lnTo>
                    <a:pt x="939" y="846"/>
                  </a:lnTo>
                  <a:lnTo>
                    <a:pt x="924" y="865"/>
                  </a:lnTo>
                  <a:lnTo>
                    <a:pt x="906" y="882"/>
                  </a:lnTo>
                  <a:lnTo>
                    <a:pt x="888" y="900"/>
                  </a:lnTo>
                  <a:lnTo>
                    <a:pt x="868" y="916"/>
                  </a:lnTo>
                  <a:lnTo>
                    <a:pt x="848" y="932"/>
                  </a:lnTo>
                  <a:lnTo>
                    <a:pt x="827" y="946"/>
                  </a:lnTo>
                  <a:lnTo>
                    <a:pt x="803" y="959"/>
                  </a:lnTo>
                  <a:lnTo>
                    <a:pt x="779" y="972"/>
                  </a:lnTo>
                  <a:lnTo>
                    <a:pt x="754" y="984"/>
                  </a:lnTo>
                  <a:lnTo>
                    <a:pt x="727" y="994"/>
                  </a:lnTo>
                  <a:lnTo>
                    <a:pt x="699" y="1003"/>
                  </a:lnTo>
                  <a:lnTo>
                    <a:pt x="670" y="1011"/>
                  </a:lnTo>
                  <a:lnTo>
                    <a:pt x="639" y="1018"/>
                  </a:lnTo>
                  <a:lnTo>
                    <a:pt x="608" y="1025"/>
                  </a:lnTo>
                  <a:lnTo>
                    <a:pt x="574" y="1029"/>
                  </a:lnTo>
                  <a:lnTo>
                    <a:pt x="540" y="1032"/>
                  </a:lnTo>
                  <a:lnTo>
                    <a:pt x="504" y="1034"/>
                  </a:lnTo>
                  <a:lnTo>
                    <a:pt x="468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  <a:moveTo>
                    <a:pt x="469" y="971"/>
                  </a:moveTo>
                  <a:lnTo>
                    <a:pt x="469" y="971"/>
                  </a:lnTo>
                  <a:lnTo>
                    <a:pt x="500" y="970"/>
                  </a:lnTo>
                  <a:lnTo>
                    <a:pt x="529" y="968"/>
                  </a:lnTo>
                  <a:lnTo>
                    <a:pt x="557" y="964"/>
                  </a:lnTo>
                  <a:lnTo>
                    <a:pt x="583" y="960"/>
                  </a:lnTo>
                  <a:lnTo>
                    <a:pt x="608" y="954"/>
                  </a:lnTo>
                  <a:lnTo>
                    <a:pt x="631" y="947"/>
                  </a:lnTo>
                  <a:lnTo>
                    <a:pt x="654" y="938"/>
                  </a:lnTo>
                  <a:lnTo>
                    <a:pt x="675" y="928"/>
                  </a:lnTo>
                  <a:lnTo>
                    <a:pt x="695" y="918"/>
                  </a:lnTo>
                  <a:lnTo>
                    <a:pt x="713" y="906"/>
                  </a:lnTo>
                  <a:lnTo>
                    <a:pt x="730" y="894"/>
                  </a:lnTo>
                  <a:lnTo>
                    <a:pt x="747" y="880"/>
                  </a:lnTo>
                  <a:lnTo>
                    <a:pt x="761" y="866"/>
                  </a:lnTo>
                  <a:lnTo>
                    <a:pt x="775" y="852"/>
                  </a:lnTo>
                  <a:lnTo>
                    <a:pt x="788" y="836"/>
                  </a:lnTo>
                  <a:lnTo>
                    <a:pt x="800" y="820"/>
                  </a:lnTo>
                  <a:lnTo>
                    <a:pt x="810" y="803"/>
                  </a:lnTo>
                  <a:lnTo>
                    <a:pt x="820" y="785"/>
                  </a:lnTo>
                  <a:lnTo>
                    <a:pt x="830" y="768"/>
                  </a:lnTo>
                  <a:lnTo>
                    <a:pt x="838" y="750"/>
                  </a:lnTo>
                  <a:lnTo>
                    <a:pt x="845" y="731"/>
                  </a:lnTo>
                  <a:lnTo>
                    <a:pt x="851" y="712"/>
                  </a:lnTo>
                  <a:lnTo>
                    <a:pt x="856" y="692"/>
                  </a:lnTo>
                  <a:lnTo>
                    <a:pt x="861" y="673"/>
                  </a:lnTo>
                  <a:lnTo>
                    <a:pt x="865" y="653"/>
                  </a:lnTo>
                  <a:lnTo>
                    <a:pt x="869" y="634"/>
                  </a:lnTo>
                  <a:lnTo>
                    <a:pt x="875" y="595"/>
                  </a:lnTo>
                  <a:lnTo>
                    <a:pt x="877" y="555"/>
                  </a:lnTo>
                  <a:lnTo>
                    <a:pt x="878" y="517"/>
                  </a:lnTo>
                  <a:lnTo>
                    <a:pt x="878" y="517"/>
                  </a:lnTo>
                  <a:lnTo>
                    <a:pt x="877" y="479"/>
                  </a:lnTo>
                  <a:lnTo>
                    <a:pt x="875" y="440"/>
                  </a:lnTo>
                  <a:lnTo>
                    <a:pt x="869" y="401"/>
                  </a:lnTo>
                  <a:lnTo>
                    <a:pt x="865" y="380"/>
                  </a:lnTo>
                  <a:lnTo>
                    <a:pt x="861" y="361"/>
                  </a:lnTo>
                  <a:lnTo>
                    <a:pt x="856" y="342"/>
                  </a:lnTo>
                  <a:lnTo>
                    <a:pt x="851" y="323"/>
                  </a:lnTo>
                  <a:lnTo>
                    <a:pt x="845" y="304"/>
                  </a:lnTo>
                  <a:lnTo>
                    <a:pt x="838" y="285"/>
                  </a:lnTo>
                  <a:lnTo>
                    <a:pt x="830" y="267"/>
                  </a:lnTo>
                  <a:lnTo>
                    <a:pt x="820" y="249"/>
                  </a:lnTo>
                  <a:lnTo>
                    <a:pt x="810" y="231"/>
                  </a:lnTo>
                  <a:lnTo>
                    <a:pt x="800" y="215"/>
                  </a:lnTo>
                  <a:lnTo>
                    <a:pt x="788" y="198"/>
                  </a:lnTo>
                  <a:lnTo>
                    <a:pt x="775" y="183"/>
                  </a:lnTo>
                  <a:lnTo>
                    <a:pt x="761" y="168"/>
                  </a:lnTo>
                  <a:lnTo>
                    <a:pt x="747" y="154"/>
                  </a:lnTo>
                  <a:lnTo>
                    <a:pt x="730" y="140"/>
                  </a:lnTo>
                  <a:lnTo>
                    <a:pt x="713" y="128"/>
                  </a:lnTo>
                  <a:lnTo>
                    <a:pt x="695" y="117"/>
                  </a:lnTo>
                  <a:lnTo>
                    <a:pt x="675" y="106"/>
                  </a:lnTo>
                  <a:lnTo>
                    <a:pt x="654" y="96"/>
                  </a:lnTo>
                  <a:lnTo>
                    <a:pt x="631" y="88"/>
                  </a:lnTo>
                  <a:lnTo>
                    <a:pt x="608" y="81"/>
                  </a:lnTo>
                  <a:lnTo>
                    <a:pt x="583" y="75"/>
                  </a:lnTo>
                  <a:lnTo>
                    <a:pt x="557" y="70"/>
                  </a:lnTo>
                  <a:lnTo>
                    <a:pt x="529" y="67"/>
                  </a:lnTo>
                  <a:lnTo>
                    <a:pt x="500" y="65"/>
                  </a:lnTo>
                  <a:lnTo>
                    <a:pt x="469" y="63"/>
                  </a:lnTo>
                  <a:lnTo>
                    <a:pt x="302" y="63"/>
                  </a:lnTo>
                  <a:lnTo>
                    <a:pt x="302" y="771"/>
                  </a:lnTo>
                  <a:lnTo>
                    <a:pt x="302" y="771"/>
                  </a:lnTo>
                  <a:lnTo>
                    <a:pt x="302" y="802"/>
                  </a:lnTo>
                  <a:lnTo>
                    <a:pt x="303" y="829"/>
                  </a:lnTo>
                  <a:lnTo>
                    <a:pt x="304" y="854"/>
                  </a:lnTo>
                  <a:lnTo>
                    <a:pt x="307" y="875"/>
                  </a:lnTo>
                  <a:lnTo>
                    <a:pt x="310" y="894"/>
                  </a:lnTo>
                  <a:lnTo>
                    <a:pt x="315" y="910"/>
                  </a:lnTo>
                  <a:lnTo>
                    <a:pt x="321" y="924"/>
                  </a:lnTo>
                  <a:lnTo>
                    <a:pt x="324" y="931"/>
                  </a:lnTo>
                  <a:lnTo>
                    <a:pt x="329" y="936"/>
                  </a:lnTo>
                  <a:lnTo>
                    <a:pt x="334" y="941"/>
                  </a:lnTo>
                  <a:lnTo>
                    <a:pt x="338" y="946"/>
                  </a:lnTo>
                  <a:lnTo>
                    <a:pt x="344" y="950"/>
                  </a:lnTo>
                  <a:lnTo>
                    <a:pt x="349" y="953"/>
                  </a:lnTo>
                  <a:lnTo>
                    <a:pt x="362" y="959"/>
                  </a:lnTo>
                  <a:lnTo>
                    <a:pt x="378" y="964"/>
                  </a:lnTo>
                  <a:lnTo>
                    <a:pt x="395" y="967"/>
                  </a:lnTo>
                  <a:lnTo>
                    <a:pt x="414" y="969"/>
                  </a:lnTo>
                  <a:lnTo>
                    <a:pt x="437" y="970"/>
                  </a:lnTo>
                  <a:lnTo>
                    <a:pt x="463" y="971"/>
                  </a:lnTo>
                  <a:lnTo>
                    <a:pt x="469" y="9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9" name="Freeform 27"/>
            <p:cNvSpPr>
              <a:spLocks/>
            </p:cNvSpPr>
            <p:nvPr userDrawn="1"/>
          </p:nvSpPr>
          <p:spPr bwMode="auto">
            <a:xfrm>
              <a:off x="7801221" y="898692"/>
              <a:ext cx="112713" cy="136525"/>
            </a:xfrm>
            <a:custGeom>
              <a:avLst/>
              <a:gdLst>
                <a:gd name="T0" fmla="*/ 26 w 859"/>
                <a:gd name="T1" fmla="*/ 998 h 1035"/>
                <a:gd name="T2" fmla="*/ 86 w 859"/>
                <a:gd name="T3" fmla="*/ 991 h 1035"/>
                <a:gd name="T4" fmla="*/ 121 w 859"/>
                <a:gd name="T5" fmla="*/ 977 h 1035"/>
                <a:gd name="T6" fmla="*/ 135 w 859"/>
                <a:gd name="T7" fmla="*/ 962 h 1035"/>
                <a:gd name="T8" fmla="*/ 150 w 859"/>
                <a:gd name="T9" fmla="*/ 937 h 1035"/>
                <a:gd name="T10" fmla="*/ 161 w 859"/>
                <a:gd name="T11" fmla="*/ 879 h 1035"/>
                <a:gd name="T12" fmla="*/ 164 w 859"/>
                <a:gd name="T13" fmla="*/ 797 h 1035"/>
                <a:gd name="T14" fmla="*/ 164 w 859"/>
                <a:gd name="T15" fmla="*/ 206 h 1035"/>
                <a:gd name="T16" fmla="*/ 159 w 859"/>
                <a:gd name="T17" fmla="*/ 132 h 1035"/>
                <a:gd name="T18" fmla="*/ 143 w 859"/>
                <a:gd name="T19" fmla="*/ 83 h 1035"/>
                <a:gd name="T20" fmla="*/ 131 w 859"/>
                <a:gd name="T21" fmla="*/ 67 h 1035"/>
                <a:gd name="T22" fmla="*/ 115 w 859"/>
                <a:gd name="T23" fmla="*/ 54 h 1035"/>
                <a:gd name="T24" fmla="*/ 69 w 859"/>
                <a:gd name="T25" fmla="*/ 40 h 1035"/>
                <a:gd name="T26" fmla="*/ 0 w 859"/>
                <a:gd name="T27" fmla="*/ 36 h 1035"/>
                <a:gd name="T28" fmla="*/ 802 w 859"/>
                <a:gd name="T29" fmla="*/ 227 h 1035"/>
                <a:gd name="T30" fmla="*/ 757 w 859"/>
                <a:gd name="T31" fmla="*/ 193 h 1035"/>
                <a:gd name="T32" fmla="*/ 739 w 859"/>
                <a:gd name="T33" fmla="*/ 135 h 1035"/>
                <a:gd name="T34" fmla="*/ 717 w 859"/>
                <a:gd name="T35" fmla="*/ 103 h 1035"/>
                <a:gd name="T36" fmla="*/ 684 w 859"/>
                <a:gd name="T37" fmla="*/ 81 h 1035"/>
                <a:gd name="T38" fmla="*/ 632 w 859"/>
                <a:gd name="T39" fmla="*/ 68 h 1035"/>
                <a:gd name="T40" fmla="*/ 558 w 859"/>
                <a:gd name="T41" fmla="*/ 63 h 1035"/>
                <a:gd name="T42" fmla="*/ 388 w 859"/>
                <a:gd name="T43" fmla="*/ 455 h 1035"/>
                <a:gd name="T44" fmla="*/ 446 w 859"/>
                <a:gd name="T45" fmla="*/ 454 h 1035"/>
                <a:gd name="T46" fmla="*/ 512 w 859"/>
                <a:gd name="T47" fmla="*/ 446 h 1035"/>
                <a:gd name="T48" fmla="*/ 547 w 859"/>
                <a:gd name="T49" fmla="*/ 431 h 1035"/>
                <a:gd name="T50" fmla="*/ 563 w 859"/>
                <a:gd name="T51" fmla="*/ 417 h 1035"/>
                <a:gd name="T52" fmla="*/ 577 w 859"/>
                <a:gd name="T53" fmla="*/ 393 h 1035"/>
                <a:gd name="T54" fmla="*/ 587 w 859"/>
                <a:gd name="T55" fmla="*/ 339 h 1035"/>
                <a:gd name="T56" fmla="*/ 625 w 859"/>
                <a:gd name="T57" fmla="*/ 289 h 1035"/>
                <a:gd name="T58" fmla="*/ 588 w 859"/>
                <a:gd name="T59" fmla="*/ 685 h 1035"/>
                <a:gd name="T60" fmla="*/ 585 w 859"/>
                <a:gd name="T61" fmla="*/ 616 h 1035"/>
                <a:gd name="T62" fmla="*/ 571 w 859"/>
                <a:gd name="T63" fmla="*/ 569 h 1035"/>
                <a:gd name="T64" fmla="*/ 559 w 859"/>
                <a:gd name="T65" fmla="*/ 552 h 1035"/>
                <a:gd name="T66" fmla="*/ 541 w 859"/>
                <a:gd name="T67" fmla="*/ 540 h 1035"/>
                <a:gd name="T68" fmla="*/ 492 w 859"/>
                <a:gd name="T69" fmla="*/ 525 h 1035"/>
                <a:gd name="T70" fmla="*/ 419 w 859"/>
                <a:gd name="T71" fmla="*/ 519 h 1035"/>
                <a:gd name="T72" fmla="*/ 302 w 859"/>
                <a:gd name="T73" fmla="*/ 771 h 1035"/>
                <a:gd name="T74" fmla="*/ 303 w 859"/>
                <a:gd name="T75" fmla="*/ 829 h 1035"/>
                <a:gd name="T76" fmla="*/ 311 w 859"/>
                <a:gd name="T77" fmla="*/ 894 h 1035"/>
                <a:gd name="T78" fmla="*/ 326 w 859"/>
                <a:gd name="T79" fmla="*/ 931 h 1035"/>
                <a:gd name="T80" fmla="*/ 340 w 859"/>
                <a:gd name="T81" fmla="*/ 946 h 1035"/>
                <a:gd name="T82" fmla="*/ 364 w 859"/>
                <a:gd name="T83" fmla="*/ 959 h 1035"/>
                <a:gd name="T84" fmla="*/ 417 w 859"/>
                <a:gd name="T85" fmla="*/ 969 h 1035"/>
                <a:gd name="T86" fmla="*/ 614 w 859"/>
                <a:gd name="T87" fmla="*/ 971 h 1035"/>
                <a:gd name="T88" fmla="*/ 668 w 859"/>
                <a:gd name="T89" fmla="*/ 969 h 1035"/>
                <a:gd name="T90" fmla="*/ 726 w 859"/>
                <a:gd name="T91" fmla="*/ 959 h 1035"/>
                <a:gd name="T92" fmla="*/ 765 w 859"/>
                <a:gd name="T93" fmla="*/ 940 h 1035"/>
                <a:gd name="T94" fmla="*/ 790 w 859"/>
                <a:gd name="T95" fmla="*/ 911 h 1035"/>
                <a:gd name="T96" fmla="*/ 806 w 859"/>
                <a:gd name="T97" fmla="*/ 872 h 1035"/>
                <a:gd name="T98" fmla="*/ 859 w 859"/>
                <a:gd name="T99" fmla="*/ 806 h 1035"/>
                <a:gd name="T100" fmla="*/ 0 w 859"/>
                <a:gd name="T101" fmla="*/ 999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59" h="1035">
                  <a:moveTo>
                    <a:pt x="0" y="999"/>
                  </a:moveTo>
                  <a:lnTo>
                    <a:pt x="0" y="999"/>
                  </a:lnTo>
                  <a:lnTo>
                    <a:pt x="26" y="998"/>
                  </a:lnTo>
                  <a:lnTo>
                    <a:pt x="48" y="997"/>
                  </a:lnTo>
                  <a:lnTo>
                    <a:pt x="69" y="995"/>
                  </a:lnTo>
                  <a:lnTo>
                    <a:pt x="86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1" y="977"/>
                  </a:lnTo>
                  <a:lnTo>
                    <a:pt x="126" y="972"/>
                  </a:lnTo>
                  <a:lnTo>
                    <a:pt x="131" y="967"/>
                  </a:lnTo>
                  <a:lnTo>
                    <a:pt x="135" y="962"/>
                  </a:lnTo>
                  <a:lnTo>
                    <a:pt x="140" y="957"/>
                  </a:lnTo>
                  <a:lnTo>
                    <a:pt x="143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9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4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4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9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3" y="83"/>
                  </a:lnTo>
                  <a:lnTo>
                    <a:pt x="140" y="77"/>
                  </a:lnTo>
                  <a:lnTo>
                    <a:pt x="135" y="72"/>
                  </a:lnTo>
                  <a:lnTo>
                    <a:pt x="131" y="67"/>
                  </a:lnTo>
                  <a:lnTo>
                    <a:pt x="126" y="61"/>
                  </a:lnTo>
                  <a:lnTo>
                    <a:pt x="121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6" y="43"/>
                  </a:lnTo>
                  <a:lnTo>
                    <a:pt x="69" y="40"/>
                  </a:lnTo>
                  <a:lnTo>
                    <a:pt x="48" y="38"/>
                  </a:lnTo>
                  <a:lnTo>
                    <a:pt x="26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787" y="0"/>
                  </a:lnTo>
                  <a:lnTo>
                    <a:pt x="802" y="227"/>
                  </a:lnTo>
                  <a:lnTo>
                    <a:pt x="766" y="227"/>
                  </a:lnTo>
                  <a:lnTo>
                    <a:pt x="757" y="193"/>
                  </a:lnTo>
                  <a:lnTo>
                    <a:pt x="757" y="193"/>
                  </a:lnTo>
                  <a:lnTo>
                    <a:pt x="749" y="162"/>
                  </a:lnTo>
                  <a:lnTo>
                    <a:pt x="744" y="147"/>
                  </a:lnTo>
                  <a:lnTo>
                    <a:pt x="739" y="135"/>
                  </a:lnTo>
                  <a:lnTo>
                    <a:pt x="732" y="123"/>
                  </a:lnTo>
                  <a:lnTo>
                    <a:pt x="725" y="113"/>
                  </a:lnTo>
                  <a:lnTo>
                    <a:pt x="717" y="103"/>
                  </a:lnTo>
                  <a:lnTo>
                    <a:pt x="708" y="95"/>
                  </a:lnTo>
                  <a:lnTo>
                    <a:pt x="697" y="87"/>
                  </a:lnTo>
                  <a:lnTo>
                    <a:pt x="684" y="81"/>
                  </a:lnTo>
                  <a:lnTo>
                    <a:pt x="669" y="76"/>
                  </a:lnTo>
                  <a:lnTo>
                    <a:pt x="653" y="72"/>
                  </a:lnTo>
                  <a:lnTo>
                    <a:pt x="632" y="68"/>
                  </a:lnTo>
                  <a:lnTo>
                    <a:pt x="611" y="66"/>
                  </a:lnTo>
                  <a:lnTo>
                    <a:pt x="585" y="65"/>
                  </a:lnTo>
                  <a:lnTo>
                    <a:pt x="558" y="63"/>
                  </a:lnTo>
                  <a:lnTo>
                    <a:pt x="302" y="63"/>
                  </a:lnTo>
                  <a:lnTo>
                    <a:pt x="302" y="455"/>
                  </a:lnTo>
                  <a:lnTo>
                    <a:pt x="388" y="455"/>
                  </a:lnTo>
                  <a:lnTo>
                    <a:pt x="388" y="455"/>
                  </a:lnTo>
                  <a:lnTo>
                    <a:pt x="419" y="455"/>
                  </a:lnTo>
                  <a:lnTo>
                    <a:pt x="446" y="454"/>
                  </a:lnTo>
                  <a:lnTo>
                    <a:pt x="471" y="452"/>
                  </a:lnTo>
                  <a:lnTo>
                    <a:pt x="492" y="450"/>
                  </a:lnTo>
                  <a:lnTo>
                    <a:pt x="512" y="446"/>
                  </a:lnTo>
                  <a:lnTo>
                    <a:pt x="527" y="441"/>
                  </a:lnTo>
                  <a:lnTo>
                    <a:pt x="541" y="435"/>
                  </a:lnTo>
                  <a:lnTo>
                    <a:pt x="547" y="431"/>
                  </a:lnTo>
                  <a:lnTo>
                    <a:pt x="553" y="426"/>
                  </a:lnTo>
                  <a:lnTo>
                    <a:pt x="559" y="422"/>
                  </a:lnTo>
                  <a:lnTo>
                    <a:pt x="563" y="417"/>
                  </a:lnTo>
                  <a:lnTo>
                    <a:pt x="567" y="412"/>
                  </a:lnTo>
                  <a:lnTo>
                    <a:pt x="571" y="406"/>
                  </a:lnTo>
                  <a:lnTo>
                    <a:pt x="577" y="393"/>
                  </a:lnTo>
                  <a:lnTo>
                    <a:pt x="581" y="376"/>
                  </a:lnTo>
                  <a:lnTo>
                    <a:pt x="585" y="359"/>
                  </a:lnTo>
                  <a:lnTo>
                    <a:pt x="587" y="339"/>
                  </a:lnTo>
                  <a:lnTo>
                    <a:pt x="588" y="315"/>
                  </a:lnTo>
                  <a:lnTo>
                    <a:pt x="588" y="289"/>
                  </a:lnTo>
                  <a:lnTo>
                    <a:pt x="625" y="289"/>
                  </a:lnTo>
                  <a:lnTo>
                    <a:pt x="625" y="685"/>
                  </a:lnTo>
                  <a:lnTo>
                    <a:pt x="588" y="685"/>
                  </a:lnTo>
                  <a:lnTo>
                    <a:pt x="588" y="685"/>
                  </a:lnTo>
                  <a:lnTo>
                    <a:pt x="588" y="659"/>
                  </a:lnTo>
                  <a:lnTo>
                    <a:pt x="587" y="636"/>
                  </a:lnTo>
                  <a:lnTo>
                    <a:pt x="585" y="616"/>
                  </a:lnTo>
                  <a:lnTo>
                    <a:pt x="581" y="597"/>
                  </a:lnTo>
                  <a:lnTo>
                    <a:pt x="577" y="582"/>
                  </a:lnTo>
                  <a:lnTo>
                    <a:pt x="571" y="569"/>
                  </a:lnTo>
                  <a:lnTo>
                    <a:pt x="567" y="562"/>
                  </a:lnTo>
                  <a:lnTo>
                    <a:pt x="563" y="557"/>
                  </a:lnTo>
                  <a:lnTo>
                    <a:pt x="559" y="552"/>
                  </a:lnTo>
                  <a:lnTo>
                    <a:pt x="553" y="547"/>
                  </a:lnTo>
                  <a:lnTo>
                    <a:pt x="547" y="543"/>
                  </a:lnTo>
                  <a:lnTo>
                    <a:pt x="541" y="540"/>
                  </a:lnTo>
                  <a:lnTo>
                    <a:pt x="527" y="533"/>
                  </a:lnTo>
                  <a:lnTo>
                    <a:pt x="512" y="529"/>
                  </a:lnTo>
                  <a:lnTo>
                    <a:pt x="492" y="525"/>
                  </a:lnTo>
                  <a:lnTo>
                    <a:pt x="471" y="522"/>
                  </a:lnTo>
                  <a:lnTo>
                    <a:pt x="446" y="521"/>
                  </a:lnTo>
                  <a:lnTo>
                    <a:pt x="419" y="519"/>
                  </a:lnTo>
                  <a:lnTo>
                    <a:pt x="388" y="519"/>
                  </a:lnTo>
                  <a:lnTo>
                    <a:pt x="302" y="519"/>
                  </a:lnTo>
                  <a:lnTo>
                    <a:pt x="302" y="771"/>
                  </a:lnTo>
                  <a:lnTo>
                    <a:pt x="302" y="771"/>
                  </a:lnTo>
                  <a:lnTo>
                    <a:pt x="302" y="802"/>
                  </a:lnTo>
                  <a:lnTo>
                    <a:pt x="303" y="829"/>
                  </a:lnTo>
                  <a:lnTo>
                    <a:pt x="305" y="854"/>
                  </a:lnTo>
                  <a:lnTo>
                    <a:pt x="307" y="875"/>
                  </a:lnTo>
                  <a:lnTo>
                    <a:pt x="311" y="894"/>
                  </a:lnTo>
                  <a:lnTo>
                    <a:pt x="316" y="910"/>
                  </a:lnTo>
                  <a:lnTo>
                    <a:pt x="322" y="924"/>
                  </a:lnTo>
                  <a:lnTo>
                    <a:pt x="326" y="931"/>
                  </a:lnTo>
                  <a:lnTo>
                    <a:pt x="331" y="936"/>
                  </a:lnTo>
                  <a:lnTo>
                    <a:pt x="335" y="941"/>
                  </a:lnTo>
                  <a:lnTo>
                    <a:pt x="340" y="946"/>
                  </a:lnTo>
                  <a:lnTo>
                    <a:pt x="345" y="950"/>
                  </a:lnTo>
                  <a:lnTo>
                    <a:pt x="351" y="953"/>
                  </a:lnTo>
                  <a:lnTo>
                    <a:pt x="364" y="959"/>
                  </a:lnTo>
                  <a:lnTo>
                    <a:pt x="380" y="964"/>
                  </a:lnTo>
                  <a:lnTo>
                    <a:pt x="398" y="967"/>
                  </a:lnTo>
                  <a:lnTo>
                    <a:pt x="417" y="969"/>
                  </a:lnTo>
                  <a:lnTo>
                    <a:pt x="440" y="970"/>
                  </a:lnTo>
                  <a:lnTo>
                    <a:pt x="466" y="971"/>
                  </a:lnTo>
                  <a:lnTo>
                    <a:pt x="614" y="971"/>
                  </a:lnTo>
                  <a:lnTo>
                    <a:pt x="614" y="971"/>
                  </a:lnTo>
                  <a:lnTo>
                    <a:pt x="642" y="970"/>
                  </a:lnTo>
                  <a:lnTo>
                    <a:pt x="668" y="969"/>
                  </a:lnTo>
                  <a:lnTo>
                    <a:pt x="689" y="966"/>
                  </a:lnTo>
                  <a:lnTo>
                    <a:pt x="709" y="963"/>
                  </a:lnTo>
                  <a:lnTo>
                    <a:pt x="726" y="959"/>
                  </a:lnTo>
                  <a:lnTo>
                    <a:pt x="742" y="954"/>
                  </a:lnTo>
                  <a:lnTo>
                    <a:pt x="754" y="947"/>
                  </a:lnTo>
                  <a:lnTo>
                    <a:pt x="765" y="940"/>
                  </a:lnTo>
                  <a:lnTo>
                    <a:pt x="775" y="932"/>
                  </a:lnTo>
                  <a:lnTo>
                    <a:pt x="784" y="921"/>
                  </a:lnTo>
                  <a:lnTo>
                    <a:pt x="790" y="911"/>
                  </a:lnTo>
                  <a:lnTo>
                    <a:pt x="796" y="899"/>
                  </a:lnTo>
                  <a:lnTo>
                    <a:pt x="801" y="886"/>
                  </a:lnTo>
                  <a:lnTo>
                    <a:pt x="806" y="872"/>
                  </a:lnTo>
                  <a:lnTo>
                    <a:pt x="814" y="840"/>
                  </a:lnTo>
                  <a:lnTo>
                    <a:pt x="823" y="806"/>
                  </a:lnTo>
                  <a:lnTo>
                    <a:pt x="859" y="806"/>
                  </a:lnTo>
                  <a:lnTo>
                    <a:pt x="846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30" name="Freeform 28"/>
            <p:cNvSpPr>
              <a:spLocks/>
            </p:cNvSpPr>
            <p:nvPr userDrawn="1"/>
          </p:nvSpPr>
          <p:spPr bwMode="auto">
            <a:xfrm>
              <a:off x="7944095" y="898692"/>
              <a:ext cx="142875" cy="136525"/>
            </a:xfrm>
            <a:custGeom>
              <a:avLst/>
              <a:gdLst>
                <a:gd name="T0" fmla="*/ 304 w 1077"/>
                <a:gd name="T1" fmla="*/ 999 h 1035"/>
                <a:gd name="T2" fmla="*/ 352 w 1077"/>
                <a:gd name="T3" fmla="*/ 997 h 1035"/>
                <a:gd name="T4" fmla="*/ 391 w 1077"/>
                <a:gd name="T5" fmla="*/ 991 h 1035"/>
                <a:gd name="T6" fmla="*/ 419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9 w 1077"/>
                <a:gd name="T13" fmla="*/ 951 h 1035"/>
                <a:gd name="T14" fmla="*/ 460 w 1077"/>
                <a:gd name="T15" fmla="*/ 920 h 1035"/>
                <a:gd name="T16" fmla="*/ 466 w 1077"/>
                <a:gd name="T17" fmla="*/ 879 h 1035"/>
                <a:gd name="T18" fmla="*/ 469 w 1077"/>
                <a:gd name="T19" fmla="*/ 827 h 1035"/>
                <a:gd name="T20" fmla="*/ 469 w 1077"/>
                <a:gd name="T21" fmla="*/ 68 h 1035"/>
                <a:gd name="T22" fmla="*/ 246 w 1077"/>
                <a:gd name="T23" fmla="*/ 68 h 1035"/>
                <a:gd name="T24" fmla="*/ 192 w 1077"/>
                <a:gd name="T25" fmla="*/ 69 h 1035"/>
                <a:gd name="T26" fmla="*/ 150 w 1077"/>
                <a:gd name="T27" fmla="*/ 75 h 1035"/>
                <a:gd name="T28" fmla="*/ 119 w 1077"/>
                <a:gd name="T29" fmla="*/ 85 h 1035"/>
                <a:gd name="T30" fmla="*/ 95 w 1077"/>
                <a:gd name="T31" fmla="*/ 98 h 1035"/>
                <a:gd name="T32" fmla="*/ 78 w 1077"/>
                <a:gd name="T33" fmla="*/ 117 h 1035"/>
                <a:gd name="T34" fmla="*/ 65 w 1077"/>
                <a:gd name="T35" fmla="*/ 139 h 1035"/>
                <a:gd name="T36" fmla="*/ 54 w 1077"/>
                <a:gd name="T37" fmla="*/ 167 h 1035"/>
                <a:gd name="T38" fmla="*/ 37 w 1077"/>
                <a:gd name="T39" fmla="*/ 233 h 1035"/>
                <a:gd name="T40" fmla="*/ 15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3 w 1077"/>
                <a:gd name="T47" fmla="*/ 167 h 1035"/>
                <a:gd name="T48" fmla="*/ 1013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58 w 1077"/>
                <a:gd name="T55" fmla="*/ 85 h 1035"/>
                <a:gd name="T56" fmla="*/ 927 w 1077"/>
                <a:gd name="T57" fmla="*/ 75 h 1035"/>
                <a:gd name="T58" fmla="*/ 886 w 1077"/>
                <a:gd name="T59" fmla="*/ 69 h 1035"/>
                <a:gd name="T60" fmla="*/ 832 w 1077"/>
                <a:gd name="T61" fmla="*/ 68 h 1035"/>
                <a:gd name="T62" fmla="*/ 608 w 1077"/>
                <a:gd name="T63" fmla="*/ 797 h 1035"/>
                <a:gd name="T64" fmla="*/ 608 w 1077"/>
                <a:gd name="T65" fmla="*/ 827 h 1035"/>
                <a:gd name="T66" fmla="*/ 611 w 1077"/>
                <a:gd name="T67" fmla="*/ 879 h 1035"/>
                <a:gd name="T68" fmla="*/ 618 w 1077"/>
                <a:gd name="T69" fmla="*/ 920 h 1035"/>
                <a:gd name="T70" fmla="*/ 629 w 1077"/>
                <a:gd name="T71" fmla="*/ 951 h 1035"/>
                <a:gd name="T72" fmla="*/ 637 w 1077"/>
                <a:gd name="T73" fmla="*/ 962 h 1035"/>
                <a:gd name="T74" fmla="*/ 646 w 1077"/>
                <a:gd name="T75" fmla="*/ 972 h 1035"/>
                <a:gd name="T76" fmla="*/ 658 w 1077"/>
                <a:gd name="T77" fmla="*/ 981 h 1035"/>
                <a:gd name="T78" fmla="*/ 687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29" y="998"/>
                  </a:lnTo>
                  <a:lnTo>
                    <a:pt x="352" y="997"/>
                  </a:lnTo>
                  <a:lnTo>
                    <a:pt x="372" y="995"/>
                  </a:lnTo>
                  <a:lnTo>
                    <a:pt x="391" y="991"/>
                  </a:lnTo>
                  <a:lnTo>
                    <a:pt x="406" y="987"/>
                  </a:lnTo>
                  <a:lnTo>
                    <a:pt x="419" y="981"/>
                  </a:lnTo>
                  <a:lnTo>
                    <a:pt x="426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9" y="951"/>
                  </a:lnTo>
                  <a:lnTo>
                    <a:pt x="455" y="937"/>
                  </a:lnTo>
                  <a:lnTo>
                    <a:pt x="460" y="920"/>
                  </a:lnTo>
                  <a:lnTo>
                    <a:pt x="464" y="901"/>
                  </a:lnTo>
                  <a:lnTo>
                    <a:pt x="466" y="879"/>
                  </a:lnTo>
                  <a:lnTo>
                    <a:pt x="468" y="855"/>
                  </a:lnTo>
                  <a:lnTo>
                    <a:pt x="469" y="827"/>
                  </a:lnTo>
                  <a:lnTo>
                    <a:pt x="469" y="797"/>
                  </a:lnTo>
                  <a:lnTo>
                    <a:pt x="469" y="68"/>
                  </a:lnTo>
                  <a:lnTo>
                    <a:pt x="246" y="68"/>
                  </a:lnTo>
                  <a:lnTo>
                    <a:pt x="246" y="68"/>
                  </a:lnTo>
                  <a:lnTo>
                    <a:pt x="217" y="68"/>
                  </a:lnTo>
                  <a:lnTo>
                    <a:pt x="192" y="69"/>
                  </a:lnTo>
                  <a:lnTo>
                    <a:pt x="170" y="72"/>
                  </a:lnTo>
                  <a:lnTo>
                    <a:pt x="150" y="75"/>
                  </a:lnTo>
                  <a:lnTo>
                    <a:pt x="133" y="79"/>
                  </a:lnTo>
                  <a:lnTo>
                    <a:pt x="119" y="85"/>
                  </a:lnTo>
                  <a:lnTo>
                    <a:pt x="105" y="91"/>
                  </a:lnTo>
                  <a:lnTo>
                    <a:pt x="95" y="98"/>
                  </a:lnTo>
                  <a:lnTo>
                    <a:pt x="85" y="106"/>
                  </a:lnTo>
                  <a:lnTo>
                    <a:pt x="78" y="117"/>
                  </a:lnTo>
                  <a:lnTo>
                    <a:pt x="71" y="127"/>
                  </a:lnTo>
                  <a:lnTo>
                    <a:pt x="65" y="139"/>
                  </a:lnTo>
                  <a:lnTo>
                    <a:pt x="59" y="152"/>
                  </a:lnTo>
                  <a:lnTo>
                    <a:pt x="54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5" y="0"/>
                  </a:lnTo>
                  <a:lnTo>
                    <a:pt x="1062" y="0"/>
                  </a:lnTo>
                  <a:lnTo>
                    <a:pt x="1077" y="233"/>
                  </a:lnTo>
                  <a:lnTo>
                    <a:pt x="1041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3" y="167"/>
                  </a:lnTo>
                  <a:lnTo>
                    <a:pt x="1019" y="152"/>
                  </a:lnTo>
                  <a:lnTo>
                    <a:pt x="1013" y="139"/>
                  </a:lnTo>
                  <a:lnTo>
                    <a:pt x="1007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2" y="91"/>
                  </a:lnTo>
                  <a:lnTo>
                    <a:pt x="958" y="85"/>
                  </a:lnTo>
                  <a:lnTo>
                    <a:pt x="944" y="79"/>
                  </a:lnTo>
                  <a:lnTo>
                    <a:pt x="927" y="75"/>
                  </a:lnTo>
                  <a:lnTo>
                    <a:pt x="907" y="72"/>
                  </a:lnTo>
                  <a:lnTo>
                    <a:pt x="886" y="69"/>
                  </a:lnTo>
                  <a:lnTo>
                    <a:pt x="860" y="68"/>
                  </a:lnTo>
                  <a:lnTo>
                    <a:pt x="832" y="68"/>
                  </a:lnTo>
                  <a:lnTo>
                    <a:pt x="608" y="68"/>
                  </a:lnTo>
                  <a:lnTo>
                    <a:pt x="608" y="797"/>
                  </a:lnTo>
                  <a:lnTo>
                    <a:pt x="608" y="797"/>
                  </a:lnTo>
                  <a:lnTo>
                    <a:pt x="608" y="827"/>
                  </a:lnTo>
                  <a:lnTo>
                    <a:pt x="609" y="855"/>
                  </a:lnTo>
                  <a:lnTo>
                    <a:pt x="611" y="879"/>
                  </a:lnTo>
                  <a:lnTo>
                    <a:pt x="614" y="901"/>
                  </a:lnTo>
                  <a:lnTo>
                    <a:pt x="618" y="920"/>
                  </a:lnTo>
                  <a:lnTo>
                    <a:pt x="622" y="937"/>
                  </a:lnTo>
                  <a:lnTo>
                    <a:pt x="629" y="951"/>
                  </a:lnTo>
                  <a:lnTo>
                    <a:pt x="633" y="957"/>
                  </a:lnTo>
                  <a:lnTo>
                    <a:pt x="637" y="962"/>
                  </a:lnTo>
                  <a:lnTo>
                    <a:pt x="641" y="967"/>
                  </a:lnTo>
                  <a:lnTo>
                    <a:pt x="646" y="972"/>
                  </a:lnTo>
                  <a:lnTo>
                    <a:pt x="651" y="977"/>
                  </a:lnTo>
                  <a:lnTo>
                    <a:pt x="658" y="981"/>
                  </a:lnTo>
                  <a:lnTo>
                    <a:pt x="672" y="987"/>
                  </a:lnTo>
                  <a:lnTo>
                    <a:pt x="687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8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31" name="Freeform 29"/>
            <p:cNvSpPr>
              <a:spLocks noEditPoints="1"/>
            </p:cNvSpPr>
            <p:nvPr userDrawn="1"/>
          </p:nvSpPr>
          <p:spPr bwMode="auto">
            <a:xfrm>
              <a:off x="5743821" y="366879"/>
              <a:ext cx="657225" cy="898526"/>
            </a:xfrm>
            <a:custGeom>
              <a:avLst/>
              <a:gdLst>
                <a:gd name="T0" fmla="*/ 3944 w 4973"/>
                <a:gd name="T1" fmla="*/ 6352 h 6792"/>
                <a:gd name="T2" fmla="*/ 1694 w 4973"/>
                <a:gd name="T3" fmla="*/ 6143 h 6792"/>
                <a:gd name="T4" fmla="*/ 2984 w 4973"/>
                <a:gd name="T5" fmla="*/ 3784 h 6792"/>
                <a:gd name="T6" fmla="*/ 2316 w 4973"/>
                <a:gd name="T7" fmla="*/ 4454 h 6792"/>
                <a:gd name="T8" fmla="*/ 1155 w 4973"/>
                <a:gd name="T9" fmla="*/ 4705 h 6792"/>
                <a:gd name="T10" fmla="*/ 1077 w 4973"/>
                <a:gd name="T11" fmla="*/ 4988 h 6792"/>
                <a:gd name="T12" fmla="*/ 910 w 4973"/>
                <a:gd name="T13" fmla="*/ 5245 h 6792"/>
                <a:gd name="T14" fmla="*/ 961 w 4973"/>
                <a:gd name="T15" fmla="*/ 5618 h 6792"/>
                <a:gd name="T16" fmla="*/ 1600 w 4973"/>
                <a:gd name="T17" fmla="*/ 5369 h 6792"/>
                <a:gd name="T18" fmla="*/ 1886 w 4973"/>
                <a:gd name="T19" fmla="*/ 5421 h 6792"/>
                <a:gd name="T20" fmla="*/ 2617 w 4973"/>
                <a:gd name="T21" fmla="*/ 5123 h 6792"/>
                <a:gd name="T22" fmla="*/ 2857 w 4973"/>
                <a:gd name="T23" fmla="*/ 4678 h 6792"/>
                <a:gd name="T24" fmla="*/ 489 w 4973"/>
                <a:gd name="T25" fmla="*/ 5877 h 6792"/>
                <a:gd name="T26" fmla="*/ 1233 w 4973"/>
                <a:gd name="T27" fmla="*/ 6668 h 6792"/>
                <a:gd name="T28" fmla="*/ 1527 w 4973"/>
                <a:gd name="T29" fmla="*/ 5749 h 6792"/>
                <a:gd name="T30" fmla="*/ 927 w 4973"/>
                <a:gd name="T31" fmla="*/ 5758 h 6792"/>
                <a:gd name="T32" fmla="*/ 429 w 4973"/>
                <a:gd name="T33" fmla="*/ 621 h 6792"/>
                <a:gd name="T34" fmla="*/ 914 w 4973"/>
                <a:gd name="T35" fmla="*/ 547 h 6792"/>
                <a:gd name="T36" fmla="*/ 829 w 4973"/>
                <a:gd name="T37" fmla="*/ 957 h 6792"/>
                <a:gd name="T38" fmla="*/ 1232 w 4973"/>
                <a:gd name="T39" fmla="*/ 762 h 6792"/>
                <a:gd name="T40" fmla="*/ 780 w 4973"/>
                <a:gd name="T41" fmla="*/ 1976 h 6792"/>
                <a:gd name="T42" fmla="*/ 1297 w 4973"/>
                <a:gd name="T43" fmla="*/ 319 h 6792"/>
                <a:gd name="T44" fmla="*/ 1481 w 4973"/>
                <a:gd name="T45" fmla="*/ 731 h 6792"/>
                <a:gd name="T46" fmla="*/ 3458 w 4973"/>
                <a:gd name="T47" fmla="*/ 480 h 6792"/>
                <a:gd name="T48" fmla="*/ 3084 w 4973"/>
                <a:gd name="T49" fmla="*/ 643 h 6792"/>
                <a:gd name="T50" fmla="*/ 2947 w 4973"/>
                <a:gd name="T51" fmla="*/ 214 h 6792"/>
                <a:gd name="T52" fmla="*/ 2541 w 4973"/>
                <a:gd name="T53" fmla="*/ 417 h 6792"/>
                <a:gd name="T54" fmla="*/ 2413 w 4973"/>
                <a:gd name="T55" fmla="*/ 28 h 6792"/>
                <a:gd name="T56" fmla="*/ 3900 w 4973"/>
                <a:gd name="T57" fmla="*/ 1991 h 6792"/>
                <a:gd name="T58" fmla="*/ 4172 w 4973"/>
                <a:gd name="T59" fmla="*/ 1335 h 6792"/>
                <a:gd name="T60" fmla="*/ 3970 w 4973"/>
                <a:gd name="T61" fmla="*/ 3382 h 6792"/>
                <a:gd name="T62" fmla="*/ 4830 w 4973"/>
                <a:gd name="T63" fmla="*/ 2682 h 6792"/>
                <a:gd name="T64" fmla="*/ 4551 w 4973"/>
                <a:gd name="T65" fmla="*/ 1246 h 6792"/>
                <a:gd name="T66" fmla="*/ 3641 w 4973"/>
                <a:gd name="T67" fmla="*/ 1994 h 6792"/>
                <a:gd name="T68" fmla="*/ 3910 w 4973"/>
                <a:gd name="T69" fmla="*/ 2958 h 6792"/>
                <a:gd name="T70" fmla="*/ 4286 w 4973"/>
                <a:gd name="T71" fmla="*/ 2402 h 6792"/>
                <a:gd name="T72" fmla="*/ 3965 w 4973"/>
                <a:gd name="T73" fmla="*/ 3379 h 6792"/>
                <a:gd name="T74" fmla="*/ 3169 w 4973"/>
                <a:gd name="T75" fmla="*/ 2142 h 6792"/>
                <a:gd name="T76" fmla="*/ 3399 w 4973"/>
                <a:gd name="T77" fmla="*/ 1285 h 6792"/>
                <a:gd name="T78" fmla="*/ 2604 w 4973"/>
                <a:gd name="T79" fmla="*/ 769 h 6792"/>
                <a:gd name="T80" fmla="*/ 2052 w 4973"/>
                <a:gd name="T81" fmla="*/ 1359 h 6792"/>
                <a:gd name="T82" fmla="*/ 1664 w 4973"/>
                <a:gd name="T83" fmla="*/ 1597 h 6792"/>
                <a:gd name="T84" fmla="*/ 2105 w 4973"/>
                <a:gd name="T85" fmla="*/ 1550 h 6792"/>
                <a:gd name="T86" fmla="*/ 1945 w 4973"/>
                <a:gd name="T87" fmla="*/ 1849 h 6792"/>
                <a:gd name="T88" fmla="*/ 1151 w 4973"/>
                <a:gd name="T89" fmla="*/ 2851 h 6792"/>
                <a:gd name="T90" fmla="*/ 331 w 4973"/>
                <a:gd name="T91" fmla="*/ 2774 h 6792"/>
                <a:gd name="T92" fmla="*/ 150 w 4973"/>
                <a:gd name="T93" fmla="*/ 2974 h 6792"/>
                <a:gd name="T94" fmla="*/ 554 w 4973"/>
                <a:gd name="T95" fmla="*/ 3191 h 6792"/>
                <a:gd name="T96" fmla="*/ 489 w 4973"/>
                <a:gd name="T97" fmla="*/ 3468 h 6792"/>
                <a:gd name="T98" fmla="*/ 935 w 4973"/>
                <a:gd name="T99" fmla="*/ 3451 h 6792"/>
                <a:gd name="T100" fmla="*/ 1725 w 4973"/>
                <a:gd name="T101" fmla="*/ 2972 h 6792"/>
                <a:gd name="T102" fmla="*/ 3397 w 4973"/>
                <a:gd name="T103" fmla="*/ 3673 h 6792"/>
                <a:gd name="T104" fmla="*/ 3711 w 4973"/>
                <a:gd name="T105" fmla="*/ 4812 h 6792"/>
                <a:gd name="T106" fmla="*/ 4356 w 4973"/>
                <a:gd name="T107" fmla="*/ 5526 h 6792"/>
                <a:gd name="T108" fmla="*/ 3835 w 4973"/>
                <a:gd name="T109" fmla="*/ 5815 h 6792"/>
                <a:gd name="T110" fmla="*/ 3750 w 4973"/>
                <a:gd name="T111" fmla="*/ 6147 h 6792"/>
                <a:gd name="T112" fmla="*/ 4262 w 4973"/>
                <a:gd name="T113" fmla="*/ 6036 h 6792"/>
                <a:gd name="T114" fmla="*/ 4324 w 4973"/>
                <a:gd name="T115" fmla="*/ 6374 h 6792"/>
                <a:gd name="T116" fmla="*/ 4692 w 4973"/>
                <a:gd name="T117" fmla="*/ 6210 h 6792"/>
                <a:gd name="T118" fmla="*/ 4659 w 4973"/>
                <a:gd name="T119" fmla="*/ 5487 h 6792"/>
                <a:gd name="T120" fmla="*/ 4786 w 4973"/>
                <a:gd name="T121" fmla="*/ 4785 h 6792"/>
                <a:gd name="T122" fmla="*/ 4362 w 4973"/>
                <a:gd name="T123" fmla="*/ 4115 h 6792"/>
                <a:gd name="T124" fmla="*/ 4803 w 4973"/>
                <a:gd name="T125" fmla="*/ 3237 h 6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3" h="6792">
                  <a:moveTo>
                    <a:pt x="1358" y="6333"/>
                  </a:moveTo>
                  <a:lnTo>
                    <a:pt x="1358" y="6333"/>
                  </a:lnTo>
                  <a:lnTo>
                    <a:pt x="1445" y="6392"/>
                  </a:lnTo>
                  <a:lnTo>
                    <a:pt x="1485" y="6418"/>
                  </a:lnTo>
                  <a:lnTo>
                    <a:pt x="1524" y="6443"/>
                  </a:lnTo>
                  <a:lnTo>
                    <a:pt x="1561" y="6466"/>
                  </a:lnTo>
                  <a:lnTo>
                    <a:pt x="1599" y="6487"/>
                  </a:lnTo>
                  <a:lnTo>
                    <a:pt x="1638" y="6509"/>
                  </a:lnTo>
                  <a:lnTo>
                    <a:pt x="1677" y="6528"/>
                  </a:lnTo>
                  <a:lnTo>
                    <a:pt x="1677" y="6528"/>
                  </a:lnTo>
                  <a:lnTo>
                    <a:pt x="1730" y="6553"/>
                  </a:lnTo>
                  <a:lnTo>
                    <a:pt x="1788" y="6578"/>
                  </a:lnTo>
                  <a:lnTo>
                    <a:pt x="1853" y="6605"/>
                  </a:lnTo>
                  <a:lnTo>
                    <a:pt x="1923" y="6630"/>
                  </a:lnTo>
                  <a:lnTo>
                    <a:pt x="1961" y="6644"/>
                  </a:lnTo>
                  <a:lnTo>
                    <a:pt x="2000" y="6656"/>
                  </a:lnTo>
                  <a:lnTo>
                    <a:pt x="2040" y="6669"/>
                  </a:lnTo>
                  <a:lnTo>
                    <a:pt x="2082" y="6682"/>
                  </a:lnTo>
                  <a:lnTo>
                    <a:pt x="2125" y="6693"/>
                  </a:lnTo>
                  <a:lnTo>
                    <a:pt x="2169" y="6704"/>
                  </a:lnTo>
                  <a:lnTo>
                    <a:pt x="2215" y="6715"/>
                  </a:lnTo>
                  <a:lnTo>
                    <a:pt x="2261" y="6726"/>
                  </a:lnTo>
                  <a:lnTo>
                    <a:pt x="2310" y="6736"/>
                  </a:lnTo>
                  <a:lnTo>
                    <a:pt x="2359" y="6745"/>
                  </a:lnTo>
                  <a:lnTo>
                    <a:pt x="2410" y="6754"/>
                  </a:lnTo>
                  <a:lnTo>
                    <a:pt x="2462" y="6762"/>
                  </a:lnTo>
                  <a:lnTo>
                    <a:pt x="2515" y="6768"/>
                  </a:lnTo>
                  <a:lnTo>
                    <a:pt x="2570" y="6776"/>
                  </a:lnTo>
                  <a:lnTo>
                    <a:pt x="2625" y="6781"/>
                  </a:lnTo>
                  <a:lnTo>
                    <a:pt x="2682" y="6785"/>
                  </a:lnTo>
                  <a:lnTo>
                    <a:pt x="2740" y="6788"/>
                  </a:lnTo>
                  <a:lnTo>
                    <a:pt x="2800" y="6790"/>
                  </a:lnTo>
                  <a:lnTo>
                    <a:pt x="2860" y="6792"/>
                  </a:lnTo>
                  <a:lnTo>
                    <a:pt x="2921" y="6791"/>
                  </a:lnTo>
                  <a:lnTo>
                    <a:pt x="2984" y="6790"/>
                  </a:lnTo>
                  <a:lnTo>
                    <a:pt x="3047" y="6787"/>
                  </a:lnTo>
                  <a:lnTo>
                    <a:pt x="3112" y="6783"/>
                  </a:lnTo>
                  <a:lnTo>
                    <a:pt x="3177" y="6778"/>
                  </a:lnTo>
                  <a:lnTo>
                    <a:pt x="3177" y="6778"/>
                  </a:lnTo>
                  <a:lnTo>
                    <a:pt x="3239" y="6772"/>
                  </a:lnTo>
                  <a:lnTo>
                    <a:pt x="3299" y="6763"/>
                  </a:lnTo>
                  <a:lnTo>
                    <a:pt x="3357" y="6755"/>
                  </a:lnTo>
                  <a:lnTo>
                    <a:pt x="3412" y="6746"/>
                  </a:lnTo>
                  <a:lnTo>
                    <a:pt x="3466" y="6737"/>
                  </a:lnTo>
                  <a:lnTo>
                    <a:pt x="3517" y="6727"/>
                  </a:lnTo>
                  <a:lnTo>
                    <a:pt x="3567" y="6715"/>
                  </a:lnTo>
                  <a:lnTo>
                    <a:pt x="3615" y="6704"/>
                  </a:lnTo>
                  <a:lnTo>
                    <a:pt x="3660" y="6692"/>
                  </a:lnTo>
                  <a:lnTo>
                    <a:pt x="3704" y="6680"/>
                  </a:lnTo>
                  <a:lnTo>
                    <a:pt x="3745" y="6667"/>
                  </a:lnTo>
                  <a:lnTo>
                    <a:pt x="3784" y="6654"/>
                  </a:lnTo>
                  <a:lnTo>
                    <a:pt x="3822" y="6642"/>
                  </a:lnTo>
                  <a:lnTo>
                    <a:pt x="3858" y="6628"/>
                  </a:lnTo>
                  <a:lnTo>
                    <a:pt x="3891" y="6615"/>
                  </a:lnTo>
                  <a:lnTo>
                    <a:pt x="3922" y="6603"/>
                  </a:lnTo>
                  <a:lnTo>
                    <a:pt x="3980" y="6577"/>
                  </a:lnTo>
                  <a:lnTo>
                    <a:pt x="4030" y="6554"/>
                  </a:lnTo>
                  <a:lnTo>
                    <a:pt x="4071" y="6532"/>
                  </a:lnTo>
                  <a:lnTo>
                    <a:pt x="4105" y="6514"/>
                  </a:lnTo>
                  <a:lnTo>
                    <a:pt x="4131" y="6498"/>
                  </a:lnTo>
                  <a:lnTo>
                    <a:pt x="4150" y="6485"/>
                  </a:lnTo>
                  <a:lnTo>
                    <a:pt x="4165" y="6475"/>
                  </a:lnTo>
                  <a:lnTo>
                    <a:pt x="4165" y="6475"/>
                  </a:lnTo>
                  <a:lnTo>
                    <a:pt x="4144" y="6468"/>
                  </a:lnTo>
                  <a:lnTo>
                    <a:pt x="4124" y="6459"/>
                  </a:lnTo>
                  <a:lnTo>
                    <a:pt x="4103" y="6451"/>
                  </a:lnTo>
                  <a:lnTo>
                    <a:pt x="4084" y="6440"/>
                  </a:lnTo>
                  <a:lnTo>
                    <a:pt x="4064" y="6431"/>
                  </a:lnTo>
                  <a:lnTo>
                    <a:pt x="4046" y="6421"/>
                  </a:lnTo>
                  <a:lnTo>
                    <a:pt x="4009" y="6398"/>
                  </a:lnTo>
                  <a:lnTo>
                    <a:pt x="3976" y="6376"/>
                  </a:lnTo>
                  <a:lnTo>
                    <a:pt x="3944" y="6352"/>
                  </a:lnTo>
                  <a:lnTo>
                    <a:pt x="3914" y="6329"/>
                  </a:lnTo>
                  <a:lnTo>
                    <a:pt x="3887" y="6305"/>
                  </a:lnTo>
                  <a:lnTo>
                    <a:pt x="3887" y="6305"/>
                  </a:lnTo>
                  <a:lnTo>
                    <a:pt x="3882" y="6315"/>
                  </a:lnTo>
                  <a:lnTo>
                    <a:pt x="3879" y="6328"/>
                  </a:lnTo>
                  <a:lnTo>
                    <a:pt x="3876" y="6343"/>
                  </a:lnTo>
                  <a:lnTo>
                    <a:pt x="3873" y="6361"/>
                  </a:lnTo>
                  <a:lnTo>
                    <a:pt x="3873" y="6361"/>
                  </a:lnTo>
                  <a:lnTo>
                    <a:pt x="3865" y="6430"/>
                  </a:lnTo>
                  <a:lnTo>
                    <a:pt x="3861" y="6463"/>
                  </a:lnTo>
                  <a:lnTo>
                    <a:pt x="3861" y="6463"/>
                  </a:lnTo>
                  <a:lnTo>
                    <a:pt x="3857" y="6462"/>
                  </a:lnTo>
                  <a:lnTo>
                    <a:pt x="3847" y="6459"/>
                  </a:lnTo>
                  <a:lnTo>
                    <a:pt x="3828" y="6452"/>
                  </a:lnTo>
                  <a:lnTo>
                    <a:pt x="3801" y="6440"/>
                  </a:lnTo>
                  <a:lnTo>
                    <a:pt x="3801" y="6440"/>
                  </a:lnTo>
                  <a:lnTo>
                    <a:pt x="3791" y="6436"/>
                  </a:lnTo>
                  <a:lnTo>
                    <a:pt x="3781" y="6430"/>
                  </a:lnTo>
                  <a:lnTo>
                    <a:pt x="3771" y="6423"/>
                  </a:lnTo>
                  <a:lnTo>
                    <a:pt x="3761" y="6415"/>
                  </a:lnTo>
                  <a:lnTo>
                    <a:pt x="3750" y="6406"/>
                  </a:lnTo>
                  <a:lnTo>
                    <a:pt x="3739" y="6396"/>
                  </a:lnTo>
                  <a:lnTo>
                    <a:pt x="3729" y="6385"/>
                  </a:lnTo>
                  <a:lnTo>
                    <a:pt x="3719" y="6373"/>
                  </a:lnTo>
                  <a:lnTo>
                    <a:pt x="3709" y="6361"/>
                  </a:lnTo>
                  <a:lnTo>
                    <a:pt x="3700" y="6346"/>
                  </a:lnTo>
                  <a:lnTo>
                    <a:pt x="3692" y="6332"/>
                  </a:lnTo>
                  <a:lnTo>
                    <a:pt x="3684" y="6317"/>
                  </a:lnTo>
                  <a:lnTo>
                    <a:pt x="3678" y="6300"/>
                  </a:lnTo>
                  <a:lnTo>
                    <a:pt x="3674" y="6284"/>
                  </a:lnTo>
                  <a:lnTo>
                    <a:pt x="3670" y="6265"/>
                  </a:lnTo>
                  <a:lnTo>
                    <a:pt x="3668" y="6248"/>
                  </a:lnTo>
                  <a:lnTo>
                    <a:pt x="3668" y="6248"/>
                  </a:lnTo>
                  <a:lnTo>
                    <a:pt x="3667" y="6223"/>
                  </a:lnTo>
                  <a:lnTo>
                    <a:pt x="3667" y="6223"/>
                  </a:lnTo>
                  <a:lnTo>
                    <a:pt x="3610" y="6244"/>
                  </a:lnTo>
                  <a:lnTo>
                    <a:pt x="3544" y="6267"/>
                  </a:lnTo>
                  <a:lnTo>
                    <a:pt x="3507" y="6280"/>
                  </a:lnTo>
                  <a:lnTo>
                    <a:pt x="3468" y="6292"/>
                  </a:lnTo>
                  <a:lnTo>
                    <a:pt x="3427" y="6303"/>
                  </a:lnTo>
                  <a:lnTo>
                    <a:pt x="3386" y="6315"/>
                  </a:lnTo>
                  <a:lnTo>
                    <a:pt x="3342" y="6326"/>
                  </a:lnTo>
                  <a:lnTo>
                    <a:pt x="3296" y="6335"/>
                  </a:lnTo>
                  <a:lnTo>
                    <a:pt x="3250" y="6344"/>
                  </a:lnTo>
                  <a:lnTo>
                    <a:pt x="3201" y="6352"/>
                  </a:lnTo>
                  <a:lnTo>
                    <a:pt x="3153" y="6360"/>
                  </a:lnTo>
                  <a:lnTo>
                    <a:pt x="3104" y="6365"/>
                  </a:lnTo>
                  <a:lnTo>
                    <a:pt x="3055" y="6368"/>
                  </a:lnTo>
                  <a:lnTo>
                    <a:pt x="3005" y="6370"/>
                  </a:lnTo>
                  <a:lnTo>
                    <a:pt x="3005" y="6370"/>
                  </a:lnTo>
                  <a:lnTo>
                    <a:pt x="2916" y="6371"/>
                  </a:lnTo>
                  <a:lnTo>
                    <a:pt x="2828" y="6370"/>
                  </a:lnTo>
                  <a:lnTo>
                    <a:pt x="2740" y="6366"/>
                  </a:lnTo>
                  <a:lnTo>
                    <a:pt x="2651" y="6361"/>
                  </a:lnTo>
                  <a:lnTo>
                    <a:pt x="2563" y="6353"/>
                  </a:lnTo>
                  <a:lnTo>
                    <a:pt x="2476" y="6343"/>
                  </a:lnTo>
                  <a:lnTo>
                    <a:pt x="2388" y="6331"/>
                  </a:lnTo>
                  <a:lnTo>
                    <a:pt x="2301" y="6317"/>
                  </a:lnTo>
                  <a:lnTo>
                    <a:pt x="2257" y="6308"/>
                  </a:lnTo>
                  <a:lnTo>
                    <a:pt x="2213" y="6300"/>
                  </a:lnTo>
                  <a:lnTo>
                    <a:pt x="2170" y="6290"/>
                  </a:lnTo>
                  <a:lnTo>
                    <a:pt x="2126" y="6280"/>
                  </a:lnTo>
                  <a:lnTo>
                    <a:pt x="2083" y="6270"/>
                  </a:lnTo>
                  <a:lnTo>
                    <a:pt x="2039" y="6258"/>
                  </a:lnTo>
                  <a:lnTo>
                    <a:pt x="1996" y="6246"/>
                  </a:lnTo>
                  <a:lnTo>
                    <a:pt x="1952" y="6234"/>
                  </a:lnTo>
                  <a:lnTo>
                    <a:pt x="1909" y="6220"/>
                  </a:lnTo>
                  <a:lnTo>
                    <a:pt x="1866" y="6206"/>
                  </a:lnTo>
                  <a:lnTo>
                    <a:pt x="1823" y="6192"/>
                  </a:lnTo>
                  <a:lnTo>
                    <a:pt x="1780" y="6176"/>
                  </a:lnTo>
                  <a:lnTo>
                    <a:pt x="1737" y="6160"/>
                  </a:lnTo>
                  <a:lnTo>
                    <a:pt x="1694" y="6143"/>
                  </a:lnTo>
                  <a:lnTo>
                    <a:pt x="1652" y="6125"/>
                  </a:lnTo>
                  <a:lnTo>
                    <a:pt x="1609" y="6107"/>
                  </a:lnTo>
                  <a:lnTo>
                    <a:pt x="1609" y="6107"/>
                  </a:lnTo>
                  <a:lnTo>
                    <a:pt x="1523" y="6068"/>
                  </a:lnTo>
                  <a:lnTo>
                    <a:pt x="1480" y="6049"/>
                  </a:lnTo>
                  <a:lnTo>
                    <a:pt x="1480" y="6049"/>
                  </a:lnTo>
                  <a:lnTo>
                    <a:pt x="1479" y="6052"/>
                  </a:lnTo>
                  <a:lnTo>
                    <a:pt x="1477" y="6061"/>
                  </a:lnTo>
                  <a:lnTo>
                    <a:pt x="1477" y="6068"/>
                  </a:lnTo>
                  <a:lnTo>
                    <a:pt x="1477" y="6077"/>
                  </a:lnTo>
                  <a:lnTo>
                    <a:pt x="1477" y="6088"/>
                  </a:lnTo>
                  <a:lnTo>
                    <a:pt x="1479" y="6100"/>
                  </a:lnTo>
                  <a:lnTo>
                    <a:pt x="1483" y="6113"/>
                  </a:lnTo>
                  <a:lnTo>
                    <a:pt x="1487" y="6128"/>
                  </a:lnTo>
                  <a:lnTo>
                    <a:pt x="1494" y="6145"/>
                  </a:lnTo>
                  <a:lnTo>
                    <a:pt x="1503" y="6163"/>
                  </a:lnTo>
                  <a:lnTo>
                    <a:pt x="1514" y="6184"/>
                  </a:lnTo>
                  <a:lnTo>
                    <a:pt x="1529" y="6205"/>
                  </a:lnTo>
                  <a:lnTo>
                    <a:pt x="1545" y="6229"/>
                  </a:lnTo>
                  <a:lnTo>
                    <a:pt x="1565" y="6253"/>
                  </a:lnTo>
                  <a:lnTo>
                    <a:pt x="1565" y="6253"/>
                  </a:lnTo>
                  <a:lnTo>
                    <a:pt x="1547" y="6250"/>
                  </a:lnTo>
                  <a:lnTo>
                    <a:pt x="1528" y="6248"/>
                  </a:lnTo>
                  <a:lnTo>
                    <a:pt x="1509" y="6248"/>
                  </a:lnTo>
                  <a:lnTo>
                    <a:pt x="1490" y="6248"/>
                  </a:lnTo>
                  <a:lnTo>
                    <a:pt x="1472" y="6250"/>
                  </a:lnTo>
                  <a:lnTo>
                    <a:pt x="1456" y="6253"/>
                  </a:lnTo>
                  <a:lnTo>
                    <a:pt x="1441" y="6258"/>
                  </a:lnTo>
                  <a:lnTo>
                    <a:pt x="1427" y="6264"/>
                  </a:lnTo>
                  <a:lnTo>
                    <a:pt x="1427" y="6264"/>
                  </a:lnTo>
                  <a:lnTo>
                    <a:pt x="1413" y="6273"/>
                  </a:lnTo>
                  <a:lnTo>
                    <a:pt x="1400" y="6283"/>
                  </a:lnTo>
                  <a:lnTo>
                    <a:pt x="1390" y="6293"/>
                  </a:lnTo>
                  <a:lnTo>
                    <a:pt x="1379" y="6302"/>
                  </a:lnTo>
                  <a:lnTo>
                    <a:pt x="1371" y="6311"/>
                  </a:lnTo>
                  <a:lnTo>
                    <a:pt x="1365" y="6321"/>
                  </a:lnTo>
                  <a:lnTo>
                    <a:pt x="1358" y="6333"/>
                  </a:lnTo>
                  <a:close/>
                  <a:moveTo>
                    <a:pt x="3487" y="3933"/>
                  </a:moveTo>
                  <a:lnTo>
                    <a:pt x="3487" y="3933"/>
                  </a:lnTo>
                  <a:lnTo>
                    <a:pt x="3470" y="3920"/>
                  </a:lnTo>
                  <a:lnTo>
                    <a:pt x="3453" y="3908"/>
                  </a:lnTo>
                  <a:lnTo>
                    <a:pt x="3436" y="3895"/>
                  </a:lnTo>
                  <a:lnTo>
                    <a:pt x="3418" y="3884"/>
                  </a:lnTo>
                  <a:lnTo>
                    <a:pt x="3383" y="3865"/>
                  </a:lnTo>
                  <a:lnTo>
                    <a:pt x="3349" y="3846"/>
                  </a:lnTo>
                  <a:lnTo>
                    <a:pt x="3314" y="3829"/>
                  </a:lnTo>
                  <a:lnTo>
                    <a:pt x="3281" y="3814"/>
                  </a:lnTo>
                  <a:lnTo>
                    <a:pt x="3250" y="3799"/>
                  </a:lnTo>
                  <a:lnTo>
                    <a:pt x="3219" y="3784"/>
                  </a:lnTo>
                  <a:lnTo>
                    <a:pt x="3219" y="3784"/>
                  </a:lnTo>
                  <a:lnTo>
                    <a:pt x="3235" y="3774"/>
                  </a:lnTo>
                  <a:lnTo>
                    <a:pt x="3251" y="3763"/>
                  </a:lnTo>
                  <a:lnTo>
                    <a:pt x="3268" y="3749"/>
                  </a:lnTo>
                  <a:lnTo>
                    <a:pt x="3284" y="3735"/>
                  </a:lnTo>
                  <a:lnTo>
                    <a:pt x="3298" y="3722"/>
                  </a:lnTo>
                  <a:lnTo>
                    <a:pt x="3302" y="3716"/>
                  </a:lnTo>
                  <a:lnTo>
                    <a:pt x="3305" y="3711"/>
                  </a:lnTo>
                  <a:lnTo>
                    <a:pt x="3305" y="3707"/>
                  </a:lnTo>
                  <a:lnTo>
                    <a:pt x="3305" y="3705"/>
                  </a:lnTo>
                  <a:lnTo>
                    <a:pt x="3303" y="3704"/>
                  </a:lnTo>
                  <a:lnTo>
                    <a:pt x="3303" y="3704"/>
                  </a:lnTo>
                  <a:lnTo>
                    <a:pt x="3290" y="3697"/>
                  </a:lnTo>
                  <a:lnTo>
                    <a:pt x="3278" y="3691"/>
                  </a:lnTo>
                  <a:lnTo>
                    <a:pt x="3266" y="3687"/>
                  </a:lnTo>
                  <a:lnTo>
                    <a:pt x="3255" y="3685"/>
                  </a:lnTo>
                  <a:lnTo>
                    <a:pt x="3236" y="3682"/>
                  </a:lnTo>
                  <a:lnTo>
                    <a:pt x="3229" y="3681"/>
                  </a:lnTo>
                  <a:lnTo>
                    <a:pt x="3229" y="3681"/>
                  </a:lnTo>
                  <a:lnTo>
                    <a:pt x="3168" y="3705"/>
                  </a:lnTo>
                  <a:lnTo>
                    <a:pt x="3105" y="3731"/>
                  </a:lnTo>
                  <a:lnTo>
                    <a:pt x="3045" y="3757"/>
                  </a:lnTo>
                  <a:lnTo>
                    <a:pt x="2984" y="3784"/>
                  </a:lnTo>
                  <a:lnTo>
                    <a:pt x="2924" y="3813"/>
                  </a:lnTo>
                  <a:lnTo>
                    <a:pt x="2866" y="3841"/>
                  </a:lnTo>
                  <a:lnTo>
                    <a:pt x="2809" y="3870"/>
                  </a:lnTo>
                  <a:lnTo>
                    <a:pt x="2754" y="3900"/>
                  </a:lnTo>
                  <a:lnTo>
                    <a:pt x="2700" y="3928"/>
                  </a:lnTo>
                  <a:lnTo>
                    <a:pt x="2649" y="3957"/>
                  </a:lnTo>
                  <a:lnTo>
                    <a:pt x="2600" y="3984"/>
                  </a:lnTo>
                  <a:lnTo>
                    <a:pt x="2553" y="4012"/>
                  </a:lnTo>
                  <a:lnTo>
                    <a:pt x="2510" y="4039"/>
                  </a:lnTo>
                  <a:lnTo>
                    <a:pt x="2469" y="4064"/>
                  </a:lnTo>
                  <a:lnTo>
                    <a:pt x="2433" y="4088"/>
                  </a:lnTo>
                  <a:lnTo>
                    <a:pt x="2399" y="4110"/>
                  </a:lnTo>
                  <a:lnTo>
                    <a:pt x="2399" y="4110"/>
                  </a:lnTo>
                  <a:lnTo>
                    <a:pt x="2394" y="4113"/>
                  </a:lnTo>
                  <a:lnTo>
                    <a:pt x="2394" y="4113"/>
                  </a:lnTo>
                  <a:lnTo>
                    <a:pt x="2382" y="4120"/>
                  </a:lnTo>
                  <a:lnTo>
                    <a:pt x="2371" y="4127"/>
                  </a:lnTo>
                  <a:lnTo>
                    <a:pt x="2360" y="4132"/>
                  </a:lnTo>
                  <a:lnTo>
                    <a:pt x="2348" y="4136"/>
                  </a:lnTo>
                  <a:lnTo>
                    <a:pt x="2336" y="4139"/>
                  </a:lnTo>
                  <a:lnTo>
                    <a:pt x="2325" y="4142"/>
                  </a:lnTo>
                  <a:lnTo>
                    <a:pt x="2313" y="4143"/>
                  </a:lnTo>
                  <a:lnTo>
                    <a:pt x="2302" y="4144"/>
                  </a:lnTo>
                  <a:lnTo>
                    <a:pt x="2278" y="4145"/>
                  </a:lnTo>
                  <a:lnTo>
                    <a:pt x="2256" y="4143"/>
                  </a:lnTo>
                  <a:lnTo>
                    <a:pt x="2233" y="4140"/>
                  </a:lnTo>
                  <a:lnTo>
                    <a:pt x="2213" y="4135"/>
                  </a:lnTo>
                  <a:lnTo>
                    <a:pt x="2193" y="4130"/>
                  </a:lnTo>
                  <a:lnTo>
                    <a:pt x="2176" y="4123"/>
                  </a:lnTo>
                  <a:lnTo>
                    <a:pt x="2161" y="4117"/>
                  </a:lnTo>
                  <a:lnTo>
                    <a:pt x="2146" y="4111"/>
                  </a:lnTo>
                  <a:lnTo>
                    <a:pt x="2127" y="4101"/>
                  </a:lnTo>
                  <a:lnTo>
                    <a:pt x="2121" y="4097"/>
                  </a:lnTo>
                  <a:lnTo>
                    <a:pt x="2100" y="4225"/>
                  </a:lnTo>
                  <a:lnTo>
                    <a:pt x="2100" y="4225"/>
                  </a:lnTo>
                  <a:lnTo>
                    <a:pt x="2123" y="4238"/>
                  </a:lnTo>
                  <a:lnTo>
                    <a:pt x="2144" y="4249"/>
                  </a:lnTo>
                  <a:lnTo>
                    <a:pt x="2165" y="4258"/>
                  </a:lnTo>
                  <a:lnTo>
                    <a:pt x="2182" y="4267"/>
                  </a:lnTo>
                  <a:lnTo>
                    <a:pt x="2198" y="4273"/>
                  </a:lnTo>
                  <a:lnTo>
                    <a:pt x="2214" y="4277"/>
                  </a:lnTo>
                  <a:lnTo>
                    <a:pt x="2227" y="4281"/>
                  </a:lnTo>
                  <a:lnTo>
                    <a:pt x="2238" y="4283"/>
                  </a:lnTo>
                  <a:lnTo>
                    <a:pt x="2238" y="4283"/>
                  </a:lnTo>
                  <a:lnTo>
                    <a:pt x="2219" y="4287"/>
                  </a:lnTo>
                  <a:lnTo>
                    <a:pt x="2198" y="4292"/>
                  </a:lnTo>
                  <a:lnTo>
                    <a:pt x="2178" y="4298"/>
                  </a:lnTo>
                  <a:lnTo>
                    <a:pt x="2156" y="4306"/>
                  </a:lnTo>
                  <a:lnTo>
                    <a:pt x="2137" y="4315"/>
                  </a:lnTo>
                  <a:lnTo>
                    <a:pt x="2119" y="4326"/>
                  </a:lnTo>
                  <a:lnTo>
                    <a:pt x="2109" y="4331"/>
                  </a:lnTo>
                  <a:lnTo>
                    <a:pt x="2101" y="4337"/>
                  </a:lnTo>
                  <a:lnTo>
                    <a:pt x="2094" y="4344"/>
                  </a:lnTo>
                  <a:lnTo>
                    <a:pt x="2088" y="4351"/>
                  </a:lnTo>
                  <a:lnTo>
                    <a:pt x="2132" y="4469"/>
                  </a:lnTo>
                  <a:lnTo>
                    <a:pt x="2132" y="4469"/>
                  </a:lnTo>
                  <a:lnTo>
                    <a:pt x="2144" y="4460"/>
                  </a:lnTo>
                  <a:lnTo>
                    <a:pt x="2160" y="4451"/>
                  </a:lnTo>
                  <a:lnTo>
                    <a:pt x="2181" y="4439"/>
                  </a:lnTo>
                  <a:lnTo>
                    <a:pt x="2193" y="4434"/>
                  </a:lnTo>
                  <a:lnTo>
                    <a:pt x="2207" y="4429"/>
                  </a:lnTo>
                  <a:lnTo>
                    <a:pt x="2222" y="4424"/>
                  </a:lnTo>
                  <a:lnTo>
                    <a:pt x="2237" y="4419"/>
                  </a:lnTo>
                  <a:lnTo>
                    <a:pt x="2255" y="4415"/>
                  </a:lnTo>
                  <a:lnTo>
                    <a:pt x="2273" y="4412"/>
                  </a:lnTo>
                  <a:lnTo>
                    <a:pt x="2292" y="4410"/>
                  </a:lnTo>
                  <a:lnTo>
                    <a:pt x="2313" y="4409"/>
                  </a:lnTo>
                  <a:lnTo>
                    <a:pt x="2313" y="4409"/>
                  </a:lnTo>
                  <a:lnTo>
                    <a:pt x="2316" y="4425"/>
                  </a:lnTo>
                  <a:lnTo>
                    <a:pt x="2316" y="4425"/>
                  </a:lnTo>
                  <a:lnTo>
                    <a:pt x="2316" y="4439"/>
                  </a:lnTo>
                  <a:lnTo>
                    <a:pt x="2316" y="4454"/>
                  </a:lnTo>
                  <a:lnTo>
                    <a:pt x="2314" y="4468"/>
                  </a:lnTo>
                  <a:lnTo>
                    <a:pt x="2311" y="4483"/>
                  </a:lnTo>
                  <a:lnTo>
                    <a:pt x="2306" y="4499"/>
                  </a:lnTo>
                  <a:lnTo>
                    <a:pt x="2301" y="4514"/>
                  </a:lnTo>
                  <a:lnTo>
                    <a:pt x="2293" y="4529"/>
                  </a:lnTo>
                  <a:lnTo>
                    <a:pt x="2285" y="4545"/>
                  </a:lnTo>
                  <a:lnTo>
                    <a:pt x="2277" y="4561"/>
                  </a:lnTo>
                  <a:lnTo>
                    <a:pt x="2267" y="4576"/>
                  </a:lnTo>
                  <a:lnTo>
                    <a:pt x="2256" y="4593"/>
                  </a:lnTo>
                  <a:lnTo>
                    <a:pt x="2244" y="4608"/>
                  </a:lnTo>
                  <a:lnTo>
                    <a:pt x="2231" y="4624"/>
                  </a:lnTo>
                  <a:lnTo>
                    <a:pt x="2218" y="4640"/>
                  </a:lnTo>
                  <a:lnTo>
                    <a:pt x="2204" y="4655"/>
                  </a:lnTo>
                  <a:lnTo>
                    <a:pt x="2189" y="4670"/>
                  </a:lnTo>
                  <a:lnTo>
                    <a:pt x="2157" y="4701"/>
                  </a:lnTo>
                  <a:lnTo>
                    <a:pt x="2124" y="4730"/>
                  </a:lnTo>
                  <a:lnTo>
                    <a:pt x="2088" y="4757"/>
                  </a:lnTo>
                  <a:lnTo>
                    <a:pt x="2051" y="4783"/>
                  </a:lnTo>
                  <a:lnTo>
                    <a:pt x="2013" y="4807"/>
                  </a:lnTo>
                  <a:lnTo>
                    <a:pt x="1975" y="4829"/>
                  </a:lnTo>
                  <a:lnTo>
                    <a:pt x="1937" y="4848"/>
                  </a:lnTo>
                  <a:lnTo>
                    <a:pt x="1917" y="4858"/>
                  </a:lnTo>
                  <a:lnTo>
                    <a:pt x="1899" y="4866"/>
                  </a:lnTo>
                  <a:lnTo>
                    <a:pt x="1899" y="4866"/>
                  </a:lnTo>
                  <a:lnTo>
                    <a:pt x="1861" y="4880"/>
                  </a:lnTo>
                  <a:lnTo>
                    <a:pt x="1823" y="4892"/>
                  </a:lnTo>
                  <a:lnTo>
                    <a:pt x="1788" y="4904"/>
                  </a:lnTo>
                  <a:lnTo>
                    <a:pt x="1754" y="4913"/>
                  </a:lnTo>
                  <a:lnTo>
                    <a:pt x="1721" y="4921"/>
                  </a:lnTo>
                  <a:lnTo>
                    <a:pt x="1690" y="4927"/>
                  </a:lnTo>
                  <a:lnTo>
                    <a:pt x="1661" y="4931"/>
                  </a:lnTo>
                  <a:lnTo>
                    <a:pt x="1633" y="4935"/>
                  </a:lnTo>
                  <a:lnTo>
                    <a:pt x="1607" y="4937"/>
                  </a:lnTo>
                  <a:lnTo>
                    <a:pt x="1584" y="4938"/>
                  </a:lnTo>
                  <a:lnTo>
                    <a:pt x="1562" y="4938"/>
                  </a:lnTo>
                  <a:lnTo>
                    <a:pt x="1543" y="4937"/>
                  </a:lnTo>
                  <a:lnTo>
                    <a:pt x="1527" y="4935"/>
                  </a:lnTo>
                  <a:lnTo>
                    <a:pt x="1513" y="4932"/>
                  </a:lnTo>
                  <a:lnTo>
                    <a:pt x="1502" y="4928"/>
                  </a:lnTo>
                  <a:lnTo>
                    <a:pt x="1493" y="4924"/>
                  </a:lnTo>
                  <a:lnTo>
                    <a:pt x="1493" y="4924"/>
                  </a:lnTo>
                  <a:lnTo>
                    <a:pt x="1469" y="4908"/>
                  </a:lnTo>
                  <a:lnTo>
                    <a:pt x="1448" y="4890"/>
                  </a:lnTo>
                  <a:lnTo>
                    <a:pt x="1429" y="4872"/>
                  </a:lnTo>
                  <a:lnTo>
                    <a:pt x="1413" y="4853"/>
                  </a:lnTo>
                  <a:lnTo>
                    <a:pt x="1398" y="4836"/>
                  </a:lnTo>
                  <a:lnTo>
                    <a:pt x="1384" y="4818"/>
                  </a:lnTo>
                  <a:lnTo>
                    <a:pt x="1373" y="4800"/>
                  </a:lnTo>
                  <a:lnTo>
                    <a:pt x="1362" y="4783"/>
                  </a:lnTo>
                  <a:lnTo>
                    <a:pt x="1343" y="4752"/>
                  </a:lnTo>
                  <a:lnTo>
                    <a:pt x="1333" y="4738"/>
                  </a:lnTo>
                  <a:lnTo>
                    <a:pt x="1324" y="4726"/>
                  </a:lnTo>
                  <a:lnTo>
                    <a:pt x="1315" y="4714"/>
                  </a:lnTo>
                  <a:lnTo>
                    <a:pt x="1305" y="4706"/>
                  </a:lnTo>
                  <a:lnTo>
                    <a:pt x="1293" y="4699"/>
                  </a:lnTo>
                  <a:lnTo>
                    <a:pt x="1287" y="4696"/>
                  </a:lnTo>
                  <a:lnTo>
                    <a:pt x="1281" y="4694"/>
                  </a:lnTo>
                  <a:lnTo>
                    <a:pt x="1281" y="4694"/>
                  </a:lnTo>
                  <a:lnTo>
                    <a:pt x="1277" y="4694"/>
                  </a:lnTo>
                  <a:lnTo>
                    <a:pt x="1274" y="4694"/>
                  </a:lnTo>
                  <a:lnTo>
                    <a:pt x="1267" y="4696"/>
                  </a:lnTo>
                  <a:lnTo>
                    <a:pt x="1260" y="4699"/>
                  </a:lnTo>
                  <a:lnTo>
                    <a:pt x="1252" y="4703"/>
                  </a:lnTo>
                  <a:lnTo>
                    <a:pt x="1244" y="4707"/>
                  </a:lnTo>
                  <a:lnTo>
                    <a:pt x="1235" y="4710"/>
                  </a:lnTo>
                  <a:lnTo>
                    <a:pt x="1227" y="4712"/>
                  </a:lnTo>
                  <a:lnTo>
                    <a:pt x="1222" y="4712"/>
                  </a:lnTo>
                  <a:lnTo>
                    <a:pt x="1217" y="4712"/>
                  </a:lnTo>
                  <a:lnTo>
                    <a:pt x="1217" y="4712"/>
                  </a:lnTo>
                  <a:lnTo>
                    <a:pt x="1196" y="4709"/>
                  </a:lnTo>
                  <a:lnTo>
                    <a:pt x="1176" y="4706"/>
                  </a:lnTo>
                  <a:lnTo>
                    <a:pt x="1155" y="4705"/>
                  </a:lnTo>
                  <a:lnTo>
                    <a:pt x="1134" y="4704"/>
                  </a:lnTo>
                  <a:lnTo>
                    <a:pt x="1114" y="4704"/>
                  </a:lnTo>
                  <a:lnTo>
                    <a:pt x="1094" y="4706"/>
                  </a:lnTo>
                  <a:lnTo>
                    <a:pt x="1075" y="4708"/>
                  </a:lnTo>
                  <a:lnTo>
                    <a:pt x="1055" y="4712"/>
                  </a:lnTo>
                  <a:lnTo>
                    <a:pt x="1037" y="4716"/>
                  </a:lnTo>
                  <a:lnTo>
                    <a:pt x="1020" y="4724"/>
                  </a:lnTo>
                  <a:lnTo>
                    <a:pt x="1004" y="4731"/>
                  </a:lnTo>
                  <a:lnTo>
                    <a:pt x="990" y="4740"/>
                  </a:lnTo>
                  <a:lnTo>
                    <a:pt x="976" y="4751"/>
                  </a:lnTo>
                  <a:lnTo>
                    <a:pt x="970" y="4757"/>
                  </a:lnTo>
                  <a:lnTo>
                    <a:pt x="964" y="4763"/>
                  </a:lnTo>
                  <a:lnTo>
                    <a:pt x="959" y="4771"/>
                  </a:lnTo>
                  <a:lnTo>
                    <a:pt x="955" y="4779"/>
                  </a:lnTo>
                  <a:lnTo>
                    <a:pt x="951" y="4786"/>
                  </a:lnTo>
                  <a:lnTo>
                    <a:pt x="947" y="4795"/>
                  </a:lnTo>
                  <a:lnTo>
                    <a:pt x="947" y="4795"/>
                  </a:lnTo>
                  <a:lnTo>
                    <a:pt x="985" y="4793"/>
                  </a:lnTo>
                  <a:lnTo>
                    <a:pt x="1020" y="4792"/>
                  </a:lnTo>
                  <a:lnTo>
                    <a:pt x="1040" y="4792"/>
                  </a:lnTo>
                  <a:lnTo>
                    <a:pt x="1059" y="4793"/>
                  </a:lnTo>
                  <a:lnTo>
                    <a:pt x="1077" y="4794"/>
                  </a:lnTo>
                  <a:lnTo>
                    <a:pt x="1092" y="4797"/>
                  </a:lnTo>
                  <a:lnTo>
                    <a:pt x="1105" y="4800"/>
                  </a:lnTo>
                  <a:lnTo>
                    <a:pt x="1110" y="4802"/>
                  </a:lnTo>
                  <a:lnTo>
                    <a:pt x="1115" y="4804"/>
                  </a:lnTo>
                  <a:lnTo>
                    <a:pt x="1117" y="4807"/>
                  </a:lnTo>
                  <a:lnTo>
                    <a:pt x="1119" y="4811"/>
                  </a:lnTo>
                  <a:lnTo>
                    <a:pt x="1119" y="4814"/>
                  </a:lnTo>
                  <a:lnTo>
                    <a:pt x="1117" y="4818"/>
                  </a:lnTo>
                  <a:lnTo>
                    <a:pt x="1114" y="4822"/>
                  </a:lnTo>
                  <a:lnTo>
                    <a:pt x="1109" y="4827"/>
                  </a:lnTo>
                  <a:lnTo>
                    <a:pt x="1102" y="4832"/>
                  </a:lnTo>
                  <a:lnTo>
                    <a:pt x="1094" y="4837"/>
                  </a:lnTo>
                  <a:lnTo>
                    <a:pt x="1094" y="4837"/>
                  </a:lnTo>
                  <a:lnTo>
                    <a:pt x="1085" y="4843"/>
                  </a:lnTo>
                  <a:lnTo>
                    <a:pt x="1079" y="4849"/>
                  </a:lnTo>
                  <a:lnTo>
                    <a:pt x="1074" y="4856"/>
                  </a:lnTo>
                  <a:lnTo>
                    <a:pt x="1072" y="4863"/>
                  </a:lnTo>
                  <a:lnTo>
                    <a:pt x="1071" y="4870"/>
                  </a:lnTo>
                  <a:lnTo>
                    <a:pt x="1072" y="4876"/>
                  </a:lnTo>
                  <a:lnTo>
                    <a:pt x="1074" y="4883"/>
                  </a:lnTo>
                  <a:lnTo>
                    <a:pt x="1077" y="4890"/>
                  </a:lnTo>
                  <a:lnTo>
                    <a:pt x="1082" y="4898"/>
                  </a:lnTo>
                  <a:lnTo>
                    <a:pt x="1088" y="4906"/>
                  </a:lnTo>
                  <a:lnTo>
                    <a:pt x="1096" y="4913"/>
                  </a:lnTo>
                  <a:lnTo>
                    <a:pt x="1104" y="4920"/>
                  </a:lnTo>
                  <a:lnTo>
                    <a:pt x="1124" y="4935"/>
                  </a:lnTo>
                  <a:lnTo>
                    <a:pt x="1146" y="4951"/>
                  </a:lnTo>
                  <a:lnTo>
                    <a:pt x="1170" y="4966"/>
                  </a:lnTo>
                  <a:lnTo>
                    <a:pt x="1195" y="4980"/>
                  </a:lnTo>
                  <a:lnTo>
                    <a:pt x="1247" y="5008"/>
                  </a:lnTo>
                  <a:lnTo>
                    <a:pt x="1293" y="5031"/>
                  </a:lnTo>
                  <a:lnTo>
                    <a:pt x="1313" y="5042"/>
                  </a:lnTo>
                  <a:lnTo>
                    <a:pt x="1329" y="5051"/>
                  </a:lnTo>
                  <a:lnTo>
                    <a:pt x="1329" y="5051"/>
                  </a:lnTo>
                  <a:lnTo>
                    <a:pt x="1336" y="5056"/>
                  </a:lnTo>
                  <a:lnTo>
                    <a:pt x="1339" y="5060"/>
                  </a:lnTo>
                  <a:lnTo>
                    <a:pt x="1341" y="5063"/>
                  </a:lnTo>
                  <a:lnTo>
                    <a:pt x="1339" y="5066"/>
                  </a:lnTo>
                  <a:lnTo>
                    <a:pt x="1336" y="5068"/>
                  </a:lnTo>
                  <a:lnTo>
                    <a:pt x="1332" y="5070"/>
                  </a:lnTo>
                  <a:lnTo>
                    <a:pt x="1326" y="5071"/>
                  </a:lnTo>
                  <a:lnTo>
                    <a:pt x="1326" y="5071"/>
                  </a:lnTo>
                  <a:lnTo>
                    <a:pt x="1316" y="5071"/>
                  </a:lnTo>
                  <a:lnTo>
                    <a:pt x="1304" y="5069"/>
                  </a:lnTo>
                  <a:lnTo>
                    <a:pt x="1289" y="5066"/>
                  </a:lnTo>
                  <a:lnTo>
                    <a:pt x="1273" y="5061"/>
                  </a:lnTo>
                  <a:lnTo>
                    <a:pt x="1237" y="5050"/>
                  </a:lnTo>
                  <a:lnTo>
                    <a:pt x="1197" y="5035"/>
                  </a:lnTo>
                  <a:lnTo>
                    <a:pt x="1115" y="5004"/>
                  </a:lnTo>
                  <a:lnTo>
                    <a:pt x="1077" y="4988"/>
                  </a:lnTo>
                  <a:lnTo>
                    <a:pt x="1042" y="4977"/>
                  </a:lnTo>
                  <a:lnTo>
                    <a:pt x="1042" y="4977"/>
                  </a:lnTo>
                  <a:lnTo>
                    <a:pt x="1031" y="4974"/>
                  </a:lnTo>
                  <a:lnTo>
                    <a:pt x="1020" y="4972"/>
                  </a:lnTo>
                  <a:lnTo>
                    <a:pt x="1011" y="4972"/>
                  </a:lnTo>
                  <a:lnTo>
                    <a:pt x="1003" y="4973"/>
                  </a:lnTo>
                  <a:lnTo>
                    <a:pt x="996" y="4975"/>
                  </a:lnTo>
                  <a:lnTo>
                    <a:pt x="990" y="4978"/>
                  </a:lnTo>
                  <a:lnTo>
                    <a:pt x="985" y="4981"/>
                  </a:lnTo>
                  <a:lnTo>
                    <a:pt x="981" y="4984"/>
                  </a:lnTo>
                  <a:lnTo>
                    <a:pt x="972" y="4993"/>
                  </a:lnTo>
                  <a:lnTo>
                    <a:pt x="966" y="5000"/>
                  </a:lnTo>
                  <a:lnTo>
                    <a:pt x="962" y="5005"/>
                  </a:lnTo>
                  <a:lnTo>
                    <a:pt x="959" y="5006"/>
                  </a:lnTo>
                  <a:lnTo>
                    <a:pt x="957" y="5007"/>
                  </a:lnTo>
                  <a:lnTo>
                    <a:pt x="957" y="5007"/>
                  </a:lnTo>
                  <a:lnTo>
                    <a:pt x="948" y="5006"/>
                  </a:lnTo>
                  <a:lnTo>
                    <a:pt x="938" y="5005"/>
                  </a:lnTo>
                  <a:lnTo>
                    <a:pt x="926" y="5006"/>
                  </a:lnTo>
                  <a:lnTo>
                    <a:pt x="916" y="5006"/>
                  </a:lnTo>
                  <a:lnTo>
                    <a:pt x="894" y="5010"/>
                  </a:lnTo>
                  <a:lnTo>
                    <a:pt x="871" y="5016"/>
                  </a:lnTo>
                  <a:lnTo>
                    <a:pt x="849" y="5024"/>
                  </a:lnTo>
                  <a:lnTo>
                    <a:pt x="826" y="5034"/>
                  </a:lnTo>
                  <a:lnTo>
                    <a:pt x="805" y="5048"/>
                  </a:lnTo>
                  <a:lnTo>
                    <a:pt x="794" y="5055"/>
                  </a:lnTo>
                  <a:lnTo>
                    <a:pt x="785" y="5062"/>
                  </a:lnTo>
                  <a:lnTo>
                    <a:pt x="776" y="5070"/>
                  </a:lnTo>
                  <a:lnTo>
                    <a:pt x="768" y="5078"/>
                  </a:lnTo>
                  <a:lnTo>
                    <a:pt x="760" y="5088"/>
                  </a:lnTo>
                  <a:lnTo>
                    <a:pt x="753" y="5097"/>
                  </a:lnTo>
                  <a:lnTo>
                    <a:pt x="746" y="5107"/>
                  </a:lnTo>
                  <a:lnTo>
                    <a:pt x="740" y="5116"/>
                  </a:lnTo>
                  <a:lnTo>
                    <a:pt x="736" y="5127"/>
                  </a:lnTo>
                  <a:lnTo>
                    <a:pt x="732" y="5139"/>
                  </a:lnTo>
                  <a:lnTo>
                    <a:pt x="730" y="5150"/>
                  </a:lnTo>
                  <a:lnTo>
                    <a:pt x="728" y="5161"/>
                  </a:lnTo>
                  <a:lnTo>
                    <a:pt x="728" y="5173"/>
                  </a:lnTo>
                  <a:lnTo>
                    <a:pt x="728" y="5186"/>
                  </a:lnTo>
                  <a:lnTo>
                    <a:pt x="731" y="5199"/>
                  </a:lnTo>
                  <a:lnTo>
                    <a:pt x="734" y="5211"/>
                  </a:lnTo>
                  <a:lnTo>
                    <a:pt x="739" y="5225"/>
                  </a:lnTo>
                  <a:lnTo>
                    <a:pt x="745" y="5239"/>
                  </a:lnTo>
                  <a:lnTo>
                    <a:pt x="745" y="5239"/>
                  </a:lnTo>
                  <a:lnTo>
                    <a:pt x="748" y="5234"/>
                  </a:lnTo>
                  <a:lnTo>
                    <a:pt x="758" y="5221"/>
                  </a:lnTo>
                  <a:lnTo>
                    <a:pt x="773" y="5202"/>
                  </a:lnTo>
                  <a:lnTo>
                    <a:pt x="781" y="5192"/>
                  </a:lnTo>
                  <a:lnTo>
                    <a:pt x="791" y="5182"/>
                  </a:lnTo>
                  <a:lnTo>
                    <a:pt x="803" y="5171"/>
                  </a:lnTo>
                  <a:lnTo>
                    <a:pt x="814" y="5162"/>
                  </a:lnTo>
                  <a:lnTo>
                    <a:pt x="826" y="5154"/>
                  </a:lnTo>
                  <a:lnTo>
                    <a:pt x="839" y="5147"/>
                  </a:lnTo>
                  <a:lnTo>
                    <a:pt x="853" y="5142"/>
                  </a:lnTo>
                  <a:lnTo>
                    <a:pt x="859" y="5140"/>
                  </a:lnTo>
                  <a:lnTo>
                    <a:pt x="866" y="5139"/>
                  </a:lnTo>
                  <a:lnTo>
                    <a:pt x="873" y="5139"/>
                  </a:lnTo>
                  <a:lnTo>
                    <a:pt x="879" y="5139"/>
                  </a:lnTo>
                  <a:lnTo>
                    <a:pt x="887" y="5140"/>
                  </a:lnTo>
                  <a:lnTo>
                    <a:pt x="894" y="5142"/>
                  </a:lnTo>
                  <a:lnTo>
                    <a:pt x="894" y="5142"/>
                  </a:lnTo>
                  <a:lnTo>
                    <a:pt x="899" y="5144"/>
                  </a:lnTo>
                  <a:lnTo>
                    <a:pt x="902" y="5148"/>
                  </a:lnTo>
                  <a:lnTo>
                    <a:pt x="903" y="5154"/>
                  </a:lnTo>
                  <a:lnTo>
                    <a:pt x="904" y="5160"/>
                  </a:lnTo>
                  <a:lnTo>
                    <a:pt x="904" y="5177"/>
                  </a:lnTo>
                  <a:lnTo>
                    <a:pt x="902" y="5195"/>
                  </a:lnTo>
                  <a:lnTo>
                    <a:pt x="902" y="5205"/>
                  </a:lnTo>
                  <a:lnTo>
                    <a:pt x="902" y="5215"/>
                  </a:lnTo>
                  <a:lnTo>
                    <a:pt x="904" y="5226"/>
                  </a:lnTo>
                  <a:lnTo>
                    <a:pt x="906" y="5235"/>
                  </a:lnTo>
                  <a:lnTo>
                    <a:pt x="910" y="5245"/>
                  </a:lnTo>
                  <a:lnTo>
                    <a:pt x="915" y="5254"/>
                  </a:lnTo>
                  <a:lnTo>
                    <a:pt x="923" y="5262"/>
                  </a:lnTo>
                  <a:lnTo>
                    <a:pt x="933" y="5270"/>
                  </a:lnTo>
                  <a:lnTo>
                    <a:pt x="933" y="5270"/>
                  </a:lnTo>
                  <a:lnTo>
                    <a:pt x="941" y="5274"/>
                  </a:lnTo>
                  <a:lnTo>
                    <a:pt x="949" y="5277"/>
                  </a:lnTo>
                  <a:lnTo>
                    <a:pt x="959" y="5280"/>
                  </a:lnTo>
                  <a:lnTo>
                    <a:pt x="970" y="5281"/>
                  </a:lnTo>
                  <a:lnTo>
                    <a:pt x="982" y="5283"/>
                  </a:lnTo>
                  <a:lnTo>
                    <a:pt x="995" y="5283"/>
                  </a:lnTo>
                  <a:lnTo>
                    <a:pt x="1021" y="5283"/>
                  </a:lnTo>
                  <a:lnTo>
                    <a:pt x="1051" y="5281"/>
                  </a:lnTo>
                  <a:lnTo>
                    <a:pt x="1082" y="5278"/>
                  </a:lnTo>
                  <a:lnTo>
                    <a:pt x="1146" y="5270"/>
                  </a:lnTo>
                  <a:lnTo>
                    <a:pt x="1209" y="5261"/>
                  </a:lnTo>
                  <a:lnTo>
                    <a:pt x="1238" y="5257"/>
                  </a:lnTo>
                  <a:lnTo>
                    <a:pt x="1266" y="5255"/>
                  </a:lnTo>
                  <a:lnTo>
                    <a:pt x="1290" y="5254"/>
                  </a:lnTo>
                  <a:lnTo>
                    <a:pt x="1311" y="5255"/>
                  </a:lnTo>
                  <a:lnTo>
                    <a:pt x="1320" y="5256"/>
                  </a:lnTo>
                  <a:lnTo>
                    <a:pt x="1328" y="5258"/>
                  </a:lnTo>
                  <a:lnTo>
                    <a:pt x="1335" y="5261"/>
                  </a:lnTo>
                  <a:lnTo>
                    <a:pt x="1341" y="5266"/>
                  </a:lnTo>
                  <a:lnTo>
                    <a:pt x="1341" y="5266"/>
                  </a:lnTo>
                  <a:lnTo>
                    <a:pt x="1344" y="5269"/>
                  </a:lnTo>
                  <a:lnTo>
                    <a:pt x="1345" y="5272"/>
                  </a:lnTo>
                  <a:lnTo>
                    <a:pt x="1344" y="5274"/>
                  </a:lnTo>
                  <a:lnTo>
                    <a:pt x="1339" y="5277"/>
                  </a:lnTo>
                  <a:lnTo>
                    <a:pt x="1335" y="5279"/>
                  </a:lnTo>
                  <a:lnTo>
                    <a:pt x="1328" y="5282"/>
                  </a:lnTo>
                  <a:lnTo>
                    <a:pt x="1311" y="5286"/>
                  </a:lnTo>
                  <a:lnTo>
                    <a:pt x="1288" y="5290"/>
                  </a:lnTo>
                  <a:lnTo>
                    <a:pt x="1263" y="5293"/>
                  </a:lnTo>
                  <a:lnTo>
                    <a:pt x="1202" y="5301"/>
                  </a:lnTo>
                  <a:lnTo>
                    <a:pt x="1171" y="5305"/>
                  </a:lnTo>
                  <a:lnTo>
                    <a:pt x="1140" y="5310"/>
                  </a:lnTo>
                  <a:lnTo>
                    <a:pt x="1110" y="5317"/>
                  </a:lnTo>
                  <a:lnTo>
                    <a:pt x="1084" y="5323"/>
                  </a:lnTo>
                  <a:lnTo>
                    <a:pt x="1072" y="5327"/>
                  </a:lnTo>
                  <a:lnTo>
                    <a:pt x="1060" y="5331"/>
                  </a:lnTo>
                  <a:lnTo>
                    <a:pt x="1050" y="5335"/>
                  </a:lnTo>
                  <a:lnTo>
                    <a:pt x="1042" y="5340"/>
                  </a:lnTo>
                  <a:lnTo>
                    <a:pt x="1035" y="5345"/>
                  </a:lnTo>
                  <a:lnTo>
                    <a:pt x="1030" y="5350"/>
                  </a:lnTo>
                  <a:lnTo>
                    <a:pt x="1026" y="5357"/>
                  </a:lnTo>
                  <a:lnTo>
                    <a:pt x="1024" y="5363"/>
                  </a:lnTo>
                  <a:lnTo>
                    <a:pt x="1024" y="5363"/>
                  </a:lnTo>
                  <a:lnTo>
                    <a:pt x="1023" y="5368"/>
                  </a:lnTo>
                  <a:lnTo>
                    <a:pt x="1023" y="5377"/>
                  </a:lnTo>
                  <a:lnTo>
                    <a:pt x="1024" y="5388"/>
                  </a:lnTo>
                  <a:lnTo>
                    <a:pt x="1026" y="5394"/>
                  </a:lnTo>
                  <a:lnTo>
                    <a:pt x="1028" y="5399"/>
                  </a:lnTo>
                  <a:lnTo>
                    <a:pt x="1028" y="5399"/>
                  </a:lnTo>
                  <a:lnTo>
                    <a:pt x="1029" y="5406"/>
                  </a:lnTo>
                  <a:lnTo>
                    <a:pt x="1029" y="5412"/>
                  </a:lnTo>
                  <a:lnTo>
                    <a:pt x="1026" y="5418"/>
                  </a:lnTo>
                  <a:lnTo>
                    <a:pt x="1021" y="5424"/>
                  </a:lnTo>
                  <a:lnTo>
                    <a:pt x="1011" y="5438"/>
                  </a:lnTo>
                  <a:lnTo>
                    <a:pt x="997" y="5456"/>
                  </a:lnTo>
                  <a:lnTo>
                    <a:pt x="989" y="5466"/>
                  </a:lnTo>
                  <a:lnTo>
                    <a:pt x="982" y="5476"/>
                  </a:lnTo>
                  <a:lnTo>
                    <a:pt x="974" y="5488"/>
                  </a:lnTo>
                  <a:lnTo>
                    <a:pt x="968" y="5501"/>
                  </a:lnTo>
                  <a:lnTo>
                    <a:pt x="962" y="5515"/>
                  </a:lnTo>
                  <a:lnTo>
                    <a:pt x="958" y="5530"/>
                  </a:lnTo>
                  <a:lnTo>
                    <a:pt x="954" y="5547"/>
                  </a:lnTo>
                  <a:lnTo>
                    <a:pt x="953" y="5565"/>
                  </a:lnTo>
                  <a:lnTo>
                    <a:pt x="953" y="5565"/>
                  </a:lnTo>
                  <a:lnTo>
                    <a:pt x="953" y="5574"/>
                  </a:lnTo>
                  <a:lnTo>
                    <a:pt x="953" y="5583"/>
                  </a:lnTo>
                  <a:lnTo>
                    <a:pt x="956" y="5601"/>
                  </a:lnTo>
                  <a:lnTo>
                    <a:pt x="961" y="5618"/>
                  </a:lnTo>
                  <a:lnTo>
                    <a:pt x="967" y="5634"/>
                  </a:lnTo>
                  <a:lnTo>
                    <a:pt x="975" y="5649"/>
                  </a:lnTo>
                  <a:lnTo>
                    <a:pt x="985" y="5663"/>
                  </a:lnTo>
                  <a:lnTo>
                    <a:pt x="995" y="5676"/>
                  </a:lnTo>
                  <a:lnTo>
                    <a:pt x="1005" y="5688"/>
                  </a:lnTo>
                  <a:lnTo>
                    <a:pt x="1015" y="5698"/>
                  </a:lnTo>
                  <a:lnTo>
                    <a:pt x="1026" y="5707"/>
                  </a:lnTo>
                  <a:lnTo>
                    <a:pt x="1043" y="5723"/>
                  </a:lnTo>
                  <a:lnTo>
                    <a:pt x="1055" y="5731"/>
                  </a:lnTo>
                  <a:lnTo>
                    <a:pt x="1060" y="5735"/>
                  </a:lnTo>
                  <a:lnTo>
                    <a:pt x="1060" y="5735"/>
                  </a:lnTo>
                  <a:lnTo>
                    <a:pt x="1062" y="5731"/>
                  </a:lnTo>
                  <a:lnTo>
                    <a:pt x="1063" y="5726"/>
                  </a:lnTo>
                  <a:lnTo>
                    <a:pt x="1063" y="5717"/>
                  </a:lnTo>
                  <a:lnTo>
                    <a:pt x="1062" y="5708"/>
                  </a:lnTo>
                  <a:lnTo>
                    <a:pt x="1059" y="5687"/>
                  </a:lnTo>
                  <a:lnTo>
                    <a:pt x="1056" y="5661"/>
                  </a:lnTo>
                  <a:lnTo>
                    <a:pt x="1055" y="5649"/>
                  </a:lnTo>
                  <a:lnTo>
                    <a:pt x="1054" y="5636"/>
                  </a:lnTo>
                  <a:lnTo>
                    <a:pt x="1054" y="5624"/>
                  </a:lnTo>
                  <a:lnTo>
                    <a:pt x="1056" y="5613"/>
                  </a:lnTo>
                  <a:lnTo>
                    <a:pt x="1058" y="5603"/>
                  </a:lnTo>
                  <a:lnTo>
                    <a:pt x="1062" y="5594"/>
                  </a:lnTo>
                  <a:lnTo>
                    <a:pt x="1065" y="5591"/>
                  </a:lnTo>
                  <a:lnTo>
                    <a:pt x="1069" y="5587"/>
                  </a:lnTo>
                  <a:lnTo>
                    <a:pt x="1072" y="5585"/>
                  </a:lnTo>
                  <a:lnTo>
                    <a:pt x="1076" y="5582"/>
                  </a:lnTo>
                  <a:lnTo>
                    <a:pt x="1076" y="5582"/>
                  </a:lnTo>
                  <a:lnTo>
                    <a:pt x="1081" y="5581"/>
                  </a:lnTo>
                  <a:lnTo>
                    <a:pt x="1085" y="5581"/>
                  </a:lnTo>
                  <a:lnTo>
                    <a:pt x="1090" y="5582"/>
                  </a:lnTo>
                  <a:lnTo>
                    <a:pt x="1094" y="5586"/>
                  </a:lnTo>
                  <a:lnTo>
                    <a:pt x="1103" y="5593"/>
                  </a:lnTo>
                  <a:lnTo>
                    <a:pt x="1114" y="5602"/>
                  </a:lnTo>
                  <a:lnTo>
                    <a:pt x="1125" y="5613"/>
                  </a:lnTo>
                  <a:lnTo>
                    <a:pt x="1138" y="5622"/>
                  </a:lnTo>
                  <a:lnTo>
                    <a:pt x="1145" y="5627"/>
                  </a:lnTo>
                  <a:lnTo>
                    <a:pt x="1152" y="5631"/>
                  </a:lnTo>
                  <a:lnTo>
                    <a:pt x="1162" y="5634"/>
                  </a:lnTo>
                  <a:lnTo>
                    <a:pt x="1170" y="5636"/>
                  </a:lnTo>
                  <a:lnTo>
                    <a:pt x="1170" y="5636"/>
                  </a:lnTo>
                  <a:lnTo>
                    <a:pt x="1179" y="5636"/>
                  </a:lnTo>
                  <a:lnTo>
                    <a:pt x="1188" y="5636"/>
                  </a:lnTo>
                  <a:lnTo>
                    <a:pt x="1196" y="5635"/>
                  </a:lnTo>
                  <a:lnTo>
                    <a:pt x="1206" y="5633"/>
                  </a:lnTo>
                  <a:lnTo>
                    <a:pt x="1214" y="5629"/>
                  </a:lnTo>
                  <a:lnTo>
                    <a:pt x="1222" y="5625"/>
                  </a:lnTo>
                  <a:lnTo>
                    <a:pt x="1229" y="5621"/>
                  </a:lnTo>
                  <a:lnTo>
                    <a:pt x="1237" y="5616"/>
                  </a:lnTo>
                  <a:lnTo>
                    <a:pt x="1253" y="5604"/>
                  </a:lnTo>
                  <a:lnTo>
                    <a:pt x="1267" y="5590"/>
                  </a:lnTo>
                  <a:lnTo>
                    <a:pt x="1282" y="5573"/>
                  </a:lnTo>
                  <a:lnTo>
                    <a:pt x="1299" y="5556"/>
                  </a:lnTo>
                  <a:lnTo>
                    <a:pt x="1332" y="5517"/>
                  </a:lnTo>
                  <a:lnTo>
                    <a:pt x="1352" y="5498"/>
                  </a:lnTo>
                  <a:lnTo>
                    <a:pt x="1372" y="5478"/>
                  </a:lnTo>
                  <a:lnTo>
                    <a:pt x="1395" y="5458"/>
                  </a:lnTo>
                  <a:lnTo>
                    <a:pt x="1419" y="5439"/>
                  </a:lnTo>
                  <a:lnTo>
                    <a:pt x="1433" y="5430"/>
                  </a:lnTo>
                  <a:lnTo>
                    <a:pt x="1446" y="5422"/>
                  </a:lnTo>
                  <a:lnTo>
                    <a:pt x="1460" y="5414"/>
                  </a:lnTo>
                  <a:lnTo>
                    <a:pt x="1475" y="5406"/>
                  </a:lnTo>
                  <a:lnTo>
                    <a:pt x="1475" y="5406"/>
                  </a:lnTo>
                  <a:lnTo>
                    <a:pt x="1515" y="5387"/>
                  </a:lnTo>
                  <a:lnTo>
                    <a:pt x="1547" y="5375"/>
                  </a:lnTo>
                  <a:lnTo>
                    <a:pt x="1559" y="5370"/>
                  </a:lnTo>
                  <a:lnTo>
                    <a:pt x="1571" y="5367"/>
                  </a:lnTo>
                  <a:lnTo>
                    <a:pt x="1580" y="5366"/>
                  </a:lnTo>
                  <a:lnTo>
                    <a:pt x="1587" y="5365"/>
                  </a:lnTo>
                  <a:lnTo>
                    <a:pt x="1593" y="5365"/>
                  </a:lnTo>
                  <a:lnTo>
                    <a:pt x="1597" y="5367"/>
                  </a:lnTo>
                  <a:lnTo>
                    <a:pt x="1600" y="5369"/>
                  </a:lnTo>
                  <a:lnTo>
                    <a:pt x="1602" y="5372"/>
                  </a:lnTo>
                  <a:lnTo>
                    <a:pt x="1604" y="5375"/>
                  </a:lnTo>
                  <a:lnTo>
                    <a:pt x="1604" y="5379"/>
                  </a:lnTo>
                  <a:lnTo>
                    <a:pt x="1603" y="5389"/>
                  </a:lnTo>
                  <a:lnTo>
                    <a:pt x="1600" y="5401"/>
                  </a:lnTo>
                  <a:lnTo>
                    <a:pt x="1596" y="5415"/>
                  </a:lnTo>
                  <a:lnTo>
                    <a:pt x="1593" y="5428"/>
                  </a:lnTo>
                  <a:lnTo>
                    <a:pt x="1591" y="5440"/>
                  </a:lnTo>
                  <a:lnTo>
                    <a:pt x="1591" y="5446"/>
                  </a:lnTo>
                  <a:lnTo>
                    <a:pt x="1591" y="5453"/>
                  </a:lnTo>
                  <a:lnTo>
                    <a:pt x="1593" y="5458"/>
                  </a:lnTo>
                  <a:lnTo>
                    <a:pt x="1595" y="5463"/>
                  </a:lnTo>
                  <a:lnTo>
                    <a:pt x="1598" y="5467"/>
                  </a:lnTo>
                  <a:lnTo>
                    <a:pt x="1603" y="5471"/>
                  </a:lnTo>
                  <a:lnTo>
                    <a:pt x="1609" y="5474"/>
                  </a:lnTo>
                  <a:lnTo>
                    <a:pt x="1617" y="5476"/>
                  </a:lnTo>
                  <a:lnTo>
                    <a:pt x="1617" y="5476"/>
                  </a:lnTo>
                  <a:lnTo>
                    <a:pt x="1629" y="5480"/>
                  </a:lnTo>
                  <a:lnTo>
                    <a:pt x="1640" y="5483"/>
                  </a:lnTo>
                  <a:lnTo>
                    <a:pt x="1649" y="5488"/>
                  </a:lnTo>
                  <a:lnTo>
                    <a:pt x="1656" y="5492"/>
                  </a:lnTo>
                  <a:lnTo>
                    <a:pt x="1663" y="5498"/>
                  </a:lnTo>
                  <a:lnTo>
                    <a:pt x="1668" y="5503"/>
                  </a:lnTo>
                  <a:lnTo>
                    <a:pt x="1671" y="5509"/>
                  </a:lnTo>
                  <a:lnTo>
                    <a:pt x="1673" y="5515"/>
                  </a:lnTo>
                  <a:lnTo>
                    <a:pt x="1675" y="5521"/>
                  </a:lnTo>
                  <a:lnTo>
                    <a:pt x="1675" y="5527"/>
                  </a:lnTo>
                  <a:lnTo>
                    <a:pt x="1674" y="5534"/>
                  </a:lnTo>
                  <a:lnTo>
                    <a:pt x="1673" y="5541"/>
                  </a:lnTo>
                  <a:lnTo>
                    <a:pt x="1671" y="5548"/>
                  </a:lnTo>
                  <a:lnTo>
                    <a:pt x="1668" y="5555"/>
                  </a:lnTo>
                  <a:lnTo>
                    <a:pt x="1660" y="5568"/>
                  </a:lnTo>
                  <a:lnTo>
                    <a:pt x="1650" y="5581"/>
                  </a:lnTo>
                  <a:lnTo>
                    <a:pt x="1640" y="5594"/>
                  </a:lnTo>
                  <a:lnTo>
                    <a:pt x="1630" y="5605"/>
                  </a:lnTo>
                  <a:lnTo>
                    <a:pt x="1620" y="5615"/>
                  </a:lnTo>
                  <a:lnTo>
                    <a:pt x="1603" y="5629"/>
                  </a:lnTo>
                  <a:lnTo>
                    <a:pt x="1597" y="5636"/>
                  </a:lnTo>
                  <a:lnTo>
                    <a:pt x="1597" y="5636"/>
                  </a:lnTo>
                  <a:lnTo>
                    <a:pt x="1605" y="5640"/>
                  </a:lnTo>
                  <a:lnTo>
                    <a:pt x="1616" y="5642"/>
                  </a:lnTo>
                  <a:lnTo>
                    <a:pt x="1627" y="5643"/>
                  </a:lnTo>
                  <a:lnTo>
                    <a:pt x="1640" y="5642"/>
                  </a:lnTo>
                  <a:lnTo>
                    <a:pt x="1654" y="5639"/>
                  </a:lnTo>
                  <a:lnTo>
                    <a:pt x="1669" y="5635"/>
                  </a:lnTo>
                  <a:lnTo>
                    <a:pt x="1685" y="5628"/>
                  </a:lnTo>
                  <a:lnTo>
                    <a:pt x="1700" y="5620"/>
                  </a:lnTo>
                  <a:lnTo>
                    <a:pt x="1717" y="5611"/>
                  </a:lnTo>
                  <a:lnTo>
                    <a:pt x="1732" y="5600"/>
                  </a:lnTo>
                  <a:lnTo>
                    <a:pt x="1747" y="5587"/>
                  </a:lnTo>
                  <a:lnTo>
                    <a:pt x="1763" y="5572"/>
                  </a:lnTo>
                  <a:lnTo>
                    <a:pt x="1776" y="5555"/>
                  </a:lnTo>
                  <a:lnTo>
                    <a:pt x="1789" y="5536"/>
                  </a:lnTo>
                  <a:lnTo>
                    <a:pt x="1801" y="5516"/>
                  </a:lnTo>
                  <a:lnTo>
                    <a:pt x="1811" y="5495"/>
                  </a:lnTo>
                  <a:lnTo>
                    <a:pt x="1811" y="5495"/>
                  </a:lnTo>
                  <a:lnTo>
                    <a:pt x="1814" y="5486"/>
                  </a:lnTo>
                  <a:lnTo>
                    <a:pt x="1817" y="5480"/>
                  </a:lnTo>
                  <a:lnTo>
                    <a:pt x="1820" y="5475"/>
                  </a:lnTo>
                  <a:lnTo>
                    <a:pt x="1824" y="5471"/>
                  </a:lnTo>
                  <a:lnTo>
                    <a:pt x="1828" y="5468"/>
                  </a:lnTo>
                  <a:lnTo>
                    <a:pt x="1831" y="5465"/>
                  </a:lnTo>
                  <a:lnTo>
                    <a:pt x="1839" y="5462"/>
                  </a:lnTo>
                  <a:lnTo>
                    <a:pt x="1848" y="5459"/>
                  </a:lnTo>
                  <a:lnTo>
                    <a:pt x="1857" y="5455"/>
                  </a:lnTo>
                  <a:lnTo>
                    <a:pt x="1866" y="5449"/>
                  </a:lnTo>
                  <a:lnTo>
                    <a:pt x="1871" y="5444"/>
                  </a:lnTo>
                  <a:lnTo>
                    <a:pt x="1876" y="5439"/>
                  </a:lnTo>
                  <a:lnTo>
                    <a:pt x="1876" y="5439"/>
                  </a:lnTo>
                  <a:lnTo>
                    <a:pt x="1879" y="5433"/>
                  </a:lnTo>
                  <a:lnTo>
                    <a:pt x="1882" y="5427"/>
                  </a:lnTo>
                  <a:lnTo>
                    <a:pt x="1886" y="5421"/>
                  </a:lnTo>
                  <a:lnTo>
                    <a:pt x="1887" y="5415"/>
                  </a:lnTo>
                  <a:lnTo>
                    <a:pt x="1888" y="5400"/>
                  </a:lnTo>
                  <a:lnTo>
                    <a:pt x="1888" y="5386"/>
                  </a:lnTo>
                  <a:lnTo>
                    <a:pt x="1888" y="5371"/>
                  </a:lnTo>
                  <a:lnTo>
                    <a:pt x="1888" y="5357"/>
                  </a:lnTo>
                  <a:lnTo>
                    <a:pt x="1890" y="5342"/>
                  </a:lnTo>
                  <a:lnTo>
                    <a:pt x="1892" y="5336"/>
                  </a:lnTo>
                  <a:lnTo>
                    <a:pt x="1894" y="5330"/>
                  </a:lnTo>
                  <a:lnTo>
                    <a:pt x="1894" y="5330"/>
                  </a:lnTo>
                  <a:lnTo>
                    <a:pt x="1898" y="5324"/>
                  </a:lnTo>
                  <a:lnTo>
                    <a:pt x="1902" y="5319"/>
                  </a:lnTo>
                  <a:lnTo>
                    <a:pt x="1906" y="5314"/>
                  </a:lnTo>
                  <a:lnTo>
                    <a:pt x="1911" y="5309"/>
                  </a:lnTo>
                  <a:lnTo>
                    <a:pt x="1923" y="5301"/>
                  </a:lnTo>
                  <a:lnTo>
                    <a:pt x="1937" y="5295"/>
                  </a:lnTo>
                  <a:lnTo>
                    <a:pt x="1951" y="5290"/>
                  </a:lnTo>
                  <a:lnTo>
                    <a:pt x="1965" y="5286"/>
                  </a:lnTo>
                  <a:lnTo>
                    <a:pt x="1996" y="5278"/>
                  </a:lnTo>
                  <a:lnTo>
                    <a:pt x="2026" y="5272"/>
                  </a:lnTo>
                  <a:lnTo>
                    <a:pt x="2038" y="5268"/>
                  </a:lnTo>
                  <a:lnTo>
                    <a:pt x="2049" y="5262"/>
                  </a:lnTo>
                  <a:lnTo>
                    <a:pt x="2057" y="5256"/>
                  </a:lnTo>
                  <a:lnTo>
                    <a:pt x="2061" y="5253"/>
                  </a:lnTo>
                  <a:lnTo>
                    <a:pt x="2063" y="5249"/>
                  </a:lnTo>
                  <a:lnTo>
                    <a:pt x="2066" y="5245"/>
                  </a:lnTo>
                  <a:lnTo>
                    <a:pt x="2068" y="5240"/>
                  </a:lnTo>
                  <a:lnTo>
                    <a:pt x="2068" y="5235"/>
                  </a:lnTo>
                  <a:lnTo>
                    <a:pt x="2068" y="5230"/>
                  </a:lnTo>
                  <a:lnTo>
                    <a:pt x="2068" y="5230"/>
                  </a:lnTo>
                  <a:lnTo>
                    <a:pt x="2066" y="5215"/>
                  </a:lnTo>
                  <a:lnTo>
                    <a:pt x="2066" y="5202"/>
                  </a:lnTo>
                  <a:lnTo>
                    <a:pt x="2069" y="5190"/>
                  </a:lnTo>
                  <a:lnTo>
                    <a:pt x="2073" y="5180"/>
                  </a:lnTo>
                  <a:lnTo>
                    <a:pt x="2078" y="5169"/>
                  </a:lnTo>
                  <a:lnTo>
                    <a:pt x="2083" y="5161"/>
                  </a:lnTo>
                  <a:lnTo>
                    <a:pt x="2090" y="5153"/>
                  </a:lnTo>
                  <a:lnTo>
                    <a:pt x="2098" y="5146"/>
                  </a:lnTo>
                  <a:lnTo>
                    <a:pt x="2106" y="5140"/>
                  </a:lnTo>
                  <a:lnTo>
                    <a:pt x="2116" y="5134"/>
                  </a:lnTo>
                  <a:lnTo>
                    <a:pt x="2134" y="5124"/>
                  </a:lnTo>
                  <a:lnTo>
                    <a:pt x="2152" y="5116"/>
                  </a:lnTo>
                  <a:lnTo>
                    <a:pt x="2169" y="5109"/>
                  </a:lnTo>
                  <a:lnTo>
                    <a:pt x="2169" y="5109"/>
                  </a:lnTo>
                  <a:lnTo>
                    <a:pt x="2171" y="5109"/>
                  </a:lnTo>
                  <a:lnTo>
                    <a:pt x="2172" y="5110"/>
                  </a:lnTo>
                  <a:lnTo>
                    <a:pt x="2175" y="5112"/>
                  </a:lnTo>
                  <a:lnTo>
                    <a:pt x="2177" y="5117"/>
                  </a:lnTo>
                  <a:lnTo>
                    <a:pt x="2181" y="5124"/>
                  </a:lnTo>
                  <a:lnTo>
                    <a:pt x="2189" y="5143"/>
                  </a:lnTo>
                  <a:lnTo>
                    <a:pt x="2195" y="5154"/>
                  </a:lnTo>
                  <a:lnTo>
                    <a:pt x="2202" y="5166"/>
                  </a:lnTo>
                  <a:lnTo>
                    <a:pt x="2212" y="5179"/>
                  </a:lnTo>
                  <a:lnTo>
                    <a:pt x="2222" y="5192"/>
                  </a:lnTo>
                  <a:lnTo>
                    <a:pt x="2234" y="5206"/>
                  </a:lnTo>
                  <a:lnTo>
                    <a:pt x="2250" y="5220"/>
                  </a:lnTo>
                  <a:lnTo>
                    <a:pt x="2267" y="5233"/>
                  </a:lnTo>
                  <a:lnTo>
                    <a:pt x="2287" y="5245"/>
                  </a:lnTo>
                  <a:lnTo>
                    <a:pt x="2311" y="5257"/>
                  </a:lnTo>
                  <a:lnTo>
                    <a:pt x="2337" y="5268"/>
                  </a:lnTo>
                  <a:lnTo>
                    <a:pt x="2337" y="5268"/>
                  </a:lnTo>
                  <a:lnTo>
                    <a:pt x="2412" y="5237"/>
                  </a:lnTo>
                  <a:lnTo>
                    <a:pt x="2458" y="5215"/>
                  </a:lnTo>
                  <a:lnTo>
                    <a:pt x="2485" y="5202"/>
                  </a:lnTo>
                  <a:lnTo>
                    <a:pt x="2514" y="5187"/>
                  </a:lnTo>
                  <a:lnTo>
                    <a:pt x="2514" y="5187"/>
                  </a:lnTo>
                  <a:lnTo>
                    <a:pt x="2546" y="5170"/>
                  </a:lnTo>
                  <a:lnTo>
                    <a:pt x="2576" y="5153"/>
                  </a:lnTo>
                  <a:lnTo>
                    <a:pt x="2588" y="5145"/>
                  </a:lnTo>
                  <a:lnTo>
                    <a:pt x="2599" y="5138"/>
                  </a:lnTo>
                  <a:lnTo>
                    <a:pt x="2609" y="5130"/>
                  </a:lnTo>
                  <a:lnTo>
                    <a:pt x="2617" y="5123"/>
                  </a:lnTo>
                  <a:lnTo>
                    <a:pt x="2617" y="5123"/>
                  </a:lnTo>
                  <a:lnTo>
                    <a:pt x="2616" y="5121"/>
                  </a:lnTo>
                  <a:lnTo>
                    <a:pt x="2615" y="5119"/>
                  </a:lnTo>
                  <a:lnTo>
                    <a:pt x="2607" y="5112"/>
                  </a:lnTo>
                  <a:lnTo>
                    <a:pt x="2596" y="5101"/>
                  </a:lnTo>
                  <a:lnTo>
                    <a:pt x="2583" y="5087"/>
                  </a:lnTo>
                  <a:lnTo>
                    <a:pt x="2568" y="5069"/>
                  </a:lnTo>
                  <a:lnTo>
                    <a:pt x="2553" y="5050"/>
                  </a:lnTo>
                  <a:lnTo>
                    <a:pt x="2546" y="5039"/>
                  </a:lnTo>
                  <a:lnTo>
                    <a:pt x="2540" y="5026"/>
                  </a:lnTo>
                  <a:lnTo>
                    <a:pt x="2535" y="5015"/>
                  </a:lnTo>
                  <a:lnTo>
                    <a:pt x="2530" y="5002"/>
                  </a:lnTo>
                  <a:lnTo>
                    <a:pt x="2530" y="5002"/>
                  </a:lnTo>
                  <a:lnTo>
                    <a:pt x="2527" y="4989"/>
                  </a:lnTo>
                  <a:lnTo>
                    <a:pt x="2524" y="4978"/>
                  </a:lnTo>
                  <a:lnTo>
                    <a:pt x="2522" y="4969"/>
                  </a:lnTo>
                  <a:lnTo>
                    <a:pt x="2522" y="4960"/>
                  </a:lnTo>
                  <a:lnTo>
                    <a:pt x="2522" y="4953"/>
                  </a:lnTo>
                  <a:lnTo>
                    <a:pt x="2522" y="4948"/>
                  </a:lnTo>
                  <a:lnTo>
                    <a:pt x="2523" y="4944"/>
                  </a:lnTo>
                  <a:lnTo>
                    <a:pt x="2524" y="4942"/>
                  </a:lnTo>
                  <a:lnTo>
                    <a:pt x="2524" y="4942"/>
                  </a:lnTo>
                  <a:lnTo>
                    <a:pt x="2537" y="4959"/>
                  </a:lnTo>
                  <a:lnTo>
                    <a:pt x="2552" y="4976"/>
                  </a:lnTo>
                  <a:lnTo>
                    <a:pt x="2573" y="4997"/>
                  </a:lnTo>
                  <a:lnTo>
                    <a:pt x="2585" y="5008"/>
                  </a:lnTo>
                  <a:lnTo>
                    <a:pt x="2597" y="5019"/>
                  </a:lnTo>
                  <a:lnTo>
                    <a:pt x="2611" y="5030"/>
                  </a:lnTo>
                  <a:lnTo>
                    <a:pt x="2627" y="5042"/>
                  </a:lnTo>
                  <a:lnTo>
                    <a:pt x="2643" y="5053"/>
                  </a:lnTo>
                  <a:lnTo>
                    <a:pt x="2660" y="5062"/>
                  </a:lnTo>
                  <a:lnTo>
                    <a:pt x="2677" y="5071"/>
                  </a:lnTo>
                  <a:lnTo>
                    <a:pt x="2695" y="5079"/>
                  </a:lnTo>
                  <a:lnTo>
                    <a:pt x="2695" y="5079"/>
                  </a:lnTo>
                  <a:lnTo>
                    <a:pt x="2749" y="5051"/>
                  </a:lnTo>
                  <a:lnTo>
                    <a:pt x="2803" y="5021"/>
                  </a:lnTo>
                  <a:lnTo>
                    <a:pt x="2857" y="4988"/>
                  </a:lnTo>
                  <a:lnTo>
                    <a:pt x="2911" y="4954"/>
                  </a:lnTo>
                  <a:lnTo>
                    <a:pt x="2911" y="4954"/>
                  </a:lnTo>
                  <a:lnTo>
                    <a:pt x="2946" y="4930"/>
                  </a:lnTo>
                  <a:lnTo>
                    <a:pt x="2946" y="4930"/>
                  </a:lnTo>
                  <a:lnTo>
                    <a:pt x="2947" y="4929"/>
                  </a:lnTo>
                  <a:lnTo>
                    <a:pt x="2947" y="4929"/>
                  </a:lnTo>
                  <a:lnTo>
                    <a:pt x="2948" y="4927"/>
                  </a:lnTo>
                  <a:lnTo>
                    <a:pt x="2947" y="4925"/>
                  </a:lnTo>
                  <a:lnTo>
                    <a:pt x="2943" y="4918"/>
                  </a:lnTo>
                  <a:lnTo>
                    <a:pt x="2935" y="4909"/>
                  </a:lnTo>
                  <a:lnTo>
                    <a:pt x="2924" y="4898"/>
                  </a:lnTo>
                  <a:lnTo>
                    <a:pt x="2899" y="4874"/>
                  </a:lnTo>
                  <a:lnTo>
                    <a:pt x="2870" y="4845"/>
                  </a:lnTo>
                  <a:lnTo>
                    <a:pt x="2857" y="4831"/>
                  </a:lnTo>
                  <a:lnTo>
                    <a:pt x="2846" y="4817"/>
                  </a:lnTo>
                  <a:lnTo>
                    <a:pt x="2836" y="4802"/>
                  </a:lnTo>
                  <a:lnTo>
                    <a:pt x="2832" y="4795"/>
                  </a:lnTo>
                  <a:lnTo>
                    <a:pt x="2829" y="4789"/>
                  </a:lnTo>
                  <a:lnTo>
                    <a:pt x="2828" y="4782"/>
                  </a:lnTo>
                  <a:lnTo>
                    <a:pt x="2827" y="4776"/>
                  </a:lnTo>
                  <a:lnTo>
                    <a:pt x="2827" y="4770"/>
                  </a:lnTo>
                  <a:lnTo>
                    <a:pt x="2828" y="4765"/>
                  </a:lnTo>
                  <a:lnTo>
                    <a:pt x="2830" y="4759"/>
                  </a:lnTo>
                  <a:lnTo>
                    <a:pt x="2834" y="4754"/>
                  </a:lnTo>
                  <a:lnTo>
                    <a:pt x="2840" y="4750"/>
                  </a:lnTo>
                  <a:lnTo>
                    <a:pt x="2847" y="4746"/>
                  </a:lnTo>
                  <a:lnTo>
                    <a:pt x="2847" y="4746"/>
                  </a:lnTo>
                  <a:lnTo>
                    <a:pt x="2853" y="4742"/>
                  </a:lnTo>
                  <a:lnTo>
                    <a:pt x="2858" y="4737"/>
                  </a:lnTo>
                  <a:lnTo>
                    <a:pt x="2861" y="4732"/>
                  </a:lnTo>
                  <a:lnTo>
                    <a:pt x="2863" y="4726"/>
                  </a:lnTo>
                  <a:lnTo>
                    <a:pt x="2864" y="4720"/>
                  </a:lnTo>
                  <a:lnTo>
                    <a:pt x="2864" y="4711"/>
                  </a:lnTo>
                  <a:lnTo>
                    <a:pt x="2864" y="4704"/>
                  </a:lnTo>
                  <a:lnTo>
                    <a:pt x="2862" y="4695"/>
                  </a:lnTo>
                  <a:lnTo>
                    <a:pt x="2857" y="4678"/>
                  </a:lnTo>
                  <a:lnTo>
                    <a:pt x="2849" y="4658"/>
                  </a:lnTo>
                  <a:lnTo>
                    <a:pt x="2830" y="4616"/>
                  </a:lnTo>
                  <a:lnTo>
                    <a:pt x="2821" y="4595"/>
                  </a:lnTo>
                  <a:lnTo>
                    <a:pt x="2813" y="4574"/>
                  </a:lnTo>
                  <a:lnTo>
                    <a:pt x="2806" y="4554"/>
                  </a:lnTo>
                  <a:lnTo>
                    <a:pt x="2804" y="4544"/>
                  </a:lnTo>
                  <a:lnTo>
                    <a:pt x="2802" y="4534"/>
                  </a:lnTo>
                  <a:lnTo>
                    <a:pt x="2802" y="4525"/>
                  </a:lnTo>
                  <a:lnTo>
                    <a:pt x="2802" y="4517"/>
                  </a:lnTo>
                  <a:lnTo>
                    <a:pt x="2803" y="4509"/>
                  </a:lnTo>
                  <a:lnTo>
                    <a:pt x="2805" y="4502"/>
                  </a:lnTo>
                  <a:lnTo>
                    <a:pt x="2808" y="4495"/>
                  </a:lnTo>
                  <a:lnTo>
                    <a:pt x="2813" y="4488"/>
                  </a:lnTo>
                  <a:lnTo>
                    <a:pt x="2819" y="4482"/>
                  </a:lnTo>
                  <a:lnTo>
                    <a:pt x="2827" y="4478"/>
                  </a:lnTo>
                  <a:lnTo>
                    <a:pt x="2827" y="4478"/>
                  </a:lnTo>
                  <a:lnTo>
                    <a:pt x="2928" y="4425"/>
                  </a:lnTo>
                  <a:lnTo>
                    <a:pt x="3034" y="4374"/>
                  </a:lnTo>
                  <a:lnTo>
                    <a:pt x="3138" y="4323"/>
                  </a:lnTo>
                  <a:lnTo>
                    <a:pt x="3241" y="4273"/>
                  </a:lnTo>
                  <a:lnTo>
                    <a:pt x="3433" y="4182"/>
                  </a:lnTo>
                  <a:lnTo>
                    <a:pt x="3516" y="4142"/>
                  </a:lnTo>
                  <a:lnTo>
                    <a:pt x="3591" y="4105"/>
                  </a:lnTo>
                  <a:lnTo>
                    <a:pt x="3591" y="4105"/>
                  </a:lnTo>
                  <a:lnTo>
                    <a:pt x="3587" y="4089"/>
                  </a:lnTo>
                  <a:lnTo>
                    <a:pt x="3581" y="4070"/>
                  </a:lnTo>
                  <a:lnTo>
                    <a:pt x="3571" y="4047"/>
                  </a:lnTo>
                  <a:lnTo>
                    <a:pt x="3564" y="4035"/>
                  </a:lnTo>
                  <a:lnTo>
                    <a:pt x="3557" y="4020"/>
                  </a:lnTo>
                  <a:lnTo>
                    <a:pt x="3549" y="4006"/>
                  </a:lnTo>
                  <a:lnTo>
                    <a:pt x="3540" y="3992"/>
                  </a:lnTo>
                  <a:lnTo>
                    <a:pt x="3529" y="3977"/>
                  </a:lnTo>
                  <a:lnTo>
                    <a:pt x="3516" y="3962"/>
                  </a:lnTo>
                  <a:lnTo>
                    <a:pt x="3502" y="3948"/>
                  </a:lnTo>
                  <a:lnTo>
                    <a:pt x="3487" y="3933"/>
                  </a:lnTo>
                  <a:close/>
                  <a:moveTo>
                    <a:pt x="322" y="5867"/>
                  </a:moveTo>
                  <a:lnTo>
                    <a:pt x="322" y="5867"/>
                  </a:lnTo>
                  <a:lnTo>
                    <a:pt x="321" y="5881"/>
                  </a:lnTo>
                  <a:lnTo>
                    <a:pt x="321" y="5892"/>
                  </a:lnTo>
                  <a:lnTo>
                    <a:pt x="323" y="5908"/>
                  </a:lnTo>
                  <a:lnTo>
                    <a:pt x="326" y="5923"/>
                  </a:lnTo>
                  <a:lnTo>
                    <a:pt x="329" y="5931"/>
                  </a:lnTo>
                  <a:lnTo>
                    <a:pt x="332" y="5939"/>
                  </a:lnTo>
                  <a:lnTo>
                    <a:pt x="337" y="5947"/>
                  </a:lnTo>
                  <a:lnTo>
                    <a:pt x="343" y="5956"/>
                  </a:lnTo>
                  <a:lnTo>
                    <a:pt x="349" y="5964"/>
                  </a:lnTo>
                  <a:lnTo>
                    <a:pt x="357" y="5971"/>
                  </a:lnTo>
                  <a:lnTo>
                    <a:pt x="357" y="5971"/>
                  </a:lnTo>
                  <a:lnTo>
                    <a:pt x="369" y="5980"/>
                  </a:lnTo>
                  <a:lnTo>
                    <a:pt x="382" y="5988"/>
                  </a:lnTo>
                  <a:lnTo>
                    <a:pt x="397" y="5995"/>
                  </a:lnTo>
                  <a:lnTo>
                    <a:pt x="412" y="6000"/>
                  </a:lnTo>
                  <a:lnTo>
                    <a:pt x="426" y="6002"/>
                  </a:lnTo>
                  <a:lnTo>
                    <a:pt x="434" y="6002"/>
                  </a:lnTo>
                  <a:lnTo>
                    <a:pt x="441" y="6001"/>
                  </a:lnTo>
                  <a:lnTo>
                    <a:pt x="447" y="6000"/>
                  </a:lnTo>
                  <a:lnTo>
                    <a:pt x="453" y="5998"/>
                  </a:lnTo>
                  <a:lnTo>
                    <a:pt x="458" y="5995"/>
                  </a:lnTo>
                  <a:lnTo>
                    <a:pt x="463" y="5991"/>
                  </a:lnTo>
                  <a:lnTo>
                    <a:pt x="463" y="5991"/>
                  </a:lnTo>
                  <a:lnTo>
                    <a:pt x="468" y="5986"/>
                  </a:lnTo>
                  <a:lnTo>
                    <a:pt x="473" y="5979"/>
                  </a:lnTo>
                  <a:lnTo>
                    <a:pt x="476" y="5973"/>
                  </a:lnTo>
                  <a:lnTo>
                    <a:pt x="479" y="5966"/>
                  </a:lnTo>
                  <a:lnTo>
                    <a:pt x="481" y="5958"/>
                  </a:lnTo>
                  <a:lnTo>
                    <a:pt x="482" y="5950"/>
                  </a:lnTo>
                  <a:lnTo>
                    <a:pt x="483" y="5933"/>
                  </a:lnTo>
                  <a:lnTo>
                    <a:pt x="483" y="5917"/>
                  </a:lnTo>
                  <a:lnTo>
                    <a:pt x="484" y="5900"/>
                  </a:lnTo>
                  <a:lnTo>
                    <a:pt x="485" y="5892"/>
                  </a:lnTo>
                  <a:lnTo>
                    <a:pt x="487" y="5884"/>
                  </a:lnTo>
                  <a:lnTo>
                    <a:pt x="489" y="5877"/>
                  </a:lnTo>
                  <a:lnTo>
                    <a:pt x="493" y="5869"/>
                  </a:lnTo>
                  <a:lnTo>
                    <a:pt x="493" y="5869"/>
                  </a:lnTo>
                  <a:lnTo>
                    <a:pt x="495" y="5866"/>
                  </a:lnTo>
                  <a:lnTo>
                    <a:pt x="499" y="5863"/>
                  </a:lnTo>
                  <a:lnTo>
                    <a:pt x="508" y="5857"/>
                  </a:lnTo>
                  <a:lnTo>
                    <a:pt x="516" y="5854"/>
                  </a:lnTo>
                  <a:lnTo>
                    <a:pt x="519" y="5853"/>
                  </a:lnTo>
                  <a:lnTo>
                    <a:pt x="519" y="5853"/>
                  </a:lnTo>
                  <a:lnTo>
                    <a:pt x="526" y="5851"/>
                  </a:lnTo>
                  <a:lnTo>
                    <a:pt x="532" y="5848"/>
                  </a:lnTo>
                  <a:lnTo>
                    <a:pt x="538" y="5845"/>
                  </a:lnTo>
                  <a:lnTo>
                    <a:pt x="544" y="5840"/>
                  </a:lnTo>
                  <a:lnTo>
                    <a:pt x="544" y="5840"/>
                  </a:lnTo>
                  <a:lnTo>
                    <a:pt x="585" y="5859"/>
                  </a:lnTo>
                  <a:lnTo>
                    <a:pt x="626" y="5877"/>
                  </a:lnTo>
                  <a:lnTo>
                    <a:pt x="668" y="5896"/>
                  </a:lnTo>
                  <a:lnTo>
                    <a:pt x="709" y="5917"/>
                  </a:lnTo>
                  <a:lnTo>
                    <a:pt x="748" y="5938"/>
                  </a:lnTo>
                  <a:lnTo>
                    <a:pt x="789" y="5961"/>
                  </a:lnTo>
                  <a:lnTo>
                    <a:pt x="830" y="5983"/>
                  </a:lnTo>
                  <a:lnTo>
                    <a:pt x="870" y="6007"/>
                  </a:lnTo>
                  <a:lnTo>
                    <a:pt x="910" y="6031"/>
                  </a:lnTo>
                  <a:lnTo>
                    <a:pt x="949" y="6056"/>
                  </a:lnTo>
                  <a:lnTo>
                    <a:pt x="1027" y="6106"/>
                  </a:lnTo>
                  <a:lnTo>
                    <a:pt x="1103" y="6158"/>
                  </a:lnTo>
                  <a:lnTo>
                    <a:pt x="1178" y="6211"/>
                  </a:lnTo>
                  <a:lnTo>
                    <a:pt x="1178" y="6211"/>
                  </a:lnTo>
                  <a:lnTo>
                    <a:pt x="1197" y="6225"/>
                  </a:lnTo>
                  <a:lnTo>
                    <a:pt x="1215" y="6236"/>
                  </a:lnTo>
                  <a:lnTo>
                    <a:pt x="1215" y="6236"/>
                  </a:lnTo>
                  <a:lnTo>
                    <a:pt x="1208" y="6258"/>
                  </a:lnTo>
                  <a:lnTo>
                    <a:pt x="1199" y="6281"/>
                  </a:lnTo>
                  <a:lnTo>
                    <a:pt x="1189" y="6305"/>
                  </a:lnTo>
                  <a:lnTo>
                    <a:pt x="1177" y="6331"/>
                  </a:lnTo>
                  <a:lnTo>
                    <a:pt x="1177" y="6331"/>
                  </a:lnTo>
                  <a:lnTo>
                    <a:pt x="1137" y="6407"/>
                  </a:lnTo>
                  <a:lnTo>
                    <a:pt x="1118" y="6443"/>
                  </a:lnTo>
                  <a:lnTo>
                    <a:pt x="1100" y="6479"/>
                  </a:lnTo>
                  <a:lnTo>
                    <a:pt x="1093" y="6497"/>
                  </a:lnTo>
                  <a:lnTo>
                    <a:pt x="1087" y="6514"/>
                  </a:lnTo>
                  <a:lnTo>
                    <a:pt x="1081" y="6530"/>
                  </a:lnTo>
                  <a:lnTo>
                    <a:pt x="1077" y="6547"/>
                  </a:lnTo>
                  <a:lnTo>
                    <a:pt x="1074" y="6562"/>
                  </a:lnTo>
                  <a:lnTo>
                    <a:pt x="1072" y="6576"/>
                  </a:lnTo>
                  <a:lnTo>
                    <a:pt x="1072" y="6591"/>
                  </a:lnTo>
                  <a:lnTo>
                    <a:pt x="1073" y="6603"/>
                  </a:lnTo>
                  <a:lnTo>
                    <a:pt x="1073" y="6603"/>
                  </a:lnTo>
                  <a:lnTo>
                    <a:pt x="1075" y="6612"/>
                  </a:lnTo>
                  <a:lnTo>
                    <a:pt x="1077" y="6621"/>
                  </a:lnTo>
                  <a:lnTo>
                    <a:pt x="1080" y="6629"/>
                  </a:lnTo>
                  <a:lnTo>
                    <a:pt x="1083" y="6638"/>
                  </a:lnTo>
                  <a:lnTo>
                    <a:pt x="1087" y="6645"/>
                  </a:lnTo>
                  <a:lnTo>
                    <a:pt x="1092" y="6652"/>
                  </a:lnTo>
                  <a:lnTo>
                    <a:pt x="1097" y="6658"/>
                  </a:lnTo>
                  <a:lnTo>
                    <a:pt x="1102" y="6664"/>
                  </a:lnTo>
                  <a:lnTo>
                    <a:pt x="1108" y="6669"/>
                  </a:lnTo>
                  <a:lnTo>
                    <a:pt x="1115" y="6674"/>
                  </a:lnTo>
                  <a:lnTo>
                    <a:pt x="1122" y="6679"/>
                  </a:lnTo>
                  <a:lnTo>
                    <a:pt x="1129" y="6682"/>
                  </a:lnTo>
                  <a:lnTo>
                    <a:pt x="1137" y="6685"/>
                  </a:lnTo>
                  <a:lnTo>
                    <a:pt x="1145" y="6687"/>
                  </a:lnTo>
                  <a:lnTo>
                    <a:pt x="1154" y="6689"/>
                  </a:lnTo>
                  <a:lnTo>
                    <a:pt x="1163" y="6690"/>
                  </a:lnTo>
                  <a:lnTo>
                    <a:pt x="1163" y="6690"/>
                  </a:lnTo>
                  <a:lnTo>
                    <a:pt x="1173" y="6690"/>
                  </a:lnTo>
                  <a:lnTo>
                    <a:pt x="1183" y="6689"/>
                  </a:lnTo>
                  <a:lnTo>
                    <a:pt x="1192" y="6687"/>
                  </a:lnTo>
                  <a:lnTo>
                    <a:pt x="1201" y="6685"/>
                  </a:lnTo>
                  <a:lnTo>
                    <a:pt x="1210" y="6682"/>
                  </a:lnTo>
                  <a:lnTo>
                    <a:pt x="1218" y="6677"/>
                  </a:lnTo>
                  <a:lnTo>
                    <a:pt x="1226" y="6673"/>
                  </a:lnTo>
                  <a:lnTo>
                    <a:pt x="1233" y="6668"/>
                  </a:lnTo>
                  <a:lnTo>
                    <a:pt x="1240" y="6662"/>
                  </a:lnTo>
                  <a:lnTo>
                    <a:pt x="1246" y="6657"/>
                  </a:lnTo>
                  <a:lnTo>
                    <a:pt x="1252" y="6651"/>
                  </a:lnTo>
                  <a:lnTo>
                    <a:pt x="1257" y="6644"/>
                  </a:lnTo>
                  <a:lnTo>
                    <a:pt x="1261" y="6637"/>
                  </a:lnTo>
                  <a:lnTo>
                    <a:pt x="1265" y="6629"/>
                  </a:lnTo>
                  <a:lnTo>
                    <a:pt x="1268" y="6622"/>
                  </a:lnTo>
                  <a:lnTo>
                    <a:pt x="1270" y="6614"/>
                  </a:lnTo>
                  <a:lnTo>
                    <a:pt x="1270" y="6614"/>
                  </a:lnTo>
                  <a:lnTo>
                    <a:pt x="1272" y="6598"/>
                  </a:lnTo>
                  <a:lnTo>
                    <a:pt x="1273" y="6582"/>
                  </a:lnTo>
                  <a:lnTo>
                    <a:pt x="1271" y="6570"/>
                  </a:lnTo>
                  <a:lnTo>
                    <a:pt x="1268" y="6558"/>
                  </a:lnTo>
                  <a:lnTo>
                    <a:pt x="1263" y="6549"/>
                  </a:lnTo>
                  <a:lnTo>
                    <a:pt x="1258" y="6539"/>
                  </a:lnTo>
                  <a:lnTo>
                    <a:pt x="1251" y="6532"/>
                  </a:lnTo>
                  <a:lnTo>
                    <a:pt x="1243" y="6527"/>
                  </a:lnTo>
                  <a:lnTo>
                    <a:pt x="1236" y="6522"/>
                  </a:lnTo>
                  <a:lnTo>
                    <a:pt x="1229" y="6518"/>
                  </a:lnTo>
                  <a:lnTo>
                    <a:pt x="1215" y="6513"/>
                  </a:lnTo>
                  <a:lnTo>
                    <a:pt x="1206" y="6511"/>
                  </a:lnTo>
                  <a:lnTo>
                    <a:pt x="1201" y="6511"/>
                  </a:lnTo>
                  <a:lnTo>
                    <a:pt x="1201" y="6511"/>
                  </a:lnTo>
                  <a:lnTo>
                    <a:pt x="1217" y="6466"/>
                  </a:lnTo>
                  <a:lnTo>
                    <a:pt x="1229" y="6430"/>
                  </a:lnTo>
                  <a:lnTo>
                    <a:pt x="1240" y="6401"/>
                  </a:lnTo>
                  <a:lnTo>
                    <a:pt x="1240" y="6401"/>
                  </a:lnTo>
                  <a:lnTo>
                    <a:pt x="1248" y="6381"/>
                  </a:lnTo>
                  <a:lnTo>
                    <a:pt x="1258" y="6363"/>
                  </a:lnTo>
                  <a:lnTo>
                    <a:pt x="1266" y="6345"/>
                  </a:lnTo>
                  <a:lnTo>
                    <a:pt x="1275" y="6329"/>
                  </a:lnTo>
                  <a:lnTo>
                    <a:pt x="1283" y="6314"/>
                  </a:lnTo>
                  <a:lnTo>
                    <a:pt x="1292" y="6299"/>
                  </a:lnTo>
                  <a:lnTo>
                    <a:pt x="1310" y="6275"/>
                  </a:lnTo>
                  <a:lnTo>
                    <a:pt x="1327" y="6254"/>
                  </a:lnTo>
                  <a:lnTo>
                    <a:pt x="1345" y="6237"/>
                  </a:lnTo>
                  <a:lnTo>
                    <a:pt x="1361" y="6224"/>
                  </a:lnTo>
                  <a:lnTo>
                    <a:pt x="1376" y="6212"/>
                  </a:lnTo>
                  <a:lnTo>
                    <a:pt x="1391" y="6205"/>
                  </a:lnTo>
                  <a:lnTo>
                    <a:pt x="1404" y="6199"/>
                  </a:lnTo>
                  <a:lnTo>
                    <a:pt x="1416" y="6195"/>
                  </a:lnTo>
                  <a:lnTo>
                    <a:pt x="1426" y="6193"/>
                  </a:lnTo>
                  <a:lnTo>
                    <a:pt x="1435" y="6192"/>
                  </a:lnTo>
                  <a:lnTo>
                    <a:pt x="1441" y="6192"/>
                  </a:lnTo>
                  <a:lnTo>
                    <a:pt x="1446" y="6192"/>
                  </a:lnTo>
                  <a:lnTo>
                    <a:pt x="1446" y="6192"/>
                  </a:lnTo>
                  <a:lnTo>
                    <a:pt x="1442" y="6188"/>
                  </a:lnTo>
                  <a:lnTo>
                    <a:pt x="1437" y="6183"/>
                  </a:lnTo>
                  <a:lnTo>
                    <a:pt x="1432" y="6175"/>
                  </a:lnTo>
                  <a:lnTo>
                    <a:pt x="1425" y="6166"/>
                  </a:lnTo>
                  <a:lnTo>
                    <a:pt x="1420" y="6155"/>
                  </a:lnTo>
                  <a:lnTo>
                    <a:pt x="1414" y="6142"/>
                  </a:lnTo>
                  <a:lnTo>
                    <a:pt x="1409" y="6125"/>
                  </a:lnTo>
                  <a:lnTo>
                    <a:pt x="1406" y="6108"/>
                  </a:lnTo>
                  <a:lnTo>
                    <a:pt x="1404" y="6088"/>
                  </a:lnTo>
                  <a:lnTo>
                    <a:pt x="1404" y="6065"/>
                  </a:lnTo>
                  <a:lnTo>
                    <a:pt x="1405" y="6053"/>
                  </a:lnTo>
                  <a:lnTo>
                    <a:pt x="1407" y="6041"/>
                  </a:lnTo>
                  <a:lnTo>
                    <a:pt x="1409" y="6027"/>
                  </a:lnTo>
                  <a:lnTo>
                    <a:pt x="1413" y="6013"/>
                  </a:lnTo>
                  <a:lnTo>
                    <a:pt x="1417" y="5999"/>
                  </a:lnTo>
                  <a:lnTo>
                    <a:pt x="1422" y="5983"/>
                  </a:lnTo>
                  <a:lnTo>
                    <a:pt x="1428" y="5968"/>
                  </a:lnTo>
                  <a:lnTo>
                    <a:pt x="1436" y="5952"/>
                  </a:lnTo>
                  <a:lnTo>
                    <a:pt x="1444" y="5934"/>
                  </a:lnTo>
                  <a:lnTo>
                    <a:pt x="1453" y="5917"/>
                  </a:lnTo>
                  <a:lnTo>
                    <a:pt x="1453" y="5917"/>
                  </a:lnTo>
                  <a:lnTo>
                    <a:pt x="1473" y="5880"/>
                  </a:lnTo>
                  <a:lnTo>
                    <a:pt x="1490" y="5844"/>
                  </a:lnTo>
                  <a:lnTo>
                    <a:pt x="1505" y="5811"/>
                  </a:lnTo>
                  <a:lnTo>
                    <a:pt x="1516" y="5780"/>
                  </a:lnTo>
                  <a:lnTo>
                    <a:pt x="1527" y="5749"/>
                  </a:lnTo>
                  <a:lnTo>
                    <a:pt x="1535" y="5719"/>
                  </a:lnTo>
                  <a:lnTo>
                    <a:pt x="1541" y="5691"/>
                  </a:lnTo>
                  <a:lnTo>
                    <a:pt x="1546" y="5663"/>
                  </a:lnTo>
                  <a:lnTo>
                    <a:pt x="1546" y="5663"/>
                  </a:lnTo>
                  <a:lnTo>
                    <a:pt x="1547" y="5654"/>
                  </a:lnTo>
                  <a:lnTo>
                    <a:pt x="1546" y="5645"/>
                  </a:lnTo>
                  <a:lnTo>
                    <a:pt x="1545" y="5636"/>
                  </a:lnTo>
                  <a:lnTo>
                    <a:pt x="1542" y="5626"/>
                  </a:lnTo>
                  <a:lnTo>
                    <a:pt x="1538" y="5617"/>
                  </a:lnTo>
                  <a:lnTo>
                    <a:pt x="1534" y="5609"/>
                  </a:lnTo>
                  <a:lnTo>
                    <a:pt x="1529" y="5600"/>
                  </a:lnTo>
                  <a:lnTo>
                    <a:pt x="1523" y="5592"/>
                  </a:lnTo>
                  <a:lnTo>
                    <a:pt x="1515" y="5585"/>
                  </a:lnTo>
                  <a:lnTo>
                    <a:pt x="1508" y="5577"/>
                  </a:lnTo>
                  <a:lnTo>
                    <a:pt x="1500" y="5571"/>
                  </a:lnTo>
                  <a:lnTo>
                    <a:pt x="1492" y="5566"/>
                  </a:lnTo>
                  <a:lnTo>
                    <a:pt x="1484" y="5561"/>
                  </a:lnTo>
                  <a:lnTo>
                    <a:pt x="1474" y="5558"/>
                  </a:lnTo>
                  <a:lnTo>
                    <a:pt x="1465" y="5556"/>
                  </a:lnTo>
                  <a:lnTo>
                    <a:pt x="1455" y="5554"/>
                  </a:lnTo>
                  <a:lnTo>
                    <a:pt x="1455" y="5554"/>
                  </a:lnTo>
                  <a:lnTo>
                    <a:pt x="1445" y="5554"/>
                  </a:lnTo>
                  <a:lnTo>
                    <a:pt x="1436" y="5555"/>
                  </a:lnTo>
                  <a:lnTo>
                    <a:pt x="1425" y="5557"/>
                  </a:lnTo>
                  <a:lnTo>
                    <a:pt x="1416" y="5560"/>
                  </a:lnTo>
                  <a:lnTo>
                    <a:pt x="1407" y="5564"/>
                  </a:lnTo>
                  <a:lnTo>
                    <a:pt x="1399" y="5568"/>
                  </a:lnTo>
                  <a:lnTo>
                    <a:pt x="1391" y="5574"/>
                  </a:lnTo>
                  <a:lnTo>
                    <a:pt x="1382" y="5579"/>
                  </a:lnTo>
                  <a:lnTo>
                    <a:pt x="1375" y="5587"/>
                  </a:lnTo>
                  <a:lnTo>
                    <a:pt x="1369" y="5593"/>
                  </a:lnTo>
                  <a:lnTo>
                    <a:pt x="1363" y="5600"/>
                  </a:lnTo>
                  <a:lnTo>
                    <a:pt x="1358" y="5608"/>
                  </a:lnTo>
                  <a:lnTo>
                    <a:pt x="1354" y="5616"/>
                  </a:lnTo>
                  <a:lnTo>
                    <a:pt x="1350" y="5624"/>
                  </a:lnTo>
                  <a:lnTo>
                    <a:pt x="1348" y="5633"/>
                  </a:lnTo>
                  <a:lnTo>
                    <a:pt x="1347" y="5641"/>
                  </a:lnTo>
                  <a:lnTo>
                    <a:pt x="1347" y="5641"/>
                  </a:lnTo>
                  <a:lnTo>
                    <a:pt x="1346" y="5661"/>
                  </a:lnTo>
                  <a:lnTo>
                    <a:pt x="1347" y="5680"/>
                  </a:lnTo>
                  <a:lnTo>
                    <a:pt x="1351" y="5695"/>
                  </a:lnTo>
                  <a:lnTo>
                    <a:pt x="1356" y="5707"/>
                  </a:lnTo>
                  <a:lnTo>
                    <a:pt x="1362" y="5717"/>
                  </a:lnTo>
                  <a:lnTo>
                    <a:pt x="1369" y="5727"/>
                  </a:lnTo>
                  <a:lnTo>
                    <a:pt x="1377" y="5734"/>
                  </a:lnTo>
                  <a:lnTo>
                    <a:pt x="1386" y="5739"/>
                  </a:lnTo>
                  <a:lnTo>
                    <a:pt x="1394" y="5743"/>
                  </a:lnTo>
                  <a:lnTo>
                    <a:pt x="1402" y="5747"/>
                  </a:lnTo>
                  <a:lnTo>
                    <a:pt x="1416" y="5752"/>
                  </a:lnTo>
                  <a:lnTo>
                    <a:pt x="1422" y="5754"/>
                  </a:lnTo>
                  <a:lnTo>
                    <a:pt x="1425" y="5756"/>
                  </a:lnTo>
                  <a:lnTo>
                    <a:pt x="1428" y="5759"/>
                  </a:lnTo>
                  <a:lnTo>
                    <a:pt x="1428" y="5762"/>
                  </a:lnTo>
                  <a:lnTo>
                    <a:pt x="1428" y="5762"/>
                  </a:lnTo>
                  <a:lnTo>
                    <a:pt x="1417" y="5798"/>
                  </a:lnTo>
                  <a:lnTo>
                    <a:pt x="1405" y="5831"/>
                  </a:lnTo>
                  <a:lnTo>
                    <a:pt x="1392" y="5861"/>
                  </a:lnTo>
                  <a:lnTo>
                    <a:pt x="1378" y="5887"/>
                  </a:lnTo>
                  <a:lnTo>
                    <a:pt x="1365" y="5912"/>
                  </a:lnTo>
                  <a:lnTo>
                    <a:pt x="1352" y="5933"/>
                  </a:lnTo>
                  <a:lnTo>
                    <a:pt x="1337" y="5953"/>
                  </a:lnTo>
                  <a:lnTo>
                    <a:pt x="1323" y="5969"/>
                  </a:lnTo>
                  <a:lnTo>
                    <a:pt x="1323" y="5969"/>
                  </a:lnTo>
                  <a:lnTo>
                    <a:pt x="1296" y="5953"/>
                  </a:lnTo>
                  <a:lnTo>
                    <a:pt x="1263" y="5933"/>
                  </a:lnTo>
                  <a:lnTo>
                    <a:pt x="1263" y="5933"/>
                  </a:lnTo>
                  <a:lnTo>
                    <a:pt x="1186" y="5891"/>
                  </a:lnTo>
                  <a:lnTo>
                    <a:pt x="1111" y="5850"/>
                  </a:lnTo>
                  <a:lnTo>
                    <a:pt x="1038" y="5811"/>
                  </a:lnTo>
                  <a:lnTo>
                    <a:pt x="1001" y="5793"/>
                  </a:lnTo>
                  <a:lnTo>
                    <a:pt x="964" y="5776"/>
                  </a:lnTo>
                  <a:lnTo>
                    <a:pt x="927" y="5758"/>
                  </a:lnTo>
                  <a:lnTo>
                    <a:pt x="889" y="5743"/>
                  </a:lnTo>
                  <a:lnTo>
                    <a:pt x="850" y="5727"/>
                  </a:lnTo>
                  <a:lnTo>
                    <a:pt x="810" y="5712"/>
                  </a:lnTo>
                  <a:lnTo>
                    <a:pt x="769" y="5698"/>
                  </a:lnTo>
                  <a:lnTo>
                    <a:pt x="727" y="5686"/>
                  </a:lnTo>
                  <a:lnTo>
                    <a:pt x="683" y="5673"/>
                  </a:lnTo>
                  <a:lnTo>
                    <a:pt x="638" y="5662"/>
                  </a:lnTo>
                  <a:lnTo>
                    <a:pt x="638" y="5662"/>
                  </a:lnTo>
                  <a:lnTo>
                    <a:pt x="655" y="5629"/>
                  </a:lnTo>
                  <a:lnTo>
                    <a:pt x="655" y="5629"/>
                  </a:lnTo>
                  <a:lnTo>
                    <a:pt x="681" y="5585"/>
                  </a:lnTo>
                  <a:lnTo>
                    <a:pt x="699" y="5553"/>
                  </a:lnTo>
                  <a:lnTo>
                    <a:pt x="706" y="5542"/>
                  </a:lnTo>
                  <a:lnTo>
                    <a:pt x="710" y="5532"/>
                  </a:lnTo>
                  <a:lnTo>
                    <a:pt x="712" y="5526"/>
                  </a:lnTo>
                  <a:lnTo>
                    <a:pt x="711" y="5524"/>
                  </a:lnTo>
                  <a:lnTo>
                    <a:pt x="710" y="5522"/>
                  </a:lnTo>
                  <a:lnTo>
                    <a:pt x="710" y="5522"/>
                  </a:lnTo>
                  <a:lnTo>
                    <a:pt x="709" y="5522"/>
                  </a:lnTo>
                  <a:lnTo>
                    <a:pt x="708" y="5522"/>
                  </a:lnTo>
                  <a:lnTo>
                    <a:pt x="702" y="5523"/>
                  </a:lnTo>
                  <a:lnTo>
                    <a:pt x="688" y="5532"/>
                  </a:lnTo>
                  <a:lnTo>
                    <a:pt x="664" y="5548"/>
                  </a:lnTo>
                  <a:lnTo>
                    <a:pt x="647" y="5557"/>
                  </a:lnTo>
                  <a:lnTo>
                    <a:pt x="628" y="5568"/>
                  </a:lnTo>
                  <a:lnTo>
                    <a:pt x="628" y="5568"/>
                  </a:lnTo>
                  <a:lnTo>
                    <a:pt x="606" y="5579"/>
                  </a:lnTo>
                  <a:lnTo>
                    <a:pt x="588" y="5589"/>
                  </a:lnTo>
                  <a:lnTo>
                    <a:pt x="573" y="5595"/>
                  </a:lnTo>
                  <a:lnTo>
                    <a:pt x="558" y="5600"/>
                  </a:lnTo>
                  <a:lnTo>
                    <a:pt x="545" y="5604"/>
                  </a:lnTo>
                  <a:lnTo>
                    <a:pt x="532" y="5607"/>
                  </a:lnTo>
                  <a:lnTo>
                    <a:pt x="504" y="5611"/>
                  </a:lnTo>
                  <a:lnTo>
                    <a:pt x="504" y="5611"/>
                  </a:lnTo>
                  <a:lnTo>
                    <a:pt x="495" y="5611"/>
                  </a:lnTo>
                  <a:lnTo>
                    <a:pt x="486" y="5610"/>
                  </a:lnTo>
                  <a:lnTo>
                    <a:pt x="468" y="5607"/>
                  </a:lnTo>
                  <a:lnTo>
                    <a:pt x="453" y="5603"/>
                  </a:lnTo>
                  <a:lnTo>
                    <a:pt x="446" y="5603"/>
                  </a:lnTo>
                  <a:lnTo>
                    <a:pt x="441" y="5604"/>
                  </a:lnTo>
                  <a:lnTo>
                    <a:pt x="441" y="5604"/>
                  </a:lnTo>
                  <a:lnTo>
                    <a:pt x="435" y="5607"/>
                  </a:lnTo>
                  <a:lnTo>
                    <a:pt x="428" y="5613"/>
                  </a:lnTo>
                  <a:lnTo>
                    <a:pt x="423" y="5620"/>
                  </a:lnTo>
                  <a:lnTo>
                    <a:pt x="418" y="5629"/>
                  </a:lnTo>
                  <a:lnTo>
                    <a:pt x="413" y="5642"/>
                  </a:lnTo>
                  <a:lnTo>
                    <a:pt x="408" y="5656"/>
                  </a:lnTo>
                  <a:lnTo>
                    <a:pt x="395" y="5693"/>
                  </a:lnTo>
                  <a:lnTo>
                    <a:pt x="395" y="5693"/>
                  </a:lnTo>
                  <a:lnTo>
                    <a:pt x="370" y="5764"/>
                  </a:lnTo>
                  <a:lnTo>
                    <a:pt x="363" y="5783"/>
                  </a:lnTo>
                  <a:lnTo>
                    <a:pt x="363" y="5783"/>
                  </a:lnTo>
                  <a:lnTo>
                    <a:pt x="355" y="5801"/>
                  </a:lnTo>
                  <a:lnTo>
                    <a:pt x="348" y="5815"/>
                  </a:lnTo>
                  <a:lnTo>
                    <a:pt x="335" y="5834"/>
                  </a:lnTo>
                  <a:lnTo>
                    <a:pt x="331" y="5842"/>
                  </a:lnTo>
                  <a:lnTo>
                    <a:pt x="327" y="5849"/>
                  </a:lnTo>
                  <a:lnTo>
                    <a:pt x="324" y="5857"/>
                  </a:lnTo>
                  <a:lnTo>
                    <a:pt x="322" y="5867"/>
                  </a:lnTo>
                  <a:close/>
                  <a:moveTo>
                    <a:pt x="390" y="969"/>
                  </a:moveTo>
                  <a:lnTo>
                    <a:pt x="390" y="969"/>
                  </a:lnTo>
                  <a:lnTo>
                    <a:pt x="419" y="968"/>
                  </a:lnTo>
                  <a:lnTo>
                    <a:pt x="451" y="965"/>
                  </a:lnTo>
                  <a:lnTo>
                    <a:pt x="483" y="962"/>
                  </a:lnTo>
                  <a:lnTo>
                    <a:pt x="513" y="958"/>
                  </a:lnTo>
                  <a:lnTo>
                    <a:pt x="563" y="952"/>
                  </a:lnTo>
                  <a:lnTo>
                    <a:pt x="583" y="948"/>
                  </a:lnTo>
                  <a:lnTo>
                    <a:pt x="580" y="644"/>
                  </a:lnTo>
                  <a:lnTo>
                    <a:pt x="580" y="644"/>
                  </a:lnTo>
                  <a:lnTo>
                    <a:pt x="531" y="637"/>
                  </a:lnTo>
                  <a:lnTo>
                    <a:pt x="429" y="621"/>
                  </a:lnTo>
                  <a:lnTo>
                    <a:pt x="429" y="621"/>
                  </a:lnTo>
                  <a:lnTo>
                    <a:pt x="416" y="620"/>
                  </a:lnTo>
                  <a:lnTo>
                    <a:pt x="404" y="619"/>
                  </a:lnTo>
                  <a:lnTo>
                    <a:pt x="392" y="619"/>
                  </a:lnTo>
                  <a:lnTo>
                    <a:pt x="381" y="620"/>
                  </a:lnTo>
                  <a:lnTo>
                    <a:pt x="371" y="622"/>
                  </a:lnTo>
                  <a:lnTo>
                    <a:pt x="362" y="625"/>
                  </a:lnTo>
                  <a:lnTo>
                    <a:pt x="353" y="628"/>
                  </a:lnTo>
                  <a:lnTo>
                    <a:pt x="346" y="632"/>
                  </a:lnTo>
                  <a:lnTo>
                    <a:pt x="338" y="636"/>
                  </a:lnTo>
                  <a:lnTo>
                    <a:pt x="331" y="641"/>
                  </a:lnTo>
                  <a:lnTo>
                    <a:pt x="325" y="646"/>
                  </a:lnTo>
                  <a:lnTo>
                    <a:pt x="320" y="651"/>
                  </a:lnTo>
                  <a:lnTo>
                    <a:pt x="311" y="664"/>
                  </a:lnTo>
                  <a:lnTo>
                    <a:pt x="304" y="676"/>
                  </a:lnTo>
                  <a:lnTo>
                    <a:pt x="298" y="689"/>
                  </a:lnTo>
                  <a:lnTo>
                    <a:pt x="293" y="702"/>
                  </a:lnTo>
                  <a:lnTo>
                    <a:pt x="290" y="715"/>
                  </a:lnTo>
                  <a:lnTo>
                    <a:pt x="288" y="725"/>
                  </a:lnTo>
                  <a:lnTo>
                    <a:pt x="287" y="742"/>
                  </a:lnTo>
                  <a:lnTo>
                    <a:pt x="287" y="748"/>
                  </a:lnTo>
                  <a:lnTo>
                    <a:pt x="291" y="832"/>
                  </a:lnTo>
                  <a:lnTo>
                    <a:pt x="291" y="832"/>
                  </a:lnTo>
                  <a:lnTo>
                    <a:pt x="291" y="838"/>
                  </a:lnTo>
                  <a:lnTo>
                    <a:pt x="293" y="854"/>
                  </a:lnTo>
                  <a:lnTo>
                    <a:pt x="298" y="875"/>
                  </a:lnTo>
                  <a:lnTo>
                    <a:pt x="302" y="887"/>
                  </a:lnTo>
                  <a:lnTo>
                    <a:pt x="306" y="901"/>
                  </a:lnTo>
                  <a:lnTo>
                    <a:pt x="311" y="913"/>
                  </a:lnTo>
                  <a:lnTo>
                    <a:pt x="318" y="925"/>
                  </a:lnTo>
                  <a:lnTo>
                    <a:pt x="326" y="938"/>
                  </a:lnTo>
                  <a:lnTo>
                    <a:pt x="335" y="948"/>
                  </a:lnTo>
                  <a:lnTo>
                    <a:pt x="340" y="952"/>
                  </a:lnTo>
                  <a:lnTo>
                    <a:pt x="347" y="956"/>
                  </a:lnTo>
                  <a:lnTo>
                    <a:pt x="353" y="960"/>
                  </a:lnTo>
                  <a:lnTo>
                    <a:pt x="359" y="963"/>
                  </a:lnTo>
                  <a:lnTo>
                    <a:pt x="366" y="965"/>
                  </a:lnTo>
                  <a:lnTo>
                    <a:pt x="373" y="967"/>
                  </a:lnTo>
                  <a:lnTo>
                    <a:pt x="381" y="968"/>
                  </a:lnTo>
                  <a:lnTo>
                    <a:pt x="390" y="969"/>
                  </a:lnTo>
                  <a:close/>
                  <a:moveTo>
                    <a:pt x="1101" y="856"/>
                  </a:moveTo>
                  <a:lnTo>
                    <a:pt x="1101" y="856"/>
                  </a:lnTo>
                  <a:lnTo>
                    <a:pt x="1103" y="835"/>
                  </a:lnTo>
                  <a:lnTo>
                    <a:pt x="1103" y="813"/>
                  </a:lnTo>
                  <a:lnTo>
                    <a:pt x="1103" y="770"/>
                  </a:lnTo>
                  <a:lnTo>
                    <a:pt x="1103" y="770"/>
                  </a:lnTo>
                  <a:lnTo>
                    <a:pt x="1102" y="609"/>
                  </a:lnTo>
                  <a:lnTo>
                    <a:pt x="1102" y="609"/>
                  </a:lnTo>
                  <a:lnTo>
                    <a:pt x="1102" y="599"/>
                  </a:lnTo>
                  <a:lnTo>
                    <a:pt x="1101" y="589"/>
                  </a:lnTo>
                  <a:lnTo>
                    <a:pt x="1100" y="578"/>
                  </a:lnTo>
                  <a:lnTo>
                    <a:pt x="1097" y="565"/>
                  </a:lnTo>
                  <a:lnTo>
                    <a:pt x="1094" y="555"/>
                  </a:lnTo>
                  <a:lnTo>
                    <a:pt x="1092" y="551"/>
                  </a:lnTo>
                  <a:lnTo>
                    <a:pt x="1089" y="548"/>
                  </a:lnTo>
                  <a:lnTo>
                    <a:pt x="1086" y="546"/>
                  </a:lnTo>
                  <a:lnTo>
                    <a:pt x="1082" y="545"/>
                  </a:lnTo>
                  <a:lnTo>
                    <a:pt x="1082" y="545"/>
                  </a:lnTo>
                  <a:lnTo>
                    <a:pt x="1049" y="545"/>
                  </a:lnTo>
                  <a:lnTo>
                    <a:pt x="1031" y="546"/>
                  </a:lnTo>
                  <a:lnTo>
                    <a:pt x="1020" y="547"/>
                  </a:lnTo>
                  <a:lnTo>
                    <a:pt x="1020" y="547"/>
                  </a:lnTo>
                  <a:lnTo>
                    <a:pt x="1017" y="552"/>
                  </a:lnTo>
                  <a:lnTo>
                    <a:pt x="1015" y="559"/>
                  </a:lnTo>
                  <a:lnTo>
                    <a:pt x="1009" y="578"/>
                  </a:lnTo>
                  <a:lnTo>
                    <a:pt x="1003" y="597"/>
                  </a:lnTo>
                  <a:lnTo>
                    <a:pt x="1000" y="604"/>
                  </a:lnTo>
                  <a:lnTo>
                    <a:pt x="998" y="609"/>
                  </a:lnTo>
                  <a:lnTo>
                    <a:pt x="978" y="547"/>
                  </a:lnTo>
                  <a:lnTo>
                    <a:pt x="978" y="547"/>
                  </a:lnTo>
                  <a:lnTo>
                    <a:pt x="962" y="546"/>
                  </a:lnTo>
                  <a:lnTo>
                    <a:pt x="939" y="546"/>
                  </a:lnTo>
                  <a:lnTo>
                    <a:pt x="914" y="547"/>
                  </a:lnTo>
                  <a:lnTo>
                    <a:pt x="900" y="549"/>
                  </a:lnTo>
                  <a:lnTo>
                    <a:pt x="900" y="549"/>
                  </a:lnTo>
                  <a:lnTo>
                    <a:pt x="895" y="561"/>
                  </a:lnTo>
                  <a:lnTo>
                    <a:pt x="889" y="579"/>
                  </a:lnTo>
                  <a:lnTo>
                    <a:pt x="882" y="597"/>
                  </a:lnTo>
                  <a:lnTo>
                    <a:pt x="877" y="609"/>
                  </a:lnTo>
                  <a:lnTo>
                    <a:pt x="858" y="550"/>
                  </a:lnTo>
                  <a:lnTo>
                    <a:pt x="858" y="550"/>
                  </a:lnTo>
                  <a:lnTo>
                    <a:pt x="845" y="549"/>
                  </a:lnTo>
                  <a:lnTo>
                    <a:pt x="821" y="549"/>
                  </a:lnTo>
                  <a:lnTo>
                    <a:pt x="797" y="550"/>
                  </a:lnTo>
                  <a:lnTo>
                    <a:pt x="788" y="551"/>
                  </a:lnTo>
                  <a:lnTo>
                    <a:pt x="784" y="551"/>
                  </a:lnTo>
                  <a:lnTo>
                    <a:pt x="784" y="551"/>
                  </a:lnTo>
                  <a:lnTo>
                    <a:pt x="780" y="556"/>
                  </a:lnTo>
                  <a:lnTo>
                    <a:pt x="777" y="563"/>
                  </a:lnTo>
                  <a:lnTo>
                    <a:pt x="770" y="581"/>
                  </a:lnTo>
                  <a:lnTo>
                    <a:pt x="763" y="598"/>
                  </a:lnTo>
                  <a:lnTo>
                    <a:pt x="758" y="609"/>
                  </a:lnTo>
                  <a:lnTo>
                    <a:pt x="739" y="551"/>
                  </a:lnTo>
                  <a:lnTo>
                    <a:pt x="739" y="551"/>
                  </a:lnTo>
                  <a:lnTo>
                    <a:pt x="722" y="551"/>
                  </a:lnTo>
                  <a:lnTo>
                    <a:pt x="691" y="551"/>
                  </a:lnTo>
                  <a:lnTo>
                    <a:pt x="691" y="551"/>
                  </a:lnTo>
                  <a:lnTo>
                    <a:pt x="686" y="552"/>
                  </a:lnTo>
                  <a:lnTo>
                    <a:pt x="682" y="553"/>
                  </a:lnTo>
                  <a:lnTo>
                    <a:pt x="678" y="555"/>
                  </a:lnTo>
                  <a:lnTo>
                    <a:pt x="674" y="557"/>
                  </a:lnTo>
                  <a:lnTo>
                    <a:pt x="668" y="564"/>
                  </a:lnTo>
                  <a:lnTo>
                    <a:pt x="663" y="573"/>
                  </a:lnTo>
                  <a:lnTo>
                    <a:pt x="658" y="581"/>
                  </a:lnTo>
                  <a:lnTo>
                    <a:pt x="655" y="591"/>
                  </a:lnTo>
                  <a:lnTo>
                    <a:pt x="654" y="600"/>
                  </a:lnTo>
                  <a:lnTo>
                    <a:pt x="653" y="608"/>
                  </a:lnTo>
                  <a:lnTo>
                    <a:pt x="653" y="608"/>
                  </a:lnTo>
                  <a:lnTo>
                    <a:pt x="654" y="686"/>
                  </a:lnTo>
                  <a:lnTo>
                    <a:pt x="655" y="765"/>
                  </a:lnTo>
                  <a:lnTo>
                    <a:pt x="655" y="765"/>
                  </a:lnTo>
                  <a:lnTo>
                    <a:pt x="658" y="869"/>
                  </a:lnTo>
                  <a:lnTo>
                    <a:pt x="661" y="947"/>
                  </a:lnTo>
                  <a:lnTo>
                    <a:pt x="661" y="947"/>
                  </a:lnTo>
                  <a:lnTo>
                    <a:pt x="680" y="946"/>
                  </a:lnTo>
                  <a:lnTo>
                    <a:pt x="690" y="944"/>
                  </a:lnTo>
                  <a:lnTo>
                    <a:pt x="698" y="943"/>
                  </a:lnTo>
                  <a:lnTo>
                    <a:pt x="707" y="941"/>
                  </a:lnTo>
                  <a:lnTo>
                    <a:pt x="715" y="938"/>
                  </a:lnTo>
                  <a:lnTo>
                    <a:pt x="721" y="933"/>
                  </a:lnTo>
                  <a:lnTo>
                    <a:pt x="727" y="929"/>
                  </a:lnTo>
                  <a:lnTo>
                    <a:pt x="727" y="929"/>
                  </a:lnTo>
                  <a:lnTo>
                    <a:pt x="732" y="924"/>
                  </a:lnTo>
                  <a:lnTo>
                    <a:pt x="736" y="919"/>
                  </a:lnTo>
                  <a:lnTo>
                    <a:pt x="743" y="908"/>
                  </a:lnTo>
                  <a:lnTo>
                    <a:pt x="748" y="897"/>
                  </a:lnTo>
                  <a:lnTo>
                    <a:pt x="753" y="886"/>
                  </a:lnTo>
                  <a:lnTo>
                    <a:pt x="756" y="876"/>
                  </a:lnTo>
                  <a:lnTo>
                    <a:pt x="757" y="869"/>
                  </a:lnTo>
                  <a:lnTo>
                    <a:pt x="758" y="862"/>
                  </a:lnTo>
                  <a:lnTo>
                    <a:pt x="758" y="862"/>
                  </a:lnTo>
                  <a:lnTo>
                    <a:pt x="758" y="882"/>
                  </a:lnTo>
                  <a:lnTo>
                    <a:pt x="758" y="912"/>
                  </a:lnTo>
                  <a:lnTo>
                    <a:pt x="759" y="942"/>
                  </a:lnTo>
                  <a:lnTo>
                    <a:pt x="761" y="965"/>
                  </a:lnTo>
                  <a:lnTo>
                    <a:pt x="761" y="965"/>
                  </a:lnTo>
                  <a:lnTo>
                    <a:pt x="761" y="966"/>
                  </a:lnTo>
                  <a:lnTo>
                    <a:pt x="763" y="967"/>
                  </a:lnTo>
                  <a:lnTo>
                    <a:pt x="769" y="969"/>
                  </a:lnTo>
                  <a:lnTo>
                    <a:pt x="778" y="970"/>
                  </a:lnTo>
                  <a:lnTo>
                    <a:pt x="789" y="970"/>
                  </a:lnTo>
                  <a:lnTo>
                    <a:pt x="803" y="968"/>
                  </a:lnTo>
                  <a:lnTo>
                    <a:pt x="816" y="963"/>
                  </a:lnTo>
                  <a:lnTo>
                    <a:pt x="822" y="960"/>
                  </a:lnTo>
                  <a:lnTo>
                    <a:pt x="829" y="957"/>
                  </a:lnTo>
                  <a:lnTo>
                    <a:pt x="835" y="952"/>
                  </a:lnTo>
                  <a:lnTo>
                    <a:pt x="842" y="947"/>
                  </a:lnTo>
                  <a:lnTo>
                    <a:pt x="842" y="947"/>
                  </a:lnTo>
                  <a:lnTo>
                    <a:pt x="850" y="937"/>
                  </a:lnTo>
                  <a:lnTo>
                    <a:pt x="857" y="925"/>
                  </a:lnTo>
                  <a:lnTo>
                    <a:pt x="862" y="913"/>
                  </a:lnTo>
                  <a:lnTo>
                    <a:pt x="866" y="901"/>
                  </a:lnTo>
                  <a:lnTo>
                    <a:pt x="873" y="878"/>
                  </a:lnTo>
                  <a:lnTo>
                    <a:pt x="877" y="862"/>
                  </a:lnTo>
                  <a:lnTo>
                    <a:pt x="877" y="862"/>
                  </a:lnTo>
                  <a:lnTo>
                    <a:pt x="877" y="893"/>
                  </a:lnTo>
                  <a:lnTo>
                    <a:pt x="878" y="926"/>
                  </a:lnTo>
                  <a:lnTo>
                    <a:pt x="880" y="953"/>
                  </a:lnTo>
                  <a:lnTo>
                    <a:pt x="881" y="962"/>
                  </a:lnTo>
                  <a:lnTo>
                    <a:pt x="882" y="964"/>
                  </a:lnTo>
                  <a:lnTo>
                    <a:pt x="883" y="965"/>
                  </a:lnTo>
                  <a:lnTo>
                    <a:pt x="883" y="965"/>
                  </a:lnTo>
                  <a:lnTo>
                    <a:pt x="890" y="966"/>
                  </a:lnTo>
                  <a:lnTo>
                    <a:pt x="898" y="966"/>
                  </a:lnTo>
                  <a:lnTo>
                    <a:pt x="908" y="965"/>
                  </a:lnTo>
                  <a:lnTo>
                    <a:pt x="919" y="963"/>
                  </a:lnTo>
                  <a:lnTo>
                    <a:pt x="930" y="960"/>
                  </a:lnTo>
                  <a:lnTo>
                    <a:pt x="942" y="956"/>
                  </a:lnTo>
                  <a:lnTo>
                    <a:pt x="953" y="950"/>
                  </a:lnTo>
                  <a:lnTo>
                    <a:pt x="958" y="946"/>
                  </a:lnTo>
                  <a:lnTo>
                    <a:pt x="962" y="942"/>
                  </a:lnTo>
                  <a:lnTo>
                    <a:pt x="962" y="942"/>
                  </a:lnTo>
                  <a:lnTo>
                    <a:pt x="970" y="932"/>
                  </a:lnTo>
                  <a:lnTo>
                    <a:pt x="978" y="922"/>
                  </a:lnTo>
                  <a:lnTo>
                    <a:pt x="984" y="912"/>
                  </a:lnTo>
                  <a:lnTo>
                    <a:pt x="989" y="901"/>
                  </a:lnTo>
                  <a:lnTo>
                    <a:pt x="992" y="890"/>
                  </a:lnTo>
                  <a:lnTo>
                    <a:pt x="995" y="879"/>
                  </a:lnTo>
                  <a:lnTo>
                    <a:pt x="998" y="862"/>
                  </a:lnTo>
                  <a:lnTo>
                    <a:pt x="998" y="862"/>
                  </a:lnTo>
                  <a:lnTo>
                    <a:pt x="998" y="891"/>
                  </a:lnTo>
                  <a:lnTo>
                    <a:pt x="999" y="915"/>
                  </a:lnTo>
                  <a:lnTo>
                    <a:pt x="1001" y="936"/>
                  </a:lnTo>
                  <a:lnTo>
                    <a:pt x="1001" y="936"/>
                  </a:lnTo>
                  <a:lnTo>
                    <a:pt x="1015" y="935"/>
                  </a:lnTo>
                  <a:lnTo>
                    <a:pt x="1024" y="933"/>
                  </a:lnTo>
                  <a:lnTo>
                    <a:pt x="1032" y="931"/>
                  </a:lnTo>
                  <a:lnTo>
                    <a:pt x="1032" y="931"/>
                  </a:lnTo>
                  <a:lnTo>
                    <a:pt x="1046" y="925"/>
                  </a:lnTo>
                  <a:lnTo>
                    <a:pt x="1057" y="920"/>
                  </a:lnTo>
                  <a:lnTo>
                    <a:pt x="1068" y="913"/>
                  </a:lnTo>
                  <a:lnTo>
                    <a:pt x="1068" y="913"/>
                  </a:lnTo>
                  <a:lnTo>
                    <a:pt x="1078" y="905"/>
                  </a:lnTo>
                  <a:lnTo>
                    <a:pt x="1083" y="900"/>
                  </a:lnTo>
                  <a:lnTo>
                    <a:pt x="1088" y="894"/>
                  </a:lnTo>
                  <a:lnTo>
                    <a:pt x="1092" y="887"/>
                  </a:lnTo>
                  <a:lnTo>
                    <a:pt x="1096" y="878"/>
                  </a:lnTo>
                  <a:lnTo>
                    <a:pt x="1099" y="868"/>
                  </a:lnTo>
                  <a:lnTo>
                    <a:pt x="1101" y="856"/>
                  </a:lnTo>
                  <a:close/>
                  <a:moveTo>
                    <a:pt x="1266" y="1010"/>
                  </a:moveTo>
                  <a:lnTo>
                    <a:pt x="1266" y="916"/>
                  </a:lnTo>
                  <a:lnTo>
                    <a:pt x="1266" y="916"/>
                  </a:lnTo>
                  <a:lnTo>
                    <a:pt x="1261" y="910"/>
                  </a:lnTo>
                  <a:lnTo>
                    <a:pt x="1255" y="902"/>
                  </a:lnTo>
                  <a:lnTo>
                    <a:pt x="1247" y="891"/>
                  </a:lnTo>
                  <a:lnTo>
                    <a:pt x="1240" y="875"/>
                  </a:lnTo>
                  <a:lnTo>
                    <a:pt x="1237" y="866"/>
                  </a:lnTo>
                  <a:lnTo>
                    <a:pt x="1234" y="856"/>
                  </a:lnTo>
                  <a:lnTo>
                    <a:pt x="1232" y="845"/>
                  </a:lnTo>
                  <a:lnTo>
                    <a:pt x="1229" y="831"/>
                  </a:lnTo>
                  <a:lnTo>
                    <a:pt x="1228" y="818"/>
                  </a:lnTo>
                  <a:lnTo>
                    <a:pt x="1227" y="803"/>
                  </a:lnTo>
                  <a:lnTo>
                    <a:pt x="1227" y="803"/>
                  </a:lnTo>
                  <a:lnTo>
                    <a:pt x="1227" y="792"/>
                  </a:lnTo>
                  <a:lnTo>
                    <a:pt x="1228" y="782"/>
                  </a:lnTo>
                  <a:lnTo>
                    <a:pt x="1229" y="772"/>
                  </a:lnTo>
                  <a:lnTo>
                    <a:pt x="1232" y="762"/>
                  </a:lnTo>
                  <a:lnTo>
                    <a:pt x="1238" y="743"/>
                  </a:lnTo>
                  <a:lnTo>
                    <a:pt x="1244" y="727"/>
                  </a:lnTo>
                  <a:lnTo>
                    <a:pt x="1252" y="714"/>
                  </a:lnTo>
                  <a:lnTo>
                    <a:pt x="1258" y="702"/>
                  </a:lnTo>
                  <a:lnTo>
                    <a:pt x="1264" y="693"/>
                  </a:lnTo>
                  <a:lnTo>
                    <a:pt x="1263" y="603"/>
                  </a:lnTo>
                  <a:lnTo>
                    <a:pt x="1263" y="603"/>
                  </a:lnTo>
                  <a:lnTo>
                    <a:pt x="1254" y="596"/>
                  </a:lnTo>
                  <a:lnTo>
                    <a:pt x="1230" y="581"/>
                  </a:lnTo>
                  <a:lnTo>
                    <a:pt x="1216" y="573"/>
                  </a:lnTo>
                  <a:lnTo>
                    <a:pt x="1201" y="565"/>
                  </a:lnTo>
                  <a:lnTo>
                    <a:pt x="1194" y="562"/>
                  </a:lnTo>
                  <a:lnTo>
                    <a:pt x="1188" y="561"/>
                  </a:lnTo>
                  <a:lnTo>
                    <a:pt x="1182" y="560"/>
                  </a:lnTo>
                  <a:lnTo>
                    <a:pt x="1176" y="560"/>
                  </a:lnTo>
                  <a:lnTo>
                    <a:pt x="1177" y="887"/>
                  </a:lnTo>
                  <a:lnTo>
                    <a:pt x="1177" y="887"/>
                  </a:lnTo>
                  <a:lnTo>
                    <a:pt x="1177" y="899"/>
                  </a:lnTo>
                  <a:lnTo>
                    <a:pt x="1174" y="909"/>
                  </a:lnTo>
                  <a:lnTo>
                    <a:pt x="1170" y="920"/>
                  </a:lnTo>
                  <a:lnTo>
                    <a:pt x="1164" y="930"/>
                  </a:lnTo>
                  <a:lnTo>
                    <a:pt x="1156" y="942"/>
                  </a:lnTo>
                  <a:lnTo>
                    <a:pt x="1148" y="952"/>
                  </a:lnTo>
                  <a:lnTo>
                    <a:pt x="1138" y="962"/>
                  </a:lnTo>
                  <a:lnTo>
                    <a:pt x="1128" y="971"/>
                  </a:lnTo>
                  <a:lnTo>
                    <a:pt x="1117" y="981"/>
                  </a:lnTo>
                  <a:lnTo>
                    <a:pt x="1104" y="989"/>
                  </a:lnTo>
                  <a:lnTo>
                    <a:pt x="1092" y="997"/>
                  </a:lnTo>
                  <a:lnTo>
                    <a:pt x="1079" y="1003"/>
                  </a:lnTo>
                  <a:lnTo>
                    <a:pt x="1065" y="1009"/>
                  </a:lnTo>
                  <a:lnTo>
                    <a:pt x="1052" y="1014"/>
                  </a:lnTo>
                  <a:lnTo>
                    <a:pt x="1039" y="1018"/>
                  </a:lnTo>
                  <a:lnTo>
                    <a:pt x="1026" y="1021"/>
                  </a:lnTo>
                  <a:lnTo>
                    <a:pt x="1026" y="1021"/>
                  </a:lnTo>
                  <a:lnTo>
                    <a:pt x="996" y="1027"/>
                  </a:lnTo>
                  <a:lnTo>
                    <a:pt x="967" y="1031"/>
                  </a:lnTo>
                  <a:lnTo>
                    <a:pt x="939" y="1034"/>
                  </a:lnTo>
                  <a:lnTo>
                    <a:pt x="911" y="1037"/>
                  </a:lnTo>
                  <a:lnTo>
                    <a:pt x="858" y="1040"/>
                  </a:lnTo>
                  <a:lnTo>
                    <a:pt x="810" y="1042"/>
                  </a:lnTo>
                  <a:lnTo>
                    <a:pt x="770" y="1042"/>
                  </a:lnTo>
                  <a:lnTo>
                    <a:pt x="739" y="1042"/>
                  </a:lnTo>
                  <a:lnTo>
                    <a:pt x="712" y="1041"/>
                  </a:lnTo>
                  <a:lnTo>
                    <a:pt x="712" y="1041"/>
                  </a:lnTo>
                  <a:lnTo>
                    <a:pt x="713" y="1048"/>
                  </a:lnTo>
                  <a:lnTo>
                    <a:pt x="716" y="1068"/>
                  </a:lnTo>
                  <a:lnTo>
                    <a:pt x="722" y="1095"/>
                  </a:lnTo>
                  <a:lnTo>
                    <a:pt x="725" y="1110"/>
                  </a:lnTo>
                  <a:lnTo>
                    <a:pt x="730" y="1126"/>
                  </a:lnTo>
                  <a:lnTo>
                    <a:pt x="730" y="1126"/>
                  </a:lnTo>
                  <a:lnTo>
                    <a:pt x="735" y="1136"/>
                  </a:lnTo>
                  <a:lnTo>
                    <a:pt x="741" y="1146"/>
                  </a:lnTo>
                  <a:lnTo>
                    <a:pt x="748" y="1155"/>
                  </a:lnTo>
                  <a:lnTo>
                    <a:pt x="756" y="1164"/>
                  </a:lnTo>
                  <a:lnTo>
                    <a:pt x="769" y="1176"/>
                  </a:lnTo>
                  <a:lnTo>
                    <a:pt x="774" y="1180"/>
                  </a:lnTo>
                  <a:lnTo>
                    <a:pt x="1163" y="1180"/>
                  </a:lnTo>
                  <a:lnTo>
                    <a:pt x="1266" y="1010"/>
                  </a:lnTo>
                  <a:close/>
                  <a:moveTo>
                    <a:pt x="773" y="1398"/>
                  </a:moveTo>
                  <a:lnTo>
                    <a:pt x="1164" y="1398"/>
                  </a:lnTo>
                  <a:lnTo>
                    <a:pt x="1164" y="1398"/>
                  </a:lnTo>
                  <a:lnTo>
                    <a:pt x="1175" y="1365"/>
                  </a:lnTo>
                  <a:lnTo>
                    <a:pt x="1183" y="1339"/>
                  </a:lnTo>
                  <a:lnTo>
                    <a:pt x="1186" y="1328"/>
                  </a:lnTo>
                  <a:lnTo>
                    <a:pt x="1188" y="1319"/>
                  </a:lnTo>
                  <a:lnTo>
                    <a:pt x="1170" y="1256"/>
                  </a:lnTo>
                  <a:lnTo>
                    <a:pt x="775" y="1256"/>
                  </a:lnTo>
                  <a:lnTo>
                    <a:pt x="753" y="1321"/>
                  </a:lnTo>
                  <a:lnTo>
                    <a:pt x="773" y="1398"/>
                  </a:lnTo>
                  <a:close/>
                  <a:moveTo>
                    <a:pt x="1164" y="1471"/>
                  </a:moveTo>
                  <a:lnTo>
                    <a:pt x="782" y="1471"/>
                  </a:lnTo>
                  <a:lnTo>
                    <a:pt x="780" y="1976"/>
                  </a:lnTo>
                  <a:lnTo>
                    <a:pt x="1111" y="1985"/>
                  </a:lnTo>
                  <a:lnTo>
                    <a:pt x="1216" y="1902"/>
                  </a:lnTo>
                  <a:lnTo>
                    <a:pt x="1164" y="1471"/>
                  </a:lnTo>
                  <a:close/>
                  <a:moveTo>
                    <a:pt x="1343" y="2103"/>
                  </a:moveTo>
                  <a:lnTo>
                    <a:pt x="1343" y="2103"/>
                  </a:lnTo>
                  <a:lnTo>
                    <a:pt x="1309" y="2079"/>
                  </a:lnTo>
                  <a:lnTo>
                    <a:pt x="1284" y="2061"/>
                  </a:lnTo>
                  <a:lnTo>
                    <a:pt x="1276" y="2054"/>
                  </a:lnTo>
                  <a:lnTo>
                    <a:pt x="1271" y="2049"/>
                  </a:lnTo>
                  <a:lnTo>
                    <a:pt x="1271" y="2049"/>
                  </a:lnTo>
                  <a:lnTo>
                    <a:pt x="1269" y="2043"/>
                  </a:lnTo>
                  <a:lnTo>
                    <a:pt x="1267" y="2033"/>
                  </a:lnTo>
                  <a:lnTo>
                    <a:pt x="1263" y="2004"/>
                  </a:lnTo>
                  <a:lnTo>
                    <a:pt x="1260" y="1964"/>
                  </a:lnTo>
                  <a:lnTo>
                    <a:pt x="1138" y="2062"/>
                  </a:lnTo>
                  <a:lnTo>
                    <a:pt x="765" y="2061"/>
                  </a:lnTo>
                  <a:lnTo>
                    <a:pt x="765" y="2061"/>
                  </a:lnTo>
                  <a:lnTo>
                    <a:pt x="765" y="2062"/>
                  </a:lnTo>
                  <a:lnTo>
                    <a:pt x="764" y="2064"/>
                  </a:lnTo>
                  <a:lnTo>
                    <a:pt x="762" y="2072"/>
                  </a:lnTo>
                  <a:lnTo>
                    <a:pt x="760" y="2103"/>
                  </a:lnTo>
                  <a:lnTo>
                    <a:pt x="759" y="2147"/>
                  </a:lnTo>
                  <a:lnTo>
                    <a:pt x="758" y="2197"/>
                  </a:lnTo>
                  <a:lnTo>
                    <a:pt x="757" y="2291"/>
                  </a:lnTo>
                  <a:lnTo>
                    <a:pt x="757" y="2333"/>
                  </a:lnTo>
                  <a:lnTo>
                    <a:pt x="757" y="2333"/>
                  </a:lnTo>
                  <a:lnTo>
                    <a:pt x="786" y="2359"/>
                  </a:lnTo>
                  <a:lnTo>
                    <a:pt x="852" y="2412"/>
                  </a:lnTo>
                  <a:lnTo>
                    <a:pt x="888" y="2441"/>
                  </a:lnTo>
                  <a:lnTo>
                    <a:pt x="919" y="2465"/>
                  </a:lnTo>
                  <a:lnTo>
                    <a:pt x="943" y="2481"/>
                  </a:lnTo>
                  <a:lnTo>
                    <a:pt x="950" y="2486"/>
                  </a:lnTo>
                  <a:lnTo>
                    <a:pt x="952" y="2487"/>
                  </a:lnTo>
                  <a:lnTo>
                    <a:pt x="954" y="2487"/>
                  </a:lnTo>
                  <a:lnTo>
                    <a:pt x="1205" y="2170"/>
                  </a:lnTo>
                  <a:lnTo>
                    <a:pt x="1343" y="2103"/>
                  </a:lnTo>
                  <a:close/>
                  <a:moveTo>
                    <a:pt x="1259" y="2225"/>
                  </a:moveTo>
                  <a:lnTo>
                    <a:pt x="1033" y="2515"/>
                  </a:lnTo>
                  <a:lnTo>
                    <a:pt x="1402" y="2669"/>
                  </a:lnTo>
                  <a:lnTo>
                    <a:pt x="1402" y="2669"/>
                  </a:lnTo>
                  <a:lnTo>
                    <a:pt x="1442" y="2647"/>
                  </a:lnTo>
                  <a:lnTo>
                    <a:pt x="1485" y="2624"/>
                  </a:lnTo>
                  <a:lnTo>
                    <a:pt x="1528" y="2599"/>
                  </a:lnTo>
                  <a:lnTo>
                    <a:pt x="1571" y="2573"/>
                  </a:lnTo>
                  <a:lnTo>
                    <a:pt x="1656" y="2521"/>
                  </a:lnTo>
                  <a:lnTo>
                    <a:pt x="1736" y="2471"/>
                  </a:lnTo>
                  <a:lnTo>
                    <a:pt x="1806" y="2426"/>
                  </a:lnTo>
                  <a:lnTo>
                    <a:pt x="1862" y="2389"/>
                  </a:lnTo>
                  <a:lnTo>
                    <a:pt x="1912" y="2356"/>
                  </a:lnTo>
                  <a:lnTo>
                    <a:pt x="1392" y="2160"/>
                  </a:lnTo>
                  <a:lnTo>
                    <a:pt x="1259" y="2225"/>
                  </a:lnTo>
                  <a:close/>
                  <a:moveTo>
                    <a:pt x="1462" y="703"/>
                  </a:moveTo>
                  <a:lnTo>
                    <a:pt x="1462" y="703"/>
                  </a:lnTo>
                  <a:lnTo>
                    <a:pt x="1461" y="553"/>
                  </a:lnTo>
                  <a:lnTo>
                    <a:pt x="1461" y="448"/>
                  </a:lnTo>
                  <a:lnTo>
                    <a:pt x="1462" y="411"/>
                  </a:lnTo>
                  <a:lnTo>
                    <a:pt x="1463" y="399"/>
                  </a:lnTo>
                  <a:lnTo>
                    <a:pt x="1464" y="394"/>
                  </a:lnTo>
                  <a:lnTo>
                    <a:pt x="1464" y="394"/>
                  </a:lnTo>
                  <a:lnTo>
                    <a:pt x="1469" y="386"/>
                  </a:lnTo>
                  <a:lnTo>
                    <a:pt x="1474" y="379"/>
                  </a:lnTo>
                  <a:lnTo>
                    <a:pt x="1480" y="368"/>
                  </a:lnTo>
                  <a:lnTo>
                    <a:pt x="1480" y="368"/>
                  </a:lnTo>
                  <a:lnTo>
                    <a:pt x="1483" y="360"/>
                  </a:lnTo>
                  <a:lnTo>
                    <a:pt x="1484" y="351"/>
                  </a:lnTo>
                  <a:lnTo>
                    <a:pt x="1484" y="343"/>
                  </a:lnTo>
                  <a:lnTo>
                    <a:pt x="1483" y="333"/>
                  </a:lnTo>
                  <a:lnTo>
                    <a:pt x="1481" y="320"/>
                  </a:lnTo>
                  <a:lnTo>
                    <a:pt x="1480" y="315"/>
                  </a:lnTo>
                  <a:lnTo>
                    <a:pt x="1298" y="315"/>
                  </a:lnTo>
                  <a:lnTo>
                    <a:pt x="1298" y="315"/>
                  </a:lnTo>
                  <a:lnTo>
                    <a:pt x="1297" y="319"/>
                  </a:lnTo>
                  <a:lnTo>
                    <a:pt x="1296" y="323"/>
                  </a:lnTo>
                  <a:lnTo>
                    <a:pt x="1296" y="335"/>
                  </a:lnTo>
                  <a:lnTo>
                    <a:pt x="1297" y="348"/>
                  </a:lnTo>
                  <a:lnTo>
                    <a:pt x="1299" y="358"/>
                  </a:lnTo>
                  <a:lnTo>
                    <a:pt x="1299" y="358"/>
                  </a:lnTo>
                  <a:lnTo>
                    <a:pt x="1303" y="369"/>
                  </a:lnTo>
                  <a:lnTo>
                    <a:pt x="1309" y="380"/>
                  </a:lnTo>
                  <a:lnTo>
                    <a:pt x="1316" y="391"/>
                  </a:lnTo>
                  <a:lnTo>
                    <a:pt x="1320" y="395"/>
                  </a:lnTo>
                  <a:lnTo>
                    <a:pt x="1325" y="398"/>
                  </a:lnTo>
                  <a:lnTo>
                    <a:pt x="1325" y="703"/>
                  </a:lnTo>
                  <a:lnTo>
                    <a:pt x="1325" y="703"/>
                  </a:lnTo>
                  <a:lnTo>
                    <a:pt x="1321" y="710"/>
                  </a:lnTo>
                  <a:lnTo>
                    <a:pt x="1316" y="717"/>
                  </a:lnTo>
                  <a:lnTo>
                    <a:pt x="1311" y="727"/>
                  </a:lnTo>
                  <a:lnTo>
                    <a:pt x="1306" y="741"/>
                  </a:lnTo>
                  <a:lnTo>
                    <a:pt x="1301" y="758"/>
                  </a:lnTo>
                  <a:lnTo>
                    <a:pt x="1296" y="778"/>
                  </a:lnTo>
                  <a:lnTo>
                    <a:pt x="1292" y="802"/>
                  </a:lnTo>
                  <a:lnTo>
                    <a:pt x="1292" y="802"/>
                  </a:lnTo>
                  <a:lnTo>
                    <a:pt x="1292" y="813"/>
                  </a:lnTo>
                  <a:lnTo>
                    <a:pt x="1292" y="823"/>
                  </a:lnTo>
                  <a:lnTo>
                    <a:pt x="1293" y="833"/>
                  </a:lnTo>
                  <a:lnTo>
                    <a:pt x="1296" y="844"/>
                  </a:lnTo>
                  <a:lnTo>
                    <a:pt x="1302" y="861"/>
                  </a:lnTo>
                  <a:lnTo>
                    <a:pt x="1308" y="877"/>
                  </a:lnTo>
                  <a:lnTo>
                    <a:pt x="1315" y="891"/>
                  </a:lnTo>
                  <a:lnTo>
                    <a:pt x="1321" y="900"/>
                  </a:lnTo>
                  <a:lnTo>
                    <a:pt x="1327" y="909"/>
                  </a:lnTo>
                  <a:lnTo>
                    <a:pt x="1323" y="1165"/>
                  </a:lnTo>
                  <a:lnTo>
                    <a:pt x="1323" y="1165"/>
                  </a:lnTo>
                  <a:lnTo>
                    <a:pt x="1321" y="1167"/>
                  </a:lnTo>
                  <a:lnTo>
                    <a:pt x="1315" y="1174"/>
                  </a:lnTo>
                  <a:lnTo>
                    <a:pt x="1312" y="1179"/>
                  </a:lnTo>
                  <a:lnTo>
                    <a:pt x="1310" y="1186"/>
                  </a:lnTo>
                  <a:lnTo>
                    <a:pt x="1307" y="1194"/>
                  </a:lnTo>
                  <a:lnTo>
                    <a:pt x="1306" y="1203"/>
                  </a:lnTo>
                  <a:lnTo>
                    <a:pt x="1306" y="1203"/>
                  </a:lnTo>
                  <a:lnTo>
                    <a:pt x="1306" y="1213"/>
                  </a:lnTo>
                  <a:lnTo>
                    <a:pt x="1306" y="1221"/>
                  </a:lnTo>
                  <a:lnTo>
                    <a:pt x="1307" y="1234"/>
                  </a:lnTo>
                  <a:lnTo>
                    <a:pt x="1309" y="1241"/>
                  </a:lnTo>
                  <a:lnTo>
                    <a:pt x="1310" y="1243"/>
                  </a:lnTo>
                  <a:lnTo>
                    <a:pt x="1480" y="1243"/>
                  </a:lnTo>
                  <a:lnTo>
                    <a:pt x="1480" y="1243"/>
                  </a:lnTo>
                  <a:lnTo>
                    <a:pt x="1482" y="1235"/>
                  </a:lnTo>
                  <a:lnTo>
                    <a:pt x="1483" y="1221"/>
                  </a:lnTo>
                  <a:lnTo>
                    <a:pt x="1482" y="1204"/>
                  </a:lnTo>
                  <a:lnTo>
                    <a:pt x="1482" y="1196"/>
                  </a:lnTo>
                  <a:lnTo>
                    <a:pt x="1480" y="1188"/>
                  </a:lnTo>
                  <a:lnTo>
                    <a:pt x="1480" y="1188"/>
                  </a:lnTo>
                  <a:lnTo>
                    <a:pt x="1477" y="1179"/>
                  </a:lnTo>
                  <a:lnTo>
                    <a:pt x="1471" y="1172"/>
                  </a:lnTo>
                  <a:lnTo>
                    <a:pt x="1466" y="1166"/>
                  </a:lnTo>
                  <a:lnTo>
                    <a:pt x="1461" y="1161"/>
                  </a:lnTo>
                  <a:lnTo>
                    <a:pt x="1460" y="909"/>
                  </a:lnTo>
                  <a:lnTo>
                    <a:pt x="1460" y="909"/>
                  </a:lnTo>
                  <a:lnTo>
                    <a:pt x="1473" y="888"/>
                  </a:lnTo>
                  <a:lnTo>
                    <a:pt x="1482" y="876"/>
                  </a:lnTo>
                  <a:lnTo>
                    <a:pt x="1488" y="865"/>
                  </a:lnTo>
                  <a:lnTo>
                    <a:pt x="1494" y="852"/>
                  </a:lnTo>
                  <a:lnTo>
                    <a:pt x="1499" y="837"/>
                  </a:lnTo>
                  <a:lnTo>
                    <a:pt x="1502" y="822"/>
                  </a:lnTo>
                  <a:lnTo>
                    <a:pt x="1503" y="814"/>
                  </a:lnTo>
                  <a:lnTo>
                    <a:pt x="1503" y="806"/>
                  </a:lnTo>
                  <a:lnTo>
                    <a:pt x="1503" y="806"/>
                  </a:lnTo>
                  <a:lnTo>
                    <a:pt x="1503" y="797"/>
                  </a:lnTo>
                  <a:lnTo>
                    <a:pt x="1502" y="788"/>
                  </a:lnTo>
                  <a:lnTo>
                    <a:pt x="1498" y="773"/>
                  </a:lnTo>
                  <a:lnTo>
                    <a:pt x="1493" y="758"/>
                  </a:lnTo>
                  <a:lnTo>
                    <a:pt x="1487" y="743"/>
                  </a:lnTo>
                  <a:lnTo>
                    <a:pt x="1481" y="731"/>
                  </a:lnTo>
                  <a:lnTo>
                    <a:pt x="1473" y="720"/>
                  </a:lnTo>
                  <a:lnTo>
                    <a:pt x="1462" y="703"/>
                  </a:lnTo>
                  <a:close/>
                  <a:moveTo>
                    <a:pt x="1843" y="953"/>
                  </a:moveTo>
                  <a:lnTo>
                    <a:pt x="2130" y="663"/>
                  </a:lnTo>
                  <a:lnTo>
                    <a:pt x="2130" y="663"/>
                  </a:lnTo>
                  <a:lnTo>
                    <a:pt x="1946" y="660"/>
                  </a:lnTo>
                  <a:lnTo>
                    <a:pt x="1837" y="659"/>
                  </a:lnTo>
                  <a:lnTo>
                    <a:pt x="1715" y="658"/>
                  </a:lnTo>
                  <a:lnTo>
                    <a:pt x="1715" y="658"/>
                  </a:lnTo>
                  <a:lnTo>
                    <a:pt x="1708" y="657"/>
                  </a:lnTo>
                  <a:lnTo>
                    <a:pt x="1698" y="655"/>
                  </a:lnTo>
                  <a:lnTo>
                    <a:pt x="1687" y="651"/>
                  </a:lnTo>
                  <a:lnTo>
                    <a:pt x="1676" y="646"/>
                  </a:lnTo>
                  <a:lnTo>
                    <a:pt x="1650" y="634"/>
                  </a:lnTo>
                  <a:lnTo>
                    <a:pt x="1623" y="620"/>
                  </a:lnTo>
                  <a:lnTo>
                    <a:pt x="1597" y="606"/>
                  </a:lnTo>
                  <a:lnTo>
                    <a:pt x="1576" y="596"/>
                  </a:lnTo>
                  <a:lnTo>
                    <a:pt x="1566" y="592"/>
                  </a:lnTo>
                  <a:lnTo>
                    <a:pt x="1558" y="591"/>
                  </a:lnTo>
                  <a:lnTo>
                    <a:pt x="1553" y="590"/>
                  </a:lnTo>
                  <a:lnTo>
                    <a:pt x="1551" y="591"/>
                  </a:lnTo>
                  <a:lnTo>
                    <a:pt x="1550" y="592"/>
                  </a:lnTo>
                  <a:lnTo>
                    <a:pt x="1550" y="592"/>
                  </a:lnTo>
                  <a:lnTo>
                    <a:pt x="1535" y="628"/>
                  </a:lnTo>
                  <a:lnTo>
                    <a:pt x="1514" y="681"/>
                  </a:lnTo>
                  <a:lnTo>
                    <a:pt x="1514" y="681"/>
                  </a:lnTo>
                  <a:lnTo>
                    <a:pt x="1523" y="691"/>
                  </a:lnTo>
                  <a:lnTo>
                    <a:pt x="1532" y="703"/>
                  </a:lnTo>
                  <a:lnTo>
                    <a:pt x="1542" y="719"/>
                  </a:lnTo>
                  <a:lnTo>
                    <a:pt x="1551" y="737"/>
                  </a:lnTo>
                  <a:lnTo>
                    <a:pt x="1556" y="747"/>
                  </a:lnTo>
                  <a:lnTo>
                    <a:pt x="1560" y="759"/>
                  </a:lnTo>
                  <a:lnTo>
                    <a:pt x="1563" y="770"/>
                  </a:lnTo>
                  <a:lnTo>
                    <a:pt x="1565" y="781"/>
                  </a:lnTo>
                  <a:lnTo>
                    <a:pt x="1568" y="793"/>
                  </a:lnTo>
                  <a:lnTo>
                    <a:pt x="1568" y="806"/>
                  </a:lnTo>
                  <a:lnTo>
                    <a:pt x="1568" y="806"/>
                  </a:lnTo>
                  <a:lnTo>
                    <a:pt x="1566" y="825"/>
                  </a:lnTo>
                  <a:lnTo>
                    <a:pt x="1564" y="838"/>
                  </a:lnTo>
                  <a:lnTo>
                    <a:pt x="1561" y="855"/>
                  </a:lnTo>
                  <a:lnTo>
                    <a:pt x="1558" y="864"/>
                  </a:lnTo>
                  <a:lnTo>
                    <a:pt x="1555" y="873"/>
                  </a:lnTo>
                  <a:lnTo>
                    <a:pt x="1551" y="883"/>
                  </a:lnTo>
                  <a:lnTo>
                    <a:pt x="1545" y="894"/>
                  </a:lnTo>
                  <a:lnTo>
                    <a:pt x="1539" y="903"/>
                  </a:lnTo>
                  <a:lnTo>
                    <a:pt x="1532" y="914"/>
                  </a:lnTo>
                  <a:lnTo>
                    <a:pt x="1524" y="924"/>
                  </a:lnTo>
                  <a:lnTo>
                    <a:pt x="1513" y="935"/>
                  </a:lnTo>
                  <a:lnTo>
                    <a:pt x="1513" y="935"/>
                  </a:lnTo>
                  <a:lnTo>
                    <a:pt x="1536" y="981"/>
                  </a:lnTo>
                  <a:lnTo>
                    <a:pt x="1553" y="1013"/>
                  </a:lnTo>
                  <a:lnTo>
                    <a:pt x="1560" y="1025"/>
                  </a:lnTo>
                  <a:lnTo>
                    <a:pt x="1565" y="1032"/>
                  </a:lnTo>
                  <a:lnTo>
                    <a:pt x="1565" y="1032"/>
                  </a:lnTo>
                  <a:lnTo>
                    <a:pt x="1580" y="1023"/>
                  </a:lnTo>
                  <a:lnTo>
                    <a:pt x="1597" y="1013"/>
                  </a:lnTo>
                  <a:lnTo>
                    <a:pt x="1618" y="1002"/>
                  </a:lnTo>
                  <a:lnTo>
                    <a:pt x="1642" y="990"/>
                  </a:lnTo>
                  <a:lnTo>
                    <a:pt x="1669" y="978"/>
                  </a:lnTo>
                  <a:lnTo>
                    <a:pt x="1696" y="968"/>
                  </a:lnTo>
                  <a:lnTo>
                    <a:pt x="1711" y="964"/>
                  </a:lnTo>
                  <a:lnTo>
                    <a:pt x="1724" y="961"/>
                  </a:lnTo>
                  <a:lnTo>
                    <a:pt x="1724" y="961"/>
                  </a:lnTo>
                  <a:lnTo>
                    <a:pt x="1737" y="959"/>
                  </a:lnTo>
                  <a:lnTo>
                    <a:pt x="1761" y="957"/>
                  </a:lnTo>
                  <a:lnTo>
                    <a:pt x="1843" y="953"/>
                  </a:lnTo>
                  <a:close/>
                  <a:moveTo>
                    <a:pt x="3120" y="962"/>
                  </a:moveTo>
                  <a:lnTo>
                    <a:pt x="3486" y="484"/>
                  </a:lnTo>
                  <a:lnTo>
                    <a:pt x="3486" y="484"/>
                  </a:lnTo>
                  <a:lnTo>
                    <a:pt x="3479" y="482"/>
                  </a:lnTo>
                  <a:lnTo>
                    <a:pt x="3469" y="481"/>
                  </a:lnTo>
                  <a:lnTo>
                    <a:pt x="3458" y="480"/>
                  </a:lnTo>
                  <a:lnTo>
                    <a:pt x="3445" y="480"/>
                  </a:lnTo>
                  <a:lnTo>
                    <a:pt x="3428" y="483"/>
                  </a:lnTo>
                  <a:lnTo>
                    <a:pt x="3420" y="485"/>
                  </a:lnTo>
                  <a:lnTo>
                    <a:pt x="3412" y="488"/>
                  </a:lnTo>
                  <a:lnTo>
                    <a:pt x="3403" y="492"/>
                  </a:lnTo>
                  <a:lnTo>
                    <a:pt x="3394" y="496"/>
                  </a:lnTo>
                  <a:lnTo>
                    <a:pt x="3394" y="496"/>
                  </a:lnTo>
                  <a:lnTo>
                    <a:pt x="3385" y="502"/>
                  </a:lnTo>
                  <a:lnTo>
                    <a:pt x="3376" y="508"/>
                  </a:lnTo>
                  <a:lnTo>
                    <a:pt x="3369" y="515"/>
                  </a:lnTo>
                  <a:lnTo>
                    <a:pt x="3363" y="523"/>
                  </a:lnTo>
                  <a:lnTo>
                    <a:pt x="3358" y="532"/>
                  </a:lnTo>
                  <a:lnTo>
                    <a:pt x="3353" y="540"/>
                  </a:lnTo>
                  <a:lnTo>
                    <a:pt x="3349" y="548"/>
                  </a:lnTo>
                  <a:lnTo>
                    <a:pt x="3346" y="557"/>
                  </a:lnTo>
                  <a:lnTo>
                    <a:pt x="3341" y="574"/>
                  </a:lnTo>
                  <a:lnTo>
                    <a:pt x="3337" y="589"/>
                  </a:lnTo>
                  <a:lnTo>
                    <a:pt x="3336" y="600"/>
                  </a:lnTo>
                  <a:lnTo>
                    <a:pt x="3337" y="605"/>
                  </a:lnTo>
                  <a:lnTo>
                    <a:pt x="3338" y="608"/>
                  </a:lnTo>
                  <a:lnTo>
                    <a:pt x="3338" y="608"/>
                  </a:lnTo>
                  <a:lnTo>
                    <a:pt x="3334" y="599"/>
                  </a:lnTo>
                  <a:lnTo>
                    <a:pt x="3330" y="592"/>
                  </a:lnTo>
                  <a:lnTo>
                    <a:pt x="3325" y="585"/>
                  </a:lnTo>
                  <a:lnTo>
                    <a:pt x="3320" y="579"/>
                  </a:lnTo>
                  <a:lnTo>
                    <a:pt x="3315" y="574"/>
                  </a:lnTo>
                  <a:lnTo>
                    <a:pt x="3310" y="568"/>
                  </a:lnTo>
                  <a:lnTo>
                    <a:pt x="3304" y="564"/>
                  </a:lnTo>
                  <a:lnTo>
                    <a:pt x="3299" y="561"/>
                  </a:lnTo>
                  <a:lnTo>
                    <a:pt x="3286" y="556"/>
                  </a:lnTo>
                  <a:lnTo>
                    <a:pt x="3273" y="554"/>
                  </a:lnTo>
                  <a:lnTo>
                    <a:pt x="3261" y="553"/>
                  </a:lnTo>
                  <a:lnTo>
                    <a:pt x="3249" y="554"/>
                  </a:lnTo>
                  <a:lnTo>
                    <a:pt x="3236" y="556"/>
                  </a:lnTo>
                  <a:lnTo>
                    <a:pt x="3225" y="558"/>
                  </a:lnTo>
                  <a:lnTo>
                    <a:pt x="3214" y="562"/>
                  </a:lnTo>
                  <a:lnTo>
                    <a:pt x="3206" y="565"/>
                  </a:lnTo>
                  <a:lnTo>
                    <a:pt x="3192" y="572"/>
                  </a:lnTo>
                  <a:lnTo>
                    <a:pt x="3187" y="574"/>
                  </a:lnTo>
                  <a:lnTo>
                    <a:pt x="3187" y="574"/>
                  </a:lnTo>
                  <a:lnTo>
                    <a:pt x="3199" y="594"/>
                  </a:lnTo>
                  <a:lnTo>
                    <a:pt x="3209" y="613"/>
                  </a:lnTo>
                  <a:lnTo>
                    <a:pt x="3215" y="632"/>
                  </a:lnTo>
                  <a:lnTo>
                    <a:pt x="3219" y="647"/>
                  </a:lnTo>
                  <a:lnTo>
                    <a:pt x="3220" y="663"/>
                  </a:lnTo>
                  <a:lnTo>
                    <a:pt x="3220" y="675"/>
                  </a:lnTo>
                  <a:lnTo>
                    <a:pt x="3218" y="687"/>
                  </a:lnTo>
                  <a:lnTo>
                    <a:pt x="3214" y="696"/>
                  </a:lnTo>
                  <a:lnTo>
                    <a:pt x="3209" y="705"/>
                  </a:lnTo>
                  <a:lnTo>
                    <a:pt x="3203" y="712"/>
                  </a:lnTo>
                  <a:lnTo>
                    <a:pt x="3194" y="718"/>
                  </a:lnTo>
                  <a:lnTo>
                    <a:pt x="3186" y="722"/>
                  </a:lnTo>
                  <a:lnTo>
                    <a:pt x="3178" y="724"/>
                  </a:lnTo>
                  <a:lnTo>
                    <a:pt x="3169" y="725"/>
                  </a:lnTo>
                  <a:lnTo>
                    <a:pt x="3160" y="725"/>
                  </a:lnTo>
                  <a:lnTo>
                    <a:pt x="3150" y="724"/>
                  </a:lnTo>
                  <a:lnTo>
                    <a:pt x="3150" y="724"/>
                  </a:lnTo>
                  <a:lnTo>
                    <a:pt x="3138" y="720"/>
                  </a:lnTo>
                  <a:lnTo>
                    <a:pt x="3129" y="715"/>
                  </a:lnTo>
                  <a:lnTo>
                    <a:pt x="3121" y="709"/>
                  </a:lnTo>
                  <a:lnTo>
                    <a:pt x="3114" y="702"/>
                  </a:lnTo>
                  <a:lnTo>
                    <a:pt x="3108" y="695"/>
                  </a:lnTo>
                  <a:lnTo>
                    <a:pt x="3104" y="688"/>
                  </a:lnTo>
                  <a:lnTo>
                    <a:pt x="3100" y="680"/>
                  </a:lnTo>
                  <a:lnTo>
                    <a:pt x="3098" y="673"/>
                  </a:lnTo>
                  <a:lnTo>
                    <a:pt x="3095" y="658"/>
                  </a:lnTo>
                  <a:lnTo>
                    <a:pt x="3095" y="646"/>
                  </a:lnTo>
                  <a:lnTo>
                    <a:pt x="3095" y="638"/>
                  </a:lnTo>
                  <a:lnTo>
                    <a:pt x="3095" y="635"/>
                  </a:lnTo>
                  <a:lnTo>
                    <a:pt x="3095" y="635"/>
                  </a:lnTo>
                  <a:lnTo>
                    <a:pt x="3092" y="637"/>
                  </a:lnTo>
                  <a:lnTo>
                    <a:pt x="3084" y="643"/>
                  </a:lnTo>
                  <a:lnTo>
                    <a:pt x="3072" y="650"/>
                  </a:lnTo>
                  <a:lnTo>
                    <a:pt x="3064" y="653"/>
                  </a:lnTo>
                  <a:lnTo>
                    <a:pt x="3056" y="656"/>
                  </a:lnTo>
                  <a:lnTo>
                    <a:pt x="3047" y="658"/>
                  </a:lnTo>
                  <a:lnTo>
                    <a:pt x="3038" y="659"/>
                  </a:lnTo>
                  <a:lnTo>
                    <a:pt x="3028" y="659"/>
                  </a:lnTo>
                  <a:lnTo>
                    <a:pt x="3018" y="658"/>
                  </a:lnTo>
                  <a:lnTo>
                    <a:pt x="3008" y="655"/>
                  </a:lnTo>
                  <a:lnTo>
                    <a:pt x="2999" y="650"/>
                  </a:lnTo>
                  <a:lnTo>
                    <a:pt x="2989" y="643"/>
                  </a:lnTo>
                  <a:lnTo>
                    <a:pt x="2980" y="634"/>
                  </a:lnTo>
                  <a:lnTo>
                    <a:pt x="2980" y="634"/>
                  </a:lnTo>
                  <a:lnTo>
                    <a:pt x="2973" y="625"/>
                  </a:lnTo>
                  <a:lnTo>
                    <a:pt x="2969" y="616"/>
                  </a:lnTo>
                  <a:lnTo>
                    <a:pt x="2967" y="607"/>
                  </a:lnTo>
                  <a:lnTo>
                    <a:pt x="2968" y="598"/>
                  </a:lnTo>
                  <a:lnTo>
                    <a:pt x="2969" y="589"/>
                  </a:lnTo>
                  <a:lnTo>
                    <a:pt x="2973" y="581"/>
                  </a:lnTo>
                  <a:lnTo>
                    <a:pt x="2980" y="572"/>
                  </a:lnTo>
                  <a:lnTo>
                    <a:pt x="2987" y="564"/>
                  </a:lnTo>
                  <a:lnTo>
                    <a:pt x="2996" y="557"/>
                  </a:lnTo>
                  <a:lnTo>
                    <a:pt x="3006" y="550"/>
                  </a:lnTo>
                  <a:lnTo>
                    <a:pt x="3019" y="544"/>
                  </a:lnTo>
                  <a:lnTo>
                    <a:pt x="3033" y="540"/>
                  </a:lnTo>
                  <a:lnTo>
                    <a:pt x="3048" y="536"/>
                  </a:lnTo>
                  <a:lnTo>
                    <a:pt x="3065" y="533"/>
                  </a:lnTo>
                  <a:lnTo>
                    <a:pt x="3083" y="532"/>
                  </a:lnTo>
                  <a:lnTo>
                    <a:pt x="3102" y="531"/>
                  </a:lnTo>
                  <a:lnTo>
                    <a:pt x="3102" y="531"/>
                  </a:lnTo>
                  <a:lnTo>
                    <a:pt x="3103" y="520"/>
                  </a:lnTo>
                  <a:lnTo>
                    <a:pt x="3102" y="509"/>
                  </a:lnTo>
                  <a:lnTo>
                    <a:pt x="3099" y="494"/>
                  </a:lnTo>
                  <a:lnTo>
                    <a:pt x="3096" y="486"/>
                  </a:lnTo>
                  <a:lnTo>
                    <a:pt x="3093" y="477"/>
                  </a:lnTo>
                  <a:lnTo>
                    <a:pt x="3089" y="469"/>
                  </a:lnTo>
                  <a:lnTo>
                    <a:pt x="3084" y="460"/>
                  </a:lnTo>
                  <a:lnTo>
                    <a:pt x="3078" y="451"/>
                  </a:lnTo>
                  <a:lnTo>
                    <a:pt x="3071" y="443"/>
                  </a:lnTo>
                  <a:lnTo>
                    <a:pt x="3061" y="435"/>
                  </a:lnTo>
                  <a:lnTo>
                    <a:pt x="3051" y="426"/>
                  </a:lnTo>
                  <a:lnTo>
                    <a:pt x="3051" y="426"/>
                  </a:lnTo>
                  <a:lnTo>
                    <a:pt x="3043" y="421"/>
                  </a:lnTo>
                  <a:lnTo>
                    <a:pt x="3034" y="417"/>
                  </a:lnTo>
                  <a:lnTo>
                    <a:pt x="3024" y="415"/>
                  </a:lnTo>
                  <a:lnTo>
                    <a:pt x="3014" y="413"/>
                  </a:lnTo>
                  <a:lnTo>
                    <a:pt x="3004" y="412"/>
                  </a:lnTo>
                  <a:lnTo>
                    <a:pt x="2995" y="412"/>
                  </a:lnTo>
                  <a:lnTo>
                    <a:pt x="2977" y="414"/>
                  </a:lnTo>
                  <a:lnTo>
                    <a:pt x="2960" y="418"/>
                  </a:lnTo>
                  <a:lnTo>
                    <a:pt x="2947" y="421"/>
                  </a:lnTo>
                  <a:lnTo>
                    <a:pt x="2936" y="425"/>
                  </a:lnTo>
                  <a:lnTo>
                    <a:pt x="2936" y="425"/>
                  </a:lnTo>
                  <a:lnTo>
                    <a:pt x="2943" y="421"/>
                  </a:lnTo>
                  <a:lnTo>
                    <a:pt x="2951" y="415"/>
                  </a:lnTo>
                  <a:lnTo>
                    <a:pt x="2960" y="408"/>
                  </a:lnTo>
                  <a:lnTo>
                    <a:pt x="2970" y="397"/>
                  </a:lnTo>
                  <a:lnTo>
                    <a:pt x="2980" y="384"/>
                  </a:lnTo>
                  <a:lnTo>
                    <a:pt x="2984" y="376"/>
                  </a:lnTo>
                  <a:lnTo>
                    <a:pt x="2988" y="369"/>
                  </a:lnTo>
                  <a:lnTo>
                    <a:pt x="2991" y="360"/>
                  </a:lnTo>
                  <a:lnTo>
                    <a:pt x="2993" y="351"/>
                  </a:lnTo>
                  <a:lnTo>
                    <a:pt x="2993" y="351"/>
                  </a:lnTo>
                  <a:lnTo>
                    <a:pt x="2995" y="336"/>
                  </a:lnTo>
                  <a:lnTo>
                    <a:pt x="2994" y="320"/>
                  </a:lnTo>
                  <a:lnTo>
                    <a:pt x="2992" y="303"/>
                  </a:lnTo>
                  <a:lnTo>
                    <a:pt x="2988" y="285"/>
                  </a:lnTo>
                  <a:lnTo>
                    <a:pt x="2981" y="267"/>
                  </a:lnTo>
                  <a:lnTo>
                    <a:pt x="2972" y="249"/>
                  </a:lnTo>
                  <a:lnTo>
                    <a:pt x="2961" y="232"/>
                  </a:lnTo>
                  <a:lnTo>
                    <a:pt x="2955" y="223"/>
                  </a:lnTo>
                  <a:lnTo>
                    <a:pt x="2948" y="216"/>
                  </a:lnTo>
                  <a:lnTo>
                    <a:pt x="2947" y="214"/>
                  </a:lnTo>
                  <a:lnTo>
                    <a:pt x="2944" y="214"/>
                  </a:lnTo>
                  <a:lnTo>
                    <a:pt x="2944" y="214"/>
                  </a:lnTo>
                  <a:lnTo>
                    <a:pt x="2934" y="214"/>
                  </a:lnTo>
                  <a:lnTo>
                    <a:pt x="2923" y="215"/>
                  </a:lnTo>
                  <a:lnTo>
                    <a:pt x="2903" y="219"/>
                  </a:lnTo>
                  <a:lnTo>
                    <a:pt x="2885" y="224"/>
                  </a:lnTo>
                  <a:lnTo>
                    <a:pt x="2866" y="232"/>
                  </a:lnTo>
                  <a:lnTo>
                    <a:pt x="2851" y="240"/>
                  </a:lnTo>
                  <a:lnTo>
                    <a:pt x="2836" y="250"/>
                  </a:lnTo>
                  <a:lnTo>
                    <a:pt x="2824" y="261"/>
                  </a:lnTo>
                  <a:lnTo>
                    <a:pt x="2814" y="272"/>
                  </a:lnTo>
                  <a:lnTo>
                    <a:pt x="2814" y="272"/>
                  </a:lnTo>
                  <a:lnTo>
                    <a:pt x="2809" y="280"/>
                  </a:lnTo>
                  <a:lnTo>
                    <a:pt x="2805" y="288"/>
                  </a:lnTo>
                  <a:lnTo>
                    <a:pt x="2802" y="297"/>
                  </a:lnTo>
                  <a:lnTo>
                    <a:pt x="2799" y="305"/>
                  </a:lnTo>
                  <a:lnTo>
                    <a:pt x="2796" y="320"/>
                  </a:lnTo>
                  <a:lnTo>
                    <a:pt x="2795" y="334"/>
                  </a:lnTo>
                  <a:lnTo>
                    <a:pt x="2795" y="347"/>
                  </a:lnTo>
                  <a:lnTo>
                    <a:pt x="2796" y="357"/>
                  </a:lnTo>
                  <a:lnTo>
                    <a:pt x="2798" y="365"/>
                  </a:lnTo>
                  <a:lnTo>
                    <a:pt x="2798" y="365"/>
                  </a:lnTo>
                  <a:lnTo>
                    <a:pt x="2792" y="354"/>
                  </a:lnTo>
                  <a:lnTo>
                    <a:pt x="2787" y="341"/>
                  </a:lnTo>
                  <a:lnTo>
                    <a:pt x="2778" y="327"/>
                  </a:lnTo>
                  <a:lnTo>
                    <a:pt x="2767" y="313"/>
                  </a:lnTo>
                  <a:lnTo>
                    <a:pt x="2761" y="306"/>
                  </a:lnTo>
                  <a:lnTo>
                    <a:pt x="2754" y="299"/>
                  </a:lnTo>
                  <a:lnTo>
                    <a:pt x="2746" y="292"/>
                  </a:lnTo>
                  <a:lnTo>
                    <a:pt x="2737" y="287"/>
                  </a:lnTo>
                  <a:lnTo>
                    <a:pt x="2729" y="283"/>
                  </a:lnTo>
                  <a:lnTo>
                    <a:pt x="2719" y="281"/>
                  </a:lnTo>
                  <a:lnTo>
                    <a:pt x="2719" y="281"/>
                  </a:lnTo>
                  <a:lnTo>
                    <a:pt x="2707" y="278"/>
                  </a:lnTo>
                  <a:lnTo>
                    <a:pt x="2694" y="278"/>
                  </a:lnTo>
                  <a:lnTo>
                    <a:pt x="2683" y="278"/>
                  </a:lnTo>
                  <a:lnTo>
                    <a:pt x="2672" y="279"/>
                  </a:lnTo>
                  <a:lnTo>
                    <a:pt x="2663" y="281"/>
                  </a:lnTo>
                  <a:lnTo>
                    <a:pt x="2653" y="284"/>
                  </a:lnTo>
                  <a:lnTo>
                    <a:pt x="2644" y="287"/>
                  </a:lnTo>
                  <a:lnTo>
                    <a:pt x="2637" y="291"/>
                  </a:lnTo>
                  <a:lnTo>
                    <a:pt x="2624" y="300"/>
                  </a:lnTo>
                  <a:lnTo>
                    <a:pt x="2615" y="307"/>
                  </a:lnTo>
                  <a:lnTo>
                    <a:pt x="2607" y="314"/>
                  </a:lnTo>
                  <a:lnTo>
                    <a:pt x="2607" y="314"/>
                  </a:lnTo>
                  <a:lnTo>
                    <a:pt x="2621" y="328"/>
                  </a:lnTo>
                  <a:lnTo>
                    <a:pt x="2632" y="343"/>
                  </a:lnTo>
                  <a:lnTo>
                    <a:pt x="2641" y="357"/>
                  </a:lnTo>
                  <a:lnTo>
                    <a:pt x="2648" y="371"/>
                  </a:lnTo>
                  <a:lnTo>
                    <a:pt x="2654" y="384"/>
                  </a:lnTo>
                  <a:lnTo>
                    <a:pt x="2659" y="398"/>
                  </a:lnTo>
                  <a:lnTo>
                    <a:pt x="2661" y="410"/>
                  </a:lnTo>
                  <a:lnTo>
                    <a:pt x="2662" y="421"/>
                  </a:lnTo>
                  <a:lnTo>
                    <a:pt x="2661" y="432"/>
                  </a:lnTo>
                  <a:lnTo>
                    <a:pt x="2659" y="442"/>
                  </a:lnTo>
                  <a:lnTo>
                    <a:pt x="2654" y="451"/>
                  </a:lnTo>
                  <a:lnTo>
                    <a:pt x="2649" y="458"/>
                  </a:lnTo>
                  <a:lnTo>
                    <a:pt x="2642" y="464"/>
                  </a:lnTo>
                  <a:lnTo>
                    <a:pt x="2635" y="469"/>
                  </a:lnTo>
                  <a:lnTo>
                    <a:pt x="2626" y="472"/>
                  </a:lnTo>
                  <a:lnTo>
                    <a:pt x="2616" y="473"/>
                  </a:lnTo>
                  <a:lnTo>
                    <a:pt x="2616" y="473"/>
                  </a:lnTo>
                  <a:lnTo>
                    <a:pt x="2601" y="473"/>
                  </a:lnTo>
                  <a:lnTo>
                    <a:pt x="2590" y="471"/>
                  </a:lnTo>
                  <a:lnTo>
                    <a:pt x="2580" y="467"/>
                  </a:lnTo>
                  <a:lnTo>
                    <a:pt x="2571" y="462"/>
                  </a:lnTo>
                  <a:lnTo>
                    <a:pt x="2562" y="456"/>
                  </a:lnTo>
                  <a:lnTo>
                    <a:pt x="2556" y="449"/>
                  </a:lnTo>
                  <a:lnTo>
                    <a:pt x="2551" y="441"/>
                  </a:lnTo>
                  <a:lnTo>
                    <a:pt x="2547" y="432"/>
                  </a:lnTo>
                  <a:lnTo>
                    <a:pt x="2543" y="424"/>
                  </a:lnTo>
                  <a:lnTo>
                    <a:pt x="2541" y="417"/>
                  </a:lnTo>
                  <a:lnTo>
                    <a:pt x="2538" y="403"/>
                  </a:lnTo>
                  <a:lnTo>
                    <a:pt x="2536" y="393"/>
                  </a:lnTo>
                  <a:lnTo>
                    <a:pt x="2536" y="390"/>
                  </a:lnTo>
                  <a:lnTo>
                    <a:pt x="2536" y="390"/>
                  </a:lnTo>
                  <a:lnTo>
                    <a:pt x="2534" y="392"/>
                  </a:lnTo>
                  <a:lnTo>
                    <a:pt x="2528" y="398"/>
                  </a:lnTo>
                  <a:lnTo>
                    <a:pt x="2518" y="405"/>
                  </a:lnTo>
                  <a:lnTo>
                    <a:pt x="2506" y="413"/>
                  </a:lnTo>
                  <a:lnTo>
                    <a:pt x="2499" y="416"/>
                  </a:lnTo>
                  <a:lnTo>
                    <a:pt x="2491" y="419"/>
                  </a:lnTo>
                  <a:lnTo>
                    <a:pt x="2483" y="420"/>
                  </a:lnTo>
                  <a:lnTo>
                    <a:pt x="2473" y="421"/>
                  </a:lnTo>
                  <a:lnTo>
                    <a:pt x="2464" y="421"/>
                  </a:lnTo>
                  <a:lnTo>
                    <a:pt x="2454" y="419"/>
                  </a:lnTo>
                  <a:lnTo>
                    <a:pt x="2444" y="415"/>
                  </a:lnTo>
                  <a:lnTo>
                    <a:pt x="2434" y="409"/>
                  </a:lnTo>
                  <a:lnTo>
                    <a:pt x="2434" y="409"/>
                  </a:lnTo>
                  <a:lnTo>
                    <a:pt x="2426" y="404"/>
                  </a:lnTo>
                  <a:lnTo>
                    <a:pt x="2419" y="397"/>
                  </a:lnTo>
                  <a:lnTo>
                    <a:pt x="2414" y="390"/>
                  </a:lnTo>
                  <a:lnTo>
                    <a:pt x="2410" y="381"/>
                  </a:lnTo>
                  <a:lnTo>
                    <a:pt x="2408" y="372"/>
                  </a:lnTo>
                  <a:lnTo>
                    <a:pt x="2407" y="363"/>
                  </a:lnTo>
                  <a:lnTo>
                    <a:pt x="2407" y="354"/>
                  </a:lnTo>
                  <a:lnTo>
                    <a:pt x="2410" y="345"/>
                  </a:lnTo>
                  <a:lnTo>
                    <a:pt x="2415" y="334"/>
                  </a:lnTo>
                  <a:lnTo>
                    <a:pt x="2421" y="325"/>
                  </a:lnTo>
                  <a:lnTo>
                    <a:pt x="2432" y="316"/>
                  </a:lnTo>
                  <a:lnTo>
                    <a:pt x="2443" y="308"/>
                  </a:lnTo>
                  <a:lnTo>
                    <a:pt x="2457" y="300"/>
                  </a:lnTo>
                  <a:lnTo>
                    <a:pt x="2474" y="292"/>
                  </a:lnTo>
                  <a:lnTo>
                    <a:pt x="2495" y="286"/>
                  </a:lnTo>
                  <a:lnTo>
                    <a:pt x="2518" y="280"/>
                  </a:lnTo>
                  <a:lnTo>
                    <a:pt x="2518" y="280"/>
                  </a:lnTo>
                  <a:lnTo>
                    <a:pt x="2517" y="275"/>
                  </a:lnTo>
                  <a:lnTo>
                    <a:pt x="2512" y="262"/>
                  </a:lnTo>
                  <a:lnTo>
                    <a:pt x="2509" y="253"/>
                  </a:lnTo>
                  <a:lnTo>
                    <a:pt x="2504" y="242"/>
                  </a:lnTo>
                  <a:lnTo>
                    <a:pt x="2499" y="232"/>
                  </a:lnTo>
                  <a:lnTo>
                    <a:pt x="2492" y="222"/>
                  </a:lnTo>
                  <a:lnTo>
                    <a:pt x="2484" y="213"/>
                  </a:lnTo>
                  <a:lnTo>
                    <a:pt x="2474" y="203"/>
                  </a:lnTo>
                  <a:lnTo>
                    <a:pt x="2464" y="196"/>
                  </a:lnTo>
                  <a:lnTo>
                    <a:pt x="2452" y="190"/>
                  </a:lnTo>
                  <a:lnTo>
                    <a:pt x="2446" y="188"/>
                  </a:lnTo>
                  <a:lnTo>
                    <a:pt x="2440" y="187"/>
                  </a:lnTo>
                  <a:lnTo>
                    <a:pt x="2433" y="186"/>
                  </a:lnTo>
                  <a:lnTo>
                    <a:pt x="2424" y="185"/>
                  </a:lnTo>
                  <a:lnTo>
                    <a:pt x="2417" y="186"/>
                  </a:lnTo>
                  <a:lnTo>
                    <a:pt x="2408" y="187"/>
                  </a:lnTo>
                  <a:lnTo>
                    <a:pt x="2400" y="190"/>
                  </a:lnTo>
                  <a:lnTo>
                    <a:pt x="2391" y="193"/>
                  </a:lnTo>
                  <a:lnTo>
                    <a:pt x="2391" y="193"/>
                  </a:lnTo>
                  <a:lnTo>
                    <a:pt x="2394" y="191"/>
                  </a:lnTo>
                  <a:lnTo>
                    <a:pt x="2398" y="188"/>
                  </a:lnTo>
                  <a:lnTo>
                    <a:pt x="2406" y="180"/>
                  </a:lnTo>
                  <a:lnTo>
                    <a:pt x="2415" y="168"/>
                  </a:lnTo>
                  <a:lnTo>
                    <a:pt x="2423" y="153"/>
                  </a:lnTo>
                  <a:lnTo>
                    <a:pt x="2427" y="144"/>
                  </a:lnTo>
                  <a:lnTo>
                    <a:pt x="2432" y="136"/>
                  </a:lnTo>
                  <a:lnTo>
                    <a:pt x="2435" y="127"/>
                  </a:lnTo>
                  <a:lnTo>
                    <a:pt x="2437" y="117"/>
                  </a:lnTo>
                  <a:lnTo>
                    <a:pt x="2438" y="106"/>
                  </a:lnTo>
                  <a:lnTo>
                    <a:pt x="2439" y="97"/>
                  </a:lnTo>
                  <a:lnTo>
                    <a:pt x="2438" y="86"/>
                  </a:lnTo>
                  <a:lnTo>
                    <a:pt x="2436" y="76"/>
                  </a:lnTo>
                  <a:lnTo>
                    <a:pt x="2436" y="76"/>
                  </a:lnTo>
                  <a:lnTo>
                    <a:pt x="2434" y="66"/>
                  </a:lnTo>
                  <a:lnTo>
                    <a:pt x="2429" y="57"/>
                  </a:lnTo>
                  <a:lnTo>
                    <a:pt x="2426" y="49"/>
                  </a:lnTo>
                  <a:lnTo>
                    <a:pt x="2422" y="41"/>
                  </a:lnTo>
                  <a:lnTo>
                    <a:pt x="2413" y="28"/>
                  </a:lnTo>
                  <a:lnTo>
                    <a:pt x="2404" y="17"/>
                  </a:lnTo>
                  <a:lnTo>
                    <a:pt x="2396" y="9"/>
                  </a:lnTo>
                  <a:lnTo>
                    <a:pt x="2389" y="4"/>
                  </a:lnTo>
                  <a:lnTo>
                    <a:pt x="2382" y="0"/>
                  </a:lnTo>
                  <a:lnTo>
                    <a:pt x="2279" y="593"/>
                  </a:lnTo>
                  <a:lnTo>
                    <a:pt x="2548" y="712"/>
                  </a:lnTo>
                  <a:lnTo>
                    <a:pt x="2548" y="712"/>
                  </a:lnTo>
                  <a:lnTo>
                    <a:pt x="2572" y="693"/>
                  </a:lnTo>
                  <a:lnTo>
                    <a:pt x="2594" y="677"/>
                  </a:lnTo>
                  <a:lnTo>
                    <a:pt x="2615" y="665"/>
                  </a:lnTo>
                  <a:lnTo>
                    <a:pt x="2633" y="656"/>
                  </a:lnTo>
                  <a:lnTo>
                    <a:pt x="2633" y="656"/>
                  </a:lnTo>
                  <a:lnTo>
                    <a:pt x="2646" y="650"/>
                  </a:lnTo>
                  <a:lnTo>
                    <a:pt x="2661" y="646"/>
                  </a:lnTo>
                  <a:lnTo>
                    <a:pt x="2675" y="642"/>
                  </a:lnTo>
                  <a:lnTo>
                    <a:pt x="2688" y="639"/>
                  </a:lnTo>
                  <a:lnTo>
                    <a:pt x="2702" y="637"/>
                  </a:lnTo>
                  <a:lnTo>
                    <a:pt x="2716" y="636"/>
                  </a:lnTo>
                  <a:lnTo>
                    <a:pt x="2729" y="635"/>
                  </a:lnTo>
                  <a:lnTo>
                    <a:pt x="2743" y="635"/>
                  </a:lnTo>
                  <a:lnTo>
                    <a:pt x="2757" y="636"/>
                  </a:lnTo>
                  <a:lnTo>
                    <a:pt x="2770" y="638"/>
                  </a:lnTo>
                  <a:lnTo>
                    <a:pt x="2783" y="640"/>
                  </a:lnTo>
                  <a:lnTo>
                    <a:pt x="2796" y="643"/>
                  </a:lnTo>
                  <a:lnTo>
                    <a:pt x="2821" y="650"/>
                  </a:lnTo>
                  <a:lnTo>
                    <a:pt x="2845" y="658"/>
                  </a:lnTo>
                  <a:lnTo>
                    <a:pt x="2845" y="658"/>
                  </a:lnTo>
                  <a:lnTo>
                    <a:pt x="2861" y="667"/>
                  </a:lnTo>
                  <a:lnTo>
                    <a:pt x="2875" y="675"/>
                  </a:lnTo>
                  <a:lnTo>
                    <a:pt x="2889" y="683"/>
                  </a:lnTo>
                  <a:lnTo>
                    <a:pt x="2900" y="691"/>
                  </a:lnTo>
                  <a:lnTo>
                    <a:pt x="2910" y="699"/>
                  </a:lnTo>
                  <a:lnTo>
                    <a:pt x="2918" y="709"/>
                  </a:lnTo>
                  <a:lnTo>
                    <a:pt x="2925" y="717"/>
                  </a:lnTo>
                  <a:lnTo>
                    <a:pt x="2932" y="726"/>
                  </a:lnTo>
                  <a:lnTo>
                    <a:pt x="2937" y="735"/>
                  </a:lnTo>
                  <a:lnTo>
                    <a:pt x="2941" y="743"/>
                  </a:lnTo>
                  <a:lnTo>
                    <a:pt x="2944" y="753"/>
                  </a:lnTo>
                  <a:lnTo>
                    <a:pt x="2947" y="761"/>
                  </a:lnTo>
                  <a:lnTo>
                    <a:pt x="2950" y="778"/>
                  </a:lnTo>
                  <a:lnTo>
                    <a:pt x="2952" y="793"/>
                  </a:lnTo>
                  <a:lnTo>
                    <a:pt x="2952" y="793"/>
                  </a:lnTo>
                  <a:lnTo>
                    <a:pt x="2951" y="804"/>
                  </a:lnTo>
                  <a:lnTo>
                    <a:pt x="2949" y="815"/>
                  </a:lnTo>
                  <a:lnTo>
                    <a:pt x="2946" y="827"/>
                  </a:lnTo>
                  <a:lnTo>
                    <a:pt x="2942" y="839"/>
                  </a:lnTo>
                  <a:lnTo>
                    <a:pt x="2933" y="863"/>
                  </a:lnTo>
                  <a:lnTo>
                    <a:pt x="2925" y="877"/>
                  </a:lnTo>
                  <a:lnTo>
                    <a:pt x="3120" y="962"/>
                  </a:lnTo>
                  <a:close/>
                  <a:moveTo>
                    <a:pt x="4480" y="887"/>
                  </a:moveTo>
                  <a:lnTo>
                    <a:pt x="4715" y="773"/>
                  </a:lnTo>
                  <a:lnTo>
                    <a:pt x="4477" y="674"/>
                  </a:lnTo>
                  <a:lnTo>
                    <a:pt x="4477" y="674"/>
                  </a:lnTo>
                  <a:lnTo>
                    <a:pt x="4404" y="675"/>
                  </a:lnTo>
                  <a:lnTo>
                    <a:pt x="4312" y="676"/>
                  </a:lnTo>
                  <a:lnTo>
                    <a:pt x="4201" y="675"/>
                  </a:lnTo>
                  <a:lnTo>
                    <a:pt x="4076" y="673"/>
                  </a:lnTo>
                  <a:lnTo>
                    <a:pt x="3783" y="667"/>
                  </a:lnTo>
                  <a:lnTo>
                    <a:pt x="3449" y="660"/>
                  </a:lnTo>
                  <a:lnTo>
                    <a:pt x="3252" y="916"/>
                  </a:lnTo>
                  <a:lnTo>
                    <a:pt x="3252" y="916"/>
                  </a:lnTo>
                  <a:lnTo>
                    <a:pt x="3986" y="900"/>
                  </a:lnTo>
                  <a:lnTo>
                    <a:pt x="4276" y="894"/>
                  </a:lnTo>
                  <a:lnTo>
                    <a:pt x="4480" y="887"/>
                  </a:lnTo>
                  <a:close/>
                  <a:moveTo>
                    <a:pt x="4171" y="2139"/>
                  </a:moveTo>
                  <a:lnTo>
                    <a:pt x="4171" y="2139"/>
                  </a:lnTo>
                  <a:lnTo>
                    <a:pt x="4105" y="2106"/>
                  </a:lnTo>
                  <a:lnTo>
                    <a:pt x="4042" y="2073"/>
                  </a:lnTo>
                  <a:lnTo>
                    <a:pt x="3983" y="2042"/>
                  </a:lnTo>
                  <a:lnTo>
                    <a:pt x="3954" y="2025"/>
                  </a:lnTo>
                  <a:lnTo>
                    <a:pt x="3926" y="2008"/>
                  </a:lnTo>
                  <a:lnTo>
                    <a:pt x="3900" y="1991"/>
                  </a:lnTo>
                  <a:lnTo>
                    <a:pt x="3875" y="1973"/>
                  </a:lnTo>
                  <a:lnTo>
                    <a:pt x="3852" y="1954"/>
                  </a:lnTo>
                  <a:lnTo>
                    <a:pt x="3829" y="1934"/>
                  </a:lnTo>
                  <a:lnTo>
                    <a:pt x="3809" y="1914"/>
                  </a:lnTo>
                  <a:lnTo>
                    <a:pt x="3789" y="1893"/>
                  </a:lnTo>
                  <a:lnTo>
                    <a:pt x="3772" y="1869"/>
                  </a:lnTo>
                  <a:lnTo>
                    <a:pt x="3756" y="1845"/>
                  </a:lnTo>
                  <a:lnTo>
                    <a:pt x="3756" y="1845"/>
                  </a:lnTo>
                  <a:lnTo>
                    <a:pt x="3750" y="1832"/>
                  </a:lnTo>
                  <a:lnTo>
                    <a:pt x="3743" y="1819"/>
                  </a:lnTo>
                  <a:lnTo>
                    <a:pt x="3738" y="1805"/>
                  </a:lnTo>
                  <a:lnTo>
                    <a:pt x="3733" y="1790"/>
                  </a:lnTo>
                  <a:lnTo>
                    <a:pt x="3729" y="1775"/>
                  </a:lnTo>
                  <a:lnTo>
                    <a:pt x="3726" y="1760"/>
                  </a:lnTo>
                  <a:lnTo>
                    <a:pt x="3723" y="1743"/>
                  </a:lnTo>
                  <a:lnTo>
                    <a:pt x="3721" y="1727"/>
                  </a:lnTo>
                  <a:lnTo>
                    <a:pt x="3720" y="1711"/>
                  </a:lnTo>
                  <a:lnTo>
                    <a:pt x="3719" y="1693"/>
                  </a:lnTo>
                  <a:lnTo>
                    <a:pt x="3719" y="1677"/>
                  </a:lnTo>
                  <a:lnTo>
                    <a:pt x="3720" y="1659"/>
                  </a:lnTo>
                  <a:lnTo>
                    <a:pt x="3721" y="1641"/>
                  </a:lnTo>
                  <a:lnTo>
                    <a:pt x="3724" y="1624"/>
                  </a:lnTo>
                  <a:lnTo>
                    <a:pt x="3726" y="1606"/>
                  </a:lnTo>
                  <a:lnTo>
                    <a:pt x="3730" y="1589"/>
                  </a:lnTo>
                  <a:lnTo>
                    <a:pt x="3734" y="1571"/>
                  </a:lnTo>
                  <a:lnTo>
                    <a:pt x="3740" y="1554"/>
                  </a:lnTo>
                  <a:lnTo>
                    <a:pt x="3745" y="1537"/>
                  </a:lnTo>
                  <a:lnTo>
                    <a:pt x="3753" y="1519"/>
                  </a:lnTo>
                  <a:lnTo>
                    <a:pt x="3761" y="1503"/>
                  </a:lnTo>
                  <a:lnTo>
                    <a:pt x="3769" y="1487"/>
                  </a:lnTo>
                  <a:lnTo>
                    <a:pt x="3778" y="1470"/>
                  </a:lnTo>
                  <a:lnTo>
                    <a:pt x="3788" y="1454"/>
                  </a:lnTo>
                  <a:lnTo>
                    <a:pt x="3800" y="1439"/>
                  </a:lnTo>
                  <a:lnTo>
                    <a:pt x="3812" y="1424"/>
                  </a:lnTo>
                  <a:lnTo>
                    <a:pt x="3824" y="1410"/>
                  </a:lnTo>
                  <a:lnTo>
                    <a:pt x="3839" y="1396"/>
                  </a:lnTo>
                  <a:lnTo>
                    <a:pt x="3853" y="1382"/>
                  </a:lnTo>
                  <a:lnTo>
                    <a:pt x="3868" y="1370"/>
                  </a:lnTo>
                  <a:lnTo>
                    <a:pt x="3885" y="1358"/>
                  </a:lnTo>
                  <a:lnTo>
                    <a:pt x="3902" y="1347"/>
                  </a:lnTo>
                  <a:lnTo>
                    <a:pt x="3902" y="1347"/>
                  </a:lnTo>
                  <a:lnTo>
                    <a:pt x="3910" y="1355"/>
                  </a:lnTo>
                  <a:lnTo>
                    <a:pt x="3917" y="1363"/>
                  </a:lnTo>
                  <a:lnTo>
                    <a:pt x="3922" y="1370"/>
                  </a:lnTo>
                  <a:lnTo>
                    <a:pt x="3927" y="1378"/>
                  </a:lnTo>
                  <a:lnTo>
                    <a:pt x="3936" y="1394"/>
                  </a:lnTo>
                  <a:lnTo>
                    <a:pt x="3941" y="1408"/>
                  </a:lnTo>
                  <a:lnTo>
                    <a:pt x="3944" y="1420"/>
                  </a:lnTo>
                  <a:lnTo>
                    <a:pt x="3946" y="1429"/>
                  </a:lnTo>
                  <a:lnTo>
                    <a:pt x="3946" y="1438"/>
                  </a:lnTo>
                  <a:lnTo>
                    <a:pt x="3946" y="1438"/>
                  </a:lnTo>
                  <a:lnTo>
                    <a:pt x="3966" y="1438"/>
                  </a:lnTo>
                  <a:lnTo>
                    <a:pt x="3991" y="1438"/>
                  </a:lnTo>
                  <a:lnTo>
                    <a:pt x="4044" y="1434"/>
                  </a:lnTo>
                  <a:lnTo>
                    <a:pt x="4098" y="1432"/>
                  </a:lnTo>
                  <a:lnTo>
                    <a:pt x="4123" y="1431"/>
                  </a:lnTo>
                  <a:lnTo>
                    <a:pt x="4143" y="1431"/>
                  </a:lnTo>
                  <a:lnTo>
                    <a:pt x="4143" y="1431"/>
                  </a:lnTo>
                  <a:lnTo>
                    <a:pt x="4144" y="1417"/>
                  </a:lnTo>
                  <a:lnTo>
                    <a:pt x="4144" y="1400"/>
                  </a:lnTo>
                  <a:lnTo>
                    <a:pt x="4143" y="1382"/>
                  </a:lnTo>
                  <a:lnTo>
                    <a:pt x="4141" y="1364"/>
                  </a:lnTo>
                  <a:lnTo>
                    <a:pt x="4138" y="1344"/>
                  </a:lnTo>
                  <a:lnTo>
                    <a:pt x="4133" y="1325"/>
                  </a:lnTo>
                  <a:lnTo>
                    <a:pt x="4126" y="1307"/>
                  </a:lnTo>
                  <a:lnTo>
                    <a:pt x="4121" y="1297"/>
                  </a:lnTo>
                  <a:lnTo>
                    <a:pt x="4116" y="1288"/>
                  </a:lnTo>
                  <a:lnTo>
                    <a:pt x="4116" y="1288"/>
                  </a:lnTo>
                  <a:lnTo>
                    <a:pt x="4134" y="1302"/>
                  </a:lnTo>
                  <a:lnTo>
                    <a:pt x="4150" y="1315"/>
                  </a:lnTo>
                  <a:lnTo>
                    <a:pt x="4165" y="1328"/>
                  </a:lnTo>
                  <a:lnTo>
                    <a:pt x="4172" y="1335"/>
                  </a:lnTo>
                  <a:lnTo>
                    <a:pt x="4178" y="1343"/>
                  </a:lnTo>
                  <a:lnTo>
                    <a:pt x="4184" y="1352"/>
                  </a:lnTo>
                  <a:lnTo>
                    <a:pt x="4189" y="1361"/>
                  </a:lnTo>
                  <a:lnTo>
                    <a:pt x="4194" y="1370"/>
                  </a:lnTo>
                  <a:lnTo>
                    <a:pt x="4198" y="1380"/>
                  </a:lnTo>
                  <a:lnTo>
                    <a:pt x="4203" y="1392"/>
                  </a:lnTo>
                  <a:lnTo>
                    <a:pt x="4206" y="1404"/>
                  </a:lnTo>
                  <a:lnTo>
                    <a:pt x="4209" y="1417"/>
                  </a:lnTo>
                  <a:lnTo>
                    <a:pt x="4212" y="1431"/>
                  </a:lnTo>
                  <a:lnTo>
                    <a:pt x="4212" y="1431"/>
                  </a:lnTo>
                  <a:lnTo>
                    <a:pt x="4390" y="1438"/>
                  </a:lnTo>
                  <a:lnTo>
                    <a:pt x="4390" y="1438"/>
                  </a:lnTo>
                  <a:lnTo>
                    <a:pt x="4390" y="1421"/>
                  </a:lnTo>
                  <a:lnTo>
                    <a:pt x="4389" y="1406"/>
                  </a:lnTo>
                  <a:lnTo>
                    <a:pt x="4386" y="1391"/>
                  </a:lnTo>
                  <a:lnTo>
                    <a:pt x="4381" y="1376"/>
                  </a:lnTo>
                  <a:lnTo>
                    <a:pt x="4376" y="1363"/>
                  </a:lnTo>
                  <a:lnTo>
                    <a:pt x="4370" y="1350"/>
                  </a:lnTo>
                  <a:lnTo>
                    <a:pt x="4362" y="1338"/>
                  </a:lnTo>
                  <a:lnTo>
                    <a:pt x="4353" y="1326"/>
                  </a:lnTo>
                  <a:lnTo>
                    <a:pt x="4353" y="1326"/>
                  </a:lnTo>
                  <a:lnTo>
                    <a:pt x="4370" y="1334"/>
                  </a:lnTo>
                  <a:lnTo>
                    <a:pt x="4388" y="1342"/>
                  </a:lnTo>
                  <a:lnTo>
                    <a:pt x="4403" y="1352"/>
                  </a:lnTo>
                  <a:lnTo>
                    <a:pt x="4418" y="1361"/>
                  </a:lnTo>
                  <a:lnTo>
                    <a:pt x="4433" y="1371"/>
                  </a:lnTo>
                  <a:lnTo>
                    <a:pt x="4447" y="1381"/>
                  </a:lnTo>
                  <a:lnTo>
                    <a:pt x="4459" y="1392"/>
                  </a:lnTo>
                  <a:lnTo>
                    <a:pt x="4471" y="1403"/>
                  </a:lnTo>
                  <a:lnTo>
                    <a:pt x="4483" y="1414"/>
                  </a:lnTo>
                  <a:lnTo>
                    <a:pt x="4494" y="1426"/>
                  </a:lnTo>
                  <a:lnTo>
                    <a:pt x="4504" y="1439"/>
                  </a:lnTo>
                  <a:lnTo>
                    <a:pt x="4513" y="1451"/>
                  </a:lnTo>
                  <a:lnTo>
                    <a:pt x="4522" y="1463"/>
                  </a:lnTo>
                  <a:lnTo>
                    <a:pt x="4530" y="1475"/>
                  </a:lnTo>
                  <a:lnTo>
                    <a:pt x="4544" y="1501"/>
                  </a:lnTo>
                  <a:lnTo>
                    <a:pt x="4556" y="1526"/>
                  </a:lnTo>
                  <a:lnTo>
                    <a:pt x="4567" y="1551"/>
                  </a:lnTo>
                  <a:lnTo>
                    <a:pt x="4574" y="1577"/>
                  </a:lnTo>
                  <a:lnTo>
                    <a:pt x="4580" y="1600"/>
                  </a:lnTo>
                  <a:lnTo>
                    <a:pt x="4584" y="1624"/>
                  </a:lnTo>
                  <a:lnTo>
                    <a:pt x="4587" y="1646"/>
                  </a:lnTo>
                  <a:lnTo>
                    <a:pt x="4588" y="1667"/>
                  </a:lnTo>
                  <a:lnTo>
                    <a:pt x="4588" y="1685"/>
                  </a:lnTo>
                  <a:lnTo>
                    <a:pt x="4588" y="1685"/>
                  </a:lnTo>
                  <a:lnTo>
                    <a:pt x="4588" y="1711"/>
                  </a:lnTo>
                  <a:lnTo>
                    <a:pt x="4587" y="1737"/>
                  </a:lnTo>
                  <a:lnTo>
                    <a:pt x="4583" y="1762"/>
                  </a:lnTo>
                  <a:lnTo>
                    <a:pt x="4578" y="1787"/>
                  </a:lnTo>
                  <a:lnTo>
                    <a:pt x="4571" y="1811"/>
                  </a:lnTo>
                  <a:lnTo>
                    <a:pt x="4562" y="1834"/>
                  </a:lnTo>
                  <a:lnTo>
                    <a:pt x="4553" y="1857"/>
                  </a:lnTo>
                  <a:lnTo>
                    <a:pt x="4542" y="1878"/>
                  </a:lnTo>
                  <a:lnTo>
                    <a:pt x="4530" y="1900"/>
                  </a:lnTo>
                  <a:lnTo>
                    <a:pt x="4515" y="1919"/>
                  </a:lnTo>
                  <a:lnTo>
                    <a:pt x="4501" y="1939"/>
                  </a:lnTo>
                  <a:lnTo>
                    <a:pt x="4485" y="1956"/>
                  </a:lnTo>
                  <a:lnTo>
                    <a:pt x="4468" y="1972"/>
                  </a:lnTo>
                  <a:lnTo>
                    <a:pt x="4450" y="1988"/>
                  </a:lnTo>
                  <a:lnTo>
                    <a:pt x="4432" y="2002"/>
                  </a:lnTo>
                  <a:lnTo>
                    <a:pt x="4412" y="2015"/>
                  </a:lnTo>
                  <a:lnTo>
                    <a:pt x="4412" y="2015"/>
                  </a:lnTo>
                  <a:lnTo>
                    <a:pt x="4377" y="2036"/>
                  </a:lnTo>
                  <a:lnTo>
                    <a:pt x="4345" y="2054"/>
                  </a:lnTo>
                  <a:lnTo>
                    <a:pt x="4313" y="2071"/>
                  </a:lnTo>
                  <a:lnTo>
                    <a:pt x="4282" y="2087"/>
                  </a:lnTo>
                  <a:lnTo>
                    <a:pt x="4225" y="2114"/>
                  </a:lnTo>
                  <a:lnTo>
                    <a:pt x="4171" y="2139"/>
                  </a:lnTo>
                  <a:close/>
                  <a:moveTo>
                    <a:pt x="3989" y="3389"/>
                  </a:moveTo>
                  <a:lnTo>
                    <a:pt x="3989" y="3389"/>
                  </a:lnTo>
                  <a:lnTo>
                    <a:pt x="3970" y="3382"/>
                  </a:lnTo>
                  <a:lnTo>
                    <a:pt x="3970" y="3382"/>
                  </a:lnTo>
                  <a:lnTo>
                    <a:pt x="3967" y="3380"/>
                  </a:lnTo>
                  <a:lnTo>
                    <a:pt x="3967" y="3380"/>
                  </a:lnTo>
                  <a:lnTo>
                    <a:pt x="3989" y="3389"/>
                  </a:lnTo>
                  <a:close/>
                  <a:moveTo>
                    <a:pt x="2262" y="1056"/>
                  </a:moveTo>
                  <a:lnTo>
                    <a:pt x="2262" y="1056"/>
                  </a:lnTo>
                  <a:lnTo>
                    <a:pt x="2262" y="1057"/>
                  </a:lnTo>
                  <a:lnTo>
                    <a:pt x="2261" y="1059"/>
                  </a:lnTo>
                  <a:lnTo>
                    <a:pt x="2257" y="1061"/>
                  </a:lnTo>
                  <a:lnTo>
                    <a:pt x="2251" y="1064"/>
                  </a:lnTo>
                  <a:lnTo>
                    <a:pt x="2241" y="1066"/>
                  </a:lnTo>
                  <a:lnTo>
                    <a:pt x="2219" y="1072"/>
                  </a:lnTo>
                  <a:lnTo>
                    <a:pt x="2191" y="1077"/>
                  </a:lnTo>
                  <a:lnTo>
                    <a:pt x="2164" y="1081"/>
                  </a:lnTo>
                  <a:lnTo>
                    <a:pt x="2138" y="1083"/>
                  </a:lnTo>
                  <a:lnTo>
                    <a:pt x="2120" y="1083"/>
                  </a:lnTo>
                  <a:lnTo>
                    <a:pt x="2113" y="1082"/>
                  </a:lnTo>
                  <a:lnTo>
                    <a:pt x="2109" y="1081"/>
                  </a:lnTo>
                  <a:lnTo>
                    <a:pt x="2109" y="1081"/>
                  </a:lnTo>
                  <a:lnTo>
                    <a:pt x="2106" y="1079"/>
                  </a:lnTo>
                  <a:lnTo>
                    <a:pt x="2104" y="1075"/>
                  </a:lnTo>
                  <a:lnTo>
                    <a:pt x="2101" y="1064"/>
                  </a:lnTo>
                  <a:lnTo>
                    <a:pt x="2098" y="1052"/>
                  </a:lnTo>
                  <a:lnTo>
                    <a:pt x="2096" y="1038"/>
                  </a:lnTo>
                  <a:lnTo>
                    <a:pt x="2096" y="1023"/>
                  </a:lnTo>
                  <a:lnTo>
                    <a:pt x="2096" y="1010"/>
                  </a:lnTo>
                  <a:lnTo>
                    <a:pt x="2097" y="1000"/>
                  </a:lnTo>
                  <a:lnTo>
                    <a:pt x="2098" y="995"/>
                  </a:lnTo>
                  <a:lnTo>
                    <a:pt x="2100" y="992"/>
                  </a:lnTo>
                  <a:lnTo>
                    <a:pt x="2100" y="992"/>
                  </a:lnTo>
                  <a:lnTo>
                    <a:pt x="2101" y="991"/>
                  </a:lnTo>
                  <a:lnTo>
                    <a:pt x="2103" y="989"/>
                  </a:lnTo>
                  <a:lnTo>
                    <a:pt x="2109" y="988"/>
                  </a:lnTo>
                  <a:lnTo>
                    <a:pt x="2118" y="987"/>
                  </a:lnTo>
                  <a:lnTo>
                    <a:pt x="2128" y="987"/>
                  </a:lnTo>
                  <a:lnTo>
                    <a:pt x="2139" y="988"/>
                  </a:lnTo>
                  <a:lnTo>
                    <a:pt x="2151" y="990"/>
                  </a:lnTo>
                  <a:lnTo>
                    <a:pt x="2165" y="993"/>
                  </a:lnTo>
                  <a:lnTo>
                    <a:pt x="2179" y="997"/>
                  </a:lnTo>
                  <a:lnTo>
                    <a:pt x="2192" y="1002"/>
                  </a:lnTo>
                  <a:lnTo>
                    <a:pt x="2206" y="1007"/>
                  </a:lnTo>
                  <a:lnTo>
                    <a:pt x="2219" y="1014"/>
                  </a:lnTo>
                  <a:lnTo>
                    <a:pt x="2231" y="1021"/>
                  </a:lnTo>
                  <a:lnTo>
                    <a:pt x="2241" y="1029"/>
                  </a:lnTo>
                  <a:lnTo>
                    <a:pt x="2251" y="1038"/>
                  </a:lnTo>
                  <a:lnTo>
                    <a:pt x="2258" y="1047"/>
                  </a:lnTo>
                  <a:lnTo>
                    <a:pt x="2260" y="1051"/>
                  </a:lnTo>
                  <a:lnTo>
                    <a:pt x="2262" y="1056"/>
                  </a:lnTo>
                  <a:close/>
                  <a:moveTo>
                    <a:pt x="4842" y="2915"/>
                  </a:moveTo>
                  <a:lnTo>
                    <a:pt x="4842" y="2915"/>
                  </a:lnTo>
                  <a:lnTo>
                    <a:pt x="4862" y="2919"/>
                  </a:lnTo>
                  <a:lnTo>
                    <a:pt x="4881" y="2921"/>
                  </a:lnTo>
                  <a:lnTo>
                    <a:pt x="4900" y="2922"/>
                  </a:lnTo>
                  <a:lnTo>
                    <a:pt x="4916" y="2921"/>
                  </a:lnTo>
                  <a:lnTo>
                    <a:pt x="4932" y="2919"/>
                  </a:lnTo>
                  <a:lnTo>
                    <a:pt x="4946" y="2916"/>
                  </a:lnTo>
                  <a:lnTo>
                    <a:pt x="4958" y="2911"/>
                  </a:lnTo>
                  <a:lnTo>
                    <a:pt x="4969" y="2905"/>
                  </a:lnTo>
                  <a:lnTo>
                    <a:pt x="4969" y="2905"/>
                  </a:lnTo>
                  <a:lnTo>
                    <a:pt x="4967" y="2879"/>
                  </a:lnTo>
                  <a:lnTo>
                    <a:pt x="4960" y="2819"/>
                  </a:lnTo>
                  <a:lnTo>
                    <a:pt x="4951" y="2746"/>
                  </a:lnTo>
                  <a:lnTo>
                    <a:pt x="4946" y="2714"/>
                  </a:lnTo>
                  <a:lnTo>
                    <a:pt x="4940" y="2686"/>
                  </a:lnTo>
                  <a:lnTo>
                    <a:pt x="4940" y="2686"/>
                  </a:lnTo>
                  <a:lnTo>
                    <a:pt x="4922" y="2689"/>
                  </a:lnTo>
                  <a:lnTo>
                    <a:pt x="4902" y="2692"/>
                  </a:lnTo>
                  <a:lnTo>
                    <a:pt x="4891" y="2692"/>
                  </a:lnTo>
                  <a:lnTo>
                    <a:pt x="4879" y="2692"/>
                  </a:lnTo>
                  <a:lnTo>
                    <a:pt x="4867" y="2691"/>
                  </a:lnTo>
                  <a:lnTo>
                    <a:pt x="4855" y="2689"/>
                  </a:lnTo>
                  <a:lnTo>
                    <a:pt x="4843" y="2686"/>
                  </a:lnTo>
                  <a:lnTo>
                    <a:pt x="4830" y="2682"/>
                  </a:lnTo>
                  <a:lnTo>
                    <a:pt x="4818" y="2677"/>
                  </a:lnTo>
                  <a:lnTo>
                    <a:pt x="4806" y="2670"/>
                  </a:lnTo>
                  <a:lnTo>
                    <a:pt x="4794" y="2660"/>
                  </a:lnTo>
                  <a:lnTo>
                    <a:pt x="4782" y="2650"/>
                  </a:lnTo>
                  <a:lnTo>
                    <a:pt x="4771" y="2638"/>
                  </a:lnTo>
                  <a:lnTo>
                    <a:pt x="4761" y="2624"/>
                  </a:lnTo>
                  <a:lnTo>
                    <a:pt x="4761" y="2624"/>
                  </a:lnTo>
                  <a:lnTo>
                    <a:pt x="4743" y="2595"/>
                  </a:lnTo>
                  <a:lnTo>
                    <a:pt x="4724" y="2567"/>
                  </a:lnTo>
                  <a:lnTo>
                    <a:pt x="4724" y="2567"/>
                  </a:lnTo>
                  <a:lnTo>
                    <a:pt x="4703" y="2539"/>
                  </a:lnTo>
                  <a:lnTo>
                    <a:pt x="4680" y="2511"/>
                  </a:lnTo>
                  <a:lnTo>
                    <a:pt x="4658" y="2485"/>
                  </a:lnTo>
                  <a:lnTo>
                    <a:pt x="4634" y="2459"/>
                  </a:lnTo>
                  <a:lnTo>
                    <a:pt x="4611" y="2435"/>
                  </a:lnTo>
                  <a:lnTo>
                    <a:pt x="4586" y="2412"/>
                  </a:lnTo>
                  <a:lnTo>
                    <a:pt x="4562" y="2389"/>
                  </a:lnTo>
                  <a:lnTo>
                    <a:pt x="4538" y="2369"/>
                  </a:lnTo>
                  <a:lnTo>
                    <a:pt x="4513" y="2349"/>
                  </a:lnTo>
                  <a:lnTo>
                    <a:pt x="4489" y="2329"/>
                  </a:lnTo>
                  <a:lnTo>
                    <a:pt x="4463" y="2311"/>
                  </a:lnTo>
                  <a:lnTo>
                    <a:pt x="4439" y="2292"/>
                  </a:lnTo>
                  <a:lnTo>
                    <a:pt x="4413" y="2276"/>
                  </a:lnTo>
                  <a:lnTo>
                    <a:pt x="4389" y="2260"/>
                  </a:lnTo>
                  <a:lnTo>
                    <a:pt x="4337" y="2228"/>
                  </a:lnTo>
                  <a:lnTo>
                    <a:pt x="4337" y="2228"/>
                  </a:lnTo>
                  <a:lnTo>
                    <a:pt x="4381" y="2205"/>
                  </a:lnTo>
                  <a:lnTo>
                    <a:pt x="4422" y="2183"/>
                  </a:lnTo>
                  <a:lnTo>
                    <a:pt x="4459" y="2160"/>
                  </a:lnTo>
                  <a:lnTo>
                    <a:pt x="4492" y="2139"/>
                  </a:lnTo>
                  <a:lnTo>
                    <a:pt x="4523" y="2117"/>
                  </a:lnTo>
                  <a:lnTo>
                    <a:pt x="4549" y="2096"/>
                  </a:lnTo>
                  <a:lnTo>
                    <a:pt x="4574" y="2076"/>
                  </a:lnTo>
                  <a:lnTo>
                    <a:pt x="4595" y="2055"/>
                  </a:lnTo>
                  <a:lnTo>
                    <a:pt x="4615" y="2036"/>
                  </a:lnTo>
                  <a:lnTo>
                    <a:pt x="4632" y="2017"/>
                  </a:lnTo>
                  <a:lnTo>
                    <a:pt x="4647" y="1999"/>
                  </a:lnTo>
                  <a:lnTo>
                    <a:pt x="4661" y="1981"/>
                  </a:lnTo>
                  <a:lnTo>
                    <a:pt x="4673" y="1965"/>
                  </a:lnTo>
                  <a:lnTo>
                    <a:pt x="4683" y="1950"/>
                  </a:lnTo>
                  <a:lnTo>
                    <a:pt x="4700" y="1922"/>
                  </a:lnTo>
                  <a:lnTo>
                    <a:pt x="4700" y="1922"/>
                  </a:lnTo>
                  <a:lnTo>
                    <a:pt x="4708" y="1910"/>
                  </a:lnTo>
                  <a:lnTo>
                    <a:pt x="4714" y="1896"/>
                  </a:lnTo>
                  <a:lnTo>
                    <a:pt x="4721" y="1880"/>
                  </a:lnTo>
                  <a:lnTo>
                    <a:pt x="4727" y="1864"/>
                  </a:lnTo>
                  <a:lnTo>
                    <a:pt x="4733" y="1845"/>
                  </a:lnTo>
                  <a:lnTo>
                    <a:pt x="4739" y="1826"/>
                  </a:lnTo>
                  <a:lnTo>
                    <a:pt x="4743" y="1806"/>
                  </a:lnTo>
                  <a:lnTo>
                    <a:pt x="4749" y="1785"/>
                  </a:lnTo>
                  <a:lnTo>
                    <a:pt x="4753" y="1763"/>
                  </a:lnTo>
                  <a:lnTo>
                    <a:pt x="4756" y="1740"/>
                  </a:lnTo>
                  <a:lnTo>
                    <a:pt x="4758" y="1716"/>
                  </a:lnTo>
                  <a:lnTo>
                    <a:pt x="4759" y="1692"/>
                  </a:lnTo>
                  <a:lnTo>
                    <a:pt x="4760" y="1667"/>
                  </a:lnTo>
                  <a:lnTo>
                    <a:pt x="4759" y="1642"/>
                  </a:lnTo>
                  <a:lnTo>
                    <a:pt x="4758" y="1616"/>
                  </a:lnTo>
                  <a:lnTo>
                    <a:pt x="4755" y="1590"/>
                  </a:lnTo>
                  <a:lnTo>
                    <a:pt x="4751" y="1564"/>
                  </a:lnTo>
                  <a:lnTo>
                    <a:pt x="4745" y="1538"/>
                  </a:lnTo>
                  <a:lnTo>
                    <a:pt x="4738" y="1511"/>
                  </a:lnTo>
                  <a:lnTo>
                    <a:pt x="4730" y="1486"/>
                  </a:lnTo>
                  <a:lnTo>
                    <a:pt x="4720" y="1459"/>
                  </a:lnTo>
                  <a:lnTo>
                    <a:pt x="4709" y="1433"/>
                  </a:lnTo>
                  <a:lnTo>
                    <a:pt x="4695" y="1408"/>
                  </a:lnTo>
                  <a:lnTo>
                    <a:pt x="4681" y="1383"/>
                  </a:lnTo>
                  <a:lnTo>
                    <a:pt x="4665" y="1359"/>
                  </a:lnTo>
                  <a:lnTo>
                    <a:pt x="4646" y="1334"/>
                  </a:lnTo>
                  <a:lnTo>
                    <a:pt x="4625" y="1311"/>
                  </a:lnTo>
                  <a:lnTo>
                    <a:pt x="4602" y="1288"/>
                  </a:lnTo>
                  <a:lnTo>
                    <a:pt x="4578" y="1267"/>
                  </a:lnTo>
                  <a:lnTo>
                    <a:pt x="4551" y="1246"/>
                  </a:lnTo>
                  <a:lnTo>
                    <a:pt x="4522" y="1227"/>
                  </a:lnTo>
                  <a:lnTo>
                    <a:pt x="4490" y="1207"/>
                  </a:lnTo>
                  <a:lnTo>
                    <a:pt x="4490" y="1207"/>
                  </a:lnTo>
                  <a:lnTo>
                    <a:pt x="4466" y="1195"/>
                  </a:lnTo>
                  <a:lnTo>
                    <a:pt x="4443" y="1184"/>
                  </a:lnTo>
                  <a:lnTo>
                    <a:pt x="4419" y="1174"/>
                  </a:lnTo>
                  <a:lnTo>
                    <a:pt x="4396" y="1165"/>
                  </a:lnTo>
                  <a:lnTo>
                    <a:pt x="4372" y="1156"/>
                  </a:lnTo>
                  <a:lnTo>
                    <a:pt x="4348" y="1149"/>
                  </a:lnTo>
                  <a:lnTo>
                    <a:pt x="4325" y="1143"/>
                  </a:lnTo>
                  <a:lnTo>
                    <a:pt x="4302" y="1138"/>
                  </a:lnTo>
                  <a:lnTo>
                    <a:pt x="4278" y="1133"/>
                  </a:lnTo>
                  <a:lnTo>
                    <a:pt x="4256" y="1130"/>
                  </a:lnTo>
                  <a:lnTo>
                    <a:pt x="4233" y="1127"/>
                  </a:lnTo>
                  <a:lnTo>
                    <a:pt x="4211" y="1125"/>
                  </a:lnTo>
                  <a:lnTo>
                    <a:pt x="4188" y="1123"/>
                  </a:lnTo>
                  <a:lnTo>
                    <a:pt x="4167" y="1123"/>
                  </a:lnTo>
                  <a:lnTo>
                    <a:pt x="4145" y="1123"/>
                  </a:lnTo>
                  <a:lnTo>
                    <a:pt x="4124" y="1123"/>
                  </a:lnTo>
                  <a:lnTo>
                    <a:pt x="4083" y="1126"/>
                  </a:lnTo>
                  <a:lnTo>
                    <a:pt x="4044" y="1130"/>
                  </a:lnTo>
                  <a:lnTo>
                    <a:pt x="4007" y="1136"/>
                  </a:lnTo>
                  <a:lnTo>
                    <a:pt x="3973" y="1144"/>
                  </a:lnTo>
                  <a:lnTo>
                    <a:pt x="3941" y="1152"/>
                  </a:lnTo>
                  <a:lnTo>
                    <a:pt x="3912" y="1161"/>
                  </a:lnTo>
                  <a:lnTo>
                    <a:pt x="3887" y="1172"/>
                  </a:lnTo>
                  <a:lnTo>
                    <a:pt x="3864" y="1181"/>
                  </a:lnTo>
                  <a:lnTo>
                    <a:pt x="3864" y="1181"/>
                  </a:lnTo>
                  <a:lnTo>
                    <a:pt x="3844" y="1191"/>
                  </a:lnTo>
                  <a:lnTo>
                    <a:pt x="3824" y="1201"/>
                  </a:lnTo>
                  <a:lnTo>
                    <a:pt x="3806" y="1213"/>
                  </a:lnTo>
                  <a:lnTo>
                    <a:pt x="3787" y="1224"/>
                  </a:lnTo>
                  <a:lnTo>
                    <a:pt x="3769" y="1237"/>
                  </a:lnTo>
                  <a:lnTo>
                    <a:pt x="3752" y="1249"/>
                  </a:lnTo>
                  <a:lnTo>
                    <a:pt x="3735" y="1264"/>
                  </a:lnTo>
                  <a:lnTo>
                    <a:pt x="3719" y="1278"/>
                  </a:lnTo>
                  <a:lnTo>
                    <a:pt x="3703" y="1293"/>
                  </a:lnTo>
                  <a:lnTo>
                    <a:pt x="3687" y="1309"/>
                  </a:lnTo>
                  <a:lnTo>
                    <a:pt x="3673" y="1325"/>
                  </a:lnTo>
                  <a:lnTo>
                    <a:pt x="3659" y="1341"/>
                  </a:lnTo>
                  <a:lnTo>
                    <a:pt x="3645" y="1359"/>
                  </a:lnTo>
                  <a:lnTo>
                    <a:pt x="3633" y="1377"/>
                  </a:lnTo>
                  <a:lnTo>
                    <a:pt x="3621" y="1396"/>
                  </a:lnTo>
                  <a:lnTo>
                    <a:pt x="3609" y="1415"/>
                  </a:lnTo>
                  <a:lnTo>
                    <a:pt x="3599" y="1434"/>
                  </a:lnTo>
                  <a:lnTo>
                    <a:pt x="3589" y="1455"/>
                  </a:lnTo>
                  <a:lnTo>
                    <a:pt x="3581" y="1475"/>
                  </a:lnTo>
                  <a:lnTo>
                    <a:pt x="3573" y="1497"/>
                  </a:lnTo>
                  <a:lnTo>
                    <a:pt x="3565" y="1518"/>
                  </a:lnTo>
                  <a:lnTo>
                    <a:pt x="3559" y="1541"/>
                  </a:lnTo>
                  <a:lnTo>
                    <a:pt x="3554" y="1563"/>
                  </a:lnTo>
                  <a:lnTo>
                    <a:pt x="3550" y="1586"/>
                  </a:lnTo>
                  <a:lnTo>
                    <a:pt x="3547" y="1609"/>
                  </a:lnTo>
                  <a:lnTo>
                    <a:pt x="3545" y="1634"/>
                  </a:lnTo>
                  <a:lnTo>
                    <a:pt x="3544" y="1658"/>
                  </a:lnTo>
                  <a:lnTo>
                    <a:pt x="3543" y="1683"/>
                  </a:lnTo>
                  <a:lnTo>
                    <a:pt x="3544" y="1708"/>
                  </a:lnTo>
                  <a:lnTo>
                    <a:pt x="3546" y="1734"/>
                  </a:lnTo>
                  <a:lnTo>
                    <a:pt x="3550" y="1760"/>
                  </a:lnTo>
                  <a:lnTo>
                    <a:pt x="3554" y="1786"/>
                  </a:lnTo>
                  <a:lnTo>
                    <a:pt x="3554" y="1786"/>
                  </a:lnTo>
                  <a:lnTo>
                    <a:pt x="3559" y="1810"/>
                  </a:lnTo>
                  <a:lnTo>
                    <a:pt x="3564" y="1831"/>
                  </a:lnTo>
                  <a:lnTo>
                    <a:pt x="3571" y="1853"/>
                  </a:lnTo>
                  <a:lnTo>
                    <a:pt x="3577" y="1873"/>
                  </a:lnTo>
                  <a:lnTo>
                    <a:pt x="3585" y="1893"/>
                  </a:lnTo>
                  <a:lnTo>
                    <a:pt x="3592" y="1911"/>
                  </a:lnTo>
                  <a:lnTo>
                    <a:pt x="3601" y="1929"/>
                  </a:lnTo>
                  <a:lnTo>
                    <a:pt x="3610" y="1947"/>
                  </a:lnTo>
                  <a:lnTo>
                    <a:pt x="3620" y="1963"/>
                  </a:lnTo>
                  <a:lnTo>
                    <a:pt x="3631" y="1978"/>
                  </a:lnTo>
                  <a:lnTo>
                    <a:pt x="3641" y="1994"/>
                  </a:lnTo>
                  <a:lnTo>
                    <a:pt x="3652" y="2009"/>
                  </a:lnTo>
                  <a:lnTo>
                    <a:pt x="3665" y="2023"/>
                  </a:lnTo>
                  <a:lnTo>
                    <a:pt x="3677" y="2037"/>
                  </a:lnTo>
                  <a:lnTo>
                    <a:pt x="3690" y="2050"/>
                  </a:lnTo>
                  <a:lnTo>
                    <a:pt x="3704" y="2062"/>
                  </a:lnTo>
                  <a:lnTo>
                    <a:pt x="3732" y="2087"/>
                  </a:lnTo>
                  <a:lnTo>
                    <a:pt x="3763" y="2109"/>
                  </a:lnTo>
                  <a:lnTo>
                    <a:pt x="3795" y="2131"/>
                  </a:lnTo>
                  <a:lnTo>
                    <a:pt x="3828" y="2151"/>
                  </a:lnTo>
                  <a:lnTo>
                    <a:pt x="3863" y="2172"/>
                  </a:lnTo>
                  <a:lnTo>
                    <a:pt x="3899" y="2191"/>
                  </a:lnTo>
                  <a:lnTo>
                    <a:pt x="3976" y="2229"/>
                  </a:lnTo>
                  <a:lnTo>
                    <a:pt x="3976" y="2229"/>
                  </a:lnTo>
                  <a:lnTo>
                    <a:pt x="3945" y="2246"/>
                  </a:lnTo>
                  <a:lnTo>
                    <a:pt x="3916" y="2263"/>
                  </a:lnTo>
                  <a:lnTo>
                    <a:pt x="3890" y="2280"/>
                  </a:lnTo>
                  <a:lnTo>
                    <a:pt x="3864" y="2298"/>
                  </a:lnTo>
                  <a:lnTo>
                    <a:pt x="3840" y="2318"/>
                  </a:lnTo>
                  <a:lnTo>
                    <a:pt x="3817" y="2337"/>
                  </a:lnTo>
                  <a:lnTo>
                    <a:pt x="3797" y="2358"/>
                  </a:lnTo>
                  <a:lnTo>
                    <a:pt x="3778" y="2379"/>
                  </a:lnTo>
                  <a:lnTo>
                    <a:pt x="3761" y="2403"/>
                  </a:lnTo>
                  <a:lnTo>
                    <a:pt x="3754" y="2415"/>
                  </a:lnTo>
                  <a:lnTo>
                    <a:pt x="3746" y="2427"/>
                  </a:lnTo>
                  <a:lnTo>
                    <a:pt x="3739" y="2440"/>
                  </a:lnTo>
                  <a:lnTo>
                    <a:pt x="3733" y="2453"/>
                  </a:lnTo>
                  <a:lnTo>
                    <a:pt x="3728" y="2466"/>
                  </a:lnTo>
                  <a:lnTo>
                    <a:pt x="3723" y="2480"/>
                  </a:lnTo>
                  <a:lnTo>
                    <a:pt x="3718" y="2495"/>
                  </a:lnTo>
                  <a:lnTo>
                    <a:pt x="3714" y="2510"/>
                  </a:lnTo>
                  <a:lnTo>
                    <a:pt x="3711" y="2525"/>
                  </a:lnTo>
                  <a:lnTo>
                    <a:pt x="3708" y="2541"/>
                  </a:lnTo>
                  <a:lnTo>
                    <a:pt x="3706" y="2557"/>
                  </a:lnTo>
                  <a:lnTo>
                    <a:pt x="3705" y="2574"/>
                  </a:lnTo>
                  <a:lnTo>
                    <a:pt x="3704" y="2592"/>
                  </a:lnTo>
                  <a:lnTo>
                    <a:pt x="3703" y="2609"/>
                  </a:lnTo>
                  <a:lnTo>
                    <a:pt x="3703" y="2609"/>
                  </a:lnTo>
                  <a:lnTo>
                    <a:pt x="3704" y="2632"/>
                  </a:lnTo>
                  <a:lnTo>
                    <a:pt x="3707" y="2655"/>
                  </a:lnTo>
                  <a:lnTo>
                    <a:pt x="3711" y="2678"/>
                  </a:lnTo>
                  <a:lnTo>
                    <a:pt x="3716" y="2701"/>
                  </a:lnTo>
                  <a:lnTo>
                    <a:pt x="3729" y="2749"/>
                  </a:lnTo>
                  <a:lnTo>
                    <a:pt x="3736" y="2775"/>
                  </a:lnTo>
                  <a:lnTo>
                    <a:pt x="3742" y="2801"/>
                  </a:lnTo>
                  <a:lnTo>
                    <a:pt x="3749" y="2830"/>
                  </a:lnTo>
                  <a:lnTo>
                    <a:pt x="3753" y="2859"/>
                  </a:lnTo>
                  <a:lnTo>
                    <a:pt x="3757" y="2889"/>
                  </a:lnTo>
                  <a:lnTo>
                    <a:pt x="3758" y="2922"/>
                  </a:lnTo>
                  <a:lnTo>
                    <a:pt x="3758" y="2957"/>
                  </a:lnTo>
                  <a:lnTo>
                    <a:pt x="3757" y="2975"/>
                  </a:lnTo>
                  <a:lnTo>
                    <a:pt x="3755" y="2994"/>
                  </a:lnTo>
                  <a:lnTo>
                    <a:pt x="3753" y="3012"/>
                  </a:lnTo>
                  <a:lnTo>
                    <a:pt x="3750" y="3033"/>
                  </a:lnTo>
                  <a:lnTo>
                    <a:pt x="3745" y="3053"/>
                  </a:lnTo>
                  <a:lnTo>
                    <a:pt x="3741" y="3073"/>
                  </a:lnTo>
                  <a:lnTo>
                    <a:pt x="3741" y="3073"/>
                  </a:lnTo>
                  <a:lnTo>
                    <a:pt x="3741" y="3075"/>
                  </a:lnTo>
                  <a:lnTo>
                    <a:pt x="3741" y="3076"/>
                  </a:lnTo>
                  <a:lnTo>
                    <a:pt x="3743" y="3076"/>
                  </a:lnTo>
                  <a:lnTo>
                    <a:pt x="3745" y="3078"/>
                  </a:lnTo>
                  <a:lnTo>
                    <a:pt x="3753" y="3075"/>
                  </a:lnTo>
                  <a:lnTo>
                    <a:pt x="3762" y="3073"/>
                  </a:lnTo>
                  <a:lnTo>
                    <a:pt x="3785" y="3063"/>
                  </a:lnTo>
                  <a:lnTo>
                    <a:pt x="3814" y="3051"/>
                  </a:lnTo>
                  <a:lnTo>
                    <a:pt x="3842" y="3036"/>
                  </a:lnTo>
                  <a:lnTo>
                    <a:pt x="3867" y="3022"/>
                  </a:lnTo>
                  <a:lnTo>
                    <a:pt x="3886" y="3011"/>
                  </a:lnTo>
                  <a:lnTo>
                    <a:pt x="3891" y="3007"/>
                  </a:lnTo>
                  <a:lnTo>
                    <a:pt x="3894" y="3005"/>
                  </a:lnTo>
                  <a:lnTo>
                    <a:pt x="3894" y="3005"/>
                  </a:lnTo>
                  <a:lnTo>
                    <a:pt x="3903" y="2981"/>
                  </a:lnTo>
                  <a:lnTo>
                    <a:pt x="3910" y="2958"/>
                  </a:lnTo>
                  <a:lnTo>
                    <a:pt x="3916" y="2934"/>
                  </a:lnTo>
                  <a:lnTo>
                    <a:pt x="3921" y="2910"/>
                  </a:lnTo>
                  <a:lnTo>
                    <a:pt x="3925" y="2886"/>
                  </a:lnTo>
                  <a:lnTo>
                    <a:pt x="3928" y="2863"/>
                  </a:lnTo>
                  <a:lnTo>
                    <a:pt x="3930" y="2840"/>
                  </a:lnTo>
                  <a:lnTo>
                    <a:pt x="3932" y="2818"/>
                  </a:lnTo>
                  <a:lnTo>
                    <a:pt x="3932" y="2779"/>
                  </a:lnTo>
                  <a:lnTo>
                    <a:pt x="3931" y="2748"/>
                  </a:lnTo>
                  <a:lnTo>
                    <a:pt x="3928" y="2721"/>
                  </a:lnTo>
                  <a:lnTo>
                    <a:pt x="3928" y="2721"/>
                  </a:lnTo>
                  <a:lnTo>
                    <a:pt x="3939" y="2730"/>
                  </a:lnTo>
                  <a:lnTo>
                    <a:pt x="3947" y="2741"/>
                  </a:lnTo>
                  <a:lnTo>
                    <a:pt x="3954" y="2753"/>
                  </a:lnTo>
                  <a:lnTo>
                    <a:pt x="3960" y="2767"/>
                  </a:lnTo>
                  <a:lnTo>
                    <a:pt x="3964" y="2782"/>
                  </a:lnTo>
                  <a:lnTo>
                    <a:pt x="3968" y="2797"/>
                  </a:lnTo>
                  <a:lnTo>
                    <a:pt x="3971" y="2814"/>
                  </a:lnTo>
                  <a:lnTo>
                    <a:pt x="3973" y="2830"/>
                  </a:lnTo>
                  <a:lnTo>
                    <a:pt x="3975" y="2847"/>
                  </a:lnTo>
                  <a:lnTo>
                    <a:pt x="3976" y="2865"/>
                  </a:lnTo>
                  <a:lnTo>
                    <a:pt x="3976" y="2881"/>
                  </a:lnTo>
                  <a:lnTo>
                    <a:pt x="3975" y="2899"/>
                  </a:lnTo>
                  <a:lnTo>
                    <a:pt x="3971" y="2930"/>
                  </a:lnTo>
                  <a:lnTo>
                    <a:pt x="3965" y="2959"/>
                  </a:lnTo>
                  <a:lnTo>
                    <a:pt x="3965" y="2959"/>
                  </a:lnTo>
                  <a:lnTo>
                    <a:pt x="3982" y="2950"/>
                  </a:lnTo>
                  <a:lnTo>
                    <a:pt x="3998" y="2938"/>
                  </a:lnTo>
                  <a:lnTo>
                    <a:pt x="4016" y="2925"/>
                  </a:lnTo>
                  <a:lnTo>
                    <a:pt x="4036" y="2911"/>
                  </a:lnTo>
                  <a:lnTo>
                    <a:pt x="4053" y="2896"/>
                  </a:lnTo>
                  <a:lnTo>
                    <a:pt x="4061" y="2888"/>
                  </a:lnTo>
                  <a:lnTo>
                    <a:pt x="4068" y="2881"/>
                  </a:lnTo>
                  <a:lnTo>
                    <a:pt x="4072" y="2874"/>
                  </a:lnTo>
                  <a:lnTo>
                    <a:pt x="4075" y="2868"/>
                  </a:lnTo>
                  <a:lnTo>
                    <a:pt x="4075" y="2868"/>
                  </a:lnTo>
                  <a:lnTo>
                    <a:pt x="4083" y="2838"/>
                  </a:lnTo>
                  <a:lnTo>
                    <a:pt x="4090" y="2810"/>
                  </a:lnTo>
                  <a:lnTo>
                    <a:pt x="4094" y="2783"/>
                  </a:lnTo>
                  <a:lnTo>
                    <a:pt x="4096" y="2757"/>
                  </a:lnTo>
                  <a:lnTo>
                    <a:pt x="4096" y="2733"/>
                  </a:lnTo>
                  <a:lnTo>
                    <a:pt x="4095" y="2709"/>
                  </a:lnTo>
                  <a:lnTo>
                    <a:pt x="4093" y="2687"/>
                  </a:lnTo>
                  <a:lnTo>
                    <a:pt x="4090" y="2665"/>
                  </a:lnTo>
                  <a:lnTo>
                    <a:pt x="4085" y="2645"/>
                  </a:lnTo>
                  <a:lnTo>
                    <a:pt x="4080" y="2626"/>
                  </a:lnTo>
                  <a:lnTo>
                    <a:pt x="4075" y="2607"/>
                  </a:lnTo>
                  <a:lnTo>
                    <a:pt x="4069" y="2590"/>
                  </a:lnTo>
                  <a:lnTo>
                    <a:pt x="4055" y="2556"/>
                  </a:lnTo>
                  <a:lnTo>
                    <a:pt x="4043" y="2524"/>
                  </a:lnTo>
                  <a:lnTo>
                    <a:pt x="4043" y="2524"/>
                  </a:lnTo>
                  <a:lnTo>
                    <a:pt x="4038" y="2509"/>
                  </a:lnTo>
                  <a:lnTo>
                    <a:pt x="4035" y="2494"/>
                  </a:lnTo>
                  <a:lnTo>
                    <a:pt x="4034" y="2479"/>
                  </a:lnTo>
                  <a:lnTo>
                    <a:pt x="4035" y="2464"/>
                  </a:lnTo>
                  <a:lnTo>
                    <a:pt x="4037" y="2450"/>
                  </a:lnTo>
                  <a:lnTo>
                    <a:pt x="4041" y="2435"/>
                  </a:lnTo>
                  <a:lnTo>
                    <a:pt x="4046" y="2421"/>
                  </a:lnTo>
                  <a:lnTo>
                    <a:pt x="4053" y="2408"/>
                  </a:lnTo>
                  <a:lnTo>
                    <a:pt x="4061" y="2395"/>
                  </a:lnTo>
                  <a:lnTo>
                    <a:pt x="4071" y="2381"/>
                  </a:lnTo>
                  <a:lnTo>
                    <a:pt x="4081" y="2369"/>
                  </a:lnTo>
                  <a:lnTo>
                    <a:pt x="4092" y="2358"/>
                  </a:lnTo>
                  <a:lnTo>
                    <a:pt x="4103" y="2346"/>
                  </a:lnTo>
                  <a:lnTo>
                    <a:pt x="4117" y="2335"/>
                  </a:lnTo>
                  <a:lnTo>
                    <a:pt x="4130" y="2326"/>
                  </a:lnTo>
                  <a:lnTo>
                    <a:pt x="4145" y="2317"/>
                  </a:lnTo>
                  <a:lnTo>
                    <a:pt x="4145" y="2317"/>
                  </a:lnTo>
                  <a:lnTo>
                    <a:pt x="4180" y="2336"/>
                  </a:lnTo>
                  <a:lnTo>
                    <a:pt x="4215" y="2357"/>
                  </a:lnTo>
                  <a:lnTo>
                    <a:pt x="4251" y="2378"/>
                  </a:lnTo>
                  <a:lnTo>
                    <a:pt x="4286" y="2402"/>
                  </a:lnTo>
                  <a:lnTo>
                    <a:pt x="4286" y="2402"/>
                  </a:lnTo>
                  <a:lnTo>
                    <a:pt x="4307" y="2416"/>
                  </a:lnTo>
                  <a:lnTo>
                    <a:pt x="4341" y="2441"/>
                  </a:lnTo>
                  <a:lnTo>
                    <a:pt x="4361" y="2456"/>
                  </a:lnTo>
                  <a:lnTo>
                    <a:pt x="4382" y="2474"/>
                  </a:lnTo>
                  <a:lnTo>
                    <a:pt x="4405" y="2494"/>
                  </a:lnTo>
                  <a:lnTo>
                    <a:pt x="4430" y="2515"/>
                  </a:lnTo>
                  <a:lnTo>
                    <a:pt x="4453" y="2539"/>
                  </a:lnTo>
                  <a:lnTo>
                    <a:pt x="4478" y="2563"/>
                  </a:lnTo>
                  <a:lnTo>
                    <a:pt x="4501" y="2590"/>
                  </a:lnTo>
                  <a:lnTo>
                    <a:pt x="4524" y="2618"/>
                  </a:lnTo>
                  <a:lnTo>
                    <a:pt x="4545" y="2647"/>
                  </a:lnTo>
                  <a:lnTo>
                    <a:pt x="4564" y="2678"/>
                  </a:lnTo>
                  <a:lnTo>
                    <a:pt x="4574" y="2693"/>
                  </a:lnTo>
                  <a:lnTo>
                    <a:pt x="4582" y="2709"/>
                  </a:lnTo>
                  <a:lnTo>
                    <a:pt x="4590" y="2726"/>
                  </a:lnTo>
                  <a:lnTo>
                    <a:pt x="4596" y="2742"/>
                  </a:lnTo>
                  <a:lnTo>
                    <a:pt x="4596" y="2742"/>
                  </a:lnTo>
                  <a:lnTo>
                    <a:pt x="4606" y="2768"/>
                  </a:lnTo>
                  <a:lnTo>
                    <a:pt x="4616" y="2792"/>
                  </a:lnTo>
                  <a:lnTo>
                    <a:pt x="4624" y="2817"/>
                  </a:lnTo>
                  <a:lnTo>
                    <a:pt x="4630" y="2840"/>
                  </a:lnTo>
                  <a:lnTo>
                    <a:pt x="4636" y="2864"/>
                  </a:lnTo>
                  <a:lnTo>
                    <a:pt x="4641" y="2886"/>
                  </a:lnTo>
                  <a:lnTo>
                    <a:pt x="4645" y="2908"/>
                  </a:lnTo>
                  <a:lnTo>
                    <a:pt x="4649" y="2928"/>
                  </a:lnTo>
                  <a:lnTo>
                    <a:pt x="4651" y="2949"/>
                  </a:lnTo>
                  <a:lnTo>
                    <a:pt x="4653" y="2968"/>
                  </a:lnTo>
                  <a:lnTo>
                    <a:pt x="4654" y="2987"/>
                  </a:lnTo>
                  <a:lnTo>
                    <a:pt x="4655" y="3005"/>
                  </a:lnTo>
                  <a:lnTo>
                    <a:pt x="4654" y="3039"/>
                  </a:lnTo>
                  <a:lnTo>
                    <a:pt x="4652" y="3070"/>
                  </a:lnTo>
                  <a:lnTo>
                    <a:pt x="4648" y="3099"/>
                  </a:lnTo>
                  <a:lnTo>
                    <a:pt x="4642" y="3126"/>
                  </a:lnTo>
                  <a:lnTo>
                    <a:pt x="4635" y="3149"/>
                  </a:lnTo>
                  <a:lnTo>
                    <a:pt x="4628" y="3171"/>
                  </a:lnTo>
                  <a:lnTo>
                    <a:pt x="4620" y="3189"/>
                  </a:lnTo>
                  <a:lnTo>
                    <a:pt x="4612" y="3206"/>
                  </a:lnTo>
                  <a:lnTo>
                    <a:pt x="4603" y="3221"/>
                  </a:lnTo>
                  <a:lnTo>
                    <a:pt x="4596" y="3232"/>
                  </a:lnTo>
                  <a:lnTo>
                    <a:pt x="4596" y="3232"/>
                  </a:lnTo>
                  <a:lnTo>
                    <a:pt x="4582" y="3252"/>
                  </a:lnTo>
                  <a:lnTo>
                    <a:pt x="4568" y="3273"/>
                  </a:lnTo>
                  <a:lnTo>
                    <a:pt x="4553" y="3291"/>
                  </a:lnTo>
                  <a:lnTo>
                    <a:pt x="4538" y="3310"/>
                  </a:lnTo>
                  <a:lnTo>
                    <a:pt x="4522" y="3327"/>
                  </a:lnTo>
                  <a:lnTo>
                    <a:pt x="4505" y="3343"/>
                  </a:lnTo>
                  <a:lnTo>
                    <a:pt x="4487" y="3359"/>
                  </a:lnTo>
                  <a:lnTo>
                    <a:pt x="4469" y="3373"/>
                  </a:lnTo>
                  <a:lnTo>
                    <a:pt x="4450" y="3386"/>
                  </a:lnTo>
                  <a:lnTo>
                    <a:pt x="4430" y="3398"/>
                  </a:lnTo>
                  <a:lnTo>
                    <a:pt x="4409" y="3409"/>
                  </a:lnTo>
                  <a:lnTo>
                    <a:pt x="4388" y="3418"/>
                  </a:lnTo>
                  <a:lnTo>
                    <a:pt x="4364" y="3426"/>
                  </a:lnTo>
                  <a:lnTo>
                    <a:pt x="4341" y="3433"/>
                  </a:lnTo>
                  <a:lnTo>
                    <a:pt x="4316" y="3438"/>
                  </a:lnTo>
                  <a:lnTo>
                    <a:pt x="4290" y="3441"/>
                  </a:lnTo>
                  <a:lnTo>
                    <a:pt x="4290" y="3441"/>
                  </a:lnTo>
                  <a:lnTo>
                    <a:pt x="4283" y="3440"/>
                  </a:lnTo>
                  <a:lnTo>
                    <a:pt x="4275" y="3440"/>
                  </a:lnTo>
                  <a:lnTo>
                    <a:pt x="4275" y="3440"/>
                  </a:lnTo>
                  <a:lnTo>
                    <a:pt x="4242" y="3441"/>
                  </a:lnTo>
                  <a:lnTo>
                    <a:pt x="4213" y="3441"/>
                  </a:lnTo>
                  <a:lnTo>
                    <a:pt x="4185" y="3440"/>
                  </a:lnTo>
                  <a:lnTo>
                    <a:pt x="4159" y="3437"/>
                  </a:lnTo>
                  <a:lnTo>
                    <a:pt x="4159" y="3437"/>
                  </a:lnTo>
                  <a:lnTo>
                    <a:pt x="4131" y="3432"/>
                  </a:lnTo>
                  <a:lnTo>
                    <a:pt x="4103" y="3427"/>
                  </a:lnTo>
                  <a:lnTo>
                    <a:pt x="4077" y="3420"/>
                  </a:lnTo>
                  <a:lnTo>
                    <a:pt x="4052" y="3413"/>
                  </a:lnTo>
                  <a:lnTo>
                    <a:pt x="4052" y="3413"/>
                  </a:lnTo>
                  <a:lnTo>
                    <a:pt x="4009" y="3398"/>
                  </a:lnTo>
                  <a:lnTo>
                    <a:pt x="3965" y="3379"/>
                  </a:lnTo>
                  <a:lnTo>
                    <a:pt x="3965" y="3379"/>
                  </a:lnTo>
                  <a:lnTo>
                    <a:pt x="3925" y="3359"/>
                  </a:lnTo>
                  <a:lnTo>
                    <a:pt x="3874" y="3331"/>
                  </a:lnTo>
                  <a:lnTo>
                    <a:pt x="3846" y="3314"/>
                  </a:lnTo>
                  <a:lnTo>
                    <a:pt x="3815" y="3294"/>
                  </a:lnTo>
                  <a:lnTo>
                    <a:pt x="3782" y="3274"/>
                  </a:lnTo>
                  <a:lnTo>
                    <a:pt x="3748" y="3250"/>
                  </a:lnTo>
                  <a:lnTo>
                    <a:pt x="3712" y="3226"/>
                  </a:lnTo>
                  <a:lnTo>
                    <a:pt x="3676" y="3198"/>
                  </a:lnTo>
                  <a:lnTo>
                    <a:pt x="3638" y="3170"/>
                  </a:lnTo>
                  <a:lnTo>
                    <a:pt x="3601" y="3139"/>
                  </a:lnTo>
                  <a:lnTo>
                    <a:pt x="3563" y="3106"/>
                  </a:lnTo>
                  <a:lnTo>
                    <a:pt x="3526" y="3071"/>
                  </a:lnTo>
                  <a:lnTo>
                    <a:pt x="3488" y="3035"/>
                  </a:lnTo>
                  <a:lnTo>
                    <a:pt x="3451" y="2997"/>
                  </a:lnTo>
                  <a:lnTo>
                    <a:pt x="3451" y="2997"/>
                  </a:lnTo>
                  <a:lnTo>
                    <a:pt x="3394" y="2933"/>
                  </a:lnTo>
                  <a:lnTo>
                    <a:pt x="3342" y="2874"/>
                  </a:lnTo>
                  <a:lnTo>
                    <a:pt x="3295" y="2819"/>
                  </a:lnTo>
                  <a:lnTo>
                    <a:pt x="3253" y="2769"/>
                  </a:lnTo>
                  <a:lnTo>
                    <a:pt x="3215" y="2722"/>
                  </a:lnTo>
                  <a:lnTo>
                    <a:pt x="3180" y="2679"/>
                  </a:lnTo>
                  <a:lnTo>
                    <a:pt x="3120" y="2602"/>
                  </a:lnTo>
                  <a:lnTo>
                    <a:pt x="3120" y="2602"/>
                  </a:lnTo>
                  <a:lnTo>
                    <a:pt x="3138" y="2609"/>
                  </a:lnTo>
                  <a:lnTo>
                    <a:pt x="3156" y="2615"/>
                  </a:lnTo>
                  <a:lnTo>
                    <a:pt x="3175" y="2620"/>
                  </a:lnTo>
                  <a:lnTo>
                    <a:pt x="3193" y="2625"/>
                  </a:lnTo>
                  <a:lnTo>
                    <a:pt x="3211" y="2628"/>
                  </a:lnTo>
                  <a:lnTo>
                    <a:pt x="3229" y="2630"/>
                  </a:lnTo>
                  <a:lnTo>
                    <a:pt x="3262" y="2633"/>
                  </a:lnTo>
                  <a:lnTo>
                    <a:pt x="3289" y="2633"/>
                  </a:lnTo>
                  <a:lnTo>
                    <a:pt x="3312" y="2632"/>
                  </a:lnTo>
                  <a:lnTo>
                    <a:pt x="3332" y="2630"/>
                  </a:lnTo>
                  <a:lnTo>
                    <a:pt x="3332" y="2630"/>
                  </a:lnTo>
                  <a:lnTo>
                    <a:pt x="3336" y="2580"/>
                  </a:lnTo>
                  <a:lnTo>
                    <a:pt x="3338" y="2535"/>
                  </a:lnTo>
                  <a:lnTo>
                    <a:pt x="3340" y="2495"/>
                  </a:lnTo>
                  <a:lnTo>
                    <a:pt x="3346" y="2360"/>
                  </a:lnTo>
                  <a:lnTo>
                    <a:pt x="3346" y="2360"/>
                  </a:lnTo>
                  <a:lnTo>
                    <a:pt x="3349" y="2323"/>
                  </a:lnTo>
                  <a:lnTo>
                    <a:pt x="3351" y="2288"/>
                  </a:lnTo>
                  <a:lnTo>
                    <a:pt x="3352" y="2251"/>
                  </a:lnTo>
                  <a:lnTo>
                    <a:pt x="3352" y="2251"/>
                  </a:lnTo>
                  <a:lnTo>
                    <a:pt x="3340" y="2250"/>
                  </a:lnTo>
                  <a:lnTo>
                    <a:pt x="3307" y="2246"/>
                  </a:lnTo>
                  <a:lnTo>
                    <a:pt x="3285" y="2243"/>
                  </a:lnTo>
                  <a:lnTo>
                    <a:pt x="3260" y="2238"/>
                  </a:lnTo>
                  <a:lnTo>
                    <a:pt x="3233" y="2233"/>
                  </a:lnTo>
                  <a:lnTo>
                    <a:pt x="3206" y="2226"/>
                  </a:lnTo>
                  <a:lnTo>
                    <a:pt x="3176" y="2217"/>
                  </a:lnTo>
                  <a:lnTo>
                    <a:pt x="3147" y="2206"/>
                  </a:lnTo>
                  <a:lnTo>
                    <a:pt x="3120" y="2194"/>
                  </a:lnTo>
                  <a:lnTo>
                    <a:pt x="3106" y="2188"/>
                  </a:lnTo>
                  <a:lnTo>
                    <a:pt x="3093" y="2181"/>
                  </a:lnTo>
                  <a:lnTo>
                    <a:pt x="3081" y="2173"/>
                  </a:lnTo>
                  <a:lnTo>
                    <a:pt x="3070" y="2164"/>
                  </a:lnTo>
                  <a:lnTo>
                    <a:pt x="3058" y="2155"/>
                  </a:lnTo>
                  <a:lnTo>
                    <a:pt x="3049" y="2146"/>
                  </a:lnTo>
                  <a:lnTo>
                    <a:pt x="3040" y="2136"/>
                  </a:lnTo>
                  <a:lnTo>
                    <a:pt x="3032" y="2125"/>
                  </a:lnTo>
                  <a:lnTo>
                    <a:pt x="3025" y="2113"/>
                  </a:lnTo>
                  <a:lnTo>
                    <a:pt x="3019" y="2101"/>
                  </a:lnTo>
                  <a:lnTo>
                    <a:pt x="3019" y="2101"/>
                  </a:lnTo>
                  <a:lnTo>
                    <a:pt x="3030" y="2107"/>
                  </a:lnTo>
                  <a:lnTo>
                    <a:pt x="3042" y="2112"/>
                  </a:lnTo>
                  <a:lnTo>
                    <a:pt x="3059" y="2119"/>
                  </a:lnTo>
                  <a:lnTo>
                    <a:pt x="3081" y="2127"/>
                  </a:lnTo>
                  <a:lnTo>
                    <a:pt x="3106" y="2134"/>
                  </a:lnTo>
                  <a:lnTo>
                    <a:pt x="3136" y="2139"/>
                  </a:lnTo>
                  <a:lnTo>
                    <a:pt x="3152" y="2141"/>
                  </a:lnTo>
                  <a:lnTo>
                    <a:pt x="3169" y="2142"/>
                  </a:lnTo>
                  <a:lnTo>
                    <a:pt x="3169" y="2142"/>
                  </a:lnTo>
                  <a:lnTo>
                    <a:pt x="3201" y="2143"/>
                  </a:lnTo>
                  <a:lnTo>
                    <a:pt x="3234" y="2143"/>
                  </a:lnTo>
                  <a:lnTo>
                    <a:pt x="3266" y="2141"/>
                  </a:lnTo>
                  <a:lnTo>
                    <a:pt x="3295" y="2139"/>
                  </a:lnTo>
                  <a:lnTo>
                    <a:pt x="3340" y="2133"/>
                  </a:lnTo>
                  <a:lnTo>
                    <a:pt x="3357" y="2131"/>
                  </a:lnTo>
                  <a:lnTo>
                    <a:pt x="3357" y="2131"/>
                  </a:lnTo>
                  <a:lnTo>
                    <a:pt x="3359" y="2125"/>
                  </a:lnTo>
                  <a:lnTo>
                    <a:pt x="3361" y="2113"/>
                  </a:lnTo>
                  <a:lnTo>
                    <a:pt x="3364" y="2083"/>
                  </a:lnTo>
                  <a:lnTo>
                    <a:pt x="3367" y="2043"/>
                  </a:lnTo>
                  <a:lnTo>
                    <a:pt x="3369" y="1999"/>
                  </a:lnTo>
                  <a:lnTo>
                    <a:pt x="3373" y="1919"/>
                  </a:lnTo>
                  <a:lnTo>
                    <a:pt x="3375" y="1884"/>
                  </a:lnTo>
                  <a:lnTo>
                    <a:pt x="3375" y="1884"/>
                  </a:lnTo>
                  <a:lnTo>
                    <a:pt x="3376" y="1856"/>
                  </a:lnTo>
                  <a:lnTo>
                    <a:pt x="3377" y="1816"/>
                  </a:lnTo>
                  <a:lnTo>
                    <a:pt x="3377" y="1767"/>
                  </a:lnTo>
                  <a:lnTo>
                    <a:pt x="3377" y="1767"/>
                  </a:lnTo>
                  <a:lnTo>
                    <a:pt x="3369" y="1769"/>
                  </a:lnTo>
                  <a:lnTo>
                    <a:pt x="3359" y="1770"/>
                  </a:lnTo>
                  <a:lnTo>
                    <a:pt x="3338" y="1772"/>
                  </a:lnTo>
                  <a:lnTo>
                    <a:pt x="3315" y="1771"/>
                  </a:lnTo>
                  <a:lnTo>
                    <a:pt x="3290" y="1769"/>
                  </a:lnTo>
                  <a:lnTo>
                    <a:pt x="3264" y="1766"/>
                  </a:lnTo>
                  <a:lnTo>
                    <a:pt x="3236" y="1762"/>
                  </a:lnTo>
                  <a:lnTo>
                    <a:pt x="3208" y="1756"/>
                  </a:lnTo>
                  <a:lnTo>
                    <a:pt x="3178" y="1748"/>
                  </a:lnTo>
                  <a:lnTo>
                    <a:pt x="3178" y="1748"/>
                  </a:lnTo>
                  <a:lnTo>
                    <a:pt x="3158" y="1742"/>
                  </a:lnTo>
                  <a:lnTo>
                    <a:pt x="3135" y="1733"/>
                  </a:lnTo>
                  <a:lnTo>
                    <a:pt x="3112" y="1721"/>
                  </a:lnTo>
                  <a:lnTo>
                    <a:pt x="3088" y="1706"/>
                  </a:lnTo>
                  <a:lnTo>
                    <a:pt x="3064" y="1690"/>
                  </a:lnTo>
                  <a:lnTo>
                    <a:pt x="3053" y="1681"/>
                  </a:lnTo>
                  <a:lnTo>
                    <a:pt x="3043" y="1672"/>
                  </a:lnTo>
                  <a:lnTo>
                    <a:pt x="3034" y="1661"/>
                  </a:lnTo>
                  <a:lnTo>
                    <a:pt x="3025" y="1652"/>
                  </a:lnTo>
                  <a:lnTo>
                    <a:pt x="3017" y="1642"/>
                  </a:lnTo>
                  <a:lnTo>
                    <a:pt x="3010" y="1631"/>
                  </a:lnTo>
                  <a:lnTo>
                    <a:pt x="3010" y="1631"/>
                  </a:lnTo>
                  <a:lnTo>
                    <a:pt x="3022" y="1636"/>
                  </a:lnTo>
                  <a:lnTo>
                    <a:pt x="3035" y="1640"/>
                  </a:lnTo>
                  <a:lnTo>
                    <a:pt x="3052" y="1646"/>
                  </a:lnTo>
                  <a:lnTo>
                    <a:pt x="3075" y="1652"/>
                  </a:lnTo>
                  <a:lnTo>
                    <a:pt x="3101" y="1658"/>
                  </a:lnTo>
                  <a:lnTo>
                    <a:pt x="3132" y="1665"/>
                  </a:lnTo>
                  <a:lnTo>
                    <a:pt x="3167" y="1670"/>
                  </a:lnTo>
                  <a:lnTo>
                    <a:pt x="3167" y="1670"/>
                  </a:lnTo>
                  <a:lnTo>
                    <a:pt x="3187" y="1672"/>
                  </a:lnTo>
                  <a:lnTo>
                    <a:pt x="3207" y="1673"/>
                  </a:lnTo>
                  <a:lnTo>
                    <a:pt x="3226" y="1674"/>
                  </a:lnTo>
                  <a:lnTo>
                    <a:pt x="3245" y="1674"/>
                  </a:lnTo>
                  <a:lnTo>
                    <a:pt x="3283" y="1672"/>
                  </a:lnTo>
                  <a:lnTo>
                    <a:pt x="3317" y="1669"/>
                  </a:lnTo>
                  <a:lnTo>
                    <a:pt x="3346" y="1663"/>
                  </a:lnTo>
                  <a:lnTo>
                    <a:pt x="3369" y="1658"/>
                  </a:lnTo>
                  <a:lnTo>
                    <a:pt x="3377" y="1655"/>
                  </a:lnTo>
                  <a:lnTo>
                    <a:pt x="3383" y="1653"/>
                  </a:lnTo>
                  <a:lnTo>
                    <a:pt x="3388" y="1650"/>
                  </a:lnTo>
                  <a:lnTo>
                    <a:pt x="3390" y="1647"/>
                  </a:lnTo>
                  <a:lnTo>
                    <a:pt x="3390" y="1647"/>
                  </a:lnTo>
                  <a:lnTo>
                    <a:pt x="3392" y="1621"/>
                  </a:lnTo>
                  <a:lnTo>
                    <a:pt x="3393" y="1587"/>
                  </a:lnTo>
                  <a:lnTo>
                    <a:pt x="3394" y="1510"/>
                  </a:lnTo>
                  <a:lnTo>
                    <a:pt x="3394" y="1412"/>
                  </a:lnTo>
                  <a:lnTo>
                    <a:pt x="3394" y="1412"/>
                  </a:lnTo>
                  <a:lnTo>
                    <a:pt x="3399" y="1348"/>
                  </a:lnTo>
                  <a:lnTo>
                    <a:pt x="3400" y="1304"/>
                  </a:lnTo>
                  <a:lnTo>
                    <a:pt x="3400" y="1289"/>
                  </a:lnTo>
                  <a:lnTo>
                    <a:pt x="3399" y="1285"/>
                  </a:lnTo>
                  <a:lnTo>
                    <a:pt x="3398" y="1284"/>
                  </a:lnTo>
                  <a:lnTo>
                    <a:pt x="3398" y="1284"/>
                  </a:lnTo>
                  <a:lnTo>
                    <a:pt x="3392" y="1284"/>
                  </a:lnTo>
                  <a:lnTo>
                    <a:pt x="3381" y="1285"/>
                  </a:lnTo>
                  <a:lnTo>
                    <a:pt x="3368" y="1285"/>
                  </a:lnTo>
                  <a:lnTo>
                    <a:pt x="3354" y="1284"/>
                  </a:lnTo>
                  <a:lnTo>
                    <a:pt x="3336" y="1282"/>
                  </a:lnTo>
                  <a:lnTo>
                    <a:pt x="3317" y="1279"/>
                  </a:lnTo>
                  <a:lnTo>
                    <a:pt x="3297" y="1274"/>
                  </a:lnTo>
                  <a:lnTo>
                    <a:pt x="3274" y="1269"/>
                  </a:lnTo>
                  <a:lnTo>
                    <a:pt x="3251" y="1261"/>
                  </a:lnTo>
                  <a:lnTo>
                    <a:pt x="3226" y="1251"/>
                  </a:lnTo>
                  <a:lnTo>
                    <a:pt x="3200" y="1240"/>
                  </a:lnTo>
                  <a:lnTo>
                    <a:pt x="3175" y="1226"/>
                  </a:lnTo>
                  <a:lnTo>
                    <a:pt x="3149" y="1210"/>
                  </a:lnTo>
                  <a:lnTo>
                    <a:pt x="3123" y="1191"/>
                  </a:lnTo>
                  <a:lnTo>
                    <a:pt x="3110" y="1181"/>
                  </a:lnTo>
                  <a:lnTo>
                    <a:pt x="3097" y="1170"/>
                  </a:lnTo>
                  <a:lnTo>
                    <a:pt x="3085" y="1157"/>
                  </a:lnTo>
                  <a:lnTo>
                    <a:pt x="3073" y="1145"/>
                  </a:lnTo>
                  <a:lnTo>
                    <a:pt x="3073" y="1145"/>
                  </a:lnTo>
                  <a:lnTo>
                    <a:pt x="3071" y="1143"/>
                  </a:lnTo>
                  <a:lnTo>
                    <a:pt x="3065" y="1138"/>
                  </a:lnTo>
                  <a:lnTo>
                    <a:pt x="3059" y="1129"/>
                  </a:lnTo>
                  <a:lnTo>
                    <a:pt x="3056" y="1123"/>
                  </a:lnTo>
                  <a:lnTo>
                    <a:pt x="3053" y="1116"/>
                  </a:lnTo>
                  <a:lnTo>
                    <a:pt x="3051" y="1109"/>
                  </a:lnTo>
                  <a:lnTo>
                    <a:pt x="3050" y="1101"/>
                  </a:lnTo>
                  <a:lnTo>
                    <a:pt x="3049" y="1092"/>
                  </a:lnTo>
                  <a:lnTo>
                    <a:pt x="3050" y="1082"/>
                  </a:lnTo>
                  <a:lnTo>
                    <a:pt x="3053" y="1072"/>
                  </a:lnTo>
                  <a:lnTo>
                    <a:pt x="3056" y="1060"/>
                  </a:lnTo>
                  <a:lnTo>
                    <a:pt x="3062" y="1048"/>
                  </a:lnTo>
                  <a:lnTo>
                    <a:pt x="3071" y="1035"/>
                  </a:lnTo>
                  <a:lnTo>
                    <a:pt x="3071" y="1035"/>
                  </a:lnTo>
                  <a:lnTo>
                    <a:pt x="2806" y="916"/>
                  </a:lnTo>
                  <a:lnTo>
                    <a:pt x="2806" y="916"/>
                  </a:lnTo>
                  <a:lnTo>
                    <a:pt x="2815" y="907"/>
                  </a:lnTo>
                  <a:lnTo>
                    <a:pt x="2824" y="896"/>
                  </a:lnTo>
                  <a:lnTo>
                    <a:pt x="2834" y="881"/>
                  </a:lnTo>
                  <a:lnTo>
                    <a:pt x="2845" y="865"/>
                  </a:lnTo>
                  <a:lnTo>
                    <a:pt x="2850" y="856"/>
                  </a:lnTo>
                  <a:lnTo>
                    <a:pt x="2854" y="847"/>
                  </a:lnTo>
                  <a:lnTo>
                    <a:pt x="2858" y="836"/>
                  </a:lnTo>
                  <a:lnTo>
                    <a:pt x="2861" y="826"/>
                  </a:lnTo>
                  <a:lnTo>
                    <a:pt x="2863" y="816"/>
                  </a:lnTo>
                  <a:lnTo>
                    <a:pt x="2863" y="806"/>
                  </a:lnTo>
                  <a:lnTo>
                    <a:pt x="2863" y="806"/>
                  </a:lnTo>
                  <a:lnTo>
                    <a:pt x="2863" y="794"/>
                  </a:lnTo>
                  <a:lnTo>
                    <a:pt x="2860" y="784"/>
                  </a:lnTo>
                  <a:lnTo>
                    <a:pt x="2855" y="774"/>
                  </a:lnTo>
                  <a:lnTo>
                    <a:pt x="2849" y="765"/>
                  </a:lnTo>
                  <a:lnTo>
                    <a:pt x="2841" y="756"/>
                  </a:lnTo>
                  <a:lnTo>
                    <a:pt x="2830" y="748"/>
                  </a:lnTo>
                  <a:lnTo>
                    <a:pt x="2820" y="741"/>
                  </a:lnTo>
                  <a:lnTo>
                    <a:pt x="2808" y="735"/>
                  </a:lnTo>
                  <a:lnTo>
                    <a:pt x="2795" y="730"/>
                  </a:lnTo>
                  <a:lnTo>
                    <a:pt x="2781" y="726"/>
                  </a:lnTo>
                  <a:lnTo>
                    <a:pt x="2767" y="722"/>
                  </a:lnTo>
                  <a:lnTo>
                    <a:pt x="2753" y="720"/>
                  </a:lnTo>
                  <a:lnTo>
                    <a:pt x="2738" y="718"/>
                  </a:lnTo>
                  <a:lnTo>
                    <a:pt x="2723" y="718"/>
                  </a:lnTo>
                  <a:lnTo>
                    <a:pt x="2709" y="719"/>
                  </a:lnTo>
                  <a:lnTo>
                    <a:pt x="2694" y="721"/>
                  </a:lnTo>
                  <a:lnTo>
                    <a:pt x="2694" y="721"/>
                  </a:lnTo>
                  <a:lnTo>
                    <a:pt x="2681" y="724"/>
                  </a:lnTo>
                  <a:lnTo>
                    <a:pt x="2669" y="728"/>
                  </a:lnTo>
                  <a:lnTo>
                    <a:pt x="2656" y="733"/>
                  </a:lnTo>
                  <a:lnTo>
                    <a:pt x="2644" y="739"/>
                  </a:lnTo>
                  <a:lnTo>
                    <a:pt x="2634" y="746"/>
                  </a:lnTo>
                  <a:lnTo>
                    <a:pt x="2623" y="754"/>
                  </a:lnTo>
                  <a:lnTo>
                    <a:pt x="2604" y="769"/>
                  </a:lnTo>
                  <a:lnTo>
                    <a:pt x="2589" y="784"/>
                  </a:lnTo>
                  <a:lnTo>
                    <a:pt x="2578" y="796"/>
                  </a:lnTo>
                  <a:lnTo>
                    <a:pt x="2569" y="809"/>
                  </a:lnTo>
                  <a:lnTo>
                    <a:pt x="2238" y="662"/>
                  </a:lnTo>
                  <a:lnTo>
                    <a:pt x="1977" y="925"/>
                  </a:lnTo>
                  <a:lnTo>
                    <a:pt x="1977" y="925"/>
                  </a:lnTo>
                  <a:lnTo>
                    <a:pt x="1972" y="930"/>
                  </a:lnTo>
                  <a:lnTo>
                    <a:pt x="1966" y="942"/>
                  </a:lnTo>
                  <a:lnTo>
                    <a:pt x="1963" y="949"/>
                  </a:lnTo>
                  <a:lnTo>
                    <a:pt x="1961" y="957"/>
                  </a:lnTo>
                  <a:lnTo>
                    <a:pt x="1960" y="966"/>
                  </a:lnTo>
                  <a:lnTo>
                    <a:pt x="1960" y="975"/>
                  </a:lnTo>
                  <a:lnTo>
                    <a:pt x="1964" y="999"/>
                  </a:lnTo>
                  <a:lnTo>
                    <a:pt x="1964" y="999"/>
                  </a:lnTo>
                  <a:lnTo>
                    <a:pt x="1964" y="1005"/>
                  </a:lnTo>
                  <a:lnTo>
                    <a:pt x="1963" y="1011"/>
                  </a:lnTo>
                  <a:lnTo>
                    <a:pt x="1962" y="1016"/>
                  </a:lnTo>
                  <a:lnTo>
                    <a:pt x="1961" y="1020"/>
                  </a:lnTo>
                  <a:lnTo>
                    <a:pt x="1957" y="1028"/>
                  </a:lnTo>
                  <a:lnTo>
                    <a:pt x="1955" y="1032"/>
                  </a:lnTo>
                  <a:lnTo>
                    <a:pt x="1955" y="1032"/>
                  </a:lnTo>
                  <a:lnTo>
                    <a:pt x="1936" y="1054"/>
                  </a:lnTo>
                  <a:lnTo>
                    <a:pt x="1916" y="1078"/>
                  </a:lnTo>
                  <a:lnTo>
                    <a:pt x="1896" y="1100"/>
                  </a:lnTo>
                  <a:lnTo>
                    <a:pt x="1876" y="1123"/>
                  </a:lnTo>
                  <a:lnTo>
                    <a:pt x="1876" y="1123"/>
                  </a:lnTo>
                  <a:lnTo>
                    <a:pt x="1847" y="1161"/>
                  </a:lnTo>
                  <a:lnTo>
                    <a:pt x="1836" y="1177"/>
                  </a:lnTo>
                  <a:lnTo>
                    <a:pt x="1828" y="1189"/>
                  </a:lnTo>
                  <a:lnTo>
                    <a:pt x="1828" y="1189"/>
                  </a:lnTo>
                  <a:lnTo>
                    <a:pt x="1819" y="1204"/>
                  </a:lnTo>
                  <a:lnTo>
                    <a:pt x="1811" y="1220"/>
                  </a:lnTo>
                  <a:lnTo>
                    <a:pt x="1799" y="1245"/>
                  </a:lnTo>
                  <a:lnTo>
                    <a:pt x="1789" y="1269"/>
                  </a:lnTo>
                  <a:lnTo>
                    <a:pt x="1781" y="1290"/>
                  </a:lnTo>
                  <a:lnTo>
                    <a:pt x="1781" y="1290"/>
                  </a:lnTo>
                  <a:lnTo>
                    <a:pt x="1780" y="1293"/>
                  </a:lnTo>
                  <a:lnTo>
                    <a:pt x="1778" y="1304"/>
                  </a:lnTo>
                  <a:lnTo>
                    <a:pt x="1778" y="1311"/>
                  </a:lnTo>
                  <a:lnTo>
                    <a:pt x="1777" y="1319"/>
                  </a:lnTo>
                  <a:lnTo>
                    <a:pt x="1778" y="1328"/>
                  </a:lnTo>
                  <a:lnTo>
                    <a:pt x="1780" y="1339"/>
                  </a:lnTo>
                  <a:lnTo>
                    <a:pt x="1784" y="1352"/>
                  </a:lnTo>
                  <a:lnTo>
                    <a:pt x="1789" y="1365"/>
                  </a:lnTo>
                  <a:lnTo>
                    <a:pt x="1797" y="1378"/>
                  </a:lnTo>
                  <a:lnTo>
                    <a:pt x="1807" y="1394"/>
                  </a:lnTo>
                  <a:lnTo>
                    <a:pt x="1819" y="1410"/>
                  </a:lnTo>
                  <a:lnTo>
                    <a:pt x="1833" y="1426"/>
                  </a:lnTo>
                  <a:lnTo>
                    <a:pt x="1852" y="1444"/>
                  </a:lnTo>
                  <a:lnTo>
                    <a:pt x="1874" y="1462"/>
                  </a:lnTo>
                  <a:lnTo>
                    <a:pt x="1881" y="1468"/>
                  </a:lnTo>
                  <a:lnTo>
                    <a:pt x="1881" y="1468"/>
                  </a:lnTo>
                  <a:lnTo>
                    <a:pt x="1894" y="1451"/>
                  </a:lnTo>
                  <a:lnTo>
                    <a:pt x="1905" y="1462"/>
                  </a:lnTo>
                  <a:lnTo>
                    <a:pt x="1905" y="1462"/>
                  </a:lnTo>
                  <a:lnTo>
                    <a:pt x="1914" y="1471"/>
                  </a:lnTo>
                  <a:lnTo>
                    <a:pt x="1926" y="1482"/>
                  </a:lnTo>
                  <a:lnTo>
                    <a:pt x="1941" y="1494"/>
                  </a:lnTo>
                  <a:lnTo>
                    <a:pt x="1957" y="1504"/>
                  </a:lnTo>
                  <a:lnTo>
                    <a:pt x="1957" y="1504"/>
                  </a:lnTo>
                  <a:lnTo>
                    <a:pt x="1959" y="1497"/>
                  </a:lnTo>
                  <a:lnTo>
                    <a:pt x="1964" y="1477"/>
                  </a:lnTo>
                  <a:lnTo>
                    <a:pt x="1969" y="1464"/>
                  </a:lnTo>
                  <a:lnTo>
                    <a:pt x="1975" y="1451"/>
                  </a:lnTo>
                  <a:lnTo>
                    <a:pt x="1983" y="1437"/>
                  </a:lnTo>
                  <a:lnTo>
                    <a:pt x="1991" y="1422"/>
                  </a:lnTo>
                  <a:lnTo>
                    <a:pt x="1991" y="1422"/>
                  </a:lnTo>
                  <a:lnTo>
                    <a:pt x="2000" y="1410"/>
                  </a:lnTo>
                  <a:lnTo>
                    <a:pt x="2011" y="1398"/>
                  </a:lnTo>
                  <a:lnTo>
                    <a:pt x="2025" y="1384"/>
                  </a:lnTo>
                  <a:lnTo>
                    <a:pt x="2038" y="1371"/>
                  </a:lnTo>
                  <a:lnTo>
                    <a:pt x="2052" y="1359"/>
                  </a:lnTo>
                  <a:lnTo>
                    <a:pt x="2065" y="1348"/>
                  </a:lnTo>
                  <a:lnTo>
                    <a:pt x="2080" y="1337"/>
                  </a:lnTo>
                  <a:lnTo>
                    <a:pt x="2092" y="1329"/>
                  </a:lnTo>
                  <a:lnTo>
                    <a:pt x="2092" y="1329"/>
                  </a:lnTo>
                  <a:lnTo>
                    <a:pt x="2107" y="1320"/>
                  </a:lnTo>
                  <a:lnTo>
                    <a:pt x="2123" y="1312"/>
                  </a:lnTo>
                  <a:lnTo>
                    <a:pt x="2138" y="1305"/>
                  </a:lnTo>
                  <a:lnTo>
                    <a:pt x="2154" y="1298"/>
                  </a:lnTo>
                  <a:lnTo>
                    <a:pt x="2170" y="1294"/>
                  </a:lnTo>
                  <a:lnTo>
                    <a:pt x="2186" y="1291"/>
                  </a:lnTo>
                  <a:lnTo>
                    <a:pt x="2202" y="1288"/>
                  </a:lnTo>
                  <a:lnTo>
                    <a:pt x="2220" y="1287"/>
                  </a:lnTo>
                  <a:lnTo>
                    <a:pt x="2220" y="1287"/>
                  </a:lnTo>
                  <a:lnTo>
                    <a:pt x="2234" y="1288"/>
                  </a:lnTo>
                  <a:lnTo>
                    <a:pt x="2247" y="1289"/>
                  </a:lnTo>
                  <a:lnTo>
                    <a:pt x="2261" y="1292"/>
                  </a:lnTo>
                  <a:lnTo>
                    <a:pt x="2272" y="1297"/>
                  </a:lnTo>
                  <a:lnTo>
                    <a:pt x="2283" y="1304"/>
                  </a:lnTo>
                  <a:lnTo>
                    <a:pt x="2295" y="1311"/>
                  </a:lnTo>
                  <a:lnTo>
                    <a:pt x="2305" y="1320"/>
                  </a:lnTo>
                  <a:lnTo>
                    <a:pt x="2316" y="1330"/>
                  </a:lnTo>
                  <a:lnTo>
                    <a:pt x="2316" y="1330"/>
                  </a:lnTo>
                  <a:lnTo>
                    <a:pt x="2323" y="1338"/>
                  </a:lnTo>
                  <a:lnTo>
                    <a:pt x="2330" y="1349"/>
                  </a:lnTo>
                  <a:lnTo>
                    <a:pt x="2336" y="1360"/>
                  </a:lnTo>
                  <a:lnTo>
                    <a:pt x="2342" y="1372"/>
                  </a:lnTo>
                  <a:lnTo>
                    <a:pt x="2347" y="1384"/>
                  </a:lnTo>
                  <a:lnTo>
                    <a:pt x="2351" y="1398"/>
                  </a:lnTo>
                  <a:lnTo>
                    <a:pt x="2355" y="1412"/>
                  </a:lnTo>
                  <a:lnTo>
                    <a:pt x="2358" y="1426"/>
                  </a:lnTo>
                  <a:lnTo>
                    <a:pt x="2360" y="1440"/>
                  </a:lnTo>
                  <a:lnTo>
                    <a:pt x="2362" y="1454"/>
                  </a:lnTo>
                  <a:lnTo>
                    <a:pt x="2363" y="1467"/>
                  </a:lnTo>
                  <a:lnTo>
                    <a:pt x="2364" y="1480"/>
                  </a:lnTo>
                  <a:lnTo>
                    <a:pt x="2364" y="1493"/>
                  </a:lnTo>
                  <a:lnTo>
                    <a:pt x="2363" y="1504"/>
                  </a:lnTo>
                  <a:lnTo>
                    <a:pt x="2361" y="1514"/>
                  </a:lnTo>
                  <a:lnTo>
                    <a:pt x="2359" y="1523"/>
                  </a:lnTo>
                  <a:lnTo>
                    <a:pt x="2359" y="1523"/>
                  </a:lnTo>
                  <a:lnTo>
                    <a:pt x="2330" y="1505"/>
                  </a:lnTo>
                  <a:lnTo>
                    <a:pt x="2330" y="1505"/>
                  </a:lnTo>
                  <a:lnTo>
                    <a:pt x="2309" y="1494"/>
                  </a:lnTo>
                  <a:lnTo>
                    <a:pt x="2281" y="1484"/>
                  </a:lnTo>
                  <a:lnTo>
                    <a:pt x="2266" y="1477"/>
                  </a:lnTo>
                  <a:lnTo>
                    <a:pt x="2251" y="1473"/>
                  </a:lnTo>
                  <a:lnTo>
                    <a:pt x="2233" y="1469"/>
                  </a:lnTo>
                  <a:lnTo>
                    <a:pt x="2215" y="1465"/>
                  </a:lnTo>
                  <a:lnTo>
                    <a:pt x="2195" y="1463"/>
                  </a:lnTo>
                  <a:lnTo>
                    <a:pt x="2175" y="1462"/>
                  </a:lnTo>
                  <a:lnTo>
                    <a:pt x="2154" y="1462"/>
                  </a:lnTo>
                  <a:lnTo>
                    <a:pt x="2132" y="1464"/>
                  </a:lnTo>
                  <a:lnTo>
                    <a:pt x="2109" y="1467"/>
                  </a:lnTo>
                  <a:lnTo>
                    <a:pt x="2086" y="1472"/>
                  </a:lnTo>
                  <a:lnTo>
                    <a:pt x="2062" y="1480"/>
                  </a:lnTo>
                  <a:lnTo>
                    <a:pt x="2037" y="1491"/>
                  </a:lnTo>
                  <a:lnTo>
                    <a:pt x="2037" y="1491"/>
                  </a:lnTo>
                  <a:lnTo>
                    <a:pt x="1995" y="1509"/>
                  </a:lnTo>
                  <a:lnTo>
                    <a:pt x="1967" y="1521"/>
                  </a:lnTo>
                  <a:lnTo>
                    <a:pt x="1936" y="1534"/>
                  </a:lnTo>
                  <a:lnTo>
                    <a:pt x="1900" y="1548"/>
                  </a:lnTo>
                  <a:lnTo>
                    <a:pt x="1860" y="1562"/>
                  </a:lnTo>
                  <a:lnTo>
                    <a:pt x="1814" y="1578"/>
                  </a:lnTo>
                  <a:lnTo>
                    <a:pt x="1764" y="1593"/>
                  </a:lnTo>
                  <a:lnTo>
                    <a:pt x="1764" y="1593"/>
                  </a:lnTo>
                  <a:lnTo>
                    <a:pt x="1737" y="1600"/>
                  </a:lnTo>
                  <a:lnTo>
                    <a:pt x="1725" y="1602"/>
                  </a:lnTo>
                  <a:lnTo>
                    <a:pt x="1713" y="1603"/>
                  </a:lnTo>
                  <a:lnTo>
                    <a:pt x="1701" y="1603"/>
                  </a:lnTo>
                  <a:lnTo>
                    <a:pt x="1691" y="1603"/>
                  </a:lnTo>
                  <a:lnTo>
                    <a:pt x="1681" y="1602"/>
                  </a:lnTo>
                  <a:lnTo>
                    <a:pt x="1672" y="1600"/>
                  </a:lnTo>
                  <a:lnTo>
                    <a:pt x="1664" y="1597"/>
                  </a:lnTo>
                  <a:lnTo>
                    <a:pt x="1655" y="1592"/>
                  </a:lnTo>
                  <a:lnTo>
                    <a:pt x="1649" y="1587"/>
                  </a:lnTo>
                  <a:lnTo>
                    <a:pt x="1642" y="1581"/>
                  </a:lnTo>
                  <a:lnTo>
                    <a:pt x="1637" y="1574"/>
                  </a:lnTo>
                  <a:lnTo>
                    <a:pt x="1633" y="1564"/>
                  </a:lnTo>
                  <a:lnTo>
                    <a:pt x="1629" y="1554"/>
                  </a:lnTo>
                  <a:lnTo>
                    <a:pt x="1626" y="1543"/>
                  </a:lnTo>
                  <a:lnTo>
                    <a:pt x="1626" y="1543"/>
                  </a:lnTo>
                  <a:lnTo>
                    <a:pt x="1624" y="1533"/>
                  </a:lnTo>
                  <a:lnTo>
                    <a:pt x="1623" y="1522"/>
                  </a:lnTo>
                  <a:lnTo>
                    <a:pt x="1623" y="1513"/>
                  </a:lnTo>
                  <a:lnTo>
                    <a:pt x="1623" y="1504"/>
                  </a:lnTo>
                  <a:lnTo>
                    <a:pt x="1625" y="1488"/>
                  </a:lnTo>
                  <a:lnTo>
                    <a:pt x="1629" y="1473"/>
                  </a:lnTo>
                  <a:lnTo>
                    <a:pt x="1633" y="1462"/>
                  </a:lnTo>
                  <a:lnTo>
                    <a:pt x="1636" y="1454"/>
                  </a:lnTo>
                  <a:lnTo>
                    <a:pt x="1640" y="1446"/>
                  </a:lnTo>
                  <a:lnTo>
                    <a:pt x="1640" y="1446"/>
                  </a:lnTo>
                  <a:lnTo>
                    <a:pt x="1636" y="1447"/>
                  </a:lnTo>
                  <a:lnTo>
                    <a:pt x="1626" y="1450"/>
                  </a:lnTo>
                  <a:lnTo>
                    <a:pt x="1610" y="1456"/>
                  </a:lnTo>
                  <a:lnTo>
                    <a:pt x="1601" y="1459"/>
                  </a:lnTo>
                  <a:lnTo>
                    <a:pt x="1592" y="1464"/>
                  </a:lnTo>
                  <a:lnTo>
                    <a:pt x="1582" y="1470"/>
                  </a:lnTo>
                  <a:lnTo>
                    <a:pt x="1573" y="1476"/>
                  </a:lnTo>
                  <a:lnTo>
                    <a:pt x="1563" y="1485"/>
                  </a:lnTo>
                  <a:lnTo>
                    <a:pt x="1554" y="1494"/>
                  </a:lnTo>
                  <a:lnTo>
                    <a:pt x="1546" y="1504"/>
                  </a:lnTo>
                  <a:lnTo>
                    <a:pt x="1539" y="1515"/>
                  </a:lnTo>
                  <a:lnTo>
                    <a:pt x="1533" y="1529"/>
                  </a:lnTo>
                  <a:lnTo>
                    <a:pt x="1528" y="1543"/>
                  </a:lnTo>
                  <a:lnTo>
                    <a:pt x="1528" y="1543"/>
                  </a:lnTo>
                  <a:lnTo>
                    <a:pt x="1525" y="1558"/>
                  </a:lnTo>
                  <a:lnTo>
                    <a:pt x="1523" y="1574"/>
                  </a:lnTo>
                  <a:lnTo>
                    <a:pt x="1523" y="1589"/>
                  </a:lnTo>
                  <a:lnTo>
                    <a:pt x="1523" y="1603"/>
                  </a:lnTo>
                  <a:lnTo>
                    <a:pt x="1524" y="1616"/>
                  </a:lnTo>
                  <a:lnTo>
                    <a:pt x="1527" y="1631"/>
                  </a:lnTo>
                  <a:lnTo>
                    <a:pt x="1531" y="1643"/>
                  </a:lnTo>
                  <a:lnTo>
                    <a:pt x="1536" y="1655"/>
                  </a:lnTo>
                  <a:lnTo>
                    <a:pt x="1542" y="1668"/>
                  </a:lnTo>
                  <a:lnTo>
                    <a:pt x="1549" y="1678"/>
                  </a:lnTo>
                  <a:lnTo>
                    <a:pt x="1557" y="1688"/>
                  </a:lnTo>
                  <a:lnTo>
                    <a:pt x="1568" y="1696"/>
                  </a:lnTo>
                  <a:lnTo>
                    <a:pt x="1578" y="1704"/>
                  </a:lnTo>
                  <a:lnTo>
                    <a:pt x="1590" y="1711"/>
                  </a:lnTo>
                  <a:lnTo>
                    <a:pt x="1602" y="1717"/>
                  </a:lnTo>
                  <a:lnTo>
                    <a:pt x="1617" y="1721"/>
                  </a:lnTo>
                  <a:lnTo>
                    <a:pt x="1617" y="1721"/>
                  </a:lnTo>
                  <a:lnTo>
                    <a:pt x="1630" y="1724"/>
                  </a:lnTo>
                  <a:lnTo>
                    <a:pt x="1644" y="1725"/>
                  </a:lnTo>
                  <a:lnTo>
                    <a:pt x="1660" y="1724"/>
                  </a:lnTo>
                  <a:lnTo>
                    <a:pt x="1676" y="1722"/>
                  </a:lnTo>
                  <a:lnTo>
                    <a:pt x="1692" y="1720"/>
                  </a:lnTo>
                  <a:lnTo>
                    <a:pt x="1710" y="1716"/>
                  </a:lnTo>
                  <a:lnTo>
                    <a:pt x="1727" y="1711"/>
                  </a:lnTo>
                  <a:lnTo>
                    <a:pt x="1744" y="1705"/>
                  </a:lnTo>
                  <a:lnTo>
                    <a:pt x="1779" y="1691"/>
                  </a:lnTo>
                  <a:lnTo>
                    <a:pt x="1815" y="1676"/>
                  </a:lnTo>
                  <a:lnTo>
                    <a:pt x="1849" y="1659"/>
                  </a:lnTo>
                  <a:lnTo>
                    <a:pt x="1880" y="1643"/>
                  </a:lnTo>
                  <a:lnTo>
                    <a:pt x="1880" y="1643"/>
                  </a:lnTo>
                  <a:lnTo>
                    <a:pt x="1942" y="1611"/>
                  </a:lnTo>
                  <a:lnTo>
                    <a:pt x="1979" y="1593"/>
                  </a:lnTo>
                  <a:lnTo>
                    <a:pt x="2013" y="1577"/>
                  </a:lnTo>
                  <a:lnTo>
                    <a:pt x="2013" y="1577"/>
                  </a:lnTo>
                  <a:lnTo>
                    <a:pt x="2041" y="1565"/>
                  </a:lnTo>
                  <a:lnTo>
                    <a:pt x="2054" y="1561"/>
                  </a:lnTo>
                  <a:lnTo>
                    <a:pt x="2068" y="1557"/>
                  </a:lnTo>
                  <a:lnTo>
                    <a:pt x="2081" y="1554"/>
                  </a:lnTo>
                  <a:lnTo>
                    <a:pt x="2093" y="1552"/>
                  </a:lnTo>
                  <a:lnTo>
                    <a:pt x="2105" y="1550"/>
                  </a:lnTo>
                  <a:lnTo>
                    <a:pt x="2119" y="1550"/>
                  </a:lnTo>
                  <a:lnTo>
                    <a:pt x="2131" y="1550"/>
                  </a:lnTo>
                  <a:lnTo>
                    <a:pt x="2143" y="1551"/>
                  </a:lnTo>
                  <a:lnTo>
                    <a:pt x="2156" y="1553"/>
                  </a:lnTo>
                  <a:lnTo>
                    <a:pt x="2170" y="1555"/>
                  </a:lnTo>
                  <a:lnTo>
                    <a:pt x="2183" y="1559"/>
                  </a:lnTo>
                  <a:lnTo>
                    <a:pt x="2196" y="1563"/>
                  </a:lnTo>
                  <a:lnTo>
                    <a:pt x="2211" y="1569"/>
                  </a:lnTo>
                  <a:lnTo>
                    <a:pt x="2226" y="1576"/>
                  </a:lnTo>
                  <a:lnTo>
                    <a:pt x="2226" y="1576"/>
                  </a:lnTo>
                  <a:lnTo>
                    <a:pt x="2246" y="1586"/>
                  </a:lnTo>
                  <a:lnTo>
                    <a:pt x="2265" y="1596"/>
                  </a:lnTo>
                  <a:lnTo>
                    <a:pt x="2281" y="1607"/>
                  </a:lnTo>
                  <a:lnTo>
                    <a:pt x="2295" y="1616"/>
                  </a:lnTo>
                  <a:lnTo>
                    <a:pt x="2305" y="1626"/>
                  </a:lnTo>
                  <a:lnTo>
                    <a:pt x="2312" y="1633"/>
                  </a:lnTo>
                  <a:lnTo>
                    <a:pt x="2319" y="1639"/>
                  </a:lnTo>
                  <a:lnTo>
                    <a:pt x="2319" y="1639"/>
                  </a:lnTo>
                  <a:lnTo>
                    <a:pt x="2317" y="1642"/>
                  </a:lnTo>
                  <a:lnTo>
                    <a:pt x="2313" y="1649"/>
                  </a:lnTo>
                  <a:lnTo>
                    <a:pt x="2305" y="1660"/>
                  </a:lnTo>
                  <a:lnTo>
                    <a:pt x="2300" y="1667"/>
                  </a:lnTo>
                  <a:lnTo>
                    <a:pt x="2293" y="1674"/>
                  </a:lnTo>
                  <a:lnTo>
                    <a:pt x="2285" y="1680"/>
                  </a:lnTo>
                  <a:lnTo>
                    <a:pt x="2276" y="1687"/>
                  </a:lnTo>
                  <a:lnTo>
                    <a:pt x="2267" y="1693"/>
                  </a:lnTo>
                  <a:lnTo>
                    <a:pt x="2255" y="1698"/>
                  </a:lnTo>
                  <a:lnTo>
                    <a:pt x="2242" y="1703"/>
                  </a:lnTo>
                  <a:lnTo>
                    <a:pt x="2228" y="1707"/>
                  </a:lnTo>
                  <a:lnTo>
                    <a:pt x="2212" y="1711"/>
                  </a:lnTo>
                  <a:lnTo>
                    <a:pt x="2194" y="1712"/>
                  </a:lnTo>
                  <a:lnTo>
                    <a:pt x="2194" y="1712"/>
                  </a:lnTo>
                  <a:lnTo>
                    <a:pt x="2180" y="1713"/>
                  </a:lnTo>
                  <a:lnTo>
                    <a:pt x="2166" y="1712"/>
                  </a:lnTo>
                  <a:lnTo>
                    <a:pt x="2152" y="1710"/>
                  </a:lnTo>
                  <a:lnTo>
                    <a:pt x="2139" y="1706"/>
                  </a:lnTo>
                  <a:lnTo>
                    <a:pt x="2127" y="1703"/>
                  </a:lnTo>
                  <a:lnTo>
                    <a:pt x="2115" y="1699"/>
                  </a:lnTo>
                  <a:lnTo>
                    <a:pt x="2103" y="1695"/>
                  </a:lnTo>
                  <a:lnTo>
                    <a:pt x="2092" y="1689"/>
                  </a:lnTo>
                  <a:lnTo>
                    <a:pt x="2082" y="1684"/>
                  </a:lnTo>
                  <a:lnTo>
                    <a:pt x="2073" y="1678"/>
                  </a:lnTo>
                  <a:lnTo>
                    <a:pt x="2064" y="1672"/>
                  </a:lnTo>
                  <a:lnTo>
                    <a:pt x="2056" y="1665"/>
                  </a:lnTo>
                  <a:lnTo>
                    <a:pt x="2048" y="1657"/>
                  </a:lnTo>
                  <a:lnTo>
                    <a:pt x="2042" y="1650"/>
                  </a:lnTo>
                  <a:lnTo>
                    <a:pt x="2036" y="1643"/>
                  </a:lnTo>
                  <a:lnTo>
                    <a:pt x="2031" y="1636"/>
                  </a:lnTo>
                  <a:lnTo>
                    <a:pt x="2031" y="1636"/>
                  </a:lnTo>
                  <a:lnTo>
                    <a:pt x="2022" y="1658"/>
                  </a:lnTo>
                  <a:lnTo>
                    <a:pt x="2013" y="1676"/>
                  </a:lnTo>
                  <a:lnTo>
                    <a:pt x="2007" y="1689"/>
                  </a:lnTo>
                  <a:lnTo>
                    <a:pt x="2007" y="1689"/>
                  </a:lnTo>
                  <a:lnTo>
                    <a:pt x="2003" y="1697"/>
                  </a:lnTo>
                  <a:lnTo>
                    <a:pt x="2000" y="1704"/>
                  </a:lnTo>
                  <a:lnTo>
                    <a:pt x="1998" y="1713"/>
                  </a:lnTo>
                  <a:lnTo>
                    <a:pt x="1997" y="1719"/>
                  </a:lnTo>
                  <a:lnTo>
                    <a:pt x="1997" y="1726"/>
                  </a:lnTo>
                  <a:lnTo>
                    <a:pt x="1997" y="1732"/>
                  </a:lnTo>
                  <a:lnTo>
                    <a:pt x="1999" y="1744"/>
                  </a:lnTo>
                  <a:lnTo>
                    <a:pt x="2001" y="1756"/>
                  </a:lnTo>
                  <a:lnTo>
                    <a:pt x="2003" y="1766"/>
                  </a:lnTo>
                  <a:lnTo>
                    <a:pt x="2004" y="1777"/>
                  </a:lnTo>
                  <a:lnTo>
                    <a:pt x="2003" y="1783"/>
                  </a:lnTo>
                  <a:lnTo>
                    <a:pt x="2001" y="1788"/>
                  </a:lnTo>
                  <a:lnTo>
                    <a:pt x="2001" y="1788"/>
                  </a:lnTo>
                  <a:lnTo>
                    <a:pt x="1999" y="1794"/>
                  </a:lnTo>
                  <a:lnTo>
                    <a:pt x="1995" y="1800"/>
                  </a:lnTo>
                  <a:lnTo>
                    <a:pt x="1986" y="1813"/>
                  </a:lnTo>
                  <a:lnTo>
                    <a:pt x="1973" y="1825"/>
                  </a:lnTo>
                  <a:lnTo>
                    <a:pt x="1960" y="1837"/>
                  </a:lnTo>
                  <a:lnTo>
                    <a:pt x="1945" y="1849"/>
                  </a:lnTo>
                  <a:lnTo>
                    <a:pt x="1931" y="1860"/>
                  </a:lnTo>
                  <a:lnTo>
                    <a:pt x="1904" y="1878"/>
                  </a:lnTo>
                  <a:lnTo>
                    <a:pt x="1904" y="1878"/>
                  </a:lnTo>
                  <a:lnTo>
                    <a:pt x="1886" y="1889"/>
                  </a:lnTo>
                  <a:lnTo>
                    <a:pt x="1864" y="1901"/>
                  </a:lnTo>
                  <a:lnTo>
                    <a:pt x="1842" y="1911"/>
                  </a:lnTo>
                  <a:lnTo>
                    <a:pt x="1819" y="1919"/>
                  </a:lnTo>
                  <a:lnTo>
                    <a:pt x="1798" y="1926"/>
                  </a:lnTo>
                  <a:lnTo>
                    <a:pt x="1779" y="1932"/>
                  </a:lnTo>
                  <a:lnTo>
                    <a:pt x="1754" y="1940"/>
                  </a:lnTo>
                  <a:lnTo>
                    <a:pt x="1754" y="1940"/>
                  </a:lnTo>
                  <a:lnTo>
                    <a:pt x="1779" y="1998"/>
                  </a:lnTo>
                  <a:lnTo>
                    <a:pt x="1811" y="2066"/>
                  </a:lnTo>
                  <a:lnTo>
                    <a:pt x="1811" y="2066"/>
                  </a:lnTo>
                  <a:lnTo>
                    <a:pt x="1833" y="2111"/>
                  </a:lnTo>
                  <a:lnTo>
                    <a:pt x="1862" y="2166"/>
                  </a:lnTo>
                  <a:lnTo>
                    <a:pt x="1877" y="2193"/>
                  </a:lnTo>
                  <a:lnTo>
                    <a:pt x="1893" y="2219"/>
                  </a:lnTo>
                  <a:lnTo>
                    <a:pt x="1909" y="2240"/>
                  </a:lnTo>
                  <a:lnTo>
                    <a:pt x="1916" y="2250"/>
                  </a:lnTo>
                  <a:lnTo>
                    <a:pt x="1924" y="2259"/>
                  </a:lnTo>
                  <a:lnTo>
                    <a:pt x="1924" y="2259"/>
                  </a:lnTo>
                  <a:lnTo>
                    <a:pt x="1940" y="2254"/>
                  </a:lnTo>
                  <a:lnTo>
                    <a:pt x="1957" y="2249"/>
                  </a:lnTo>
                  <a:lnTo>
                    <a:pt x="1980" y="2243"/>
                  </a:lnTo>
                  <a:lnTo>
                    <a:pt x="2004" y="2235"/>
                  </a:lnTo>
                  <a:lnTo>
                    <a:pt x="2031" y="2225"/>
                  </a:lnTo>
                  <a:lnTo>
                    <a:pt x="2057" y="2213"/>
                  </a:lnTo>
                  <a:lnTo>
                    <a:pt x="2071" y="2206"/>
                  </a:lnTo>
                  <a:lnTo>
                    <a:pt x="2083" y="2199"/>
                  </a:lnTo>
                  <a:lnTo>
                    <a:pt x="2083" y="2199"/>
                  </a:lnTo>
                  <a:lnTo>
                    <a:pt x="2105" y="2186"/>
                  </a:lnTo>
                  <a:lnTo>
                    <a:pt x="2126" y="2172"/>
                  </a:lnTo>
                  <a:lnTo>
                    <a:pt x="2145" y="2157"/>
                  </a:lnTo>
                  <a:lnTo>
                    <a:pt x="2162" y="2142"/>
                  </a:lnTo>
                  <a:lnTo>
                    <a:pt x="2177" y="2128"/>
                  </a:lnTo>
                  <a:lnTo>
                    <a:pt x="2189" y="2113"/>
                  </a:lnTo>
                  <a:lnTo>
                    <a:pt x="2199" y="2099"/>
                  </a:lnTo>
                  <a:lnTo>
                    <a:pt x="2207" y="2086"/>
                  </a:lnTo>
                  <a:lnTo>
                    <a:pt x="2207" y="2086"/>
                  </a:lnTo>
                  <a:lnTo>
                    <a:pt x="2190" y="2122"/>
                  </a:lnTo>
                  <a:lnTo>
                    <a:pt x="2175" y="2155"/>
                  </a:lnTo>
                  <a:lnTo>
                    <a:pt x="2161" y="2185"/>
                  </a:lnTo>
                  <a:lnTo>
                    <a:pt x="2146" y="2213"/>
                  </a:lnTo>
                  <a:lnTo>
                    <a:pt x="2132" y="2238"/>
                  </a:lnTo>
                  <a:lnTo>
                    <a:pt x="2119" y="2261"/>
                  </a:lnTo>
                  <a:lnTo>
                    <a:pt x="2105" y="2281"/>
                  </a:lnTo>
                  <a:lnTo>
                    <a:pt x="2092" y="2299"/>
                  </a:lnTo>
                  <a:lnTo>
                    <a:pt x="2080" y="2317"/>
                  </a:lnTo>
                  <a:lnTo>
                    <a:pt x="2068" y="2331"/>
                  </a:lnTo>
                  <a:lnTo>
                    <a:pt x="2055" y="2344"/>
                  </a:lnTo>
                  <a:lnTo>
                    <a:pt x="2044" y="2356"/>
                  </a:lnTo>
                  <a:lnTo>
                    <a:pt x="2033" y="2367"/>
                  </a:lnTo>
                  <a:lnTo>
                    <a:pt x="2022" y="2376"/>
                  </a:lnTo>
                  <a:lnTo>
                    <a:pt x="2011" y="2383"/>
                  </a:lnTo>
                  <a:lnTo>
                    <a:pt x="2000" y="2391"/>
                  </a:lnTo>
                  <a:lnTo>
                    <a:pt x="2000" y="2391"/>
                  </a:lnTo>
                  <a:lnTo>
                    <a:pt x="1907" y="2452"/>
                  </a:lnTo>
                  <a:lnTo>
                    <a:pt x="1797" y="2524"/>
                  </a:lnTo>
                  <a:lnTo>
                    <a:pt x="1735" y="2563"/>
                  </a:lnTo>
                  <a:lnTo>
                    <a:pt x="1671" y="2602"/>
                  </a:lnTo>
                  <a:lnTo>
                    <a:pt x="1602" y="2642"/>
                  </a:lnTo>
                  <a:lnTo>
                    <a:pt x="1532" y="2682"/>
                  </a:lnTo>
                  <a:lnTo>
                    <a:pt x="1459" y="2720"/>
                  </a:lnTo>
                  <a:lnTo>
                    <a:pt x="1422" y="2739"/>
                  </a:lnTo>
                  <a:lnTo>
                    <a:pt x="1384" y="2756"/>
                  </a:lnTo>
                  <a:lnTo>
                    <a:pt x="1347" y="2774"/>
                  </a:lnTo>
                  <a:lnTo>
                    <a:pt x="1308" y="2791"/>
                  </a:lnTo>
                  <a:lnTo>
                    <a:pt x="1269" y="2808"/>
                  </a:lnTo>
                  <a:lnTo>
                    <a:pt x="1230" y="2823"/>
                  </a:lnTo>
                  <a:lnTo>
                    <a:pt x="1190" y="2837"/>
                  </a:lnTo>
                  <a:lnTo>
                    <a:pt x="1151" y="2851"/>
                  </a:lnTo>
                  <a:lnTo>
                    <a:pt x="1111" y="2864"/>
                  </a:lnTo>
                  <a:lnTo>
                    <a:pt x="1072" y="2875"/>
                  </a:lnTo>
                  <a:lnTo>
                    <a:pt x="1032" y="2885"/>
                  </a:lnTo>
                  <a:lnTo>
                    <a:pt x="992" y="2893"/>
                  </a:lnTo>
                  <a:lnTo>
                    <a:pt x="952" y="2902"/>
                  </a:lnTo>
                  <a:lnTo>
                    <a:pt x="913" y="2908"/>
                  </a:lnTo>
                  <a:lnTo>
                    <a:pt x="913" y="2908"/>
                  </a:lnTo>
                  <a:lnTo>
                    <a:pt x="901" y="2908"/>
                  </a:lnTo>
                  <a:lnTo>
                    <a:pt x="889" y="2907"/>
                  </a:lnTo>
                  <a:lnTo>
                    <a:pt x="876" y="2904"/>
                  </a:lnTo>
                  <a:lnTo>
                    <a:pt x="863" y="2901"/>
                  </a:lnTo>
                  <a:lnTo>
                    <a:pt x="850" y="2898"/>
                  </a:lnTo>
                  <a:lnTo>
                    <a:pt x="836" y="2892"/>
                  </a:lnTo>
                  <a:lnTo>
                    <a:pt x="809" y="2880"/>
                  </a:lnTo>
                  <a:lnTo>
                    <a:pt x="781" y="2866"/>
                  </a:lnTo>
                  <a:lnTo>
                    <a:pt x="754" y="2850"/>
                  </a:lnTo>
                  <a:lnTo>
                    <a:pt x="726" y="2832"/>
                  </a:lnTo>
                  <a:lnTo>
                    <a:pt x="698" y="2813"/>
                  </a:lnTo>
                  <a:lnTo>
                    <a:pt x="672" y="2792"/>
                  </a:lnTo>
                  <a:lnTo>
                    <a:pt x="646" y="2772"/>
                  </a:lnTo>
                  <a:lnTo>
                    <a:pt x="623" y="2751"/>
                  </a:lnTo>
                  <a:lnTo>
                    <a:pt x="600" y="2731"/>
                  </a:lnTo>
                  <a:lnTo>
                    <a:pt x="581" y="2711"/>
                  </a:lnTo>
                  <a:lnTo>
                    <a:pt x="563" y="2694"/>
                  </a:lnTo>
                  <a:lnTo>
                    <a:pt x="548" y="2679"/>
                  </a:lnTo>
                  <a:lnTo>
                    <a:pt x="537" y="2665"/>
                  </a:lnTo>
                  <a:lnTo>
                    <a:pt x="537" y="2665"/>
                  </a:lnTo>
                  <a:lnTo>
                    <a:pt x="533" y="2661"/>
                  </a:lnTo>
                  <a:lnTo>
                    <a:pt x="530" y="2657"/>
                  </a:lnTo>
                  <a:lnTo>
                    <a:pt x="520" y="2652"/>
                  </a:lnTo>
                  <a:lnTo>
                    <a:pt x="512" y="2650"/>
                  </a:lnTo>
                  <a:lnTo>
                    <a:pt x="502" y="2649"/>
                  </a:lnTo>
                  <a:lnTo>
                    <a:pt x="493" y="2649"/>
                  </a:lnTo>
                  <a:lnTo>
                    <a:pt x="483" y="2651"/>
                  </a:lnTo>
                  <a:lnTo>
                    <a:pt x="473" y="2654"/>
                  </a:lnTo>
                  <a:lnTo>
                    <a:pt x="464" y="2658"/>
                  </a:lnTo>
                  <a:lnTo>
                    <a:pt x="447" y="2666"/>
                  </a:lnTo>
                  <a:lnTo>
                    <a:pt x="433" y="2676"/>
                  </a:lnTo>
                  <a:lnTo>
                    <a:pt x="419" y="2686"/>
                  </a:lnTo>
                  <a:lnTo>
                    <a:pt x="419" y="2686"/>
                  </a:lnTo>
                  <a:lnTo>
                    <a:pt x="412" y="2685"/>
                  </a:lnTo>
                  <a:lnTo>
                    <a:pt x="393" y="2683"/>
                  </a:lnTo>
                  <a:lnTo>
                    <a:pt x="379" y="2683"/>
                  </a:lnTo>
                  <a:lnTo>
                    <a:pt x="364" y="2683"/>
                  </a:lnTo>
                  <a:lnTo>
                    <a:pt x="348" y="2684"/>
                  </a:lnTo>
                  <a:lnTo>
                    <a:pt x="329" y="2686"/>
                  </a:lnTo>
                  <a:lnTo>
                    <a:pt x="310" y="2689"/>
                  </a:lnTo>
                  <a:lnTo>
                    <a:pt x="290" y="2694"/>
                  </a:lnTo>
                  <a:lnTo>
                    <a:pt x="271" y="2700"/>
                  </a:lnTo>
                  <a:lnTo>
                    <a:pt x="252" y="2709"/>
                  </a:lnTo>
                  <a:lnTo>
                    <a:pt x="242" y="2715"/>
                  </a:lnTo>
                  <a:lnTo>
                    <a:pt x="233" y="2720"/>
                  </a:lnTo>
                  <a:lnTo>
                    <a:pt x="224" y="2726"/>
                  </a:lnTo>
                  <a:lnTo>
                    <a:pt x="216" y="2733"/>
                  </a:lnTo>
                  <a:lnTo>
                    <a:pt x="207" y="2741"/>
                  </a:lnTo>
                  <a:lnTo>
                    <a:pt x="199" y="2749"/>
                  </a:lnTo>
                  <a:lnTo>
                    <a:pt x="191" y="2759"/>
                  </a:lnTo>
                  <a:lnTo>
                    <a:pt x="184" y="2768"/>
                  </a:lnTo>
                  <a:lnTo>
                    <a:pt x="184" y="2768"/>
                  </a:lnTo>
                  <a:lnTo>
                    <a:pt x="183" y="2771"/>
                  </a:lnTo>
                  <a:lnTo>
                    <a:pt x="185" y="2773"/>
                  </a:lnTo>
                  <a:lnTo>
                    <a:pt x="188" y="2774"/>
                  </a:lnTo>
                  <a:lnTo>
                    <a:pt x="193" y="2774"/>
                  </a:lnTo>
                  <a:lnTo>
                    <a:pt x="210" y="2772"/>
                  </a:lnTo>
                  <a:lnTo>
                    <a:pt x="230" y="2770"/>
                  </a:lnTo>
                  <a:lnTo>
                    <a:pt x="255" y="2768"/>
                  </a:lnTo>
                  <a:lnTo>
                    <a:pt x="280" y="2767"/>
                  </a:lnTo>
                  <a:lnTo>
                    <a:pt x="293" y="2768"/>
                  </a:lnTo>
                  <a:lnTo>
                    <a:pt x="307" y="2769"/>
                  </a:lnTo>
                  <a:lnTo>
                    <a:pt x="319" y="2771"/>
                  </a:lnTo>
                  <a:lnTo>
                    <a:pt x="331" y="2774"/>
                  </a:lnTo>
                  <a:lnTo>
                    <a:pt x="331" y="2774"/>
                  </a:lnTo>
                  <a:lnTo>
                    <a:pt x="338" y="2777"/>
                  </a:lnTo>
                  <a:lnTo>
                    <a:pt x="343" y="2780"/>
                  </a:lnTo>
                  <a:lnTo>
                    <a:pt x="346" y="2783"/>
                  </a:lnTo>
                  <a:lnTo>
                    <a:pt x="347" y="2786"/>
                  </a:lnTo>
                  <a:lnTo>
                    <a:pt x="347" y="2789"/>
                  </a:lnTo>
                  <a:lnTo>
                    <a:pt x="345" y="2793"/>
                  </a:lnTo>
                  <a:lnTo>
                    <a:pt x="339" y="2801"/>
                  </a:lnTo>
                  <a:lnTo>
                    <a:pt x="332" y="2811"/>
                  </a:lnTo>
                  <a:lnTo>
                    <a:pt x="325" y="2822"/>
                  </a:lnTo>
                  <a:lnTo>
                    <a:pt x="321" y="2828"/>
                  </a:lnTo>
                  <a:lnTo>
                    <a:pt x="319" y="2834"/>
                  </a:lnTo>
                  <a:lnTo>
                    <a:pt x="317" y="2840"/>
                  </a:lnTo>
                  <a:lnTo>
                    <a:pt x="317" y="2847"/>
                  </a:lnTo>
                  <a:lnTo>
                    <a:pt x="317" y="2847"/>
                  </a:lnTo>
                  <a:lnTo>
                    <a:pt x="317" y="2853"/>
                  </a:lnTo>
                  <a:lnTo>
                    <a:pt x="319" y="2859"/>
                  </a:lnTo>
                  <a:lnTo>
                    <a:pt x="321" y="2864"/>
                  </a:lnTo>
                  <a:lnTo>
                    <a:pt x="324" y="2869"/>
                  </a:lnTo>
                  <a:lnTo>
                    <a:pt x="328" y="2874"/>
                  </a:lnTo>
                  <a:lnTo>
                    <a:pt x="333" y="2879"/>
                  </a:lnTo>
                  <a:lnTo>
                    <a:pt x="346" y="2889"/>
                  </a:lnTo>
                  <a:lnTo>
                    <a:pt x="361" y="2899"/>
                  </a:lnTo>
                  <a:lnTo>
                    <a:pt x="377" y="2908"/>
                  </a:lnTo>
                  <a:lnTo>
                    <a:pt x="397" y="2917"/>
                  </a:lnTo>
                  <a:lnTo>
                    <a:pt x="416" y="2925"/>
                  </a:lnTo>
                  <a:lnTo>
                    <a:pt x="458" y="2941"/>
                  </a:lnTo>
                  <a:lnTo>
                    <a:pt x="500" y="2955"/>
                  </a:lnTo>
                  <a:lnTo>
                    <a:pt x="571" y="2976"/>
                  </a:lnTo>
                  <a:lnTo>
                    <a:pt x="571" y="2976"/>
                  </a:lnTo>
                  <a:lnTo>
                    <a:pt x="579" y="2980"/>
                  </a:lnTo>
                  <a:lnTo>
                    <a:pt x="585" y="2984"/>
                  </a:lnTo>
                  <a:lnTo>
                    <a:pt x="588" y="2990"/>
                  </a:lnTo>
                  <a:lnTo>
                    <a:pt x="590" y="2995"/>
                  </a:lnTo>
                  <a:lnTo>
                    <a:pt x="590" y="2999"/>
                  </a:lnTo>
                  <a:lnTo>
                    <a:pt x="588" y="3003"/>
                  </a:lnTo>
                  <a:lnTo>
                    <a:pt x="585" y="3005"/>
                  </a:lnTo>
                  <a:lnTo>
                    <a:pt x="581" y="3006"/>
                  </a:lnTo>
                  <a:lnTo>
                    <a:pt x="581" y="3006"/>
                  </a:lnTo>
                  <a:lnTo>
                    <a:pt x="556" y="3005"/>
                  </a:lnTo>
                  <a:lnTo>
                    <a:pt x="532" y="3002"/>
                  </a:lnTo>
                  <a:lnTo>
                    <a:pt x="509" y="2999"/>
                  </a:lnTo>
                  <a:lnTo>
                    <a:pt x="488" y="2994"/>
                  </a:lnTo>
                  <a:lnTo>
                    <a:pt x="467" y="2989"/>
                  </a:lnTo>
                  <a:lnTo>
                    <a:pt x="448" y="2982"/>
                  </a:lnTo>
                  <a:lnTo>
                    <a:pt x="429" y="2976"/>
                  </a:lnTo>
                  <a:lnTo>
                    <a:pt x="412" y="2970"/>
                  </a:lnTo>
                  <a:lnTo>
                    <a:pt x="380" y="2957"/>
                  </a:lnTo>
                  <a:lnTo>
                    <a:pt x="352" y="2945"/>
                  </a:lnTo>
                  <a:lnTo>
                    <a:pt x="327" y="2933"/>
                  </a:lnTo>
                  <a:lnTo>
                    <a:pt x="316" y="2929"/>
                  </a:lnTo>
                  <a:lnTo>
                    <a:pt x="305" y="2925"/>
                  </a:lnTo>
                  <a:lnTo>
                    <a:pt x="305" y="2925"/>
                  </a:lnTo>
                  <a:lnTo>
                    <a:pt x="286" y="2920"/>
                  </a:lnTo>
                  <a:lnTo>
                    <a:pt x="268" y="2916"/>
                  </a:lnTo>
                  <a:lnTo>
                    <a:pt x="253" y="2913"/>
                  </a:lnTo>
                  <a:lnTo>
                    <a:pt x="237" y="2911"/>
                  </a:lnTo>
                  <a:lnTo>
                    <a:pt x="224" y="2910"/>
                  </a:lnTo>
                  <a:lnTo>
                    <a:pt x="213" y="2911"/>
                  </a:lnTo>
                  <a:lnTo>
                    <a:pt x="202" y="2912"/>
                  </a:lnTo>
                  <a:lnTo>
                    <a:pt x="192" y="2914"/>
                  </a:lnTo>
                  <a:lnTo>
                    <a:pt x="185" y="2918"/>
                  </a:lnTo>
                  <a:lnTo>
                    <a:pt x="178" y="2922"/>
                  </a:lnTo>
                  <a:lnTo>
                    <a:pt x="172" y="2927"/>
                  </a:lnTo>
                  <a:lnTo>
                    <a:pt x="167" y="2933"/>
                  </a:lnTo>
                  <a:lnTo>
                    <a:pt x="163" y="2939"/>
                  </a:lnTo>
                  <a:lnTo>
                    <a:pt x="160" y="2948"/>
                  </a:lnTo>
                  <a:lnTo>
                    <a:pt x="156" y="2956"/>
                  </a:lnTo>
                  <a:lnTo>
                    <a:pt x="155" y="2965"/>
                  </a:lnTo>
                  <a:lnTo>
                    <a:pt x="155" y="2965"/>
                  </a:lnTo>
                  <a:lnTo>
                    <a:pt x="154" y="2968"/>
                  </a:lnTo>
                  <a:lnTo>
                    <a:pt x="152" y="2971"/>
                  </a:lnTo>
                  <a:lnTo>
                    <a:pt x="150" y="2974"/>
                  </a:lnTo>
                  <a:lnTo>
                    <a:pt x="147" y="2976"/>
                  </a:lnTo>
                  <a:lnTo>
                    <a:pt x="140" y="2980"/>
                  </a:lnTo>
                  <a:lnTo>
                    <a:pt x="132" y="2985"/>
                  </a:lnTo>
                  <a:lnTo>
                    <a:pt x="109" y="2995"/>
                  </a:lnTo>
                  <a:lnTo>
                    <a:pt x="97" y="3001"/>
                  </a:lnTo>
                  <a:lnTo>
                    <a:pt x="84" y="3009"/>
                  </a:lnTo>
                  <a:lnTo>
                    <a:pt x="71" y="3019"/>
                  </a:lnTo>
                  <a:lnTo>
                    <a:pt x="57" y="3033"/>
                  </a:lnTo>
                  <a:lnTo>
                    <a:pt x="51" y="3040"/>
                  </a:lnTo>
                  <a:lnTo>
                    <a:pt x="45" y="3048"/>
                  </a:lnTo>
                  <a:lnTo>
                    <a:pt x="39" y="3058"/>
                  </a:lnTo>
                  <a:lnTo>
                    <a:pt x="33" y="3068"/>
                  </a:lnTo>
                  <a:lnTo>
                    <a:pt x="28" y="3080"/>
                  </a:lnTo>
                  <a:lnTo>
                    <a:pt x="22" y="3092"/>
                  </a:lnTo>
                  <a:lnTo>
                    <a:pt x="17" y="3106"/>
                  </a:lnTo>
                  <a:lnTo>
                    <a:pt x="13" y="3120"/>
                  </a:lnTo>
                  <a:lnTo>
                    <a:pt x="9" y="3137"/>
                  </a:lnTo>
                  <a:lnTo>
                    <a:pt x="6" y="3154"/>
                  </a:lnTo>
                  <a:lnTo>
                    <a:pt x="3" y="3174"/>
                  </a:lnTo>
                  <a:lnTo>
                    <a:pt x="0" y="3194"/>
                  </a:lnTo>
                  <a:lnTo>
                    <a:pt x="0" y="3194"/>
                  </a:lnTo>
                  <a:lnTo>
                    <a:pt x="1" y="3195"/>
                  </a:lnTo>
                  <a:lnTo>
                    <a:pt x="2" y="3196"/>
                  </a:lnTo>
                  <a:lnTo>
                    <a:pt x="6" y="3194"/>
                  </a:lnTo>
                  <a:lnTo>
                    <a:pt x="12" y="3189"/>
                  </a:lnTo>
                  <a:lnTo>
                    <a:pt x="20" y="3181"/>
                  </a:lnTo>
                  <a:lnTo>
                    <a:pt x="43" y="3158"/>
                  </a:lnTo>
                  <a:lnTo>
                    <a:pt x="69" y="3134"/>
                  </a:lnTo>
                  <a:lnTo>
                    <a:pt x="82" y="3121"/>
                  </a:lnTo>
                  <a:lnTo>
                    <a:pt x="95" y="3110"/>
                  </a:lnTo>
                  <a:lnTo>
                    <a:pt x="107" y="3101"/>
                  </a:lnTo>
                  <a:lnTo>
                    <a:pt x="119" y="3094"/>
                  </a:lnTo>
                  <a:lnTo>
                    <a:pt x="124" y="3091"/>
                  </a:lnTo>
                  <a:lnTo>
                    <a:pt x="129" y="3090"/>
                  </a:lnTo>
                  <a:lnTo>
                    <a:pt x="133" y="3089"/>
                  </a:lnTo>
                  <a:lnTo>
                    <a:pt x="137" y="3089"/>
                  </a:lnTo>
                  <a:lnTo>
                    <a:pt x="140" y="3091"/>
                  </a:lnTo>
                  <a:lnTo>
                    <a:pt x="143" y="3093"/>
                  </a:lnTo>
                  <a:lnTo>
                    <a:pt x="144" y="3097"/>
                  </a:lnTo>
                  <a:lnTo>
                    <a:pt x="146" y="3101"/>
                  </a:lnTo>
                  <a:lnTo>
                    <a:pt x="146" y="3101"/>
                  </a:lnTo>
                  <a:lnTo>
                    <a:pt x="149" y="3117"/>
                  </a:lnTo>
                  <a:lnTo>
                    <a:pt x="154" y="3132"/>
                  </a:lnTo>
                  <a:lnTo>
                    <a:pt x="162" y="3145"/>
                  </a:lnTo>
                  <a:lnTo>
                    <a:pt x="170" y="3155"/>
                  </a:lnTo>
                  <a:lnTo>
                    <a:pt x="179" y="3165"/>
                  </a:lnTo>
                  <a:lnTo>
                    <a:pt x="189" y="3173"/>
                  </a:lnTo>
                  <a:lnTo>
                    <a:pt x="200" y="3180"/>
                  </a:lnTo>
                  <a:lnTo>
                    <a:pt x="214" y="3185"/>
                  </a:lnTo>
                  <a:lnTo>
                    <a:pt x="227" y="3189"/>
                  </a:lnTo>
                  <a:lnTo>
                    <a:pt x="241" y="3191"/>
                  </a:lnTo>
                  <a:lnTo>
                    <a:pt x="256" y="3193"/>
                  </a:lnTo>
                  <a:lnTo>
                    <a:pt x="271" y="3194"/>
                  </a:lnTo>
                  <a:lnTo>
                    <a:pt x="287" y="3195"/>
                  </a:lnTo>
                  <a:lnTo>
                    <a:pt x="304" y="3194"/>
                  </a:lnTo>
                  <a:lnTo>
                    <a:pt x="337" y="3192"/>
                  </a:lnTo>
                  <a:lnTo>
                    <a:pt x="371" y="3188"/>
                  </a:lnTo>
                  <a:lnTo>
                    <a:pt x="405" y="3183"/>
                  </a:lnTo>
                  <a:lnTo>
                    <a:pt x="438" y="3178"/>
                  </a:lnTo>
                  <a:lnTo>
                    <a:pt x="468" y="3174"/>
                  </a:lnTo>
                  <a:lnTo>
                    <a:pt x="496" y="3172"/>
                  </a:lnTo>
                  <a:lnTo>
                    <a:pt x="509" y="3171"/>
                  </a:lnTo>
                  <a:lnTo>
                    <a:pt x="520" y="3171"/>
                  </a:lnTo>
                  <a:lnTo>
                    <a:pt x="531" y="3172"/>
                  </a:lnTo>
                  <a:lnTo>
                    <a:pt x="541" y="3174"/>
                  </a:lnTo>
                  <a:lnTo>
                    <a:pt x="549" y="3177"/>
                  </a:lnTo>
                  <a:lnTo>
                    <a:pt x="555" y="3181"/>
                  </a:lnTo>
                  <a:lnTo>
                    <a:pt x="555" y="3181"/>
                  </a:lnTo>
                  <a:lnTo>
                    <a:pt x="558" y="3184"/>
                  </a:lnTo>
                  <a:lnTo>
                    <a:pt x="559" y="3186"/>
                  </a:lnTo>
                  <a:lnTo>
                    <a:pt x="557" y="3189"/>
                  </a:lnTo>
                  <a:lnTo>
                    <a:pt x="554" y="3191"/>
                  </a:lnTo>
                  <a:lnTo>
                    <a:pt x="549" y="3194"/>
                  </a:lnTo>
                  <a:lnTo>
                    <a:pt x="542" y="3196"/>
                  </a:lnTo>
                  <a:lnTo>
                    <a:pt x="525" y="3200"/>
                  </a:lnTo>
                  <a:lnTo>
                    <a:pt x="475" y="3209"/>
                  </a:lnTo>
                  <a:lnTo>
                    <a:pt x="447" y="3215"/>
                  </a:lnTo>
                  <a:lnTo>
                    <a:pt x="417" y="3221"/>
                  </a:lnTo>
                  <a:lnTo>
                    <a:pt x="388" y="3228"/>
                  </a:lnTo>
                  <a:lnTo>
                    <a:pt x="359" y="3236"/>
                  </a:lnTo>
                  <a:lnTo>
                    <a:pt x="346" y="3240"/>
                  </a:lnTo>
                  <a:lnTo>
                    <a:pt x="333" y="3245"/>
                  </a:lnTo>
                  <a:lnTo>
                    <a:pt x="322" y="3250"/>
                  </a:lnTo>
                  <a:lnTo>
                    <a:pt x="312" y="3256"/>
                  </a:lnTo>
                  <a:lnTo>
                    <a:pt x="303" y="3263"/>
                  </a:lnTo>
                  <a:lnTo>
                    <a:pt x="294" y="3269"/>
                  </a:lnTo>
                  <a:lnTo>
                    <a:pt x="288" y="3276"/>
                  </a:lnTo>
                  <a:lnTo>
                    <a:pt x="284" y="3284"/>
                  </a:lnTo>
                  <a:lnTo>
                    <a:pt x="282" y="3292"/>
                  </a:lnTo>
                  <a:lnTo>
                    <a:pt x="281" y="3300"/>
                  </a:lnTo>
                  <a:lnTo>
                    <a:pt x="283" y="3311"/>
                  </a:lnTo>
                  <a:lnTo>
                    <a:pt x="287" y="3321"/>
                  </a:lnTo>
                  <a:lnTo>
                    <a:pt x="287" y="3321"/>
                  </a:lnTo>
                  <a:lnTo>
                    <a:pt x="287" y="3322"/>
                  </a:lnTo>
                  <a:lnTo>
                    <a:pt x="286" y="3325"/>
                  </a:lnTo>
                  <a:lnTo>
                    <a:pt x="283" y="3331"/>
                  </a:lnTo>
                  <a:lnTo>
                    <a:pt x="268" y="3348"/>
                  </a:lnTo>
                  <a:lnTo>
                    <a:pt x="258" y="3361"/>
                  </a:lnTo>
                  <a:lnTo>
                    <a:pt x="247" y="3374"/>
                  </a:lnTo>
                  <a:lnTo>
                    <a:pt x="237" y="3389"/>
                  </a:lnTo>
                  <a:lnTo>
                    <a:pt x="228" y="3406"/>
                  </a:lnTo>
                  <a:lnTo>
                    <a:pt x="220" y="3423"/>
                  </a:lnTo>
                  <a:lnTo>
                    <a:pt x="217" y="3432"/>
                  </a:lnTo>
                  <a:lnTo>
                    <a:pt x="214" y="3443"/>
                  </a:lnTo>
                  <a:lnTo>
                    <a:pt x="213" y="3452"/>
                  </a:lnTo>
                  <a:lnTo>
                    <a:pt x="212" y="3463"/>
                  </a:lnTo>
                  <a:lnTo>
                    <a:pt x="212" y="3473"/>
                  </a:lnTo>
                  <a:lnTo>
                    <a:pt x="213" y="3483"/>
                  </a:lnTo>
                  <a:lnTo>
                    <a:pt x="215" y="3495"/>
                  </a:lnTo>
                  <a:lnTo>
                    <a:pt x="219" y="3506"/>
                  </a:lnTo>
                  <a:lnTo>
                    <a:pt x="223" y="3518"/>
                  </a:lnTo>
                  <a:lnTo>
                    <a:pt x="229" y="3529"/>
                  </a:lnTo>
                  <a:lnTo>
                    <a:pt x="237" y="3542"/>
                  </a:lnTo>
                  <a:lnTo>
                    <a:pt x="246" y="3554"/>
                  </a:lnTo>
                  <a:lnTo>
                    <a:pt x="257" y="3566"/>
                  </a:lnTo>
                  <a:lnTo>
                    <a:pt x="270" y="3579"/>
                  </a:lnTo>
                  <a:lnTo>
                    <a:pt x="270" y="3579"/>
                  </a:lnTo>
                  <a:lnTo>
                    <a:pt x="270" y="3572"/>
                  </a:lnTo>
                  <a:lnTo>
                    <a:pt x="272" y="3555"/>
                  </a:lnTo>
                  <a:lnTo>
                    <a:pt x="277" y="3530"/>
                  </a:lnTo>
                  <a:lnTo>
                    <a:pt x="281" y="3517"/>
                  </a:lnTo>
                  <a:lnTo>
                    <a:pt x="285" y="3503"/>
                  </a:lnTo>
                  <a:lnTo>
                    <a:pt x="291" y="3490"/>
                  </a:lnTo>
                  <a:lnTo>
                    <a:pt x="298" y="3476"/>
                  </a:lnTo>
                  <a:lnTo>
                    <a:pt x="306" y="3463"/>
                  </a:lnTo>
                  <a:lnTo>
                    <a:pt x="315" y="3453"/>
                  </a:lnTo>
                  <a:lnTo>
                    <a:pt x="321" y="3448"/>
                  </a:lnTo>
                  <a:lnTo>
                    <a:pt x="326" y="3444"/>
                  </a:lnTo>
                  <a:lnTo>
                    <a:pt x="332" y="3439"/>
                  </a:lnTo>
                  <a:lnTo>
                    <a:pt x="339" y="3436"/>
                  </a:lnTo>
                  <a:lnTo>
                    <a:pt x="346" y="3434"/>
                  </a:lnTo>
                  <a:lnTo>
                    <a:pt x="354" y="3432"/>
                  </a:lnTo>
                  <a:lnTo>
                    <a:pt x="361" y="3432"/>
                  </a:lnTo>
                  <a:lnTo>
                    <a:pt x="369" y="3432"/>
                  </a:lnTo>
                  <a:lnTo>
                    <a:pt x="369" y="3432"/>
                  </a:lnTo>
                  <a:lnTo>
                    <a:pt x="383" y="3433"/>
                  </a:lnTo>
                  <a:lnTo>
                    <a:pt x="396" y="3436"/>
                  </a:lnTo>
                  <a:lnTo>
                    <a:pt x="408" y="3440"/>
                  </a:lnTo>
                  <a:lnTo>
                    <a:pt x="420" y="3445"/>
                  </a:lnTo>
                  <a:lnTo>
                    <a:pt x="443" y="3455"/>
                  </a:lnTo>
                  <a:lnTo>
                    <a:pt x="454" y="3459"/>
                  </a:lnTo>
                  <a:lnTo>
                    <a:pt x="465" y="3463"/>
                  </a:lnTo>
                  <a:lnTo>
                    <a:pt x="476" y="3466"/>
                  </a:lnTo>
                  <a:lnTo>
                    <a:pt x="489" y="3468"/>
                  </a:lnTo>
                  <a:lnTo>
                    <a:pt x="501" y="3469"/>
                  </a:lnTo>
                  <a:lnTo>
                    <a:pt x="514" y="3467"/>
                  </a:lnTo>
                  <a:lnTo>
                    <a:pt x="528" y="3464"/>
                  </a:lnTo>
                  <a:lnTo>
                    <a:pt x="542" y="3458"/>
                  </a:lnTo>
                  <a:lnTo>
                    <a:pt x="558" y="3450"/>
                  </a:lnTo>
                  <a:lnTo>
                    <a:pt x="575" y="3437"/>
                  </a:lnTo>
                  <a:lnTo>
                    <a:pt x="575" y="3437"/>
                  </a:lnTo>
                  <a:lnTo>
                    <a:pt x="588" y="3428"/>
                  </a:lnTo>
                  <a:lnTo>
                    <a:pt x="600" y="3417"/>
                  </a:lnTo>
                  <a:lnTo>
                    <a:pt x="614" y="3405"/>
                  </a:lnTo>
                  <a:lnTo>
                    <a:pt x="630" y="3392"/>
                  </a:lnTo>
                  <a:lnTo>
                    <a:pt x="651" y="3380"/>
                  </a:lnTo>
                  <a:lnTo>
                    <a:pt x="664" y="3373"/>
                  </a:lnTo>
                  <a:lnTo>
                    <a:pt x="678" y="3367"/>
                  </a:lnTo>
                  <a:lnTo>
                    <a:pt x="693" y="3360"/>
                  </a:lnTo>
                  <a:lnTo>
                    <a:pt x="712" y="3354"/>
                  </a:lnTo>
                  <a:lnTo>
                    <a:pt x="732" y="3346"/>
                  </a:lnTo>
                  <a:lnTo>
                    <a:pt x="754" y="3339"/>
                  </a:lnTo>
                  <a:lnTo>
                    <a:pt x="754" y="3339"/>
                  </a:lnTo>
                  <a:lnTo>
                    <a:pt x="756" y="3339"/>
                  </a:lnTo>
                  <a:lnTo>
                    <a:pt x="757" y="3340"/>
                  </a:lnTo>
                  <a:lnTo>
                    <a:pt x="760" y="3345"/>
                  </a:lnTo>
                  <a:lnTo>
                    <a:pt x="762" y="3354"/>
                  </a:lnTo>
                  <a:lnTo>
                    <a:pt x="765" y="3363"/>
                  </a:lnTo>
                  <a:lnTo>
                    <a:pt x="768" y="3375"/>
                  </a:lnTo>
                  <a:lnTo>
                    <a:pt x="772" y="3387"/>
                  </a:lnTo>
                  <a:lnTo>
                    <a:pt x="777" y="3400"/>
                  </a:lnTo>
                  <a:lnTo>
                    <a:pt x="783" y="3412"/>
                  </a:lnTo>
                  <a:lnTo>
                    <a:pt x="783" y="3412"/>
                  </a:lnTo>
                  <a:lnTo>
                    <a:pt x="786" y="3415"/>
                  </a:lnTo>
                  <a:lnTo>
                    <a:pt x="789" y="3417"/>
                  </a:lnTo>
                  <a:lnTo>
                    <a:pt x="797" y="3422"/>
                  </a:lnTo>
                  <a:lnTo>
                    <a:pt x="805" y="3425"/>
                  </a:lnTo>
                  <a:lnTo>
                    <a:pt x="813" y="3429"/>
                  </a:lnTo>
                  <a:lnTo>
                    <a:pt x="821" y="3432"/>
                  </a:lnTo>
                  <a:lnTo>
                    <a:pt x="827" y="3435"/>
                  </a:lnTo>
                  <a:lnTo>
                    <a:pt x="830" y="3437"/>
                  </a:lnTo>
                  <a:lnTo>
                    <a:pt x="831" y="3439"/>
                  </a:lnTo>
                  <a:lnTo>
                    <a:pt x="833" y="3443"/>
                  </a:lnTo>
                  <a:lnTo>
                    <a:pt x="833" y="3446"/>
                  </a:lnTo>
                  <a:lnTo>
                    <a:pt x="833" y="3446"/>
                  </a:lnTo>
                  <a:lnTo>
                    <a:pt x="832" y="3456"/>
                  </a:lnTo>
                  <a:lnTo>
                    <a:pt x="830" y="3467"/>
                  </a:lnTo>
                  <a:lnTo>
                    <a:pt x="826" y="3477"/>
                  </a:lnTo>
                  <a:lnTo>
                    <a:pt x="822" y="3486"/>
                  </a:lnTo>
                  <a:lnTo>
                    <a:pt x="817" y="3496"/>
                  </a:lnTo>
                  <a:lnTo>
                    <a:pt x="811" y="3505"/>
                  </a:lnTo>
                  <a:lnTo>
                    <a:pt x="798" y="3521"/>
                  </a:lnTo>
                  <a:lnTo>
                    <a:pt x="784" y="3535"/>
                  </a:lnTo>
                  <a:lnTo>
                    <a:pt x="773" y="3546"/>
                  </a:lnTo>
                  <a:lnTo>
                    <a:pt x="765" y="3552"/>
                  </a:lnTo>
                  <a:lnTo>
                    <a:pt x="763" y="3555"/>
                  </a:lnTo>
                  <a:lnTo>
                    <a:pt x="763" y="3555"/>
                  </a:lnTo>
                  <a:lnTo>
                    <a:pt x="767" y="3558"/>
                  </a:lnTo>
                  <a:lnTo>
                    <a:pt x="778" y="3561"/>
                  </a:lnTo>
                  <a:lnTo>
                    <a:pt x="785" y="3562"/>
                  </a:lnTo>
                  <a:lnTo>
                    <a:pt x="794" y="3563"/>
                  </a:lnTo>
                  <a:lnTo>
                    <a:pt x="804" y="3563"/>
                  </a:lnTo>
                  <a:lnTo>
                    <a:pt x="815" y="3561"/>
                  </a:lnTo>
                  <a:lnTo>
                    <a:pt x="826" y="3558"/>
                  </a:lnTo>
                  <a:lnTo>
                    <a:pt x="839" y="3553"/>
                  </a:lnTo>
                  <a:lnTo>
                    <a:pt x="852" y="3546"/>
                  </a:lnTo>
                  <a:lnTo>
                    <a:pt x="865" y="3536"/>
                  </a:lnTo>
                  <a:lnTo>
                    <a:pt x="879" y="3522"/>
                  </a:lnTo>
                  <a:lnTo>
                    <a:pt x="894" y="3506"/>
                  </a:lnTo>
                  <a:lnTo>
                    <a:pt x="907" y="3486"/>
                  </a:lnTo>
                  <a:lnTo>
                    <a:pt x="921" y="3463"/>
                  </a:lnTo>
                  <a:lnTo>
                    <a:pt x="921" y="3463"/>
                  </a:lnTo>
                  <a:lnTo>
                    <a:pt x="924" y="3459"/>
                  </a:lnTo>
                  <a:lnTo>
                    <a:pt x="927" y="3455"/>
                  </a:lnTo>
                  <a:lnTo>
                    <a:pt x="930" y="3453"/>
                  </a:lnTo>
                  <a:lnTo>
                    <a:pt x="935" y="3451"/>
                  </a:lnTo>
                  <a:lnTo>
                    <a:pt x="939" y="3450"/>
                  </a:lnTo>
                  <a:lnTo>
                    <a:pt x="943" y="3450"/>
                  </a:lnTo>
                  <a:lnTo>
                    <a:pt x="951" y="3450"/>
                  </a:lnTo>
                  <a:lnTo>
                    <a:pt x="970" y="3452"/>
                  </a:lnTo>
                  <a:lnTo>
                    <a:pt x="982" y="3452"/>
                  </a:lnTo>
                  <a:lnTo>
                    <a:pt x="987" y="3451"/>
                  </a:lnTo>
                  <a:lnTo>
                    <a:pt x="992" y="3450"/>
                  </a:lnTo>
                  <a:lnTo>
                    <a:pt x="992" y="3450"/>
                  </a:lnTo>
                  <a:lnTo>
                    <a:pt x="1010" y="3444"/>
                  </a:lnTo>
                  <a:lnTo>
                    <a:pt x="1017" y="3439"/>
                  </a:lnTo>
                  <a:lnTo>
                    <a:pt x="1024" y="3435"/>
                  </a:lnTo>
                  <a:lnTo>
                    <a:pt x="1029" y="3432"/>
                  </a:lnTo>
                  <a:lnTo>
                    <a:pt x="1033" y="3428"/>
                  </a:lnTo>
                  <a:lnTo>
                    <a:pt x="1036" y="3424"/>
                  </a:lnTo>
                  <a:lnTo>
                    <a:pt x="1039" y="3419"/>
                  </a:lnTo>
                  <a:lnTo>
                    <a:pt x="1041" y="3415"/>
                  </a:lnTo>
                  <a:lnTo>
                    <a:pt x="1042" y="3410"/>
                  </a:lnTo>
                  <a:lnTo>
                    <a:pt x="1043" y="3401"/>
                  </a:lnTo>
                  <a:lnTo>
                    <a:pt x="1042" y="3390"/>
                  </a:lnTo>
                  <a:lnTo>
                    <a:pt x="1040" y="3380"/>
                  </a:lnTo>
                  <a:lnTo>
                    <a:pt x="1035" y="3358"/>
                  </a:lnTo>
                  <a:lnTo>
                    <a:pt x="1034" y="3347"/>
                  </a:lnTo>
                  <a:lnTo>
                    <a:pt x="1033" y="3335"/>
                  </a:lnTo>
                  <a:lnTo>
                    <a:pt x="1034" y="3324"/>
                  </a:lnTo>
                  <a:lnTo>
                    <a:pt x="1036" y="3319"/>
                  </a:lnTo>
                  <a:lnTo>
                    <a:pt x="1038" y="3313"/>
                  </a:lnTo>
                  <a:lnTo>
                    <a:pt x="1040" y="3308"/>
                  </a:lnTo>
                  <a:lnTo>
                    <a:pt x="1044" y="3302"/>
                  </a:lnTo>
                  <a:lnTo>
                    <a:pt x="1048" y="3296"/>
                  </a:lnTo>
                  <a:lnTo>
                    <a:pt x="1054" y="3291"/>
                  </a:lnTo>
                  <a:lnTo>
                    <a:pt x="1054" y="3291"/>
                  </a:lnTo>
                  <a:lnTo>
                    <a:pt x="1069" y="3278"/>
                  </a:lnTo>
                  <a:lnTo>
                    <a:pt x="1084" y="3265"/>
                  </a:lnTo>
                  <a:lnTo>
                    <a:pt x="1099" y="3253"/>
                  </a:lnTo>
                  <a:lnTo>
                    <a:pt x="1115" y="3241"/>
                  </a:lnTo>
                  <a:lnTo>
                    <a:pt x="1146" y="3221"/>
                  </a:lnTo>
                  <a:lnTo>
                    <a:pt x="1178" y="3202"/>
                  </a:lnTo>
                  <a:lnTo>
                    <a:pt x="1210" y="3186"/>
                  </a:lnTo>
                  <a:lnTo>
                    <a:pt x="1241" y="3171"/>
                  </a:lnTo>
                  <a:lnTo>
                    <a:pt x="1273" y="3156"/>
                  </a:lnTo>
                  <a:lnTo>
                    <a:pt x="1304" y="3144"/>
                  </a:lnTo>
                  <a:lnTo>
                    <a:pt x="1304" y="3144"/>
                  </a:lnTo>
                  <a:lnTo>
                    <a:pt x="1303" y="3148"/>
                  </a:lnTo>
                  <a:lnTo>
                    <a:pt x="1299" y="3160"/>
                  </a:lnTo>
                  <a:lnTo>
                    <a:pt x="1294" y="3180"/>
                  </a:lnTo>
                  <a:lnTo>
                    <a:pt x="1291" y="3203"/>
                  </a:lnTo>
                  <a:lnTo>
                    <a:pt x="1290" y="3218"/>
                  </a:lnTo>
                  <a:lnTo>
                    <a:pt x="1290" y="3232"/>
                  </a:lnTo>
                  <a:lnTo>
                    <a:pt x="1291" y="3247"/>
                  </a:lnTo>
                  <a:lnTo>
                    <a:pt x="1292" y="3264"/>
                  </a:lnTo>
                  <a:lnTo>
                    <a:pt x="1296" y="3280"/>
                  </a:lnTo>
                  <a:lnTo>
                    <a:pt x="1301" y="3296"/>
                  </a:lnTo>
                  <a:lnTo>
                    <a:pt x="1306" y="3314"/>
                  </a:lnTo>
                  <a:lnTo>
                    <a:pt x="1314" y="3331"/>
                  </a:lnTo>
                  <a:lnTo>
                    <a:pt x="1640" y="3247"/>
                  </a:lnTo>
                  <a:lnTo>
                    <a:pt x="1640" y="3247"/>
                  </a:lnTo>
                  <a:lnTo>
                    <a:pt x="1634" y="3231"/>
                  </a:lnTo>
                  <a:lnTo>
                    <a:pt x="1631" y="3215"/>
                  </a:lnTo>
                  <a:lnTo>
                    <a:pt x="1629" y="3197"/>
                  </a:lnTo>
                  <a:lnTo>
                    <a:pt x="1629" y="3180"/>
                  </a:lnTo>
                  <a:lnTo>
                    <a:pt x="1631" y="3162"/>
                  </a:lnTo>
                  <a:lnTo>
                    <a:pt x="1634" y="3145"/>
                  </a:lnTo>
                  <a:lnTo>
                    <a:pt x="1638" y="3128"/>
                  </a:lnTo>
                  <a:lnTo>
                    <a:pt x="1644" y="3109"/>
                  </a:lnTo>
                  <a:lnTo>
                    <a:pt x="1651" y="3092"/>
                  </a:lnTo>
                  <a:lnTo>
                    <a:pt x="1660" y="3073"/>
                  </a:lnTo>
                  <a:lnTo>
                    <a:pt x="1669" y="3056"/>
                  </a:lnTo>
                  <a:lnTo>
                    <a:pt x="1679" y="3039"/>
                  </a:lnTo>
                  <a:lnTo>
                    <a:pt x="1689" y="3021"/>
                  </a:lnTo>
                  <a:lnTo>
                    <a:pt x="1701" y="3004"/>
                  </a:lnTo>
                  <a:lnTo>
                    <a:pt x="1725" y="2972"/>
                  </a:lnTo>
                  <a:lnTo>
                    <a:pt x="1725" y="2972"/>
                  </a:lnTo>
                  <a:lnTo>
                    <a:pt x="1726" y="2971"/>
                  </a:lnTo>
                  <a:lnTo>
                    <a:pt x="1727" y="2971"/>
                  </a:lnTo>
                  <a:lnTo>
                    <a:pt x="1728" y="2975"/>
                  </a:lnTo>
                  <a:lnTo>
                    <a:pt x="1725" y="2997"/>
                  </a:lnTo>
                  <a:lnTo>
                    <a:pt x="1721" y="3030"/>
                  </a:lnTo>
                  <a:lnTo>
                    <a:pt x="1715" y="3072"/>
                  </a:lnTo>
                  <a:lnTo>
                    <a:pt x="1713" y="3095"/>
                  </a:lnTo>
                  <a:lnTo>
                    <a:pt x="1711" y="3118"/>
                  </a:lnTo>
                  <a:lnTo>
                    <a:pt x="1711" y="3140"/>
                  </a:lnTo>
                  <a:lnTo>
                    <a:pt x="1711" y="3161"/>
                  </a:lnTo>
                  <a:lnTo>
                    <a:pt x="1713" y="3181"/>
                  </a:lnTo>
                  <a:lnTo>
                    <a:pt x="1716" y="3198"/>
                  </a:lnTo>
                  <a:lnTo>
                    <a:pt x="1719" y="3206"/>
                  </a:lnTo>
                  <a:lnTo>
                    <a:pt x="1722" y="3213"/>
                  </a:lnTo>
                  <a:lnTo>
                    <a:pt x="1726" y="3219"/>
                  </a:lnTo>
                  <a:lnTo>
                    <a:pt x="1730" y="3224"/>
                  </a:lnTo>
                  <a:lnTo>
                    <a:pt x="2050" y="3141"/>
                  </a:lnTo>
                  <a:lnTo>
                    <a:pt x="2050" y="3141"/>
                  </a:lnTo>
                  <a:lnTo>
                    <a:pt x="2046" y="3131"/>
                  </a:lnTo>
                  <a:lnTo>
                    <a:pt x="2043" y="3119"/>
                  </a:lnTo>
                  <a:lnTo>
                    <a:pt x="2041" y="3108"/>
                  </a:lnTo>
                  <a:lnTo>
                    <a:pt x="2039" y="3096"/>
                  </a:lnTo>
                  <a:lnTo>
                    <a:pt x="2038" y="3084"/>
                  </a:lnTo>
                  <a:lnTo>
                    <a:pt x="2038" y="3071"/>
                  </a:lnTo>
                  <a:lnTo>
                    <a:pt x="2039" y="3045"/>
                  </a:lnTo>
                  <a:lnTo>
                    <a:pt x="2043" y="3018"/>
                  </a:lnTo>
                  <a:lnTo>
                    <a:pt x="2048" y="2992"/>
                  </a:lnTo>
                  <a:lnTo>
                    <a:pt x="2055" y="2965"/>
                  </a:lnTo>
                  <a:lnTo>
                    <a:pt x="2064" y="2941"/>
                  </a:lnTo>
                  <a:lnTo>
                    <a:pt x="2064" y="2941"/>
                  </a:lnTo>
                  <a:lnTo>
                    <a:pt x="2072" y="2968"/>
                  </a:lnTo>
                  <a:lnTo>
                    <a:pt x="2079" y="2997"/>
                  </a:lnTo>
                  <a:lnTo>
                    <a:pt x="2088" y="3024"/>
                  </a:lnTo>
                  <a:lnTo>
                    <a:pt x="2098" y="3052"/>
                  </a:lnTo>
                  <a:lnTo>
                    <a:pt x="2108" y="3079"/>
                  </a:lnTo>
                  <a:lnTo>
                    <a:pt x="2121" y="3105"/>
                  </a:lnTo>
                  <a:lnTo>
                    <a:pt x="2135" y="3131"/>
                  </a:lnTo>
                  <a:lnTo>
                    <a:pt x="2149" y="3156"/>
                  </a:lnTo>
                  <a:lnTo>
                    <a:pt x="2166" y="3181"/>
                  </a:lnTo>
                  <a:lnTo>
                    <a:pt x="2183" y="3203"/>
                  </a:lnTo>
                  <a:lnTo>
                    <a:pt x="2201" y="3225"/>
                  </a:lnTo>
                  <a:lnTo>
                    <a:pt x="2222" y="3245"/>
                  </a:lnTo>
                  <a:lnTo>
                    <a:pt x="2244" y="3265"/>
                  </a:lnTo>
                  <a:lnTo>
                    <a:pt x="2268" y="3281"/>
                  </a:lnTo>
                  <a:lnTo>
                    <a:pt x="2280" y="3289"/>
                  </a:lnTo>
                  <a:lnTo>
                    <a:pt x="2292" y="3296"/>
                  </a:lnTo>
                  <a:lnTo>
                    <a:pt x="2306" y="3303"/>
                  </a:lnTo>
                  <a:lnTo>
                    <a:pt x="2320" y="3310"/>
                  </a:lnTo>
                  <a:lnTo>
                    <a:pt x="2320" y="3310"/>
                  </a:lnTo>
                  <a:lnTo>
                    <a:pt x="2365" y="3329"/>
                  </a:lnTo>
                  <a:lnTo>
                    <a:pt x="2410" y="3347"/>
                  </a:lnTo>
                  <a:lnTo>
                    <a:pt x="2454" y="3364"/>
                  </a:lnTo>
                  <a:lnTo>
                    <a:pt x="2499" y="3380"/>
                  </a:lnTo>
                  <a:lnTo>
                    <a:pt x="2544" y="3395"/>
                  </a:lnTo>
                  <a:lnTo>
                    <a:pt x="2589" y="3411"/>
                  </a:lnTo>
                  <a:lnTo>
                    <a:pt x="2683" y="3440"/>
                  </a:lnTo>
                  <a:lnTo>
                    <a:pt x="2782" y="3469"/>
                  </a:lnTo>
                  <a:lnTo>
                    <a:pt x="2889" y="3500"/>
                  </a:lnTo>
                  <a:lnTo>
                    <a:pt x="3005" y="3534"/>
                  </a:lnTo>
                  <a:lnTo>
                    <a:pt x="3133" y="3570"/>
                  </a:lnTo>
                  <a:lnTo>
                    <a:pt x="3133" y="3570"/>
                  </a:lnTo>
                  <a:lnTo>
                    <a:pt x="3205" y="3593"/>
                  </a:lnTo>
                  <a:lnTo>
                    <a:pt x="3273" y="3616"/>
                  </a:lnTo>
                  <a:lnTo>
                    <a:pt x="3305" y="3628"/>
                  </a:lnTo>
                  <a:lnTo>
                    <a:pt x="3333" y="3639"/>
                  </a:lnTo>
                  <a:lnTo>
                    <a:pt x="3358" y="3649"/>
                  </a:lnTo>
                  <a:lnTo>
                    <a:pt x="3377" y="3658"/>
                  </a:lnTo>
                  <a:lnTo>
                    <a:pt x="3377" y="3658"/>
                  </a:lnTo>
                  <a:lnTo>
                    <a:pt x="3383" y="3661"/>
                  </a:lnTo>
                  <a:lnTo>
                    <a:pt x="3389" y="3665"/>
                  </a:lnTo>
                  <a:lnTo>
                    <a:pt x="3393" y="3668"/>
                  </a:lnTo>
                  <a:lnTo>
                    <a:pt x="3397" y="3673"/>
                  </a:lnTo>
                  <a:lnTo>
                    <a:pt x="3399" y="3677"/>
                  </a:lnTo>
                  <a:lnTo>
                    <a:pt x="3401" y="3682"/>
                  </a:lnTo>
                  <a:lnTo>
                    <a:pt x="3402" y="3686"/>
                  </a:lnTo>
                  <a:lnTo>
                    <a:pt x="3402" y="3690"/>
                  </a:lnTo>
                  <a:lnTo>
                    <a:pt x="3401" y="3699"/>
                  </a:lnTo>
                  <a:lnTo>
                    <a:pt x="3397" y="3708"/>
                  </a:lnTo>
                  <a:lnTo>
                    <a:pt x="3392" y="3717"/>
                  </a:lnTo>
                  <a:lnTo>
                    <a:pt x="3386" y="3726"/>
                  </a:lnTo>
                  <a:lnTo>
                    <a:pt x="3378" y="3734"/>
                  </a:lnTo>
                  <a:lnTo>
                    <a:pt x="3371" y="3742"/>
                  </a:lnTo>
                  <a:lnTo>
                    <a:pt x="3357" y="3754"/>
                  </a:lnTo>
                  <a:lnTo>
                    <a:pt x="3346" y="3764"/>
                  </a:lnTo>
                  <a:lnTo>
                    <a:pt x="3341" y="3767"/>
                  </a:lnTo>
                  <a:lnTo>
                    <a:pt x="3341" y="3767"/>
                  </a:lnTo>
                  <a:lnTo>
                    <a:pt x="3355" y="3775"/>
                  </a:lnTo>
                  <a:lnTo>
                    <a:pt x="3371" y="3783"/>
                  </a:lnTo>
                  <a:lnTo>
                    <a:pt x="3411" y="3801"/>
                  </a:lnTo>
                  <a:lnTo>
                    <a:pt x="3435" y="3814"/>
                  </a:lnTo>
                  <a:lnTo>
                    <a:pt x="3461" y="3829"/>
                  </a:lnTo>
                  <a:lnTo>
                    <a:pt x="3492" y="3848"/>
                  </a:lnTo>
                  <a:lnTo>
                    <a:pt x="3527" y="3873"/>
                  </a:lnTo>
                  <a:lnTo>
                    <a:pt x="3527" y="3873"/>
                  </a:lnTo>
                  <a:lnTo>
                    <a:pt x="3545" y="3888"/>
                  </a:lnTo>
                  <a:lnTo>
                    <a:pt x="3563" y="3906"/>
                  </a:lnTo>
                  <a:lnTo>
                    <a:pt x="3580" y="3925"/>
                  </a:lnTo>
                  <a:lnTo>
                    <a:pt x="3595" y="3946"/>
                  </a:lnTo>
                  <a:lnTo>
                    <a:pt x="3608" y="3967"/>
                  </a:lnTo>
                  <a:lnTo>
                    <a:pt x="3622" y="3991"/>
                  </a:lnTo>
                  <a:lnTo>
                    <a:pt x="3634" y="4014"/>
                  </a:lnTo>
                  <a:lnTo>
                    <a:pt x="3645" y="4040"/>
                  </a:lnTo>
                  <a:lnTo>
                    <a:pt x="3655" y="4066"/>
                  </a:lnTo>
                  <a:lnTo>
                    <a:pt x="3665" y="4094"/>
                  </a:lnTo>
                  <a:lnTo>
                    <a:pt x="3674" y="4122"/>
                  </a:lnTo>
                  <a:lnTo>
                    <a:pt x="3682" y="4151"/>
                  </a:lnTo>
                  <a:lnTo>
                    <a:pt x="3698" y="4211"/>
                  </a:lnTo>
                  <a:lnTo>
                    <a:pt x="3714" y="4274"/>
                  </a:lnTo>
                  <a:lnTo>
                    <a:pt x="3714" y="4274"/>
                  </a:lnTo>
                  <a:lnTo>
                    <a:pt x="3725" y="4324"/>
                  </a:lnTo>
                  <a:lnTo>
                    <a:pt x="3734" y="4377"/>
                  </a:lnTo>
                  <a:lnTo>
                    <a:pt x="3742" y="4430"/>
                  </a:lnTo>
                  <a:lnTo>
                    <a:pt x="3744" y="4457"/>
                  </a:lnTo>
                  <a:lnTo>
                    <a:pt x="3746" y="4481"/>
                  </a:lnTo>
                  <a:lnTo>
                    <a:pt x="3748" y="4506"/>
                  </a:lnTo>
                  <a:lnTo>
                    <a:pt x="3749" y="4529"/>
                  </a:lnTo>
                  <a:lnTo>
                    <a:pt x="3748" y="4551"/>
                  </a:lnTo>
                  <a:lnTo>
                    <a:pt x="3745" y="4571"/>
                  </a:lnTo>
                  <a:lnTo>
                    <a:pt x="3742" y="4590"/>
                  </a:lnTo>
                  <a:lnTo>
                    <a:pt x="3737" y="4606"/>
                  </a:lnTo>
                  <a:lnTo>
                    <a:pt x="3731" y="4619"/>
                  </a:lnTo>
                  <a:lnTo>
                    <a:pt x="3728" y="4625"/>
                  </a:lnTo>
                  <a:lnTo>
                    <a:pt x="3724" y="4631"/>
                  </a:lnTo>
                  <a:lnTo>
                    <a:pt x="3724" y="4631"/>
                  </a:lnTo>
                  <a:lnTo>
                    <a:pt x="3715" y="4641"/>
                  </a:lnTo>
                  <a:lnTo>
                    <a:pt x="3705" y="4651"/>
                  </a:lnTo>
                  <a:lnTo>
                    <a:pt x="3691" y="4660"/>
                  </a:lnTo>
                  <a:lnTo>
                    <a:pt x="3683" y="4665"/>
                  </a:lnTo>
                  <a:lnTo>
                    <a:pt x="3673" y="4670"/>
                  </a:lnTo>
                  <a:lnTo>
                    <a:pt x="3663" y="4676"/>
                  </a:lnTo>
                  <a:lnTo>
                    <a:pt x="3650" y="4681"/>
                  </a:lnTo>
                  <a:lnTo>
                    <a:pt x="3621" y="4690"/>
                  </a:lnTo>
                  <a:lnTo>
                    <a:pt x="3582" y="4700"/>
                  </a:lnTo>
                  <a:lnTo>
                    <a:pt x="3535" y="4710"/>
                  </a:lnTo>
                  <a:lnTo>
                    <a:pt x="3560" y="4833"/>
                  </a:lnTo>
                  <a:lnTo>
                    <a:pt x="3560" y="4833"/>
                  </a:lnTo>
                  <a:lnTo>
                    <a:pt x="3579" y="4834"/>
                  </a:lnTo>
                  <a:lnTo>
                    <a:pt x="3597" y="4834"/>
                  </a:lnTo>
                  <a:lnTo>
                    <a:pt x="3615" y="4833"/>
                  </a:lnTo>
                  <a:lnTo>
                    <a:pt x="3631" y="4831"/>
                  </a:lnTo>
                  <a:lnTo>
                    <a:pt x="3646" y="4829"/>
                  </a:lnTo>
                  <a:lnTo>
                    <a:pt x="3662" y="4826"/>
                  </a:lnTo>
                  <a:lnTo>
                    <a:pt x="3688" y="4819"/>
                  </a:lnTo>
                  <a:lnTo>
                    <a:pt x="3711" y="4812"/>
                  </a:lnTo>
                  <a:lnTo>
                    <a:pt x="3728" y="4805"/>
                  </a:lnTo>
                  <a:lnTo>
                    <a:pt x="3742" y="4799"/>
                  </a:lnTo>
                  <a:lnTo>
                    <a:pt x="3742" y="4799"/>
                  </a:lnTo>
                  <a:lnTo>
                    <a:pt x="3736" y="4805"/>
                  </a:lnTo>
                  <a:lnTo>
                    <a:pt x="3730" y="4813"/>
                  </a:lnTo>
                  <a:lnTo>
                    <a:pt x="3722" y="4823"/>
                  </a:lnTo>
                  <a:lnTo>
                    <a:pt x="3722" y="4823"/>
                  </a:lnTo>
                  <a:lnTo>
                    <a:pt x="3711" y="4839"/>
                  </a:lnTo>
                  <a:lnTo>
                    <a:pt x="3700" y="4856"/>
                  </a:lnTo>
                  <a:lnTo>
                    <a:pt x="3692" y="4871"/>
                  </a:lnTo>
                  <a:lnTo>
                    <a:pt x="3685" y="4886"/>
                  </a:lnTo>
                  <a:lnTo>
                    <a:pt x="3680" y="4902"/>
                  </a:lnTo>
                  <a:lnTo>
                    <a:pt x="3675" y="4919"/>
                  </a:lnTo>
                  <a:lnTo>
                    <a:pt x="3672" y="4936"/>
                  </a:lnTo>
                  <a:lnTo>
                    <a:pt x="3669" y="4957"/>
                  </a:lnTo>
                  <a:lnTo>
                    <a:pt x="3799" y="5041"/>
                  </a:lnTo>
                  <a:lnTo>
                    <a:pt x="3799" y="5041"/>
                  </a:lnTo>
                  <a:lnTo>
                    <a:pt x="3812" y="5000"/>
                  </a:lnTo>
                  <a:lnTo>
                    <a:pt x="3826" y="4960"/>
                  </a:lnTo>
                  <a:lnTo>
                    <a:pt x="3841" y="4924"/>
                  </a:lnTo>
                  <a:lnTo>
                    <a:pt x="3855" y="4891"/>
                  </a:lnTo>
                  <a:lnTo>
                    <a:pt x="3870" y="4864"/>
                  </a:lnTo>
                  <a:lnTo>
                    <a:pt x="3877" y="4851"/>
                  </a:lnTo>
                  <a:lnTo>
                    <a:pt x="3885" y="4841"/>
                  </a:lnTo>
                  <a:lnTo>
                    <a:pt x="3892" y="4832"/>
                  </a:lnTo>
                  <a:lnTo>
                    <a:pt x="3899" y="4825"/>
                  </a:lnTo>
                  <a:lnTo>
                    <a:pt x="3906" y="4820"/>
                  </a:lnTo>
                  <a:lnTo>
                    <a:pt x="3913" y="4816"/>
                  </a:lnTo>
                  <a:lnTo>
                    <a:pt x="3913" y="4816"/>
                  </a:lnTo>
                  <a:lnTo>
                    <a:pt x="3919" y="4814"/>
                  </a:lnTo>
                  <a:lnTo>
                    <a:pt x="3926" y="4814"/>
                  </a:lnTo>
                  <a:lnTo>
                    <a:pt x="3935" y="4814"/>
                  </a:lnTo>
                  <a:lnTo>
                    <a:pt x="3944" y="4815"/>
                  </a:lnTo>
                  <a:lnTo>
                    <a:pt x="3954" y="4817"/>
                  </a:lnTo>
                  <a:lnTo>
                    <a:pt x="3965" y="4819"/>
                  </a:lnTo>
                  <a:lnTo>
                    <a:pt x="3990" y="4828"/>
                  </a:lnTo>
                  <a:lnTo>
                    <a:pt x="4017" y="4839"/>
                  </a:lnTo>
                  <a:lnTo>
                    <a:pt x="4047" y="4854"/>
                  </a:lnTo>
                  <a:lnTo>
                    <a:pt x="4078" y="4874"/>
                  </a:lnTo>
                  <a:lnTo>
                    <a:pt x="4110" y="4895"/>
                  </a:lnTo>
                  <a:lnTo>
                    <a:pt x="4127" y="4908"/>
                  </a:lnTo>
                  <a:lnTo>
                    <a:pt x="4143" y="4921"/>
                  </a:lnTo>
                  <a:lnTo>
                    <a:pt x="4160" y="4935"/>
                  </a:lnTo>
                  <a:lnTo>
                    <a:pt x="4176" y="4950"/>
                  </a:lnTo>
                  <a:lnTo>
                    <a:pt x="4192" y="4965"/>
                  </a:lnTo>
                  <a:lnTo>
                    <a:pt x="4208" y="4981"/>
                  </a:lnTo>
                  <a:lnTo>
                    <a:pt x="4224" y="4999"/>
                  </a:lnTo>
                  <a:lnTo>
                    <a:pt x="4239" y="5017"/>
                  </a:lnTo>
                  <a:lnTo>
                    <a:pt x="4254" y="5035"/>
                  </a:lnTo>
                  <a:lnTo>
                    <a:pt x="4268" y="5055"/>
                  </a:lnTo>
                  <a:lnTo>
                    <a:pt x="4282" y="5075"/>
                  </a:lnTo>
                  <a:lnTo>
                    <a:pt x="4296" y="5097"/>
                  </a:lnTo>
                  <a:lnTo>
                    <a:pt x="4308" y="5118"/>
                  </a:lnTo>
                  <a:lnTo>
                    <a:pt x="4320" y="5141"/>
                  </a:lnTo>
                  <a:lnTo>
                    <a:pt x="4331" y="5164"/>
                  </a:lnTo>
                  <a:lnTo>
                    <a:pt x="4342" y="5189"/>
                  </a:lnTo>
                  <a:lnTo>
                    <a:pt x="4342" y="5189"/>
                  </a:lnTo>
                  <a:lnTo>
                    <a:pt x="4347" y="5203"/>
                  </a:lnTo>
                  <a:lnTo>
                    <a:pt x="4352" y="5220"/>
                  </a:lnTo>
                  <a:lnTo>
                    <a:pt x="4356" y="5236"/>
                  </a:lnTo>
                  <a:lnTo>
                    <a:pt x="4360" y="5253"/>
                  </a:lnTo>
                  <a:lnTo>
                    <a:pt x="4363" y="5272"/>
                  </a:lnTo>
                  <a:lnTo>
                    <a:pt x="4366" y="5290"/>
                  </a:lnTo>
                  <a:lnTo>
                    <a:pt x="4370" y="5329"/>
                  </a:lnTo>
                  <a:lnTo>
                    <a:pt x="4372" y="5368"/>
                  </a:lnTo>
                  <a:lnTo>
                    <a:pt x="4371" y="5409"/>
                  </a:lnTo>
                  <a:lnTo>
                    <a:pt x="4370" y="5429"/>
                  </a:lnTo>
                  <a:lnTo>
                    <a:pt x="4369" y="5449"/>
                  </a:lnTo>
                  <a:lnTo>
                    <a:pt x="4366" y="5469"/>
                  </a:lnTo>
                  <a:lnTo>
                    <a:pt x="4363" y="5488"/>
                  </a:lnTo>
                  <a:lnTo>
                    <a:pt x="4360" y="5508"/>
                  </a:lnTo>
                  <a:lnTo>
                    <a:pt x="4356" y="5526"/>
                  </a:lnTo>
                  <a:lnTo>
                    <a:pt x="4351" y="5545"/>
                  </a:lnTo>
                  <a:lnTo>
                    <a:pt x="4345" y="5562"/>
                  </a:lnTo>
                  <a:lnTo>
                    <a:pt x="4339" y="5579"/>
                  </a:lnTo>
                  <a:lnTo>
                    <a:pt x="4332" y="5595"/>
                  </a:lnTo>
                  <a:lnTo>
                    <a:pt x="4324" y="5610"/>
                  </a:lnTo>
                  <a:lnTo>
                    <a:pt x="4316" y="5624"/>
                  </a:lnTo>
                  <a:lnTo>
                    <a:pt x="4307" y="5638"/>
                  </a:lnTo>
                  <a:lnTo>
                    <a:pt x="4298" y="5650"/>
                  </a:lnTo>
                  <a:lnTo>
                    <a:pt x="4287" y="5661"/>
                  </a:lnTo>
                  <a:lnTo>
                    <a:pt x="4276" y="5670"/>
                  </a:lnTo>
                  <a:lnTo>
                    <a:pt x="4264" y="5679"/>
                  </a:lnTo>
                  <a:lnTo>
                    <a:pt x="4252" y="5686"/>
                  </a:lnTo>
                  <a:lnTo>
                    <a:pt x="4238" y="5691"/>
                  </a:lnTo>
                  <a:lnTo>
                    <a:pt x="4224" y="5694"/>
                  </a:lnTo>
                  <a:lnTo>
                    <a:pt x="4224" y="5694"/>
                  </a:lnTo>
                  <a:lnTo>
                    <a:pt x="4216" y="5695"/>
                  </a:lnTo>
                  <a:lnTo>
                    <a:pt x="4208" y="5695"/>
                  </a:lnTo>
                  <a:lnTo>
                    <a:pt x="4198" y="5694"/>
                  </a:lnTo>
                  <a:lnTo>
                    <a:pt x="4188" y="5692"/>
                  </a:lnTo>
                  <a:lnTo>
                    <a:pt x="4168" y="5687"/>
                  </a:lnTo>
                  <a:lnTo>
                    <a:pt x="4145" y="5679"/>
                  </a:lnTo>
                  <a:lnTo>
                    <a:pt x="4123" y="5668"/>
                  </a:lnTo>
                  <a:lnTo>
                    <a:pt x="4099" y="5657"/>
                  </a:lnTo>
                  <a:lnTo>
                    <a:pt x="4051" y="5635"/>
                  </a:lnTo>
                  <a:lnTo>
                    <a:pt x="4028" y="5623"/>
                  </a:lnTo>
                  <a:lnTo>
                    <a:pt x="4005" y="5614"/>
                  </a:lnTo>
                  <a:lnTo>
                    <a:pt x="3984" y="5607"/>
                  </a:lnTo>
                  <a:lnTo>
                    <a:pt x="3964" y="5602"/>
                  </a:lnTo>
                  <a:lnTo>
                    <a:pt x="3955" y="5601"/>
                  </a:lnTo>
                  <a:lnTo>
                    <a:pt x="3947" y="5600"/>
                  </a:lnTo>
                  <a:lnTo>
                    <a:pt x="3939" y="5601"/>
                  </a:lnTo>
                  <a:lnTo>
                    <a:pt x="3932" y="5602"/>
                  </a:lnTo>
                  <a:lnTo>
                    <a:pt x="3924" y="5605"/>
                  </a:lnTo>
                  <a:lnTo>
                    <a:pt x="3919" y="5609"/>
                  </a:lnTo>
                  <a:lnTo>
                    <a:pt x="3914" y="5614"/>
                  </a:lnTo>
                  <a:lnTo>
                    <a:pt x="3909" y="5620"/>
                  </a:lnTo>
                  <a:lnTo>
                    <a:pt x="3909" y="5620"/>
                  </a:lnTo>
                  <a:lnTo>
                    <a:pt x="3905" y="5627"/>
                  </a:lnTo>
                  <a:lnTo>
                    <a:pt x="3900" y="5635"/>
                  </a:lnTo>
                  <a:lnTo>
                    <a:pt x="3893" y="5641"/>
                  </a:lnTo>
                  <a:lnTo>
                    <a:pt x="3886" y="5647"/>
                  </a:lnTo>
                  <a:lnTo>
                    <a:pt x="3869" y="5658"/>
                  </a:lnTo>
                  <a:lnTo>
                    <a:pt x="3851" y="5668"/>
                  </a:lnTo>
                  <a:lnTo>
                    <a:pt x="3810" y="5690"/>
                  </a:lnTo>
                  <a:lnTo>
                    <a:pt x="3789" y="5701"/>
                  </a:lnTo>
                  <a:lnTo>
                    <a:pt x="3770" y="5714"/>
                  </a:lnTo>
                  <a:lnTo>
                    <a:pt x="3761" y="5720"/>
                  </a:lnTo>
                  <a:lnTo>
                    <a:pt x="3752" y="5729"/>
                  </a:lnTo>
                  <a:lnTo>
                    <a:pt x="3743" y="5736"/>
                  </a:lnTo>
                  <a:lnTo>
                    <a:pt x="3735" y="5745"/>
                  </a:lnTo>
                  <a:lnTo>
                    <a:pt x="3728" y="5754"/>
                  </a:lnTo>
                  <a:lnTo>
                    <a:pt x="3722" y="5764"/>
                  </a:lnTo>
                  <a:lnTo>
                    <a:pt x="3717" y="5775"/>
                  </a:lnTo>
                  <a:lnTo>
                    <a:pt x="3713" y="5787"/>
                  </a:lnTo>
                  <a:lnTo>
                    <a:pt x="3710" y="5799"/>
                  </a:lnTo>
                  <a:lnTo>
                    <a:pt x="3708" y="5813"/>
                  </a:lnTo>
                  <a:lnTo>
                    <a:pt x="3707" y="5827"/>
                  </a:lnTo>
                  <a:lnTo>
                    <a:pt x="3707" y="5843"/>
                  </a:lnTo>
                  <a:lnTo>
                    <a:pt x="3709" y="5860"/>
                  </a:lnTo>
                  <a:lnTo>
                    <a:pt x="3713" y="5877"/>
                  </a:lnTo>
                  <a:lnTo>
                    <a:pt x="3718" y="5896"/>
                  </a:lnTo>
                  <a:lnTo>
                    <a:pt x="3724" y="5917"/>
                  </a:lnTo>
                  <a:lnTo>
                    <a:pt x="3724" y="5917"/>
                  </a:lnTo>
                  <a:lnTo>
                    <a:pt x="3741" y="5896"/>
                  </a:lnTo>
                  <a:lnTo>
                    <a:pt x="3759" y="5875"/>
                  </a:lnTo>
                  <a:lnTo>
                    <a:pt x="3776" y="5856"/>
                  </a:lnTo>
                  <a:lnTo>
                    <a:pt x="3794" y="5840"/>
                  </a:lnTo>
                  <a:lnTo>
                    <a:pt x="3802" y="5833"/>
                  </a:lnTo>
                  <a:lnTo>
                    <a:pt x="3811" y="5827"/>
                  </a:lnTo>
                  <a:lnTo>
                    <a:pt x="3819" y="5821"/>
                  </a:lnTo>
                  <a:lnTo>
                    <a:pt x="3827" y="5817"/>
                  </a:lnTo>
                  <a:lnTo>
                    <a:pt x="3835" y="5815"/>
                  </a:lnTo>
                  <a:lnTo>
                    <a:pt x="3843" y="5813"/>
                  </a:lnTo>
                  <a:lnTo>
                    <a:pt x="3850" y="5813"/>
                  </a:lnTo>
                  <a:lnTo>
                    <a:pt x="3857" y="5815"/>
                  </a:lnTo>
                  <a:lnTo>
                    <a:pt x="3857" y="5815"/>
                  </a:lnTo>
                  <a:lnTo>
                    <a:pt x="3861" y="5817"/>
                  </a:lnTo>
                  <a:lnTo>
                    <a:pt x="3864" y="5819"/>
                  </a:lnTo>
                  <a:lnTo>
                    <a:pt x="3870" y="5825"/>
                  </a:lnTo>
                  <a:lnTo>
                    <a:pt x="3875" y="5833"/>
                  </a:lnTo>
                  <a:lnTo>
                    <a:pt x="3879" y="5841"/>
                  </a:lnTo>
                  <a:lnTo>
                    <a:pt x="3888" y="5862"/>
                  </a:lnTo>
                  <a:lnTo>
                    <a:pt x="3894" y="5872"/>
                  </a:lnTo>
                  <a:lnTo>
                    <a:pt x="3901" y="5882"/>
                  </a:lnTo>
                  <a:lnTo>
                    <a:pt x="3901" y="5882"/>
                  </a:lnTo>
                  <a:lnTo>
                    <a:pt x="3904" y="5885"/>
                  </a:lnTo>
                  <a:lnTo>
                    <a:pt x="3908" y="5887"/>
                  </a:lnTo>
                  <a:lnTo>
                    <a:pt x="3913" y="5889"/>
                  </a:lnTo>
                  <a:lnTo>
                    <a:pt x="3919" y="5890"/>
                  </a:lnTo>
                  <a:lnTo>
                    <a:pt x="3934" y="5892"/>
                  </a:lnTo>
                  <a:lnTo>
                    <a:pt x="3950" y="5892"/>
                  </a:lnTo>
                  <a:lnTo>
                    <a:pt x="3968" y="5891"/>
                  </a:lnTo>
                  <a:lnTo>
                    <a:pt x="3989" y="5889"/>
                  </a:lnTo>
                  <a:lnTo>
                    <a:pt x="4032" y="5885"/>
                  </a:lnTo>
                  <a:lnTo>
                    <a:pt x="4074" y="5881"/>
                  </a:lnTo>
                  <a:lnTo>
                    <a:pt x="4093" y="5879"/>
                  </a:lnTo>
                  <a:lnTo>
                    <a:pt x="4110" y="5879"/>
                  </a:lnTo>
                  <a:lnTo>
                    <a:pt x="4126" y="5879"/>
                  </a:lnTo>
                  <a:lnTo>
                    <a:pt x="4137" y="5881"/>
                  </a:lnTo>
                  <a:lnTo>
                    <a:pt x="4142" y="5883"/>
                  </a:lnTo>
                  <a:lnTo>
                    <a:pt x="4146" y="5885"/>
                  </a:lnTo>
                  <a:lnTo>
                    <a:pt x="4148" y="5887"/>
                  </a:lnTo>
                  <a:lnTo>
                    <a:pt x="4150" y="5890"/>
                  </a:lnTo>
                  <a:lnTo>
                    <a:pt x="4150" y="5890"/>
                  </a:lnTo>
                  <a:lnTo>
                    <a:pt x="4151" y="5893"/>
                  </a:lnTo>
                  <a:lnTo>
                    <a:pt x="4150" y="5896"/>
                  </a:lnTo>
                  <a:lnTo>
                    <a:pt x="4149" y="5898"/>
                  </a:lnTo>
                  <a:lnTo>
                    <a:pt x="4148" y="5900"/>
                  </a:lnTo>
                  <a:lnTo>
                    <a:pt x="4143" y="5904"/>
                  </a:lnTo>
                  <a:lnTo>
                    <a:pt x="4136" y="5905"/>
                  </a:lnTo>
                  <a:lnTo>
                    <a:pt x="4118" y="5908"/>
                  </a:lnTo>
                  <a:lnTo>
                    <a:pt x="4100" y="5910"/>
                  </a:lnTo>
                  <a:lnTo>
                    <a:pt x="4100" y="5910"/>
                  </a:lnTo>
                  <a:lnTo>
                    <a:pt x="4021" y="5924"/>
                  </a:lnTo>
                  <a:lnTo>
                    <a:pt x="3981" y="5931"/>
                  </a:lnTo>
                  <a:lnTo>
                    <a:pt x="3943" y="5939"/>
                  </a:lnTo>
                  <a:lnTo>
                    <a:pt x="3925" y="5944"/>
                  </a:lnTo>
                  <a:lnTo>
                    <a:pt x="3909" y="5950"/>
                  </a:lnTo>
                  <a:lnTo>
                    <a:pt x="3894" y="5956"/>
                  </a:lnTo>
                  <a:lnTo>
                    <a:pt x="3881" y="5962"/>
                  </a:lnTo>
                  <a:lnTo>
                    <a:pt x="3869" y="5968"/>
                  </a:lnTo>
                  <a:lnTo>
                    <a:pt x="3860" y="5976"/>
                  </a:lnTo>
                  <a:lnTo>
                    <a:pt x="3853" y="5984"/>
                  </a:lnTo>
                  <a:lnTo>
                    <a:pt x="3850" y="5988"/>
                  </a:lnTo>
                  <a:lnTo>
                    <a:pt x="3848" y="5993"/>
                  </a:lnTo>
                  <a:lnTo>
                    <a:pt x="3848" y="5993"/>
                  </a:lnTo>
                  <a:lnTo>
                    <a:pt x="3846" y="6000"/>
                  </a:lnTo>
                  <a:lnTo>
                    <a:pt x="3846" y="6004"/>
                  </a:lnTo>
                  <a:lnTo>
                    <a:pt x="3847" y="6014"/>
                  </a:lnTo>
                  <a:lnTo>
                    <a:pt x="3847" y="6019"/>
                  </a:lnTo>
                  <a:lnTo>
                    <a:pt x="3846" y="6025"/>
                  </a:lnTo>
                  <a:lnTo>
                    <a:pt x="3845" y="6033"/>
                  </a:lnTo>
                  <a:lnTo>
                    <a:pt x="3842" y="6044"/>
                  </a:lnTo>
                  <a:lnTo>
                    <a:pt x="3842" y="6044"/>
                  </a:lnTo>
                  <a:lnTo>
                    <a:pt x="3837" y="6055"/>
                  </a:lnTo>
                  <a:lnTo>
                    <a:pt x="3831" y="6064"/>
                  </a:lnTo>
                  <a:lnTo>
                    <a:pt x="3823" y="6072"/>
                  </a:lnTo>
                  <a:lnTo>
                    <a:pt x="3815" y="6080"/>
                  </a:lnTo>
                  <a:lnTo>
                    <a:pt x="3796" y="6096"/>
                  </a:lnTo>
                  <a:lnTo>
                    <a:pt x="3786" y="6104"/>
                  </a:lnTo>
                  <a:lnTo>
                    <a:pt x="3776" y="6113"/>
                  </a:lnTo>
                  <a:lnTo>
                    <a:pt x="3767" y="6122"/>
                  </a:lnTo>
                  <a:lnTo>
                    <a:pt x="3758" y="6134"/>
                  </a:lnTo>
                  <a:lnTo>
                    <a:pt x="3750" y="6147"/>
                  </a:lnTo>
                  <a:lnTo>
                    <a:pt x="3742" y="6161"/>
                  </a:lnTo>
                  <a:lnTo>
                    <a:pt x="3736" y="6179"/>
                  </a:lnTo>
                  <a:lnTo>
                    <a:pt x="3732" y="6198"/>
                  </a:lnTo>
                  <a:lnTo>
                    <a:pt x="3730" y="6220"/>
                  </a:lnTo>
                  <a:lnTo>
                    <a:pt x="3730" y="6246"/>
                  </a:lnTo>
                  <a:lnTo>
                    <a:pt x="3730" y="6246"/>
                  </a:lnTo>
                  <a:lnTo>
                    <a:pt x="3732" y="6259"/>
                  </a:lnTo>
                  <a:lnTo>
                    <a:pt x="3735" y="6272"/>
                  </a:lnTo>
                  <a:lnTo>
                    <a:pt x="3739" y="6284"/>
                  </a:lnTo>
                  <a:lnTo>
                    <a:pt x="3744" y="6296"/>
                  </a:lnTo>
                  <a:lnTo>
                    <a:pt x="3751" y="6306"/>
                  </a:lnTo>
                  <a:lnTo>
                    <a:pt x="3757" y="6318"/>
                  </a:lnTo>
                  <a:lnTo>
                    <a:pt x="3763" y="6327"/>
                  </a:lnTo>
                  <a:lnTo>
                    <a:pt x="3770" y="6336"/>
                  </a:lnTo>
                  <a:lnTo>
                    <a:pt x="3784" y="6351"/>
                  </a:lnTo>
                  <a:lnTo>
                    <a:pt x="3797" y="6363"/>
                  </a:lnTo>
                  <a:lnTo>
                    <a:pt x="3807" y="6370"/>
                  </a:lnTo>
                  <a:lnTo>
                    <a:pt x="3810" y="6372"/>
                  </a:lnTo>
                  <a:lnTo>
                    <a:pt x="3813" y="6373"/>
                  </a:lnTo>
                  <a:lnTo>
                    <a:pt x="3813" y="6373"/>
                  </a:lnTo>
                  <a:lnTo>
                    <a:pt x="3814" y="6372"/>
                  </a:lnTo>
                  <a:lnTo>
                    <a:pt x="3815" y="6371"/>
                  </a:lnTo>
                  <a:lnTo>
                    <a:pt x="3816" y="6366"/>
                  </a:lnTo>
                  <a:lnTo>
                    <a:pt x="3818" y="6358"/>
                  </a:lnTo>
                  <a:lnTo>
                    <a:pt x="3818" y="6348"/>
                  </a:lnTo>
                  <a:lnTo>
                    <a:pt x="3820" y="6324"/>
                  </a:lnTo>
                  <a:lnTo>
                    <a:pt x="3823" y="6295"/>
                  </a:lnTo>
                  <a:lnTo>
                    <a:pt x="3825" y="6281"/>
                  </a:lnTo>
                  <a:lnTo>
                    <a:pt x="3828" y="6265"/>
                  </a:lnTo>
                  <a:lnTo>
                    <a:pt x="3831" y="6252"/>
                  </a:lnTo>
                  <a:lnTo>
                    <a:pt x="3836" y="6239"/>
                  </a:lnTo>
                  <a:lnTo>
                    <a:pt x="3843" y="6228"/>
                  </a:lnTo>
                  <a:lnTo>
                    <a:pt x="3847" y="6224"/>
                  </a:lnTo>
                  <a:lnTo>
                    <a:pt x="3851" y="6218"/>
                  </a:lnTo>
                  <a:lnTo>
                    <a:pt x="3855" y="6215"/>
                  </a:lnTo>
                  <a:lnTo>
                    <a:pt x="3860" y="6212"/>
                  </a:lnTo>
                  <a:lnTo>
                    <a:pt x="3865" y="6209"/>
                  </a:lnTo>
                  <a:lnTo>
                    <a:pt x="3871" y="6208"/>
                  </a:lnTo>
                  <a:lnTo>
                    <a:pt x="3871" y="6208"/>
                  </a:lnTo>
                  <a:lnTo>
                    <a:pt x="3877" y="6207"/>
                  </a:lnTo>
                  <a:lnTo>
                    <a:pt x="3882" y="6208"/>
                  </a:lnTo>
                  <a:lnTo>
                    <a:pt x="3888" y="6210"/>
                  </a:lnTo>
                  <a:lnTo>
                    <a:pt x="3892" y="6214"/>
                  </a:lnTo>
                  <a:lnTo>
                    <a:pt x="3902" y="6223"/>
                  </a:lnTo>
                  <a:lnTo>
                    <a:pt x="3911" y="6233"/>
                  </a:lnTo>
                  <a:lnTo>
                    <a:pt x="3921" y="6243"/>
                  </a:lnTo>
                  <a:lnTo>
                    <a:pt x="3926" y="6248"/>
                  </a:lnTo>
                  <a:lnTo>
                    <a:pt x="3933" y="6252"/>
                  </a:lnTo>
                  <a:lnTo>
                    <a:pt x="3940" y="6256"/>
                  </a:lnTo>
                  <a:lnTo>
                    <a:pt x="3946" y="6259"/>
                  </a:lnTo>
                  <a:lnTo>
                    <a:pt x="3954" y="6260"/>
                  </a:lnTo>
                  <a:lnTo>
                    <a:pt x="3962" y="6261"/>
                  </a:lnTo>
                  <a:lnTo>
                    <a:pt x="3962" y="6261"/>
                  </a:lnTo>
                  <a:lnTo>
                    <a:pt x="3970" y="6260"/>
                  </a:lnTo>
                  <a:lnTo>
                    <a:pt x="3979" y="6257"/>
                  </a:lnTo>
                  <a:lnTo>
                    <a:pt x="3987" y="6254"/>
                  </a:lnTo>
                  <a:lnTo>
                    <a:pt x="3996" y="6250"/>
                  </a:lnTo>
                  <a:lnTo>
                    <a:pt x="4005" y="6244"/>
                  </a:lnTo>
                  <a:lnTo>
                    <a:pt x="4014" y="6238"/>
                  </a:lnTo>
                  <a:lnTo>
                    <a:pt x="4035" y="6221"/>
                  </a:lnTo>
                  <a:lnTo>
                    <a:pt x="4055" y="6204"/>
                  </a:lnTo>
                  <a:lnTo>
                    <a:pt x="4077" y="6184"/>
                  </a:lnTo>
                  <a:lnTo>
                    <a:pt x="4122" y="6141"/>
                  </a:lnTo>
                  <a:lnTo>
                    <a:pt x="4144" y="6119"/>
                  </a:lnTo>
                  <a:lnTo>
                    <a:pt x="4166" y="6099"/>
                  </a:lnTo>
                  <a:lnTo>
                    <a:pt x="4187" y="6079"/>
                  </a:lnTo>
                  <a:lnTo>
                    <a:pt x="4208" y="6064"/>
                  </a:lnTo>
                  <a:lnTo>
                    <a:pt x="4227" y="6051"/>
                  </a:lnTo>
                  <a:lnTo>
                    <a:pt x="4236" y="6046"/>
                  </a:lnTo>
                  <a:lnTo>
                    <a:pt x="4245" y="6042"/>
                  </a:lnTo>
                  <a:lnTo>
                    <a:pt x="4254" y="6038"/>
                  </a:lnTo>
                  <a:lnTo>
                    <a:pt x="4262" y="6036"/>
                  </a:lnTo>
                  <a:lnTo>
                    <a:pt x="4270" y="6036"/>
                  </a:lnTo>
                  <a:lnTo>
                    <a:pt x="4277" y="6037"/>
                  </a:lnTo>
                  <a:lnTo>
                    <a:pt x="4277" y="6037"/>
                  </a:lnTo>
                  <a:lnTo>
                    <a:pt x="4278" y="6038"/>
                  </a:lnTo>
                  <a:lnTo>
                    <a:pt x="4279" y="6041"/>
                  </a:lnTo>
                  <a:lnTo>
                    <a:pt x="4278" y="6044"/>
                  </a:lnTo>
                  <a:lnTo>
                    <a:pt x="4277" y="6046"/>
                  </a:lnTo>
                  <a:lnTo>
                    <a:pt x="4272" y="6053"/>
                  </a:lnTo>
                  <a:lnTo>
                    <a:pt x="4264" y="6061"/>
                  </a:lnTo>
                  <a:lnTo>
                    <a:pt x="4241" y="6082"/>
                  </a:lnTo>
                  <a:lnTo>
                    <a:pt x="4212" y="6109"/>
                  </a:lnTo>
                  <a:lnTo>
                    <a:pt x="4181" y="6139"/>
                  </a:lnTo>
                  <a:lnTo>
                    <a:pt x="4167" y="6154"/>
                  </a:lnTo>
                  <a:lnTo>
                    <a:pt x="4152" y="6170"/>
                  </a:lnTo>
                  <a:lnTo>
                    <a:pt x="4140" y="6187"/>
                  </a:lnTo>
                  <a:lnTo>
                    <a:pt x="4129" y="6204"/>
                  </a:lnTo>
                  <a:lnTo>
                    <a:pt x="4121" y="6220"/>
                  </a:lnTo>
                  <a:lnTo>
                    <a:pt x="4118" y="6229"/>
                  </a:lnTo>
                  <a:lnTo>
                    <a:pt x="4116" y="6238"/>
                  </a:lnTo>
                  <a:lnTo>
                    <a:pt x="4116" y="6238"/>
                  </a:lnTo>
                  <a:lnTo>
                    <a:pt x="4114" y="6250"/>
                  </a:lnTo>
                  <a:lnTo>
                    <a:pt x="4114" y="6261"/>
                  </a:lnTo>
                  <a:lnTo>
                    <a:pt x="4115" y="6273"/>
                  </a:lnTo>
                  <a:lnTo>
                    <a:pt x="4119" y="6282"/>
                  </a:lnTo>
                  <a:lnTo>
                    <a:pt x="4123" y="6290"/>
                  </a:lnTo>
                  <a:lnTo>
                    <a:pt x="4129" y="6298"/>
                  </a:lnTo>
                  <a:lnTo>
                    <a:pt x="4135" y="6305"/>
                  </a:lnTo>
                  <a:lnTo>
                    <a:pt x="4142" y="6311"/>
                  </a:lnTo>
                  <a:lnTo>
                    <a:pt x="4157" y="6325"/>
                  </a:lnTo>
                  <a:lnTo>
                    <a:pt x="4163" y="6331"/>
                  </a:lnTo>
                  <a:lnTo>
                    <a:pt x="4169" y="6338"/>
                  </a:lnTo>
                  <a:lnTo>
                    <a:pt x="4175" y="6345"/>
                  </a:lnTo>
                  <a:lnTo>
                    <a:pt x="4179" y="6352"/>
                  </a:lnTo>
                  <a:lnTo>
                    <a:pt x="4182" y="6361"/>
                  </a:lnTo>
                  <a:lnTo>
                    <a:pt x="4183" y="6370"/>
                  </a:lnTo>
                  <a:lnTo>
                    <a:pt x="4183" y="6370"/>
                  </a:lnTo>
                  <a:lnTo>
                    <a:pt x="4184" y="6380"/>
                  </a:lnTo>
                  <a:lnTo>
                    <a:pt x="4186" y="6391"/>
                  </a:lnTo>
                  <a:lnTo>
                    <a:pt x="4189" y="6400"/>
                  </a:lnTo>
                  <a:lnTo>
                    <a:pt x="4193" y="6411"/>
                  </a:lnTo>
                  <a:lnTo>
                    <a:pt x="4198" y="6420"/>
                  </a:lnTo>
                  <a:lnTo>
                    <a:pt x="4205" y="6429"/>
                  </a:lnTo>
                  <a:lnTo>
                    <a:pt x="4212" y="6437"/>
                  </a:lnTo>
                  <a:lnTo>
                    <a:pt x="4220" y="6445"/>
                  </a:lnTo>
                  <a:lnTo>
                    <a:pt x="4228" y="6454"/>
                  </a:lnTo>
                  <a:lnTo>
                    <a:pt x="4237" y="6461"/>
                  </a:lnTo>
                  <a:lnTo>
                    <a:pt x="4257" y="6474"/>
                  </a:lnTo>
                  <a:lnTo>
                    <a:pt x="4278" y="6486"/>
                  </a:lnTo>
                  <a:lnTo>
                    <a:pt x="4300" y="6497"/>
                  </a:lnTo>
                  <a:lnTo>
                    <a:pt x="4322" y="6506"/>
                  </a:lnTo>
                  <a:lnTo>
                    <a:pt x="4344" y="6514"/>
                  </a:lnTo>
                  <a:lnTo>
                    <a:pt x="4364" y="6519"/>
                  </a:lnTo>
                  <a:lnTo>
                    <a:pt x="4382" y="6524"/>
                  </a:lnTo>
                  <a:lnTo>
                    <a:pt x="4399" y="6526"/>
                  </a:lnTo>
                  <a:lnTo>
                    <a:pt x="4412" y="6527"/>
                  </a:lnTo>
                  <a:lnTo>
                    <a:pt x="4421" y="6527"/>
                  </a:lnTo>
                  <a:lnTo>
                    <a:pt x="4424" y="6526"/>
                  </a:lnTo>
                  <a:lnTo>
                    <a:pt x="4426" y="6525"/>
                  </a:lnTo>
                  <a:lnTo>
                    <a:pt x="4426" y="6525"/>
                  </a:lnTo>
                  <a:lnTo>
                    <a:pt x="4427" y="6523"/>
                  </a:lnTo>
                  <a:lnTo>
                    <a:pt x="4427" y="6521"/>
                  </a:lnTo>
                  <a:lnTo>
                    <a:pt x="4425" y="6515"/>
                  </a:lnTo>
                  <a:lnTo>
                    <a:pt x="4420" y="6508"/>
                  </a:lnTo>
                  <a:lnTo>
                    <a:pt x="4412" y="6498"/>
                  </a:lnTo>
                  <a:lnTo>
                    <a:pt x="4393" y="6475"/>
                  </a:lnTo>
                  <a:lnTo>
                    <a:pt x="4369" y="6448"/>
                  </a:lnTo>
                  <a:lnTo>
                    <a:pt x="4358" y="6435"/>
                  </a:lnTo>
                  <a:lnTo>
                    <a:pt x="4348" y="6421"/>
                  </a:lnTo>
                  <a:lnTo>
                    <a:pt x="4339" y="6407"/>
                  </a:lnTo>
                  <a:lnTo>
                    <a:pt x="4330" y="6393"/>
                  </a:lnTo>
                  <a:lnTo>
                    <a:pt x="4325" y="6380"/>
                  </a:lnTo>
                  <a:lnTo>
                    <a:pt x="4324" y="6374"/>
                  </a:lnTo>
                  <a:lnTo>
                    <a:pt x="4323" y="6368"/>
                  </a:lnTo>
                  <a:lnTo>
                    <a:pt x="4323" y="6362"/>
                  </a:lnTo>
                  <a:lnTo>
                    <a:pt x="4324" y="6356"/>
                  </a:lnTo>
                  <a:lnTo>
                    <a:pt x="4326" y="6351"/>
                  </a:lnTo>
                  <a:lnTo>
                    <a:pt x="4329" y="6346"/>
                  </a:lnTo>
                  <a:lnTo>
                    <a:pt x="4329" y="6346"/>
                  </a:lnTo>
                  <a:lnTo>
                    <a:pt x="4333" y="6342"/>
                  </a:lnTo>
                  <a:lnTo>
                    <a:pt x="4337" y="6339"/>
                  </a:lnTo>
                  <a:lnTo>
                    <a:pt x="4343" y="6338"/>
                  </a:lnTo>
                  <a:lnTo>
                    <a:pt x="4347" y="6337"/>
                  </a:lnTo>
                  <a:lnTo>
                    <a:pt x="4352" y="6337"/>
                  </a:lnTo>
                  <a:lnTo>
                    <a:pt x="4358" y="6338"/>
                  </a:lnTo>
                  <a:lnTo>
                    <a:pt x="4370" y="6340"/>
                  </a:lnTo>
                  <a:lnTo>
                    <a:pt x="4384" y="6343"/>
                  </a:lnTo>
                  <a:lnTo>
                    <a:pt x="4392" y="6344"/>
                  </a:lnTo>
                  <a:lnTo>
                    <a:pt x="4399" y="6344"/>
                  </a:lnTo>
                  <a:lnTo>
                    <a:pt x="4408" y="6344"/>
                  </a:lnTo>
                  <a:lnTo>
                    <a:pt x="4416" y="6343"/>
                  </a:lnTo>
                  <a:lnTo>
                    <a:pt x="4425" y="6341"/>
                  </a:lnTo>
                  <a:lnTo>
                    <a:pt x="4436" y="6337"/>
                  </a:lnTo>
                  <a:lnTo>
                    <a:pt x="4436" y="6337"/>
                  </a:lnTo>
                  <a:lnTo>
                    <a:pt x="4437" y="6335"/>
                  </a:lnTo>
                  <a:lnTo>
                    <a:pt x="4438" y="6332"/>
                  </a:lnTo>
                  <a:lnTo>
                    <a:pt x="4438" y="6325"/>
                  </a:lnTo>
                  <a:lnTo>
                    <a:pt x="4436" y="6314"/>
                  </a:lnTo>
                  <a:lnTo>
                    <a:pt x="4434" y="6299"/>
                  </a:lnTo>
                  <a:lnTo>
                    <a:pt x="4431" y="6283"/>
                  </a:lnTo>
                  <a:lnTo>
                    <a:pt x="4428" y="6264"/>
                  </a:lnTo>
                  <a:lnTo>
                    <a:pt x="4426" y="6243"/>
                  </a:lnTo>
                  <a:lnTo>
                    <a:pt x="4426" y="6219"/>
                  </a:lnTo>
                  <a:lnTo>
                    <a:pt x="4428" y="6195"/>
                  </a:lnTo>
                  <a:lnTo>
                    <a:pt x="4431" y="6182"/>
                  </a:lnTo>
                  <a:lnTo>
                    <a:pt x="4434" y="6167"/>
                  </a:lnTo>
                  <a:lnTo>
                    <a:pt x="4437" y="6154"/>
                  </a:lnTo>
                  <a:lnTo>
                    <a:pt x="4441" y="6139"/>
                  </a:lnTo>
                  <a:lnTo>
                    <a:pt x="4446" y="6124"/>
                  </a:lnTo>
                  <a:lnTo>
                    <a:pt x="4453" y="6109"/>
                  </a:lnTo>
                  <a:lnTo>
                    <a:pt x="4460" y="6094"/>
                  </a:lnTo>
                  <a:lnTo>
                    <a:pt x="4469" y="6078"/>
                  </a:lnTo>
                  <a:lnTo>
                    <a:pt x="4479" y="6062"/>
                  </a:lnTo>
                  <a:lnTo>
                    <a:pt x="4490" y="6046"/>
                  </a:lnTo>
                  <a:lnTo>
                    <a:pt x="4503" y="6029"/>
                  </a:lnTo>
                  <a:lnTo>
                    <a:pt x="4516" y="6013"/>
                  </a:lnTo>
                  <a:lnTo>
                    <a:pt x="4533" y="5996"/>
                  </a:lnTo>
                  <a:lnTo>
                    <a:pt x="4550" y="5979"/>
                  </a:lnTo>
                  <a:lnTo>
                    <a:pt x="4550" y="5979"/>
                  </a:lnTo>
                  <a:lnTo>
                    <a:pt x="4557" y="5990"/>
                  </a:lnTo>
                  <a:lnTo>
                    <a:pt x="4566" y="6002"/>
                  </a:lnTo>
                  <a:lnTo>
                    <a:pt x="4578" y="6015"/>
                  </a:lnTo>
                  <a:lnTo>
                    <a:pt x="4586" y="6022"/>
                  </a:lnTo>
                  <a:lnTo>
                    <a:pt x="4594" y="6029"/>
                  </a:lnTo>
                  <a:lnTo>
                    <a:pt x="4603" y="6035"/>
                  </a:lnTo>
                  <a:lnTo>
                    <a:pt x="4614" y="6043"/>
                  </a:lnTo>
                  <a:lnTo>
                    <a:pt x="4624" y="6048"/>
                  </a:lnTo>
                  <a:lnTo>
                    <a:pt x="4636" y="6052"/>
                  </a:lnTo>
                  <a:lnTo>
                    <a:pt x="4648" y="6056"/>
                  </a:lnTo>
                  <a:lnTo>
                    <a:pt x="4662" y="6058"/>
                  </a:lnTo>
                  <a:lnTo>
                    <a:pt x="4662" y="6058"/>
                  </a:lnTo>
                  <a:lnTo>
                    <a:pt x="4668" y="6059"/>
                  </a:lnTo>
                  <a:lnTo>
                    <a:pt x="4673" y="6061"/>
                  </a:lnTo>
                  <a:lnTo>
                    <a:pt x="4677" y="6064"/>
                  </a:lnTo>
                  <a:lnTo>
                    <a:pt x="4681" y="6067"/>
                  </a:lnTo>
                  <a:lnTo>
                    <a:pt x="4685" y="6071"/>
                  </a:lnTo>
                  <a:lnTo>
                    <a:pt x="4688" y="6075"/>
                  </a:lnTo>
                  <a:lnTo>
                    <a:pt x="4692" y="6087"/>
                  </a:lnTo>
                  <a:lnTo>
                    <a:pt x="4696" y="6099"/>
                  </a:lnTo>
                  <a:lnTo>
                    <a:pt x="4698" y="6112"/>
                  </a:lnTo>
                  <a:lnTo>
                    <a:pt x="4698" y="6125"/>
                  </a:lnTo>
                  <a:lnTo>
                    <a:pt x="4698" y="6140"/>
                  </a:lnTo>
                  <a:lnTo>
                    <a:pt x="4696" y="6168"/>
                  </a:lnTo>
                  <a:lnTo>
                    <a:pt x="4694" y="6193"/>
                  </a:lnTo>
                  <a:lnTo>
                    <a:pt x="4692" y="6210"/>
                  </a:lnTo>
                  <a:lnTo>
                    <a:pt x="4692" y="6215"/>
                  </a:lnTo>
                  <a:lnTo>
                    <a:pt x="4693" y="6216"/>
                  </a:lnTo>
                  <a:lnTo>
                    <a:pt x="4694" y="6216"/>
                  </a:lnTo>
                  <a:lnTo>
                    <a:pt x="4694" y="6216"/>
                  </a:lnTo>
                  <a:lnTo>
                    <a:pt x="4697" y="6215"/>
                  </a:lnTo>
                  <a:lnTo>
                    <a:pt x="4702" y="6212"/>
                  </a:lnTo>
                  <a:lnTo>
                    <a:pt x="4708" y="6207"/>
                  </a:lnTo>
                  <a:lnTo>
                    <a:pt x="4714" y="6200"/>
                  </a:lnTo>
                  <a:lnTo>
                    <a:pt x="4721" y="6191"/>
                  </a:lnTo>
                  <a:lnTo>
                    <a:pt x="4729" y="6181"/>
                  </a:lnTo>
                  <a:lnTo>
                    <a:pt x="4736" y="6167"/>
                  </a:lnTo>
                  <a:lnTo>
                    <a:pt x="4743" y="6154"/>
                  </a:lnTo>
                  <a:lnTo>
                    <a:pt x="4751" y="6139"/>
                  </a:lnTo>
                  <a:lnTo>
                    <a:pt x="4758" y="6121"/>
                  </a:lnTo>
                  <a:lnTo>
                    <a:pt x="4763" y="6104"/>
                  </a:lnTo>
                  <a:lnTo>
                    <a:pt x="4768" y="6084"/>
                  </a:lnTo>
                  <a:lnTo>
                    <a:pt x="4771" y="6064"/>
                  </a:lnTo>
                  <a:lnTo>
                    <a:pt x="4773" y="6044"/>
                  </a:lnTo>
                  <a:lnTo>
                    <a:pt x="4772" y="6022"/>
                  </a:lnTo>
                  <a:lnTo>
                    <a:pt x="4770" y="6000"/>
                  </a:lnTo>
                  <a:lnTo>
                    <a:pt x="4770" y="6000"/>
                  </a:lnTo>
                  <a:lnTo>
                    <a:pt x="4778" y="5992"/>
                  </a:lnTo>
                  <a:lnTo>
                    <a:pt x="4798" y="5975"/>
                  </a:lnTo>
                  <a:lnTo>
                    <a:pt x="4809" y="5964"/>
                  </a:lnTo>
                  <a:lnTo>
                    <a:pt x="4819" y="5952"/>
                  </a:lnTo>
                  <a:lnTo>
                    <a:pt x="4827" y="5938"/>
                  </a:lnTo>
                  <a:lnTo>
                    <a:pt x="4830" y="5932"/>
                  </a:lnTo>
                  <a:lnTo>
                    <a:pt x="4832" y="5926"/>
                  </a:lnTo>
                  <a:lnTo>
                    <a:pt x="4832" y="5926"/>
                  </a:lnTo>
                  <a:lnTo>
                    <a:pt x="4834" y="5917"/>
                  </a:lnTo>
                  <a:lnTo>
                    <a:pt x="4835" y="5908"/>
                  </a:lnTo>
                  <a:lnTo>
                    <a:pt x="4836" y="5899"/>
                  </a:lnTo>
                  <a:lnTo>
                    <a:pt x="4835" y="5892"/>
                  </a:lnTo>
                  <a:lnTo>
                    <a:pt x="4834" y="5886"/>
                  </a:lnTo>
                  <a:lnTo>
                    <a:pt x="4832" y="5880"/>
                  </a:lnTo>
                  <a:lnTo>
                    <a:pt x="4830" y="5875"/>
                  </a:lnTo>
                  <a:lnTo>
                    <a:pt x="4827" y="5870"/>
                  </a:lnTo>
                  <a:lnTo>
                    <a:pt x="4819" y="5861"/>
                  </a:lnTo>
                  <a:lnTo>
                    <a:pt x="4810" y="5851"/>
                  </a:lnTo>
                  <a:lnTo>
                    <a:pt x="4800" y="5842"/>
                  </a:lnTo>
                  <a:lnTo>
                    <a:pt x="4789" y="5831"/>
                  </a:lnTo>
                  <a:lnTo>
                    <a:pt x="4778" y="5818"/>
                  </a:lnTo>
                  <a:lnTo>
                    <a:pt x="4772" y="5810"/>
                  </a:lnTo>
                  <a:lnTo>
                    <a:pt x="4767" y="5801"/>
                  </a:lnTo>
                  <a:lnTo>
                    <a:pt x="4762" y="5792"/>
                  </a:lnTo>
                  <a:lnTo>
                    <a:pt x="4757" y="5782"/>
                  </a:lnTo>
                  <a:lnTo>
                    <a:pt x="4753" y="5770"/>
                  </a:lnTo>
                  <a:lnTo>
                    <a:pt x="4749" y="5757"/>
                  </a:lnTo>
                  <a:lnTo>
                    <a:pt x="4744" y="5743"/>
                  </a:lnTo>
                  <a:lnTo>
                    <a:pt x="4741" y="5727"/>
                  </a:lnTo>
                  <a:lnTo>
                    <a:pt x="4738" y="5710"/>
                  </a:lnTo>
                  <a:lnTo>
                    <a:pt x="4736" y="5691"/>
                  </a:lnTo>
                  <a:lnTo>
                    <a:pt x="4735" y="5670"/>
                  </a:lnTo>
                  <a:lnTo>
                    <a:pt x="4734" y="5648"/>
                  </a:lnTo>
                  <a:lnTo>
                    <a:pt x="4734" y="5623"/>
                  </a:lnTo>
                  <a:lnTo>
                    <a:pt x="4735" y="5597"/>
                  </a:lnTo>
                  <a:lnTo>
                    <a:pt x="4735" y="5597"/>
                  </a:lnTo>
                  <a:lnTo>
                    <a:pt x="4735" y="5579"/>
                  </a:lnTo>
                  <a:lnTo>
                    <a:pt x="4734" y="5573"/>
                  </a:lnTo>
                  <a:lnTo>
                    <a:pt x="4733" y="5568"/>
                  </a:lnTo>
                  <a:lnTo>
                    <a:pt x="4731" y="5563"/>
                  </a:lnTo>
                  <a:lnTo>
                    <a:pt x="4729" y="5559"/>
                  </a:lnTo>
                  <a:lnTo>
                    <a:pt x="4727" y="5556"/>
                  </a:lnTo>
                  <a:lnTo>
                    <a:pt x="4724" y="5553"/>
                  </a:lnTo>
                  <a:lnTo>
                    <a:pt x="4716" y="5547"/>
                  </a:lnTo>
                  <a:lnTo>
                    <a:pt x="4706" y="5540"/>
                  </a:lnTo>
                  <a:lnTo>
                    <a:pt x="4693" y="5530"/>
                  </a:lnTo>
                  <a:lnTo>
                    <a:pt x="4679" y="5518"/>
                  </a:lnTo>
                  <a:lnTo>
                    <a:pt x="4679" y="5518"/>
                  </a:lnTo>
                  <a:lnTo>
                    <a:pt x="4671" y="5508"/>
                  </a:lnTo>
                  <a:lnTo>
                    <a:pt x="4664" y="5498"/>
                  </a:lnTo>
                  <a:lnTo>
                    <a:pt x="4659" y="5487"/>
                  </a:lnTo>
                  <a:lnTo>
                    <a:pt x="4655" y="5477"/>
                  </a:lnTo>
                  <a:lnTo>
                    <a:pt x="4654" y="5469"/>
                  </a:lnTo>
                  <a:lnTo>
                    <a:pt x="4654" y="5466"/>
                  </a:lnTo>
                  <a:lnTo>
                    <a:pt x="4654" y="5464"/>
                  </a:lnTo>
                  <a:lnTo>
                    <a:pt x="4657" y="5462"/>
                  </a:lnTo>
                  <a:lnTo>
                    <a:pt x="4659" y="5461"/>
                  </a:lnTo>
                  <a:lnTo>
                    <a:pt x="4661" y="5461"/>
                  </a:lnTo>
                  <a:lnTo>
                    <a:pt x="4665" y="5462"/>
                  </a:lnTo>
                  <a:lnTo>
                    <a:pt x="4665" y="5462"/>
                  </a:lnTo>
                  <a:lnTo>
                    <a:pt x="4679" y="5468"/>
                  </a:lnTo>
                  <a:lnTo>
                    <a:pt x="4693" y="5472"/>
                  </a:lnTo>
                  <a:lnTo>
                    <a:pt x="4708" y="5475"/>
                  </a:lnTo>
                  <a:lnTo>
                    <a:pt x="4723" y="5476"/>
                  </a:lnTo>
                  <a:lnTo>
                    <a:pt x="4737" y="5477"/>
                  </a:lnTo>
                  <a:lnTo>
                    <a:pt x="4752" y="5478"/>
                  </a:lnTo>
                  <a:lnTo>
                    <a:pt x="4765" y="5477"/>
                  </a:lnTo>
                  <a:lnTo>
                    <a:pt x="4778" y="5476"/>
                  </a:lnTo>
                  <a:lnTo>
                    <a:pt x="4802" y="5473"/>
                  </a:lnTo>
                  <a:lnTo>
                    <a:pt x="4819" y="5469"/>
                  </a:lnTo>
                  <a:lnTo>
                    <a:pt x="4835" y="5465"/>
                  </a:lnTo>
                  <a:lnTo>
                    <a:pt x="4835" y="5465"/>
                  </a:lnTo>
                  <a:lnTo>
                    <a:pt x="4844" y="5369"/>
                  </a:lnTo>
                  <a:lnTo>
                    <a:pt x="4849" y="5294"/>
                  </a:lnTo>
                  <a:lnTo>
                    <a:pt x="4851" y="5239"/>
                  </a:lnTo>
                  <a:lnTo>
                    <a:pt x="4851" y="5201"/>
                  </a:lnTo>
                  <a:lnTo>
                    <a:pt x="4849" y="5176"/>
                  </a:lnTo>
                  <a:lnTo>
                    <a:pt x="4847" y="5161"/>
                  </a:lnTo>
                  <a:lnTo>
                    <a:pt x="4845" y="5155"/>
                  </a:lnTo>
                  <a:lnTo>
                    <a:pt x="4844" y="5153"/>
                  </a:lnTo>
                  <a:lnTo>
                    <a:pt x="4844" y="5153"/>
                  </a:lnTo>
                  <a:lnTo>
                    <a:pt x="4825" y="5154"/>
                  </a:lnTo>
                  <a:lnTo>
                    <a:pt x="4808" y="5153"/>
                  </a:lnTo>
                  <a:lnTo>
                    <a:pt x="4791" y="5152"/>
                  </a:lnTo>
                  <a:lnTo>
                    <a:pt x="4776" y="5151"/>
                  </a:lnTo>
                  <a:lnTo>
                    <a:pt x="4763" y="5149"/>
                  </a:lnTo>
                  <a:lnTo>
                    <a:pt x="4750" y="5146"/>
                  </a:lnTo>
                  <a:lnTo>
                    <a:pt x="4737" y="5143"/>
                  </a:lnTo>
                  <a:lnTo>
                    <a:pt x="4726" y="5139"/>
                  </a:lnTo>
                  <a:lnTo>
                    <a:pt x="4716" y="5135"/>
                  </a:lnTo>
                  <a:lnTo>
                    <a:pt x="4707" y="5131"/>
                  </a:lnTo>
                  <a:lnTo>
                    <a:pt x="4698" y="5125"/>
                  </a:lnTo>
                  <a:lnTo>
                    <a:pt x="4690" y="5120"/>
                  </a:lnTo>
                  <a:lnTo>
                    <a:pt x="4683" y="5114"/>
                  </a:lnTo>
                  <a:lnTo>
                    <a:pt x="4676" y="5109"/>
                  </a:lnTo>
                  <a:lnTo>
                    <a:pt x="4665" y="5096"/>
                  </a:lnTo>
                  <a:lnTo>
                    <a:pt x="4665" y="5096"/>
                  </a:lnTo>
                  <a:lnTo>
                    <a:pt x="4677" y="5099"/>
                  </a:lnTo>
                  <a:lnTo>
                    <a:pt x="4690" y="5101"/>
                  </a:lnTo>
                  <a:lnTo>
                    <a:pt x="4717" y="5103"/>
                  </a:lnTo>
                  <a:lnTo>
                    <a:pt x="4742" y="5103"/>
                  </a:lnTo>
                  <a:lnTo>
                    <a:pt x="4768" y="5101"/>
                  </a:lnTo>
                  <a:lnTo>
                    <a:pt x="4790" y="5097"/>
                  </a:lnTo>
                  <a:lnTo>
                    <a:pt x="4812" y="5091"/>
                  </a:lnTo>
                  <a:lnTo>
                    <a:pt x="4821" y="5088"/>
                  </a:lnTo>
                  <a:lnTo>
                    <a:pt x="4829" y="5084"/>
                  </a:lnTo>
                  <a:lnTo>
                    <a:pt x="4838" y="5078"/>
                  </a:lnTo>
                  <a:lnTo>
                    <a:pt x="4844" y="5074"/>
                  </a:lnTo>
                  <a:lnTo>
                    <a:pt x="4844" y="5074"/>
                  </a:lnTo>
                  <a:lnTo>
                    <a:pt x="4843" y="5026"/>
                  </a:lnTo>
                  <a:lnTo>
                    <a:pt x="4841" y="4978"/>
                  </a:lnTo>
                  <a:lnTo>
                    <a:pt x="4838" y="4923"/>
                  </a:lnTo>
                  <a:lnTo>
                    <a:pt x="4833" y="4868"/>
                  </a:lnTo>
                  <a:lnTo>
                    <a:pt x="4831" y="4843"/>
                  </a:lnTo>
                  <a:lnTo>
                    <a:pt x="4828" y="4821"/>
                  </a:lnTo>
                  <a:lnTo>
                    <a:pt x="4825" y="4802"/>
                  </a:lnTo>
                  <a:lnTo>
                    <a:pt x="4822" y="4788"/>
                  </a:lnTo>
                  <a:lnTo>
                    <a:pt x="4820" y="4783"/>
                  </a:lnTo>
                  <a:lnTo>
                    <a:pt x="4818" y="4780"/>
                  </a:lnTo>
                  <a:lnTo>
                    <a:pt x="4816" y="4778"/>
                  </a:lnTo>
                  <a:lnTo>
                    <a:pt x="4814" y="4778"/>
                  </a:lnTo>
                  <a:lnTo>
                    <a:pt x="4814" y="4778"/>
                  </a:lnTo>
                  <a:lnTo>
                    <a:pt x="4786" y="4785"/>
                  </a:lnTo>
                  <a:lnTo>
                    <a:pt x="4760" y="4790"/>
                  </a:lnTo>
                  <a:lnTo>
                    <a:pt x="4746" y="4791"/>
                  </a:lnTo>
                  <a:lnTo>
                    <a:pt x="4734" y="4792"/>
                  </a:lnTo>
                  <a:lnTo>
                    <a:pt x="4722" y="4792"/>
                  </a:lnTo>
                  <a:lnTo>
                    <a:pt x="4711" y="4791"/>
                  </a:lnTo>
                  <a:lnTo>
                    <a:pt x="4698" y="4789"/>
                  </a:lnTo>
                  <a:lnTo>
                    <a:pt x="4687" y="4787"/>
                  </a:lnTo>
                  <a:lnTo>
                    <a:pt x="4675" y="4784"/>
                  </a:lnTo>
                  <a:lnTo>
                    <a:pt x="4664" y="4780"/>
                  </a:lnTo>
                  <a:lnTo>
                    <a:pt x="4652" y="4775"/>
                  </a:lnTo>
                  <a:lnTo>
                    <a:pt x="4640" y="4770"/>
                  </a:lnTo>
                  <a:lnTo>
                    <a:pt x="4629" y="4762"/>
                  </a:lnTo>
                  <a:lnTo>
                    <a:pt x="4618" y="4755"/>
                  </a:lnTo>
                  <a:lnTo>
                    <a:pt x="4618" y="4755"/>
                  </a:lnTo>
                  <a:lnTo>
                    <a:pt x="4613" y="4752"/>
                  </a:lnTo>
                  <a:lnTo>
                    <a:pt x="4608" y="4748"/>
                  </a:lnTo>
                  <a:lnTo>
                    <a:pt x="4602" y="4740"/>
                  </a:lnTo>
                  <a:lnTo>
                    <a:pt x="4597" y="4731"/>
                  </a:lnTo>
                  <a:lnTo>
                    <a:pt x="4594" y="4721"/>
                  </a:lnTo>
                  <a:lnTo>
                    <a:pt x="4592" y="4709"/>
                  </a:lnTo>
                  <a:lnTo>
                    <a:pt x="4591" y="4699"/>
                  </a:lnTo>
                  <a:lnTo>
                    <a:pt x="4590" y="4677"/>
                  </a:lnTo>
                  <a:lnTo>
                    <a:pt x="4589" y="4655"/>
                  </a:lnTo>
                  <a:lnTo>
                    <a:pt x="4587" y="4646"/>
                  </a:lnTo>
                  <a:lnTo>
                    <a:pt x="4585" y="4638"/>
                  </a:lnTo>
                  <a:lnTo>
                    <a:pt x="4581" y="4631"/>
                  </a:lnTo>
                  <a:lnTo>
                    <a:pt x="4575" y="4624"/>
                  </a:lnTo>
                  <a:lnTo>
                    <a:pt x="4571" y="4621"/>
                  </a:lnTo>
                  <a:lnTo>
                    <a:pt x="4567" y="4619"/>
                  </a:lnTo>
                  <a:lnTo>
                    <a:pt x="4561" y="4618"/>
                  </a:lnTo>
                  <a:lnTo>
                    <a:pt x="4556" y="4617"/>
                  </a:lnTo>
                  <a:lnTo>
                    <a:pt x="4556" y="4617"/>
                  </a:lnTo>
                  <a:lnTo>
                    <a:pt x="4534" y="4610"/>
                  </a:lnTo>
                  <a:lnTo>
                    <a:pt x="4511" y="4603"/>
                  </a:lnTo>
                  <a:lnTo>
                    <a:pt x="4489" y="4595"/>
                  </a:lnTo>
                  <a:lnTo>
                    <a:pt x="4468" y="4585"/>
                  </a:lnTo>
                  <a:lnTo>
                    <a:pt x="4448" y="4575"/>
                  </a:lnTo>
                  <a:lnTo>
                    <a:pt x="4428" y="4564"/>
                  </a:lnTo>
                  <a:lnTo>
                    <a:pt x="4410" y="4554"/>
                  </a:lnTo>
                  <a:lnTo>
                    <a:pt x="4394" y="4543"/>
                  </a:lnTo>
                  <a:lnTo>
                    <a:pt x="4377" y="4531"/>
                  </a:lnTo>
                  <a:lnTo>
                    <a:pt x="4363" y="4521"/>
                  </a:lnTo>
                  <a:lnTo>
                    <a:pt x="4337" y="4501"/>
                  </a:lnTo>
                  <a:lnTo>
                    <a:pt x="4318" y="4482"/>
                  </a:lnTo>
                  <a:lnTo>
                    <a:pt x="4306" y="4467"/>
                  </a:lnTo>
                  <a:lnTo>
                    <a:pt x="4306" y="4467"/>
                  </a:lnTo>
                  <a:lnTo>
                    <a:pt x="4297" y="4455"/>
                  </a:lnTo>
                  <a:lnTo>
                    <a:pt x="4288" y="4442"/>
                  </a:lnTo>
                  <a:lnTo>
                    <a:pt x="4282" y="4431"/>
                  </a:lnTo>
                  <a:lnTo>
                    <a:pt x="4277" y="4420"/>
                  </a:lnTo>
                  <a:lnTo>
                    <a:pt x="4273" y="4410"/>
                  </a:lnTo>
                  <a:lnTo>
                    <a:pt x="4270" y="4401"/>
                  </a:lnTo>
                  <a:lnTo>
                    <a:pt x="4266" y="4384"/>
                  </a:lnTo>
                  <a:lnTo>
                    <a:pt x="4265" y="4371"/>
                  </a:lnTo>
                  <a:lnTo>
                    <a:pt x="4265" y="4361"/>
                  </a:lnTo>
                  <a:lnTo>
                    <a:pt x="4266" y="4352"/>
                  </a:lnTo>
                  <a:lnTo>
                    <a:pt x="4266" y="4352"/>
                  </a:lnTo>
                  <a:lnTo>
                    <a:pt x="4284" y="4362"/>
                  </a:lnTo>
                  <a:lnTo>
                    <a:pt x="4302" y="4368"/>
                  </a:lnTo>
                  <a:lnTo>
                    <a:pt x="4321" y="4373"/>
                  </a:lnTo>
                  <a:lnTo>
                    <a:pt x="4340" y="4376"/>
                  </a:lnTo>
                  <a:lnTo>
                    <a:pt x="4358" y="4378"/>
                  </a:lnTo>
                  <a:lnTo>
                    <a:pt x="4377" y="4377"/>
                  </a:lnTo>
                  <a:lnTo>
                    <a:pt x="4396" y="4374"/>
                  </a:lnTo>
                  <a:lnTo>
                    <a:pt x="4414" y="4370"/>
                  </a:lnTo>
                  <a:lnTo>
                    <a:pt x="4434" y="4130"/>
                  </a:lnTo>
                  <a:lnTo>
                    <a:pt x="4434" y="4130"/>
                  </a:lnTo>
                  <a:lnTo>
                    <a:pt x="4425" y="4129"/>
                  </a:lnTo>
                  <a:lnTo>
                    <a:pt x="4405" y="4126"/>
                  </a:lnTo>
                  <a:lnTo>
                    <a:pt x="4392" y="4123"/>
                  </a:lnTo>
                  <a:lnTo>
                    <a:pt x="4377" y="4119"/>
                  </a:lnTo>
                  <a:lnTo>
                    <a:pt x="4362" y="4115"/>
                  </a:lnTo>
                  <a:lnTo>
                    <a:pt x="4348" y="4109"/>
                  </a:lnTo>
                  <a:lnTo>
                    <a:pt x="4348" y="4109"/>
                  </a:lnTo>
                  <a:lnTo>
                    <a:pt x="4339" y="4105"/>
                  </a:lnTo>
                  <a:lnTo>
                    <a:pt x="4331" y="4100"/>
                  </a:lnTo>
                  <a:lnTo>
                    <a:pt x="4323" y="4094"/>
                  </a:lnTo>
                  <a:lnTo>
                    <a:pt x="4316" y="4088"/>
                  </a:lnTo>
                  <a:lnTo>
                    <a:pt x="4302" y="4074"/>
                  </a:lnTo>
                  <a:lnTo>
                    <a:pt x="4289" y="4061"/>
                  </a:lnTo>
                  <a:lnTo>
                    <a:pt x="4280" y="4048"/>
                  </a:lnTo>
                  <a:lnTo>
                    <a:pt x="4273" y="4038"/>
                  </a:lnTo>
                  <a:lnTo>
                    <a:pt x="4267" y="4028"/>
                  </a:lnTo>
                  <a:lnTo>
                    <a:pt x="4267" y="4028"/>
                  </a:lnTo>
                  <a:lnTo>
                    <a:pt x="4274" y="4031"/>
                  </a:lnTo>
                  <a:lnTo>
                    <a:pt x="4293" y="4039"/>
                  </a:lnTo>
                  <a:lnTo>
                    <a:pt x="4321" y="4047"/>
                  </a:lnTo>
                  <a:lnTo>
                    <a:pt x="4339" y="4051"/>
                  </a:lnTo>
                  <a:lnTo>
                    <a:pt x="4356" y="4054"/>
                  </a:lnTo>
                  <a:lnTo>
                    <a:pt x="4356" y="4054"/>
                  </a:lnTo>
                  <a:lnTo>
                    <a:pt x="4375" y="4056"/>
                  </a:lnTo>
                  <a:lnTo>
                    <a:pt x="4392" y="4057"/>
                  </a:lnTo>
                  <a:lnTo>
                    <a:pt x="4407" y="4055"/>
                  </a:lnTo>
                  <a:lnTo>
                    <a:pt x="4419" y="4053"/>
                  </a:lnTo>
                  <a:lnTo>
                    <a:pt x="4430" y="4051"/>
                  </a:lnTo>
                  <a:lnTo>
                    <a:pt x="4438" y="4049"/>
                  </a:lnTo>
                  <a:lnTo>
                    <a:pt x="4444" y="4046"/>
                  </a:lnTo>
                  <a:lnTo>
                    <a:pt x="4477" y="3775"/>
                  </a:lnTo>
                  <a:lnTo>
                    <a:pt x="4477" y="3775"/>
                  </a:lnTo>
                  <a:lnTo>
                    <a:pt x="4451" y="3776"/>
                  </a:lnTo>
                  <a:lnTo>
                    <a:pt x="4427" y="3775"/>
                  </a:lnTo>
                  <a:lnTo>
                    <a:pt x="4408" y="3773"/>
                  </a:lnTo>
                  <a:lnTo>
                    <a:pt x="4392" y="3768"/>
                  </a:lnTo>
                  <a:lnTo>
                    <a:pt x="4377" y="3762"/>
                  </a:lnTo>
                  <a:lnTo>
                    <a:pt x="4365" y="3755"/>
                  </a:lnTo>
                  <a:lnTo>
                    <a:pt x="4356" y="3747"/>
                  </a:lnTo>
                  <a:lnTo>
                    <a:pt x="4348" y="3739"/>
                  </a:lnTo>
                  <a:lnTo>
                    <a:pt x="4343" y="3731"/>
                  </a:lnTo>
                  <a:lnTo>
                    <a:pt x="4337" y="3722"/>
                  </a:lnTo>
                  <a:lnTo>
                    <a:pt x="4335" y="3713"/>
                  </a:lnTo>
                  <a:lnTo>
                    <a:pt x="4333" y="3705"/>
                  </a:lnTo>
                  <a:lnTo>
                    <a:pt x="4332" y="3697"/>
                  </a:lnTo>
                  <a:lnTo>
                    <a:pt x="4331" y="3691"/>
                  </a:lnTo>
                  <a:lnTo>
                    <a:pt x="4332" y="3682"/>
                  </a:lnTo>
                  <a:lnTo>
                    <a:pt x="4332" y="3682"/>
                  </a:lnTo>
                  <a:lnTo>
                    <a:pt x="4357" y="3677"/>
                  </a:lnTo>
                  <a:lnTo>
                    <a:pt x="4381" y="3671"/>
                  </a:lnTo>
                  <a:lnTo>
                    <a:pt x="4405" y="3663"/>
                  </a:lnTo>
                  <a:lnTo>
                    <a:pt x="4428" y="3656"/>
                  </a:lnTo>
                  <a:lnTo>
                    <a:pt x="4451" y="3647"/>
                  </a:lnTo>
                  <a:lnTo>
                    <a:pt x="4473" y="3637"/>
                  </a:lnTo>
                  <a:lnTo>
                    <a:pt x="4495" y="3626"/>
                  </a:lnTo>
                  <a:lnTo>
                    <a:pt x="4515" y="3613"/>
                  </a:lnTo>
                  <a:lnTo>
                    <a:pt x="4536" y="3601"/>
                  </a:lnTo>
                  <a:lnTo>
                    <a:pt x="4555" y="3588"/>
                  </a:lnTo>
                  <a:lnTo>
                    <a:pt x="4574" y="3573"/>
                  </a:lnTo>
                  <a:lnTo>
                    <a:pt x="4592" y="3558"/>
                  </a:lnTo>
                  <a:lnTo>
                    <a:pt x="4609" y="3543"/>
                  </a:lnTo>
                  <a:lnTo>
                    <a:pt x="4627" y="3526"/>
                  </a:lnTo>
                  <a:lnTo>
                    <a:pt x="4642" y="3510"/>
                  </a:lnTo>
                  <a:lnTo>
                    <a:pt x="4659" y="3493"/>
                  </a:lnTo>
                  <a:lnTo>
                    <a:pt x="4673" y="3474"/>
                  </a:lnTo>
                  <a:lnTo>
                    <a:pt x="4688" y="3456"/>
                  </a:lnTo>
                  <a:lnTo>
                    <a:pt x="4702" y="3437"/>
                  </a:lnTo>
                  <a:lnTo>
                    <a:pt x="4715" y="3418"/>
                  </a:lnTo>
                  <a:lnTo>
                    <a:pt x="4727" y="3399"/>
                  </a:lnTo>
                  <a:lnTo>
                    <a:pt x="4738" y="3379"/>
                  </a:lnTo>
                  <a:lnTo>
                    <a:pt x="4750" y="3360"/>
                  </a:lnTo>
                  <a:lnTo>
                    <a:pt x="4760" y="3339"/>
                  </a:lnTo>
                  <a:lnTo>
                    <a:pt x="4770" y="3319"/>
                  </a:lnTo>
                  <a:lnTo>
                    <a:pt x="4779" y="3298"/>
                  </a:lnTo>
                  <a:lnTo>
                    <a:pt x="4787" y="3278"/>
                  </a:lnTo>
                  <a:lnTo>
                    <a:pt x="4796" y="3257"/>
                  </a:lnTo>
                  <a:lnTo>
                    <a:pt x="4803" y="3237"/>
                  </a:lnTo>
                  <a:lnTo>
                    <a:pt x="4809" y="3217"/>
                  </a:lnTo>
                  <a:lnTo>
                    <a:pt x="4815" y="3196"/>
                  </a:lnTo>
                  <a:lnTo>
                    <a:pt x="4820" y="3177"/>
                  </a:lnTo>
                  <a:lnTo>
                    <a:pt x="4820" y="3177"/>
                  </a:lnTo>
                  <a:lnTo>
                    <a:pt x="4831" y="3183"/>
                  </a:lnTo>
                  <a:lnTo>
                    <a:pt x="4847" y="3189"/>
                  </a:lnTo>
                  <a:lnTo>
                    <a:pt x="4864" y="3195"/>
                  </a:lnTo>
                  <a:lnTo>
                    <a:pt x="4882" y="3200"/>
                  </a:lnTo>
                  <a:lnTo>
                    <a:pt x="4903" y="3203"/>
                  </a:lnTo>
                  <a:lnTo>
                    <a:pt x="4913" y="3204"/>
                  </a:lnTo>
                  <a:lnTo>
                    <a:pt x="4923" y="3205"/>
                  </a:lnTo>
                  <a:lnTo>
                    <a:pt x="4935" y="3204"/>
                  </a:lnTo>
                  <a:lnTo>
                    <a:pt x="4945" y="3203"/>
                  </a:lnTo>
                  <a:lnTo>
                    <a:pt x="4955" y="3201"/>
                  </a:lnTo>
                  <a:lnTo>
                    <a:pt x="4965" y="3198"/>
                  </a:lnTo>
                  <a:lnTo>
                    <a:pt x="4965" y="3198"/>
                  </a:lnTo>
                  <a:lnTo>
                    <a:pt x="4967" y="3170"/>
                  </a:lnTo>
                  <a:lnTo>
                    <a:pt x="4970" y="3103"/>
                  </a:lnTo>
                  <a:lnTo>
                    <a:pt x="4972" y="3067"/>
                  </a:lnTo>
                  <a:lnTo>
                    <a:pt x="4973" y="3033"/>
                  </a:lnTo>
                  <a:lnTo>
                    <a:pt x="4972" y="3005"/>
                  </a:lnTo>
                  <a:lnTo>
                    <a:pt x="4972" y="2995"/>
                  </a:lnTo>
                  <a:lnTo>
                    <a:pt x="4970" y="2989"/>
                  </a:lnTo>
                  <a:lnTo>
                    <a:pt x="4970" y="2989"/>
                  </a:lnTo>
                  <a:lnTo>
                    <a:pt x="4955" y="2987"/>
                  </a:lnTo>
                  <a:lnTo>
                    <a:pt x="4938" y="2984"/>
                  </a:lnTo>
                  <a:lnTo>
                    <a:pt x="4919" y="2979"/>
                  </a:lnTo>
                  <a:lnTo>
                    <a:pt x="4911" y="2976"/>
                  </a:lnTo>
                  <a:lnTo>
                    <a:pt x="4902" y="2973"/>
                  </a:lnTo>
                  <a:lnTo>
                    <a:pt x="4893" y="2968"/>
                  </a:lnTo>
                  <a:lnTo>
                    <a:pt x="4885" y="2964"/>
                  </a:lnTo>
                  <a:lnTo>
                    <a:pt x="4876" y="2958"/>
                  </a:lnTo>
                  <a:lnTo>
                    <a:pt x="4868" y="2951"/>
                  </a:lnTo>
                  <a:lnTo>
                    <a:pt x="4861" y="2944"/>
                  </a:lnTo>
                  <a:lnTo>
                    <a:pt x="4854" y="2935"/>
                  </a:lnTo>
                  <a:lnTo>
                    <a:pt x="4848" y="2926"/>
                  </a:lnTo>
                  <a:lnTo>
                    <a:pt x="4842" y="29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4" name="Freeform 30"/>
            <p:cNvSpPr>
              <a:spLocks/>
            </p:cNvSpPr>
            <p:nvPr userDrawn="1"/>
          </p:nvSpPr>
          <p:spPr bwMode="auto">
            <a:xfrm>
              <a:off x="5923209" y="1166980"/>
              <a:ext cx="371474" cy="98425"/>
            </a:xfrm>
            <a:custGeom>
              <a:avLst/>
              <a:gdLst>
                <a:gd name="T0" fmla="*/ 87 w 2807"/>
                <a:gd name="T1" fmla="*/ 343 h 743"/>
                <a:gd name="T2" fmla="*/ 203 w 2807"/>
                <a:gd name="T3" fmla="*/ 417 h 743"/>
                <a:gd name="T4" fmla="*/ 319 w 2807"/>
                <a:gd name="T5" fmla="*/ 479 h 743"/>
                <a:gd name="T6" fmla="*/ 430 w 2807"/>
                <a:gd name="T7" fmla="*/ 529 h 743"/>
                <a:gd name="T8" fmla="*/ 603 w 2807"/>
                <a:gd name="T9" fmla="*/ 595 h 743"/>
                <a:gd name="T10" fmla="*/ 724 w 2807"/>
                <a:gd name="T11" fmla="*/ 633 h 743"/>
                <a:gd name="T12" fmla="*/ 857 w 2807"/>
                <a:gd name="T13" fmla="*/ 666 h 743"/>
                <a:gd name="T14" fmla="*/ 1001 w 2807"/>
                <a:gd name="T15" fmla="*/ 696 h 743"/>
                <a:gd name="T16" fmla="*/ 1157 w 2807"/>
                <a:gd name="T17" fmla="*/ 719 h 743"/>
                <a:gd name="T18" fmla="*/ 1324 w 2807"/>
                <a:gd name="T19" fmla="*/ 736 h 743"/>
                <a:gd name="T20" fmla="*/ 1502 w 2807"/>
                <a:gd name="T21" fmla="*/ 743 h 743"/>
                <a:gd name="T22" fmla="*/ 1689 w 2807"/>
                <a:gd name="T23" fmla="*/ 738 h 743"/>
                <a:gd name="T24" fmla="*/ 1819 w 2807"/>
                <a:gd name="T25" fmla="*/ 729 h 743"/>
                <a:gd name="T26" fmla="*/ 1999 w 2807"/>
                <a:gd name="T27" fmla="*/ 706 h 743"/>
                <a:gd name="T28" fmla="*/ 2159 w 2807"/>
                <a:gd name="T29" fmla="*/ 678 h 743"/>
                <a:gd name="T30" fmla="*/ 2302 w 2807"/>
                <a:gd name="T31" fmla="*/ 643 h 743"/>
                <a:gd name="T32" fmla="*/ 2426 w 2807"/>
                <a:gd name="T33" fmla="*/ 605 h 743"/>
                <a:gd name="T34" fmla="*/ 2533 w 2807"/>
                <a:gd name="T35" fmla="*/ 566 h 743"/>
                <a:gd name="T36" fmla="*/ 2672 w 2807"/>
                <a:gd name="T37" fmla="*/ 505 h 743"/>
                <a:gd name="T38" fmla="*/ 2773 w 2807"/>
                <a:gd name="T39" fmla="*/ 449 h 743"/>
                <a:gd name="T40" fmla="*/ 2807 w 2807"/>
                <a:gd name="T41" fmla="*/ 426 h 743"/>
                <a:gd name="T42" fmla="*/ 2745 w 2807"/>
                <a:gd name="T43" fmla="*/ 402 h 743"/>
                <a:gd name="T44" fmla="*/ 2688 w 2807"/>
                <a:gd name="T45" fmla="*/ 372 h 743"/>
                <a:gd name="T46" fmla="*/ 2586 w 2807"/>
                <a:gd name="T47" fmla="*/ 303 h 743"/>
                <a:gd name="T48" fmla="*/ 2529 w 2807"/>
                <a:gd name="T49" fmla="*/ 256 h 743"/>
                <a:gd name="T50" fmla="*/ 2518 w 2807"/>
                <a:gd name="T51" fmla="*/ 294 h 743"/>
                <a:gd name="T52" fmla="*/ 2507 w 2807"/>
                <a:gd name="T53" fmla="*/ 381 h 743"/>
                <a:gd name="T54" fmla="*/ 2499 w 2807"/>
                <a:gd name="T55" fmla="*/ 413 h 743"/>
                <a:gd name="T56" fmla="*/ 2443 w 2807"/>
                <a:gd name="T57" fmla="*/ 391 h 743"/>
                <a:gd name="T58" fmla="*/ 2423 w 2807"/>
                <a:gd name="T59" fmla="*/ 381 h 743"/>
                <a:gd name="T60" fmla="*/ 2392 w 2807"/>
                <a:gd name="T61" fmla="*/ 357 h 743"/>
                <a:gd name="T62" fmla="*/ 2361 w 2807"/>
                <a:gd name="T63" fmla="*/ 324 h 743"/>
                <a:gd name="T64" fmla="*/ 2334 w 2807"/>
                <a:gd name="T65" fmla="*/ 283 h 743"/>
                <a:gd name="T66" fmla="*/ 2316 w 2807"/>
                <a:gd name="T67" fmla="*/ 235 h 743"/>
                <a:gd name="T68" fmla="*/ 2310 w 2807"/>
                <a:gd name="T69" fmla="*/ 199 h 743"/>
                <a:gd name="T70" fmla="*/ 2252 w 2807"/>
                <a:gd name="T71" fmla="*/ 195 h 743"/>
                <a:gd name="T72" fmla="*/ 2110 w 2807"/>
                <a:gd name="T73" fmla="*/ 243 h 743"/>
                <a:gd name="T74" fmla="*/ 1984 w 2807"/>
                <a:gd name="T75" fmla="*/ 277 h 743"/>
                <a:gd name="T76" fmla="*/ 1843 w 2807"/>
                <a:gd name="T77" fmla="*/ 303 h 743"/>
                <a:gd name="T78" fmla="*/ 1697 w 2807"/>
                <a:gd name="T79" fmla="*/ 319 h 743"/>
                <a:gd name="T80" fmla="*/ 1558 w 2807"/>
                <a:gd name="T81" fmla="*/ 322 h 743"/>
                <a:gd name="T82" fmla="*/ 1293 w 2807"/>
                <a:gd name="T83" fmla="*/ 312 h 743"/>
                <a:gd name="T84" fmla="*/ 1030 w 2807"/>
                <a:gd name="T85" fmla="*/ 282 h 743"/>
                <a:gd name="T86" fmla="*/ 855 w 2807"/>
                <a:gd name="T87" fmla="*/ 251 h 743"/>
                <a:gd name="T88" fmla="*/ 725 w 2807"/>
                <a:gd name="T89" fmla="*/ 221 h 743"/>
                <a:gd name="T90" fmla="*/ 594 w 2807"/>
                <a:gd name="T91" fmla="*/ 185 h 743"/>
                <a:gd name="T92" fmla="*/ 465 w 2807"/>
                <a:gd name="T93" fmla="*/ 143 h 743"/>
                <a:gd name="T94" fmla="*/ 336 w 2807"/>
                <a:gd name="T95" fmla="*/ 94 h 743"/>
                <a:gd name="T96" fmla="*/ 251 w 2807"/>
                <a:gd name="T97" fmla="*/ 58 h 743"/>
                <a:gd name="T98" fmla="*/ 122 w 2807"/>
                <a:gd name="T99" fmla="*/ 0 h 743"/>
                <a:gd name="T100" fmla="*/ 119 w 2807"/>
                <a:gd name="T101" fmla="*/ 19 h 743"/>
                <a:gd name="T102" fmla="*/ 121 w 2807"/>
                <a:gd name="T103" fmla="*/ 51 h 743"/>
                <a:gd name="T104" fmla="*/ 136 w 2807"/>
                <a:gd name="T105" fmla="*/ 96 h 743"/>
                <a:gd name="T106" fmla="*/ 171 w 2807"/>
                <a:gd name="T107" fmla="*/ 156 h 743"/>
                <a:gd name="T108" fmla="*/ 207 w 2807"/>
                <a:gd name="T109" fmla="*/ 204 h 743"/>
                <a:gd name="T110" fmla="*/ 151 w 2807"/>
                <a:gd name="T111" fmla="*/ 199 h 743"/>
                <a:gd name="T112" fmla="*/ 98 w 2807"/>
                <a:gd name="T113" fmla="*/ 204 h 743"/>
                <a:gd name="T114" fmla="*/ 69 w 2807"/>
                <a:gd name="T115" fmla="*/ 215 h 743"/>
                <a:gd name="T116" fmla="*/ 32 w 2807"/>
                <a:gd name="T117" fmla="*/ 244 h 743"/>
                <a:gd name="T118" fmla="*/ 7 w 2807"/>
                <a:gd name="T119" fmla="*/ 272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07" h="743">
                  <a:moveTo>
                    <a:pt x="0" y="284"/>
                  </a:moveTo>
                  <a:lnTo>
                    <a:pt x="0" y="284"/>
                  </a:lnTo>
                  <a:lnTo>
                    <a:pt x="87" y="343"/>
                  </a:lnTo>
                  <a:lnTo>
                    <a:pt x="127" y="369"/>
                  </a:lnTo>
                  <a:lnTo>
                    <a:pt x="166" y="394"/>
                  </a:lnTo>
                  <a:lnTo>
                    <a:pt x="203" y="417"/>
                  </a:lnTo>
                  <a:lnTo>
                    <a:pt x="241" y="438"/>
                  </a:lnTo>
                  <a:lnTo>
                    <a:pt x="280" y="460"/>
                  </a:lnTo>
                  <a:lnTo>
                    <a:pt x="319" y="479"/>
                  </a:lnTo>
                  <a:lnTo>
                    <a:pt x="319" y="479"/>
                  </a:lnTo>
                  <a:lnTo>
                    <a:pt x="372" y="504"/>
                  </a:lnTo>
                  <a:lnTo>
                    <a:pt x="430" y="529"/>
                  </a:lnTo>
                  <a:lnTo>
                    <a:pt x="495" y="556"/>
                  </a:lnTo>
                  <a:lnTo>
                    <a:pt x="565" y="581"/>
                  </a:lnTo>
                  <a:lnTo>
                    <a:pt x="603" y="595"/>
                  </a:lnTo>
                  <a:lnTo>
                    <a:pt x="642" y="607"/>
                  </a:lnTo>
                  <a:lnTo>
                    <a:pt x="682" y="620"/>
                  </a:lnTo>
                  <a:lnTo>
                    <a:pt x="724" y="633"/>
                  </a:lnTo>
                  <a:lnTo>
                    <a:pt x="767" y="644"/>
                  </a:lnTo>
                  <a:lnTo>
                    <a:pt x="811" y="655"/>
                  </a:lnTo>
                  <a:lnTo>
                    <a:pt x="857" y="666"/>
                  </a:lnTo>
                  <a:lnTo>
                    <a:pt x="903" y="677"/>
                  </a:lnTo>
                  <a:lnTo>
                    <a:pt x="952" y="687"/>
                  </a:lnTo>
                  <a:lnTo>
                    <a:pt x="1001" y="696"/>
                  </a:lnTo>
                  <a:lnTo>
                    <a:pt x="1052" y="705"/>
                  </a:lnTo>
                  <a:lnTo>
                    <a:pt x="1104" y="713"/>
                  </a:lnTo>
                  <a:lnTo>
                    <a:pt x="1157" y="719"/>
                  </a:lnTo>
                  <a:lnTo>
                    <a:pt x="1212" y="727"/>
                  </a:lnTo>
                  <a:lnTo>
                    <a:pt x="1267" y="732"/>
                  </a:lnTo>
                  <a:lnTo>
                    <a:pt x="1324" y="736"/>
                  </a:lnTo>
                  <a:lnTo>
                    <a:pt x="1382" y="739"/>
                  </a:lnTo>
                  <a:lnTo>
                    <a:pt x="1442" y="741"/>
                  </a:lnTo>
                  <a:lnTo>
                    <a:pt x="1502" y="743"/>
                  </a:lnTo>
                  <a:lnTo>
                    <a:pt x="1563" y="742"/>
                  </a:lnTo>
                  <a:lnTo>
                    <a:pt x="1626" y="741"/>
                  </a:lnTo>
                  <a:lnTo>
                    <a:pt x="1689" y="738"/>
                  </a:lnTo>
                  <a:lnTo>
                    <a:pt x="1754" y="734"/>
                  </a:lnTo>
                  <a:lnTo>
                    <a:pt x="1819" y="729"/>
                  </a:lnTo>
                  <a:lnTo>
                    <a:pt x="1819" y="729"/>
                  </a:lnTo>
                  <a:lnTo>
                    <a:pt x="1881" y="723"/>
                  </a:lnTo>
                  <a:lnTo>
                    <a:pt x="1941" y="714"/>
                  </a:lnTo>
                  <a:lnTo>
                    <a:pt x="1999" y="706"/>
                  </a:lnTo>
                  <a:lnTo>
                    <a:pt x="2054" y="697"/>
                  </a:lnTo>
                  <a:lnTo>
                    <a:pt x="2108" y="688"/>
                  </a:lnTo>
                  <a:lnTo>
                    <a:pt x="2159" y="678"/>
                  </a:lnTo>
                  <a:lnTo>
                    <a:pt x="2209" y="666"/>
                  </a:lnTo>
                  <a:lnTo>
                    <a:pt x="2257" y="655"/>
                  </a:lnTo>
                  <a:lnTo>
                    <a:pt x="2302" y="643"/>
                  </a:lnTo>
                  <a:lnTo>
                    <a:pt x="2346" y="631"/>
                  </a:lnTo>
                  <a:lnTo>
                    <a:pt x="2387" y="618"/>
                  </a:lnTo>
                  <a:lnTo>
                    <a:pt x="2426" y="605"/>
                  </a:lnTo>
                  <a:lnTo>
                    <a:pt x="2464" y="593"/>
                  </a:lnTo>
                  <a:lnTo>
                    <a:pt x="2500" y="579"/>
                  </a:lnTo>
                  <a:lnTo>
                    <a:pt x="2533" y="566"/>
                  </a:lnTo>
                  <a:lnTo>
                    <a:pt x="2564" y="554"/>
                  </a:lnTo>
                  <a:lnTo>
                    <a:pt x="2622" y="528"/>
                  </a:lnTo>
                  <a:lnTo>
                    <a:pt x="2672" y="505"/>
                  </a:lnTo>
                  <a:lnTo>
                    <a:pt x="2713" y="483"/>
                  </a:lnTo>
                  <a:lnTo>
                    <a:pt x="2747" y="465"/>
                  </a:lnTo>
                  <a:lnTo>
                    <a:pt x="2773" y="449"/>
                  </a:lnTo>
                  <a:lnTo>
                    <a:pt x="2792" y="436"/>
                  </a:lnTo>
                  <a:lnTo>
                    <a:pt x="2807" y="426"/>
                  </a:lnTo>
                  <a:lnTo>
                    <a:pt x="2807" y="426"/>
                  </a:lnTo>
                  <a:lnTo>
                    <a:pt x="2786" y="419"/>
                  </a:lnTo>
                  <a:lnTo>
                    <a:pt x="2766" y="410"/>
                  </a:lnTo>
                  <a:lnTo>
                    <a:pt x="2745" y="402"/>
                  </a:lnTo>
                  <a:lnTo>
                    <a:pt x="2726" y="391"/>
                  </a:lnTo>
                  <a:lnTo>
                    <a:pt x="2706" y="382"/>
                  </a:lnTo>
                  <a:lnTo>
                    <a:pt x="2688" y="372"/>
                  </a:lnTo>
                  <a:lnTo>
                    <a:pt x="2651" y="349"/>
                  </a:lnTo>
                  <a:lnTo>
                    <a:pt x="2618" y="327"/>
                  </a:lnTo>
                  <a:lnTo>
                    <a:pt x="2586" y="303"/>
                  </a:lnTo>
                  <a:lnTo>
                    <a:pt x="2556" y="280"/>
                  </a:lnTo>
                  <a:lnTo>
                    <a:pt x="2529" y="256"/>
                  </a:lnTo>
                  <a:lnTo>
                    <a:pt x="2529" y="256"/>
                  </a:lnTo>
                  <a:lnTo>
                    <a:pt x="2524" y="266"/>
                  </a:lnTo>
                  <a:lnTo>
                    <a:pt x="2521" y="279"/>
                  </a:lnTo>
                  <a:lnTo>
                    <a:pt x="2518" y="294"/>
                  </a:lnTo>
                  <a:lnTo>
                    <a:pt x="2515" y="312"/>
                  </a:lnTo>
                  <a:lnTo>
                    <a:pt x="2515" y="312"/>
                  </a:lnTo>
                  <a:lnTo>
                    <a:pt x="2507" y="381"/>
                  </a:lnTo>
                  <a:lnTo>
                    <a:pt x="2503" y="414"/>
                  </a:lnTo>
                  <a:lnTo>
                    <a:pt x="2503" y="414"/>
                  </a:lnTo>
                  <a:lnTo>
                    <a:pt x="2499" y="413"/>
                  </a:lnTo>
                  <a:lnTo>
                    <a:pt x="2489" y="410"/>
                  </a:lnTo>
                  <a:lnTo>
                    <a:pt x="2470" y="403"/>
                  </a:lnTo>
                  <a:lnTo>
                    <a:pt x="2443" y="391"/>
                  </a:lnTo>
                  <a:lnTo>
                    <a:pt x="2443" y="391"/>
                  </a:lnTo>
                  <a:lnTo>
                    <a:pt x="2433" y="387"/>
                  </a:lnTo>
                  <a:lnTo>
                    <a:pt x="2423" y="381"/>
                  </a:lnTo>
                  <a:lnTo>
                    <a:pt x="2413" y="374"/>
                  </a:lnTo>
                  <a:lnTo>
                    <a:pt x="2403" y="366"/>
                  </a:lnTo>
                  <a:lnTo>
                    <a:pt x="2392" y="357"/>
                  </a:lnTo>
                  <a:lnTo>
                    <a:pt x="2381" y="347"/>
                  </a:lnTo>
                  <a:lnTo>
                    <a:pt x="2371" y="336"/>
                  </a:lnTo>
                  <a:lnTo>
                    <a:pt x="2361" y="324"/>
                  </a:lnTo>
                  <a:lnTo>
                    <a:pt x="2351" y="312"/>
                  </a:lnTo>
                  <a:lnTo>
                    <a:pt x="2342" y="297"/>
                  </a:lnTo>
                  <a:lnTo>
                    <a:pt x="2334" y="283"/>
                  </a:lnTo>
                  <a:lnTo>
                    <a:pt x="2326" y="268"/>
                  </a:lnTo>
                  <a:lnTo>
                    <a:pt x="2320" y="251"/>
                  </a:lnTo>
                  <a:lnTo>
                    <a:pt x="2316" y="235"/>
                  </a:lnTo>
                  <a:lnTo>
                    <a:pt x="2312" y="216"/>
                  </a:lnTo>
                  <a:lnTo>
                    <a:pt x="2310" y="199"/>
                  </a:lnTo>
                  <a:lnTo>
                    <a:pt x="2310" y="199"/>
                  </a:lnTo>
                  <a:lnTo>
                    <a:pt x="2309" y="174"/>
                  </a:lnTo>
                  <a:lnTo>
                    <a:pt x="2309" y="174"/>
                  </a:lnTo>
                  <a:lnTo>
                    <a:pt x="2252" y="195"/>
                  </a:lnTo>
                  <a:lnTo>
                    <a:pt x="2186" y="218"/>
                  </a:lnTo>
                  <a:lnTo>
                    <a:pt x="2149" y="231"/>
                  </a:lnTo>
                  <a:lnTo>
                    <a:pt x="2110" y="243"/>
                  </a:lnTo>
                  <a:lnTo>
                    <a:pt x="2069" y="254"/>
                  </a:lnTo>
                  <a:lnTo>
                    <a:pt x="2028" y="266"/>
                  </a:lnTo>
                  <a:lnTo>
                    <a:pt x="1984" y="277"/>
                  </a:lnTo>
                  <a:lnTo>
                    <a:pt x="1938" y="286"/>
                  </a:lnTo>
                  <a:lnTo>
                    <a:pt x="1892" y="295"/>
                  </a:lnTo>
                  <a:lnTo>
                    <a:pt x="1843" y="303"/>
                  </a:lnTo>
                  <a:lnTo>
                    <a:pt x="1795" y="311"/>
                  </a:lnTo>
                  <a:lnTo>
                    <a:pt x="1746" y="316"/>
                  </a:lnTo>
                  <a:lnTo>
                    <a:pt x="1697" y="319"/>
                  </a:lnTo>
                  <a:lnTo>
                    <a:pt x="1647" y="321"/>
                  </a:lnTo>
                  <a:lnTo>
                    <a:pt x="1647" y="321"/>
                  </a:lnTo>
                  <a:lnTo>
                    <a:pt x="1558" y="322"/>
                  </a:lnTo>
                  <a:lnTo>
                    <a:pt x="1470" y="321"/>
                  </a:lnTo>
                  <a:lnTo>
                    <a:pt x="1382" y="317"/>
                  </a:lnTo>
                  <a:lnTo>
                    <a:pt x="1293" y="312"/>
                  </a:lnTo>
                  <a:lnTo>
                    <a:pt x="1205" y="304"/>
                  </a:lnTo>
                  <a:lnTo>
                    <a:pt x="1118" y="294"/>
                  </a:lnTo>
                  <a:lnTo>
                    <a:pt x="1030" y="282"/>
                  </a:lnTo>
                  <a:lnTo>
                    <a:pt x="943" y="268"/>
                  </a:lnTo>
                  <a:lnTo>
                    <a:pt x="899" y="259"/>
                  </a:lnTo>
                  <a:lnTo>
                    <a:pt x="855" y="251"/>
                  </a:lnTo>
                  <a:lnTo>
                    <a:pt x="812" y="241"/>
                  </a:lnTo>
                  <a:lnTo>
                    <a:pt x="768" y="231"/>
                  </a:lnTo>
                  <a:lnTo>
                    <a:pt x="725" y="221"/>
                  </a:lnTo>
                  <a:lnTo>
                    <a:pt x="681" y="209"/>
                  </a:lnTo>
                  <a:lnTo>
                    <a:pt x="638" y="197"/>
                  </a:lnTo>
                  <a:lnTo>
                    <a:pt x="594" y="185"/>
                  </a:lnTo>
                  <a:lnTo>
                    <a:pt x="551" y="171"/>
                  </a:lnTo>
                  <a:lnTo>
                    <a:pt x="508" y="157"/>
                  </a:lnTo>
                  <a:lnTo>
                    <a:pt x="465" y="143"/>
                  </a:lnTo>
                  <a:lnTo>
                    <a:pt x="422" y="127"/>
                  </a:lnTo>
                  <a:lnTo>
                    <a:pt x="379" y="111"/>
                  </a:lnTo>
                  <a:lnTo>
                    <a:pt x="336" y="94"/>
                  </a:lnTo>
                  <a:lnTo>
                    <a:pt x="294" y="76"/>
                  </a:lnTo>
                  <a:lnTo>
                    <a:pt x="251" y="58"/>
                  </a:lnTo>
                  <a:lnTo>
                    <a:pt x="251" y="58"/>
                  </a:lnTo>
                  <a:lnTo>
                    <a:pt x="165" y="19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1" y="3"/>
                  </a:lnTo>
                  <a:lnTo>
                    <a:pt x="119" y="12"/>
                  </a:lnTo>
                  <a:lnTo>
                    <a:pt x="119" y="19"/>
                  </a:lnTo>
                  <a:lnTo>
                    <a:pt x="119" y="28"/>
                  </a:lnTo>
                  <a:lnTo>
                    <a:pt x="119" y="39"/>
                  </a:lnTo>
                  <a:lnTo>
                    <a:pt x="121" y="51"/>
                  </a:lnTo>
                  <a:lnTo>
                    <a:pt x="125" y="64"/>
                  </a:lnTo>
                  <a:lnTo>
                    <a:pt x="129" y="79"/>
                  </a:lnTo>
                  <a:lnTo>
                    <a:pt x="136" y="96"/>
                  </a:lnTo>
                  <a:lnTo>
                    <a:pt x="145" y="114"/>
                  </a:lnTo>
                  <a:lnTo>
                    <a:pt x="156" y="135"/>
                  </a:lnTo>
                  <a:lnTo>
                    <a:pt x="171" y="156"/>
                  </a:lnTo>
                  <a:lnTo>
                    <a:pt x="187" y="180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189" y="201"/>
                  </a:lnTo>
                  <a:lnTo>
                    <a:pt x="170" y="199"/>
                  </a:lnTo>
                  <a:lnTo>
                    <a:pt x="151" y="199"/>
                  </a:lnTo>
                  <a:lnTo>
                    <a:pt x="132" y="199"/>
                  </a:lnTo>
                  <a:lnTo>
                    <a:pt x="114" y="201"/>
                  </a:lnTo>
                  <a:lnTo>
                    <a:pt x="98" y="204"/>
                  </a:lnTo>
                  <a:lnTo>
                    <a:pt x="83" y="209"/>
                  </a:lnTo>
                  <a:lnTo>
                    <a:pt x="69" y="215"/>
                  </a:lnTo>
                  <a:lnTo>
                    <a:pt x="69" y="215"/>
                  </a:lnTo>
                  <a:lnTo>
                    <a:pt x="55" y="224"/>
                  </a:lnTo>
                  <a:lnTo>
                    <a:pt x="42" y="234"/>
                  </a:lnTo>
                  <a:lnTo>
                    <a:pt x="32" y="244"/>
                  </a:lnTo>
                  <a:lnTo>
                    <a:pt x="21" y="253"/>
                  </a:lnTo>
                  <a:lnTo>
                    <a:pt x="13" y="262"/>
                  </a:lnTo>
                  <a:lnTo>
                    <a:pt x="7" y="272"/>
                  </a:lnTo>
                  <a:lnTo>
                    <a:pt x="0" y="28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5" name="Freeform 31"/>
            <p:cNvSpPr>
              <a:spLocks/>
            </p:cNvSpPr>
            <p:nvPr userDrawn="1"/>
          </p:nvSpPr>
          <p:spPr bwMode="auto">
            <a:xfrm>
              <a:off x="5840658" y="854243"/>
              <a:ext cx="377825" cy="271462"/>
            </a:xfrm>
            <a:custGeom>
              <a:avLst/>
              <a:gdLst>
                <a:gd name="T0" fmla="*/ 2491 w 2863"/>
                <a:gd name="T1" fmla="*/ 103 h 2054"/>
                <a:gd name="T2" fmla="*/ 2575 w 2863"/>
                <a:gd name="T3" fmla="*/ 23 h 2054"/>
                <a:gd name="T4" fmla="*/ 2196 w 2863"/>
                <a:gd name="T5" fmla="*/ 132 h 2054"/>
                <a:gd name="T6" fmla="*/ 1671 w 2863"/>
                <a:gd name="T7" fmla="*/ 429 h 2054"/>
                <a:gd name="T8" fmla="*/ 1528 w 2863"/>
                <a:gd name="T9" fmla="*/ 462 h 2054"/>
                <a:gd name="T10" fmla="*/ 1416 w 2863"/>
                <a:gd name="T11" fmla="*/ 568 h 2054"/>
                <a:gd name="T12" fmla="*/ 1409 w 2863"/>
                <a:gd name="T13" fmla="*/ 634 h 2054"/>
                <a:gd name="T14" fmla="*/ 1479 w 2863"/>
                <a:gd name="T15" fmla="*/ 748 h 2054"/>
                <a:gd name="T16" fmla="*/ 1586 w 2863"/>
                <a:gd name="T17" fmla="*/ 787 h 2054"/>
                <a:gd name="T18" fmla="*/ 1476 w 2863"/>
                <a:gd name="T19" fmla="*/ 974 h 2054"/>
                <a:gd name="T20" fmla="*/ 1133 w 2863"/>
                <a:gd name="T21" fmla="*/ 1199 h 2054"/>
                <a:gd name="T22" fmla="*/ 799 w 2863"/>
                <a:gd name="T23" fmla="*/ 1254 h 2054"/>
                <a:gd name="T24" fmla="*/ 634 w 2863"/>
                <a:gd name="T25" fmla="*/ 1102 h 2054"/>
                <a:gd name="T26" fmla="*/ 539 w 2863"/>
                <a:gd name="T27" fmla="*/ 1015 h 2054"/>
                <a:gd name="T28" fmla="*/ 406 w 2863"/>
                <a:gd name="T29" fmla="*/ 1023 h 2054"/>
                <a:gd name="T30" fmla="*/ 231 w 2863"/>
                <a:gd name="T31" fmla="*/ 1090 h 2054"/>
                <a:gd name="T32" fmla="*/ 382 w 2863"/>
                <a:gd name="T33" fmla="*/ 1121 h 2054"/>
                <a:gd name="T34" fmla="*/ 351 w 2863"/>
                <a:gd name="T35" fmla="*/ 1168 h 2054"/>
                <a:gd name="T36" fmla="*/ 418 w 2863"/>
                <a:gd name="T37" fmla="*/ 1270 h 2054"/>
                <a:gd name="T38" fmla="*/ 608 w 2863"/>
                <a:gd name="T39" fmla="*/ 1387 h 2054"/>
                <a:gd name="T40" fmla="*/ 314 w 2863"/>
                <a:gd name="T41" fmla="*/ 1296 h 2054"/>
                <a:gd name="T42" fmla="*/ 234 w 2863"/>
                <a:gd name="T43" fmla="*/ 1324 h 2054"/>
                <a:gd name="T44" fmla="*/ 77 w 2863"/>
                <a:gd name="T45" fmla="*/ 1367 h 2054"/>
                <a:gd name="T46" fmla="*/ 0 w 2863"/>
                <a:gd name="T47" fmla="*/ 1480 h 2054"/>
                <a:gd name="T48" fmla="*/ 63 w 2863"/>
                <a:gd name="T49" fmla="*/ 1501 h 2054"/>
                <a:gd name="T50" fmla="*/ 166 w 2863"/>
                <a:gd name="T51" fmla="*/ 1461 h 2054"/>
                <a:gd name="T52" fmla="*/ 187 w 2863"/>
                <a:gd name="T53" fmla="*/ 1573 h 2054"/>
                <a:gd name="T54" fmla="*/ 354 w 2863"/>
                <a:gd name="T55" fmla="*/ 1597 h 2054"/>
                <a:gd name="T56" fmla="*/ 616 w 2863"/>
                <a:gd name="T57" fmla="*/ 1588 h 2054"/>
                <a:gd name="T58" fmla="*/ 382 w 2863"/>
                <a:gd name="T59" fmla="*/ 1636 h 2054"/>
                <a:gd name="T60" fmla="*/ 295 w 2863"/>
                <a:gd name="T61" fmla="*/ 1696 h 2054"/>
                <a:gd name="T62" fmla="*/ 254 w 2863"/>
                <a:gd name="T63" fmla="*/ 1795 h 2054"/>
                <a:gd name="T64" fmla="*/ 239 w 2863"/>
                <a:gd name="T65" fmla="*/ 1953 h 2054"/>
                <a:gd name="T66" fmla="*/ 335 w 2863"/>
                <a:gd name="T67" fmla="*/ 2045 h 2054"/>
                <a:gd name="T68" fmla="*/ 341 w 2863"/>
                <a:gd name="T69" fmla="*/ 1906 h 2054"/>
                <a:gd name="T70" fmla="*/ 417 w 2863"/>
                <a:gd name="T71" fmla="*/ 1946 h 2054"/>
                <a:gd name="T72" fmla="*/ 509 w 2863"/>
                <a:gd name="T73" fmla="*/ 1935 h 2054"/>
                <a:gd name="T74" fmla="*/ 732 w 2863"/>
                <a:gd name="T75" fmla="*/ 1733 h 2054"/>
                <a:gd name="T76" fmla="*/ 874 w 2863"/>
                <a:gd name="T77" fmla="*/ 1691 h 2054"/>
                <a:gd name="T78" fmla="*/ 870 w 2863"/>
                <a:gd name="T79" fmla="*/ 1786 h 2054"/>
                <a:gd name="T80" fmla="*/ 945 w 2863"/>
                <a:gd name="T81" fmla="*/ 1834 h 2054"/>
                <a:gd name="T82" fmla="*/ 875 w 2863"/>
                <a:gd name="T83" fmla="*/ 1948 h 2054"/>
                <a:gd name="T84" fmla="*/ 1004 w 2863"/>
                <a:gd name="T85" fmla="*/ 1919 h 2054"/>
                <a:gd name="T86" fmla="*/ 1100 w 2863"/>
                <a:gd name="T87" fmla="*/ 1787 h 2054"/>
                <a:gd name="T88" fmla="*/ 1159 w 2863"/>
                <a:gd name="T89" fmla="*/ 1734 h 2054"/>
                <a:gd name="T90" fmla="*/ 1183 w 2863"/>
                <a:gd name="T91" fmla="*/ 1628 h 2054"/>
                <a:gd name="T92" fmla="*/ 1338 w 2863"/>
                <a:gd name="T93" fmla="*/ 1564 h 2054"/>
                <a:gd name="T94" fmla="*/ 1370 w 2863"/>
                <a:gd name="T95" fmla="*/ 1465 h 2054"/>
                <a:gd name="T96" fmla="*/ 1461 w 2863"/>
                <a:gd name="T97" fmla="*/ 1462 h 2054"/>
                <a:gd name="T98" fmla="*/ 1684 w 2863"/>
                <a:gd name="T99" fmla="*/ 1556 h 2054"/>
                <a:gd name="T100" fmla="*/ 1888 w 2863"/>
                <a:gd name="T101" fmla="*/ 1440 h 2054"/>
                <a:gd name="T102" fmla="*/ 1799 w 2863"/>
                <a:gd name="T103" fmla="*/ 1308 h 2054"/>
                <a:gd name="T104" fmla="*/ 1857 w 2863"/>
                <a:gd name="T105" fmla="*/ 1327 h 2054"/>
                <a:gd name="T106" fmla="*/ 2183 w 2863"/>
                <a:gd name="T107" fmla="*/ 1273 h 2054"/>
                <a:gd name="T108" fmla="*/ 2142 w 2863"/>
                <a:gd name="T109" fmla="*/ 1164 h 2054"/>
                <a:gd name="T110" fmla="*/ 2112 w 2863"/>
                <a:gd name="T111" fmla="*/ 1069 h 2054"/>
                <a:gd name="T112" fmla="*/ 2121 w 2863"/>
                <a:gd name="T113" fmla="*/ 977 h 2054"/>
                <a:gd name="T114" fmla="*/ 2085 w 2863"/>
                <a:gd name="T115" fmla="*/ 807 h 2054"/>
                <a:gd name="T116" fmla="*/ 2859 w 2863"/>
                <a:gd name="T117" fmla="*/ 408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63" h="2054">
                  <a:moveTo>
                    <a:pt x="2759" y="252"/>
                  </a:moveTo>
                  <a:lnTo>
                    <a:pt x="2759" y="252"/>
                  </a:lnTo>
                  <a:lnTo>
                    <a:pt x="2742" y="239"/>
                  </a:lnTo>
                  <a:lnTo>
                    <a:pt x="2725" y="227"/>
                  </a:lnTo>
                  <a:lnTo>
                    <a:pt x="2708" y="214"/>
                  </a:lnTo>
                  <a:lnTo>
                    <a:pt x="2690" y="203"/>
                  </a:lnTo>
                  <a:lnTo>
                    <a:pt x="2655" y="184"/>
                  </a:lnTo>
                  <a:lnTo>
                    <a:pt x="2621" y="165"/>
                  </a:lnTo>
                  <a:lnTo>
                    <a:pt x="2586" y="148"/>
                  </a:lnTo>
                  <a:lnTo>
                    <a:pt x="2553" y="133"/>
                  </a:lnTo>
                  <a:lnTo>
                    <a:pt x="2522" y="118"/>
                  </a:lnTo>
                  <a:lnTo>
                    <a:pt x="2491" y="103"/>
                  </a:lnTo>
                  <a:lnTo>
                    <a:pt x="2491" y="103"/>
                  </a:lnTo>
                  <a:lnTo>
                    <a:pt x="2507" y="93"/>
                  </a:lnTo>
                  <a:lnTo>
                    <a:pt x="2523" y="82"/>
                  </a:lnTo>
                  <a:lnTo>
                    <a:pt x="2540" y="68"/>
                  </a:lnTo>
                  <a:lnTo>
                    <a:pt x="2556" y="54"/>
                  </a:lnTo>
                  <a:lnTo>
                    <a:pt x="2570" y="41"/>
                  </a:lnTo>
                  <a:lnTo>
                    <a:pt x="2574" y="35"/>
                  </a:lnTo>
                  <a:lnTo>
                    <a:pt x="2577" y="30"/>
                  </a:lnTo>
                  <a:lnTo>
                    <a:pt x="2577" y="26"/>
                  </a:lnTo>
                  <a:lnTo>
                    <a:pt x="2577" y="24"/>
                  </a:lnTo>
                  <a:lnTo>
                    <a:pt x="2575" y="23"/>
                  </a:lnTo>
                  <a:lnTo>
                    <a:pt x="2575" y="23"/>
                  </a:lnTo>
                  <a:lnTo>
                    <a:pt x="2562" y="16"/>
                  </a:lnTo>
                  <a:lnTo>
                    <a:pt x="2550" y="10"/>
                  </a:lnTo>
                  <a:lnTo>
                    <a:pt x="2538" y="6"/>
                  </a:lnTo>
                  <a:lnTo>
                    <a:pt x="2527" y="4"/>
                  </a:lnTo>
                  <a:lnTo>
                    <a:pt x="2508" y="1"/>
                  </a:lnTo>
                  <a:lnTo>
                    <a:pt x="2501" y="0"/>
                  </a:lnTo>
                  <a:lnTo>
                    <a:pt x="2501" y="0"/>
                  </a:lnTo>
                  <a:lnTo>
                    <a:pt x="2440" y="24"/>
                  </a:lnTo>
                  <a:lnTo>
                    <a:pt x="2377" y="50"/>
                  </a:lnTo>
                  <a:lnTo>
                    <a:pt x="2317" y="76"/>
                  </a:lnTo>
                  <a:lnTo>
                    <a:pt x="2256" y="103"/>
                  </a:lnTo>
                  <a:lnTo>
                    <a:pt x="2196" y="132"/>
                  </a:lnTo>
                  <a:lnTo>
                    <a:pt x="2138" y="160"/>
                  </a:lnTo>
                  <a:lnTo>
                    <a:pt x="2081" y="189"/>
                  </a:lnTo>
                  <a:lnTo>
                    <a:pt x="2026" y="219"/>
                  </a:lnTo>
                  <a:lnTo>
                    <a:pt x="1972" y="247"/>
                  </a:lnTo>
                  <a:lnTo>
                    <a:pt x="1921" y="276"/>
                  </a:lnTo>
                  <a:lnTo>
                    <a:pt x="1872" y="303"/>
                  </a:lnTo>
                  <a:lnTo>
                    <a:pt x="1825" y="331"/>
                  </a:lnTo>
                  <a:lnTo>
                    <a:pt x="1782" y="358"/>
                  </a:lnTo>
                  <a:lnTo>
                    <a:pt x="1741" y="383"/>
                  </a:lnTo>
                  <a:lnTo>
                    <a:pt x="1705" y="407"/>
                  </a:lnTo>
                  <a:lnTo>
                    <a:pt x="1671" y="429"/>
                  </a:lnTo>
                  <a:lnTo>
                    <a:pt x="1671" y="429"/>
                  </a:lnTo>
                  <a:lnTo>
                    <a:pt x="1666" y="432"/>
                  </a:lnTo>
                  <a:lnTo>
                    <a:pt x="1666" y="432"/>
                  </a:lnTo>
                  <a:lnTo>
                    <a:pt x="1654" y="439"/>
                  </a:lnTo>
                  <a:lnTo>
                    <a:pt x="1643" y="446"/>
                  </a:lnTo>
                  <a:lnTo>
                    <a:pt x="1632" y="451"/>
                  </a:lnTo>
                  <a:lnTo>
                    <a:pt x="1620" y="455"/>
                  </a:lnTo>
                  <a:lnTo>
                    <a:pt x="1608" y="458"/>
                  </a:lnTo>
                  <a:lnTo>
                    <a:pt x="1597" y="461"/>
                  </a:lnTo>
                  <a:lnTo>
                    <a:pt x="1585" y="462"/>
                  </a:lnTo>
                  <a:lnTo>
                    <a:pt x="1574" y="463"/>
                  </a:lnTo>
                  <a:lnTo>
                    <a:pt x="1550" y="464"/>
                  </a:lnTo>
                  <a:lnTo>
                    <a:pt x="1528" y="462"/>
                  </a:lnTo>
                  <a:lnTo>
                    <a:pt x="1505" y="459"/>
                  </a:lnTo>
                  <a:lnTo>
                    <a:pt x="1485" y="454"/>
                  </a:lnTo>
                  <a:lnTo>
                    <a:pt x="1465" y="449"/>
                  </a:lnTo>
                  <a:lnTo>
                    <a:pt x="1448" y="442"/>
                  </a:lnTo>
                  <a:lnTo>
                    <a:pt x="1433" y="436"/>
                  </a:lnTo>
                  <a:lnTo>
                    <a:pt x="1418" y="430"/>
                  </a:lnTo>
                  <a:lnTo>
                    <a:pt x="1399" y="420"/>
                  </a:lnTo>
                  <a:lnTo>
                    <a:pt x="1393" y="416"/>
                  </a:lnTo>
                  <a:lnTo>
                    <a:pt x="1372" y="544"/>
                  </a:lnTo>
                  <a:lnTo>
                    <a:pt x="1372" y="544"/>
                  </a:lnTo>
                  <a:lnTo>
                    <a:pt x="1395" y="557"/>
                  </a:lnTo>
                  <a:lnTo>
                    <a:pt x="1416" y="568"/>
                  </a:lnTo>
                  <a:lnTo>
                    <a:pt x="1437" y="577"/>
                  </a:lnTo>
                  <a:lnTo>
                    <a:pt x="1454" y="586"/>
                  </a:lnTo>
                  <a:lnTo>
                    <a:pt x="1470" y="592"/>
                  </a:lnTo>
                  <a:lnTo>
                    <a:pt x="1486" y="596"/>
                  </a:lnTo>
                  <a:lnTo>
                    <a:pt x="1499" y="600"/>
                  </a:lnTo>
                  <a:lnTo>
                    <a:pt x="1510" y="602"/>
                  </a:lnTo>
                  <a:lnTo>
                    <a:pt x="1510" y="602"/>
                  </a:lnTo>
                  <a:lnTo>
                    <a:pt x="1491" y="606"/>
                  </a:lnTo>
                  <a:lnTo>
                    <a:pt x="1470" y="611"/>
                  </a:lnTo>
                  <a:lnTo>
                    <a:pt x="1450" y="617"/>
                  </a:lnTo>
                  <a:lnTo>
                    <a:pt x="1428" y="625"/>
                  </a:lnTo>
                  <a:lnTo>
                    <a:pt x="1409" y="634"/>
                  </a:lnTo>
                  <a:lnTo>
                    <a:pt x="1391" y="645"/>
                  </a:lnTo>
                  <a:lnTo>
                    <a:pt x="1381" y="650"/>
                  </a:lnTo>
                  <a:lnTo>
                    <a:pt x="1373" y="656"/>
                  </a:lnTo>
                  <a:lnTo>
                    <a:pt x="1366" y="663"/>
                  </a:lnTo>
                  <a:lnTo>
                    <a:pt x="1360" y="670"/>
                  </a:lnTo>
                  <a:lnTo>
                    <a:pt x="1404" y="788"/>
                  </a:lnTo>
                  <a:lnTo>
                    <a:pt x="1404" y="788"/>
                  </a:lnTo>
                  <a:lnTo>
                    <a:pt x="1416" y="779"/>
                  </a:lnTo>
                  <a:lnTo>
                    <a:pt x="1432" y="770"/>
                  </a:lnTo>
                  <a:lnTo>
                    <a:pt x="1453" y="758"/>
                  </a:lnTo>
                  <a:lnTo>
                    <a:pt x="1465" y="753"/>
                  </a:lnTo>
                  <a:lnTo>
                    <a:pt x="1479" y="748"/>
                  </a:lnTo>
                  <a:lnTo>
                    <a:pt x="1494" y="743"/>
                  </a:lnTo>
                  <a:lnTo>
                    <a:pt x="1509" y="738"/>
                  </a:lnTo>
                  <a:lnTo>
                    <a:pt x="1527" y="734"/>
                  </a:lnTo>
                  <a:lnTo>
                    <a:pt x="1545" y="731"/>
                  </a:lnTo>
                  <a:lnTo>
                    <a:pt x="1564" y="729"/>
                  </a:lnTo>
                  <a:lnTo>
                    <a:pt x="1585" y="728"/>
                  </a:lnTo>
                  <a:lnTo>
                    <a:pt x="1585" y="728"/>
                  </a:lnTo>
                  <a:lnTo>
                    <a:pt x="1588" y="744"/>
                  </a:lnTo>
                  <a:lnTo>
                    <a:pt x="1588" y="744"/>
                  </a:lnTo>
                  <a:lnTo>
                    <a:pt x="1588" y="758"/>
                  </a:lnTo>
                  <a:lnTo>
                    <a:pt x="1588" y="773"/>
                  </a:lnTo>
                  <a:lnTo>
                    <a:pt x="1586" y="787"/>
                  </a:lnTo>
                  <a:lnTo>
                    <a:pt x="1583" y="802"/>
                  </a:lnTo>
                  <a:lnTo>
                    <a:pt x="1578" y="818"/>
                  </a:lnTo>
                  <a:lnTo>
                    <a:pt x="1573" y="833"/>
                  </a:lnTo>
                  <a:lnTo>
                    <a:pt x="1565" y="848"/>
                  </a:lnTo>
                  <a:lnTo>
                    <a:pt x="1557" y="864"/>
                  </a:lnTo>
                  <a:lnTo>
                    <a:pt x="1549" y="880"/>
                  </a:lnTo>
                  <a:lnTo>
                    <a:pt x="1539" y="895"/>
                  </a:lnTo>
                  <a:lnTo>
                    <a:pt x="1528" y="912"/>
                  </a:lnTo>
                  <a:lnTo>
                    <a:pt x="1516" y="927"/>
                  </a:lnTo>
                  <a:lnTo>
                    <a:pt x="1503" y="943"/>
                  </a:lnTo>
                  <a:lnTo>
                    <a:pt x="1490" y="959"/>
                  </a:lnTo>
                  <a:lnTo>
                    <a:pt x="1476" y="974"/>
                  </a:lnTo>
                  <a:lnTo>
                    <a:pt x="1461" y="989"/>
                  </a:lnTo>
                  <a:lnTo>
                    <a:pt x="1429" y="1020"/>
                  </a:lnTo>
                  <a:lnTo>
                    <a:pt x="1396" y="1049"/>
                  </a:lnTo>
                  <a:lnTo>
                    <a:pt x="1360" y="1076"/>
                  </a:lnTo>
                  <a:lnTo>
                    <a:pt x="1323" y="1102"/>
                  </a:lnTo>
                  <a:lnTo>
                    <a:pt x="1285" y="1126"/>
                  </a:lnTo>
                  <a:lnTo>
                    <a:pt x="1247" y="1148"/>
                  </a:lnTo>
                  <a:lnTo>
                    <a:pt x="1209" y="1167"/>
                  </a:lnTo>
                  <a:lnTo>
                    <a:pt x="1189" y="1177"/>
                  </a:lnTo>
                  <a:lnTo>
                    <a:pt x="1171" y="1185"/>
                  </a:lnTo>
                  <a:lnTo>
                    <a:pt x="1171" y="1185"/>
                  </a:lnTo>
                  <a:lnTo>
                    <a:pt x="1133" y="1199"/>
                  </a:lnTo>
                  <a:lnTo>
                    <a:pt x="1095" y="1211"/>
                  </a:lnTo>
                  <a:lnTo>
                    <a:pt x="1060" y="1223"/>
                  </a:lnTo>
                  <a:lnTo>
                    <a:pt x="1026" y="1232"/>
                  </a:lnTo>
                  <a:lnTo>
                    <a:pt x="993" y="1240"/>
                  </a:lnTo>
                  <a:lnTo>
                    <a:pt x="962" y="1246"/>
                  </a:lnTo>
                  <a:lnTo>
                    <a:pt x="933" y="1250"/>
                  </a:lnTo>
                  <a:lnTo>
                    <a:pt x="905" y="1254"/>
                  </a:lnTo>
                  <a:lnTo>
                    <a:pt x="879" y="1256"/>
                  </a:lnTo>
                  <a:lnTo>
                    <a:pt x="856" y="1257"/>
                  </a:lnTo>
                  <a:lnTo>
                    <a:pt x="834" y="1257"/>
                  </a:lnTo>
                  <a:lnTo>
                    <a:pt x="815" y="1256"/>
                  </a:lnTo>
                  <a:lnTo>
                    <a:pt x="799" y="1254"/>
                  </a:lnTo>
                  <a:lnTo>
                    <a:pt x="785" y="1251"/>
                  </a:lnTo>
                  <a:lnTo>
                    <a:pt x="774" y="1247"/>
                  </a:lnTo>
                  <a:lnTo>
                    <a:pt x="765" y="1243"/>
                  </a:lnTo>
                  <a:lnTo>
                    <a:pt x="765" y="1243"/>
                  </a:lnTo>
                  <a:lnTo>
                    <a:pt x="741" y="1227"/>
                  </a:lnTo>
                  <a:lnTo>
                    <a:pt x="720" y="1209"/>
                  </a:lnTo>
                  <a:lnTo>
                    <a:pt x="701" y="1191"/>
                  </a:lnTo>
                  <a:lnTo>
                    <a:pt x="685" y="1172"/>
                  </a:lnTo>
                  <a:lnTo>
                    <a:pt x="670" y="1155"/>
                  </a:lnTo>
                  <a:lnTo>
                    <a:pt x="656" y="1137"/>
                  </a:lnTo>
                  <a:lnTo>
                    <a:pt x="645" y="1119"/>
                  </a:lnTo>
                  <a:lnTo>
                    <a:pt x="634" y="1102"/>
                  </a:lnTo>
                  <a:lnTo>
                    <a:pt x="615" y="1071"/>
                  </a:lnTo>
                  <a:lnTo>
                    <a:pt x="605" y="1057"/>
                  </a:lnTo>
                  <a:lnTo>
                    <a:pt x="596" y="1045"/>
                  </a:lnTo>
                  <a:lnTo>
                    <a:pt x="587" y="1033"/>
                  </a:lnTo>
                  <a:lnTo>
                    <a:pt x="577" y="1025"/>
                  </a:lnTo>
                  <a:lnTo>
                    <a:pt x="565" y="1018"/>
                  </a:lnTo>
                  <a:lnTo>
                    <a:pt x="559" y="1015"/>
                  </a:lnTo>
                  <a:lnTo>
                    <a:pt x="553" y="1013"/>
                  </a:lnTo>
                  <a:lnTo>
                    <a:pt x="553" y="1013"/>
                  </a:lnTo>
                  <a:lnTo>
                    <a:pt x="549" y="1013"/>
                  </a:lnTo>
                  <a:lnTo>
                    <a:pt x="546" y="1013"/>
                  </a:lnTo>
                  <a:lnTo>
                    <a:pt x="539" y="1015"/>
                  </a:lnTo>
                  <a:lnTo>
                    <a:pt x="532" y="1018"/>
                  </a:lnTo>
                  <a:lnTo>
                    <a:pt x="524" y="1022"/>
                  </a:lnTo>
                  <a:lnTo>
                    <a:pt x="516" y="1026"/>
                  </a:lnTo>
                  <a:lnTo>
                    <a:pt x="507" y="1029"/>
                  </a:lnTo>
                  <a:lnTo>
                    <a:pt x="499" y="1031"/>
                  </a:lnTo>
                  <a:lnTo>
                    <a:pt x="494" y="1031"/>
                  </a:lnTo>
                  <a:lnTo>
                    <a:pt x="489" y="1031"/>
                  </a:lnTo>
                  <a:lnTo>
                    <a:pt x="489" y="1031"/>
                  </a:lnTo>
                  <a:lnTo>
                    <a:pt x="468" y="1028"/>
                  </a:lnTo>
                  <a:lnTo>
                    <a:pt x="448" y="1025"/>
                  </a:lnTo>
                  <a:lnTo>
                    <a:pt x="427" y="1024"/>
                  </a:lnTo>
                  <a:lnTo>
                    <a:pt x="406" y="1023"/>
                  </a:lnTo>
                  <a:lnTo>
                    <a:pt x="386" y="1023"/>
                  </a:lnTo>
                  <a:lnTo>
                    <a:pt x="366" y="1025"/>
                  </a:lnTo>
                  <a:lnTo>
                    <a:pt x="347" y="1027"/>
                  </a:lnTo>
                  <a:lnTo>
                    <a:pt x="327" y="1031"/>
                  </a:lnTo>
                  <a:lnTo>
                    <a:pt x="309" y="1035"/>
                  </a:lnTo>
                  <a:lnTo>
                    <a:pt x="292" y="1043"/>
                  </a:lnTo>
                  <a:lnTo>
                    <a:pt x="276" y="1050"/>
                  </a:lnTo>
                  <a:lnTo>
                    <a:pt x="262" y="1059"/>
                  </a:lnTo>
                  <a:lnTo>
                    <a:pt x="248" y="1070"/>
                  </a:lnTo>
                  <a:lnTo>
                    <a:pt x="242" y="1076"/>
                  </a:lnTo>
                  <a:lnTo>
                    <a:pt x="236" y="1082"/>
                  </a:lnTo>
                  <a:lnTo>
                    <a:pt x="231" y="1090"/>
                  </a:lnTo>
                  <a:lnTo>
                    <a:pt x="227" y="1098"/>
                  </a:lnTo>
                  <a:lnTo>
                    <a:pt x="223" y="1105"/>
                  </a:lnTo>
                  <a:lnTo>
                    <a:pt x="219" y="1114"/>
                  </a:lnTo>
                  <a:lnTo>
                    <a:pt x="219" y="1114"/>
                  </a:lnTo>
                  <a:lnTo>
                    <a:pt x="257" y="1112"/>
                  </a:lnTo>
                  <a:lnTo>
                    <a:pt x="292" y="1111"/>
                  </a:lnTo>
                  <a:lnTo>
                    <a:pt x="312" y="1111"/>
                  </a:lnTo>
                  <a:lnTo>
                    <a:pt x="331" y="1112"/>
                  </a:lnTo>
                  <a:lnTo>
                    <a:pt x="349" y="1113"/>
                  </a:lnTo>
                  <a:lnTo>
                    <a:pt x="364" y="1116"/>
                  </a:lnTo>
                  <a:lnTo>
                    <a:pt x="377" y="1119"/>
                  </a:lnTo>
                  <a:lnTo>
                    <a:pt x="382" y="1121"/>
                  </a:lnTo>
                  <a:lnTo>
                    <a:pt x="387" y="1123"/>
                  </a:lnTo>
                  <a:lnTo>
                    <a:pt x="389" y="1126"/>
                  </a:lnTo>
                  <a:lnTo>
                    <a:pt x="391" y="1130"/>
                  </a:lnTo>
                  <a:lnTo>
                    <a:pt x="391" y="1133"/>
                  </a:lnTo>
                  <a:lnTo>
                    <a:pt x="389" y="1137"/>
                  </a:lnTo>
                  <a:lnTo>
                    <a:pt x="386" y="1141"/>
                  </a:lnTo>
                  <a:lnTo>
                    <a:pt x="381" y="1146"/>
                  </a:lnTo>
                  <a:lnTo>
                    <a:pt x="374" y="1151"/>
                  </a:lnTo>
                  <a:lnTo>
                    <a:pt x="366" y="1156"/>
                  </a:lnTo>
                  <a:lnTo>
                    <a:pt x="366" y="1156"/>
                  </a:lnTo>
                  <a:lnTo>
                    <a:pt x="357" y="1162"/>
                  </a:lnTo>
                  <a:lnTo>
                    <a:pt x="351" y="1168"/>
                  </a:lnTo>
                  <a:lnTo>
                    <a:pt x="346" y="1175"/>
                  </a:lnTo>
                  <a:lnTo>
                    <a:pt x="344" y="1182"/>
                  </a:lnTo>
                  <a:lnTo>
                    <a:pt x="343" y="1189"/>
                  </a:lnTo>
                  <a:lnTo>
                    <a:pt x="344" y="1195"/>
                  </a:lnTo>
                  <a:lnTo>
                    <a:pt x="346" y="1202"/>
                  </a:lnTo>
                  <a:lnTo>
                    <a:pt x="349" y="1209"/>
                  </a:lnTo>
                  <a:lnTo>
                    <a:pt x="354" y="1217"/>
                  </a:lnTo>
                  <a:lnTo>
                    <a:pt x="360" y="1225"/>
                  </a:lnTo>
                  <a:lnTo>
                    <a:pt x="368" y="1232"/>
                  </a:lnTo>
                  <a:lnTo>
                    <a:pt x="376" y="1239"/>
                  </a:lnTo>
                  <a:lnTo>
                    <a:pt x="396" y="1254"/>
                  </a:lnTo>
                  <a:lnTo>
                    <a:pt x="418" y="1270"/>
                  </a:lnTo>
                  <a:lnTo>
                    <a:pt x="442" y="1285"/>
                  </a:lnTo>
                  <a:lnTo>
                    <a:pt x="467" y="1299"/>
                  </a:lnTo>
                  <a:lnTo>
                    <a:pt x="519" y="1327"/>
                  </a:lnTo>
                  <a:lnTo>
                    <a:pt x="565" y="1350"/>
                  </a:lnTo>
                  <a:lnTo>
                    <a:pt x="585" y="1361"/>
                  </a:lnTo>
                  <a:lnTo>
                    <a:pt x="601" y="1370"/>
                  </a:lnTo>
                  <a:lnTo>
                    <a:pt x="601" y="1370"/>
                  </a:lnTo>
                  <a:lnTo>
                    <a:pt x="608" y="1375"/>
                  </a:lnTo>
                  <a:lnTo>
                    <a:pt x="611" y="1379"/>
                  </a:lnTo>
                  <a:lnTo>
                    <a:pt x="613" y="1382"/>
                  </a:lnTo>
                  <a:lnTo>
                    <a:pt x="611" y="1385"/>
                  </a:lnTo>
                  <a:lnTo>
                    <a:pt x="608" y="1387"/>
                  </a:lnTo>
                  <a:lnTo>
                    <a:pt x="604" y="1389"/>
                  </a:lnTo>
                  <a:lnTo>
                    <a:pt x="598" y="1390"/>
                  </a:lnTo>
                  <a:lnTo>
                    <a:pt x="598" y="1390"/>
                  </a:lnTo>
                  <a:lnTo>
                    <a:pt x="588" y="1390"/>
                  </a:lnTo>
                  <a:lnTo>
                    <a:pt x="576" y="1388"/>
                  </a:lnTo>
                  <a:lnTo>
                    <a:pt x="561" y="1385"/>
                  </a:lnTo>
                  <a:lnTo>
                    <a:pt x="545" y="1380"/>
                  </a:lnTo>
                  <a:lnTo>
                    <a:pt x="509" y="1369"/>
                  </a:lnTo>
                  <a:lnTo>
                    <a:pt x="469" y="1354"/>
                  </a:lnTo>
                  <a:lnTo>
                    <a:pt x="387" y="1323"/>
                  </a:lnTo>
                  <a:lnTo>
                    <a:pt x="349" y="1307"/>
                  </a:lnTo>
                  <a:lnTo>
                    <a:pt x="314" y="1296"/>
                  </a:lnTo>
                  <a:lnTo>
                    <a:pt x="314" y="1296"/>
                  </a:lnTo>
                  <a:lnTo>
                    <a:pt x="303" y="1293"/>
                  </a:lnTo>
                  <a:lnTo>
                    <a:pt x="292" y="1291"/>
                  </a:lnTo>
                  <a:lnTo>
                    <a:pt x="283" y="1291"/>
                  </a:lnTo>
                  <a:lnTo>
                    <a:pt x="275" y="1292"/>
                  </a:lnTo>
                  <a:lnTo>
                    <a:pt x="268" y="1294"/>
                  </a:lnTo>
                  <a:lnTo>
                    <a:pt x="262" y="1297"/>
                  </a:lnTo>
                  <a:lnTo>
                    <a:pt x="257" y="1300"/>
                  </a:lnTo>
                  <a:lnTo>
                    <a:pt x="253" y="1303"/>
                  </a:lnTo>
                  <a:lnTo>
                    <a:pt x="244" y="1312"/>
                  </a:lnTo>
                  <a:lnTo>
                    <a:pt x="238" y="1319"/>
                  </a:lnTo>
                  <a:lnTo>
                    <a:pt x="234" y="1324"/>
                  </a:lnTo>
                  <a:lnTo>
                    <a:pt x="231" y="1325"/>
                  </a:lnTo>
                  <a:lnTo>
                    <a:pt x="229" y="1326"/>
                  </a:lnTo>
                  <a:lnTo>
                    <a:pt x="229" y="1326"/>
                  </a:lnTo>
                  <a:lnTo>
                    <a:pt x="220" y="1325"/>
                  </a:lnTo>
                  <a:lnTo>
                    <a:pt x="210" y="1324"/>
                  </a:lnTo>
                  <a:lnTo>
                    <a:pt x="198" y="1325"/>
                  </a:lnTo>
                  <a:lnTo>
                    <a:pt x="188" y="1325"/>
                  </a:lnTo>
                  <a:lnTo>
                    <a:pt x="166" y="1329"/>
                  </a:lnTo>
                  <a:lnTo>
                    <a:pt x="143" y="1335"/>
                  </a:lnTo>
                  <a:lnTo>
                    <a:pt x="121" y="1343"/>
                  </a:lnTo>
                  <a:lnTo>
                    <a:pt x="98" y="1353"/>
                  </a:lnTo>
                  <a:lnTo>
                    <a:pt x="77" y="1367"/>
                  </a:lnTo>
                  <a:lnTo>
                    <a:pt x="66" y="1374"/>
                  </a:lnTo>
                  <a:lnTo>
                    <a:pt x="57" y="1381"/>
                  </a:lnTo>
                  <a:lnTo>
                    <a:pt x="48" y="1389"/>
                  </a:lnTo>
                  <a:lnTo>
                    <a:pt x="40" y="1397"/>
                  </a:lnTo>
                  <a:lnTo>
                    <a:pt x="32" y="1407"/>
                  </a:lnTo>
                  <a:lnTo>
                    <a:pt x="25" y="1416"/>
                  </a:lnTo>
                  <a:lnTo>
                    <a:pt x="18" y="1426"/>
                  </a:lnTo>
                  <a:lnTo>
                    <a:pt x="12" y="1435"/>
                  </a:lnTo>
                  <a:lnTo>
                    <a:pt x="8" y="1446"/>
                  </a:lnTo>
                  <a:lnTo>
                    <a:pt x="4" y="1458"/>
                  </a:lnTo>
                  <a:lnTo>
                    <a:pt x="2" y="1469"/>
                  </a:lnTo>
                  <a:lnTo>
                    <a:pt x="0" y="1480"/>
                  </a:lnTo>
                  <a:lnTo>
                    <a:pt x="0" y="1492"/>
                  </a:lnTo>
                  <a:lnTo>
                    <a:pt x="0" y="1505"/>
                  </a:lnTo>
                  <a:lnTo>
                    <a:pt x="3" y="1518"/>
                  </a:lnTo>
                  <a:lnTo>
                    <a:pt x="6" y="1530"/>
                  </a:lnTo>
                  <a:lnTo>
                    <a:pt x="11" y="1544"/>
                  </a:lnTo>
                  <a:lnTo>
                    <a:pt x="17" y="1558"/>
                  </a:lnTo>
                  <a:lnTo>
                    <a:pt x="17" y="1558"/>
                  </a:lnTo>
                  <a:lnTo>
                    <a:pt x="20" y="1553"/>
                  </a:lnTo>
                  <a:lnTo>
                    <a:pt x="30" y="1540"/>
                  </a:lnTo>
                  <a:lnTo>
                    <a:pt x="45" y="1521"/>
                  </a:lnTo>
                  <a:lnTo>
                    <a:pt x="53" y="1511"/>
                  </a:lnTo>
                  <a:lnTo>
                    <a:pt x="63" y="1501"/>
                  </a:lnTo>
                  <a:lnTo>
                    <a:pt x="75" y="1490"/>
                  </a:lnTo>
                  <a:lnTo>
                    <a:pt x="86" y="1481"/>
                  </a:lnTo>
                  <a:lnTo>
                    <a:pt x="98" y="1473"/>
                  </a:lnTo>
                  <a:lnTo>
                    <a:pt x="111" y="1466"/>
                  </a:lnTo>
                  <a:lnTo>
                    <a:pt x="125" y="1461"/>
                  </a:lnTo>
                  <a:lnTo>
                    <a:pt x="131" y="1459"/>
                  </a:lnTo>
                  <a:lnTo>
                    <a:pt x="138" y="1458"/>
                  </a:lnTo>
                  <a:lnTo>
                    <a:pt x="145" y="1458"/>
                  </a:lnTo>
                  <a:lnTo>
                    <a:pt x="151" y="1458"/>
                  </a:lnTo>
                  <a:lnTo>
                    <a:pt x="159" y="1459"/>
                  </a:lnTo>
                  <a:lnTo>
                    <a:pt x="166" y="1461"/>
                  </a:lnTo>
                  <a:lnTo>
                    <a:pt x="166" y="1461"/>
                  </a:lnTo>
                  <a:lnTo>
                    <a:pt x="171" y="1463"/>
                  </a:lnTo>
                  <a:lnTo>
                    <a:pt x="174" y="1467"/>
                  </a:lnTo>
                  <a:lnTo>
                    <a:pt x="175" y="1473"/>
                  </a:lnTo>
                  <a:lnTo>
                    <a:pt x="176" y="1479"/>
                  </a:lnTo>
                  <a:lnTo>
                    <a:pt x="176" y="1496"/>
                  </a:lnTo>
                  <a:lnTo>
                    <a:pt x="174" y="1514"/>
                  </a:lnTo>
                  <a:lnTo>
                    <a:pt x="174" y="1524"/>
                  </a:lnTo>
                  <a:lnTo>
                    <a:pt x="174" y="1534"/>
                  </a:lnTo>
                  <a:lnTo>
                    <a:pt x="176" y="1545"/>
                  </a:lnTo>
                  <a:lnTo>
                    <a:pt x="178" y="1554"/>
                  </a:lnTo>
                  <a:lnTo>
                    <a:pt x="182" y="1564"/>
                  </a:lnTo>
                  <a:lnTo>
                    <a:pt x="187" y="1573"/>
                  </a:lnTo>
                  <a:lnTo>
                    <a:pt x="195" y="1581"/>
                  </a:lnTo>
                  <a:lnTo>
                    <a:pt x="205" y="1589"/>
                  </a:lnTo>
                  <a:lnTo>
                    <a:pt x="205" y="1589"/>
                  </a:lnTo>
                  <a:lnTo>
                    <a:pt x="213" y="1593"/>
                  </a:lnTo>
                  <a:lnTo>
                    <a:pt x="221" y="1596"/>
                  </a:lnTo>
                  <a:lnTo>
                    <a:pt x="231" y="1599"/>
                  </a:lnTo>
                  <a:lnTo>
                    <a:pt x="242" y="1600"/>
                  </a:lnTo>
                  <a:lnTo>
                    <a:pt x="254" y="1602"/>
                  </a:lnTo>
                  <a:lnTo>
                    <a:pt x="267" y="1602"/>
                  </a:lnTo>
                  <a:lnTo>
                    <a:pt x="293" y="1602"/>
                  </a:lnTo>
                  <a:lnTo>
                    <a:pt x="323" y="1600"/>
                  </a:lnTo>
                  <a:lnTo>
                    <a:pt x="354" y="1597"/>
                  </a:lnTo>
                  <a:lnTo>
                    <a:pt x="418" y="1589"/>
                  </a:lnTo>
                  <a:lnTo>
                    <a:pt x="481" y="1580"/>
                  </a:lnTo>
                  <a:lnTo>
                    <a:pt x="510" y="1576"/>
                  </a:lnTo>
                  <a:lnTo>
                    <a:pt x="538" y="1574"/>
                  </a:lnTo>
                  <a:lnTo>
                    <a:pt x="562" y="1573"/>
                  </a:lnTo>
                  <a:lnTo>
                    <a:pt x="583" y="1574"/>
                  </a:lnTo>
                  <a:lnTo>
                    <a:pt x="592" y="1575"/>
                  </a:lnTo>
                  <a:lnTo>
                    <a:pt x="600" y="1577"/>
                  </a:lnTo>
                  <a:lnTo>
                    <a:pt x="607" y="1580"/>
                  </a:lnTo>
                  <a:lnTo>
                    <a:pt x="613" y="1585"/>
                  </a:lnTo>
                  <a:lnTo>
                    <a:pt x="613" y="1585"/>
                  </a:lnTo>
                  <a:lnTo>
                    <a:pt x="616" y="1588"/>
                  </a:lnTo>
                  <a:lnTo>
                    <a:pt x="617" y="1591"/>
                  </a:lnTo>
                  <a:lnTo>
                    <a:pt x="616" y="1593"/>
                  </a:lnTo>
                  <a:lnTo>
                    <a:pt x="611" y="1596"/>
                  </a:lnTo>
                  <a:lnTo>
                    <a:pt x="607" y="1598"/>
                  </a:lnTo>
                  <a:lnTo>
                    <a:pt x="600" y="1601"/>
                  </a:lnTo>
                  <a:lnTo>
                    <a:pt x="583" y="1605"/>
                  </a:lnTo>
                  <a:lnTo>
                    <a:pt x="560" y="1609"/>
                  </a:lnTo>
                  <a:lnTo>
                    <a:pt x="535" y="1612"/>
                  </a:lnTo>
                  <a:lnTo>
                    <a:pt x="474" y="1620"/>
                  </a:lnTo>
                  <a:lnTo>
                    <a:pt x="443" y="1624"/>
                  </a:lnTo>
                  <a:lnTo>
                    <a:pt x="412" y="1629"/>
                  </a:lnTo>
                  <a:lnTo>
                    <a:pt x="382" y="1636"/>
                  </a:lnTo>
                  <a:lnTo>
                    <a:pt x="356" y="1642"/>
                  </a:lnTo>
                  <a:lnTo>
                    <a:pt x="344" y="1646"/>
                  </a:lnTo>
                  <a:lnTo>
                    <a:pt x="332" y="1650"/>
                  </a:lnTo>
                  <a:lnTo>
                    <a:pt x="322" y="1654"/>
                  </a:lnTo>
                  <a:lnTo>
                    <a:pt x="314" y="1659"/>
                  </a:lnTo>
                  <a:lnTo>
                    <a:pt x="307" y="1664"/>
                  </a:lnTo>
                  <a:lnTo>
                    <a:pt x="302" y="1669"/>
                  </a:lnTo>
                  <a:lnTo>
                    <a:pt x="298" y="1676"/>
                  </a:lnTo>
                  <a:lnTo>
                    <a:pt x="296" y="1682"/>
                  </a:lnTo>
                  <a:lnTo>
                    <a:pt x="296" y="1682"/>
                  </a:lnTo>
                  <a:lnTo>
                    <a:pt x="295" y="1687"/>
                  </a:lnTo>
                  <a:lnTo>
                    <a:pt x="295" y="1696"/>
                  </a:lnTo>
                  <a:lnTo>
                    <a:pt x="296" y="1707"/>
                  </a:lnTo>
                  <a:lnTo>
                    <a:pt x="298" y="1713"/>
                  </a:lnTo>
                  <a:lnTo>
                    <a:pt x="300" y="1718"/>
                  </a:lnTo>
                  <a:lnTo>
                    <a:pt x="300" y="1718"/>
                  </a:lnTo>
                  <a:lnTo>
                    <a:pt x="301" y="1725"/>
                  </a:lnTo>
                  <a:lnTo>
                    <a:pt x="301" y="1731"/>
                  </a:lnTo>
                  <a:lnTo>
                    <a:pt x="298" y="1737"/>
                  </a:lnTo>
                  <a:lnTo>
                    <a:pt x="293" y="1743"/>
                  </a:lnTo>
                  <a:lnTo>
                    <a:pt x="283" y="1757"/>
                  </a:lnTo>
                  <a:lnTo>
                    <a:pt x="269" y="1775"/>
                  </a:lnTo>
                  <a:lnTo>
                    <a:pt x="261" y="1785"/>
                  </a:lnTo>
                  <a:lnTo>
                    <a:pt x="254" y="1795"/>
                  </a:lnTo>
                  <a:lnTo>
                    <a:pt x="246" y="1807"/>
                  </a:lnTo>
                  <a:lnTo>
                    <a:pt x="240" y="1820"/>
                  </a:lnTo>
                  <a:lnTo>
                    <a:pt x="234" y="1834"/>
                  </a:lnTo>
                  <a:lnTo>
                    <a:pt x="230" y="1849"/>
                  </a:lnTo>
                  <a:lnTo>
                    <a:pt x="226" y="1866"/>
                  </a:lnTo>
                  <a:lnTo>
                    <a:pt x="225" y="1884"/>
                  </a:lnTo>
                  <a:lnTo>
                    <a:pt x="225" y="1884"/>
                  </a:lnTo>
                  <a:lnTo>
                    <a:pt x="225" y="1893"/>
                  </a:lnTo>
                  <a:lnTo>
                    <a:pt x="225" y="1902"/>
                  </a:lnTo>
                  <a:lnTo>
                    <a:pt x="228" y="1920"/>
                  </a:lnTo>
                  <a:lnTo>
                    <a:pt x="233" y="1937"/>
                  </a:lnTo>
                  <a:lnTo>
                    <a:pt x="239" y="1953"/>
                  </a:lnTo>
                  <a:lnTo>
                    <a:pt x="247" y="1968"/>
                  </a:lnTo>
                  <a:lnTo>
                    <a:pt x="257" y="1982"/>
                  </a:lnTo>
                  <a:lnTo>
                    <a:pt x="267" y="1995"/>
                  </a:lnTo>
                  <a:lnTo>
                    <a:pt x="277" y="2007"/>
                  </a:lnTo>
                  <a:lnTo>
                    <a:pt x="287" y="2017"/>
                  </a:lnTo>
                  <a:lnTo>
                    <a:pt x="298" y="2026"/>
                  </a:lnTo>
                  <a:lnTo>
                    <a:pt x="315" y="2042"/>
                  </a:lnTo>
                  <a:lnTo>
                    <a:pt x="327" y="2050"/>
                  </a:lnTo>
                  <a:lnTo>
                    <a:pt x="332" y="2054"/>
                  </a:lnTo>
                  <a:lnTo>
                    <a:pt x="332" y="2054"/>
                  </a:lnTo>
                  <a:lnTo>
                    <a:pt x="334" y="2050"/>
                  </a:lnTo>
                  <a:lnTo>
                    <a:pt x="335" y="2045"/>
                  </a:lnTo>
                  <a:lnTo>
                    <a:pt x="335" y="2036"/>
                  </a:lnTo>
                  <a:lnTo>
                    <a:pt x="334" y="2027"/>
                  </a:lnTo>
                  <a:lnTo>
                    <a:pt x="331" y="2006"/>
                  </a:lnTo>
                  <a:lnTo>
                    <a:pt x="328" y="1980"/>
                  </a:lnTo>
                  <a:lnTo>
                    <a:pt x="327" y="1968"/>
                  </a:lnTo>
                  <a:lnTo>
                    <a:pt x="326" y="1955"/>
                  </a:lnTo>
                  <a:lnTo>
                    <a:pt x="326" y="1943"/>
                  </a:lnTo>
                  <a:lnTo>
                    <a:pt x="328" y="1932"/>
                  </a:lnTo>
                  <a:lnTo>
                    <a:pt x="330" y="1922"/>
                  </a:lnTo>
                  <a:lnTo>
                    <a:pt x="334" y="1913"/>
                  </a:lnTo>
                  <a:lnTo>
                    <a:pt x="337" y="1910"/>
                  </a:lnTo>
                  <a:lnTo>
                    <a:pt x="341" y="1906"/>
                  </a:lnTo>
                  <a:lnTo>
                    <a:pt x="344" y="1904"/>
                  </a:lnTo>
                  <a:lnTo>
                    <a:pt x="348" y="1901"/>
                  </a:lnTo>
                  <a:lnTo>
                    <a:pt x="348" y="1901"/>
                  </a:lnTo>
                  <a:lnTo>
                    <a:pt x="353" y="1900"/>
                  </a:lnTo>
                  <a:lnTo>
                    <a:pt x="357" y="1900"/>
                  </a:lnTo>
                  <a:lnTo>
                    <a:pt x="362" y="1901"/>
                  </a:lnTo>
                  <a:lnTo>
                    <a:pt x="366" y="1905"/>
                  </a:lnTo>
                  <a:lnTo>
                    <a:pt x="375" y="1912"/>
                  </a:lnTo>
                  <a:lnTo>
                    <a:pt x="386" y="1921"/>
                  </a:lnTo>
                  <a:lnTo>
                    <a:pt x="397" y="1932"/>
                  </a:lnTo>
                  <a:lnTo>
                    <a:pt x="410" y="1941"/>
                  </a:lnTo>
                  <a:lnTo>
                    <a:pt x="417" y="1946"/>
                  </a:lnTo>
                  <a:lnTo>
                    <a:pt x="424" y="1950"/>
                  </a:lnTo>
                  <a:lnTo>
                    <a:pt x="434" y="1953"/>
                  </a:lnTo>
                  <a:lnTo>
                    <a:pt x="442" y="1955"/>
                  </a:lnTo>
                  <a:lnTo>
                    <a:pt x="442" y="1955"/>
                  </a:lnTo>
                  <a:lnTo>
                    <a:pt x="451" y="1955"/>
                  </a:lnTo>
                  <a:lnTo>
                    <a:pt x="460" y="1955"/>
                  </a:lnTo>
                  <a:lnTo>
                    <a:pt x="468" y="1954"/>
                  </a:lnTo>
                  <a:lnTo>
                    <a:pt x="478" y="1952"/>
                  </a:lnTo>
                  <a:lnTo>
                    <a:pt x="486" y="1948"/>
                  </a:lnTo>
                  <a:lnTo>
                    <a:pt x="494" y="1944"/>
                  </a:lnTo>
                  <a:lnTo>
                    <a:pt x="501" y="1940"/>
                  </a:lnTo>
                  <a:lnTo>
                    <a:pt x="509" y="1935"/>
                  </a:lnTo>
                  <a:lnTo>
                    <a:pt x="525" y="1923"/>
                  </a:lnTo>
                  <a:lnTo>
                    <a:pt x="539" y="1909"/>
                  </a:lnTo>
                  <a:lnTo>
                    <a:pt x="554" y="1892"/>
                  </a:lnTo>
                  <a:lnTo>
                    <a:pt x="571" y="1875"/>
                  </a:lnTo>
                  <a:lnTo>
                    <a:pt x="604" y="1836"/>
                  </a:lnTo>
                  <a:lnTo>
                    <a:pt x="624" y="1817"/>
                  </a:lnTo>
                  <a:lnTo>
                    <a:pt x="644" y="1797"/>
                  </a:lnTo>
                  <a:lnTo>
                    <a:pt x="667" y="1777"/>
                  </a:lnTo>
                  <a:lnTo>
                    <a:pt x="691" y="1758"/>
                  </a:lnTo>
                  <a:lnTo>
                    <a:pt x="705" y="1749"/>
                  </a:lnTo>
                  <a:lnTo>
                    <a:pt x="718" y="1741"/>
                  </a:lnTo>
                  <a:lnTo>
                    <a:pt x="732" y="1733"/>
                  </a:lnTo>
                  <a:lnTo>
                    <a:pt x="747" y="1725"/>
                  </a:lnTo>
                  <a:lnTo>
                    <a:pt x="747" y="1725"/>
                  </a:lnTo>
                  <a:lnTo>
                    <a:pt x="787" y="1706"/>
                  </a:lnTo>
                  <a:lnTo>
                    <a:pt x="819" y="1694"/>
                  </a:lnTo>
                  <a:lnTo>
                    <a:pt x="831" y="1689"/>
                  </a:lnTo>
                  <a:lnTo>
                    <a:pt x="843" y="1686"/>
                  </a:lnTo>
                  <a:lnTo>
                    <a:pt x="852" y="1685"/>
                  </a:lnTo>
                  <a:lnTo>
                    <a:pt x="859" y="1684"/>
                  </a:lnTo>
                  <a:lnTo>
                    <a:pt x="865" y="1684"/>
                  </a:lnTo>
                  <a:lnTo>
                    <a:pt x="869" y="1686"/>
                  </a:lnTo>
                  <a:lnTo>
                    <a:pt x="872" y="1688"/>
                  </a:lnTo>
                  <a:lnTo>
                    <a:pt x="874" y="1691"/>
                  </a:lnTo>
                  <a:lnTo>
                    <a:pt x="876" y="1694"/>
                  </a:lnTo>
                  <a:lnTo>
                    <a:pt x="876" y="1698"/>
                  </a:lnTo>
                  <a:lnTo>
                    <a:pt x="875" y="1708"/>
                  </a:lnTo>
                  <a:lnTo>
                    <a:pt x="872" y="1720"/>
                  </a:lnTo>
                  <a:lnTo>
                    <a:pt x="868" y="1734"/>
                  </a:lnTo>
                  <a:lnTo>
                    <a:pt x="865" y="1747"/>
                  </a:lnTo>
                  <a:lnTo>
                    <a:pt x="863" y="1759"/>
                  </a:lnTo>
                  <a:lnTo>
                    <a:pt x="863" y="1765"/>
                  </a:lnTo>
                  <a:lnTo>
                    <a:pt x="863" y="1772"/>
                  </a:lnTo>
                  <a:lnTo>
                    <a:pt x="865" y="1777"/>
                  </a:lnTo>
                  <a:lnTo>
                    <a:pt x="867" y="1782"/>
                  </a:lnTo>
                  <a:lnTo>
                    <a:pt x="870" y="1786"/>
                  </a:lnTo>
                  <a:lnTo>
                    <a:pt x="875" y="1790"/>
                  </a:lnTo>
                  <a:lnTo>
                    <a:pt x="881" y="1793"/>
                  </a:lnTo>
                  <a:lnTo>
                    <a:pt x="889" y="1795"/>
                  </a:lnTo>
                  <a:lnTo>
                    <a:pt x="889" y="1795"/>
                  </a:lnTo>
                  <a:lnTo>
                    <a:pt x="901" y="1799"/>
                  </a:lnTo>
                  <a:lnTo>
                    <a:pt x="912" y="1802"/>
                  </a:lnTo>
                  <a:lnTo>
                    <a:pt x="921" y="1807"/>
                  </a:lnTo>
                  <a:lnTo>
                    <a:pt x="928" y="1811"/>
                  </a:lnTo>
                  <a:lnTo>
                    <a:pt x="935" y="1817"/>
                  </a:lnTo>
                  <a:lnTo>
                    <a:pt x="940" y="1822"/>
                  </a:lnTo>
                  <a:lnTo>
                    <a:pt x="943" y="1828"/>
                  </a:lnTo>
                  <a:lnTo>
                    <a:pt x="945" y="1834"/>
                  </a:lnTo>
                  <a:lnTo>
                    <a:pt x="947" y="1840"/>
                  </a:lnTo>
                  <a:lnTo>
                    <a:pt x="947" y="1846"/>
                  </a:lnTo>
                  <a:lnTo>
                    <a:pt x="946" y="1853"/>
                  </a:lnTo>
                  <a:lnTo>
                    <a:pt x="945" y="1860"/>
                  </a:lnTo>
                  <a:lnTo>
                    <a:pt x="943" y="1867"/>
                  </a:lnTo>
                  <a:lnTo>
                    <a:pt x="940" y="1874"/>
                  </a:lnTo>
                  <a:lnTo>
                    <a:pt x="932" y="1887"/>
                  </a:lnTo>
                  <a:lnTo>
                    <a:pt x="922" y="1900"/>
                  </a:lnTo>
                  <a:lnTo>
                    <a:pt x="912" y="1913"/>
                  </a:lnTo>
                  <a:lnTo>
                    <a:pt x="902" y="1924"/>
                  </a:lnTo>
                  <a:lnTo>
                    <a:pt x="892" y="1934"/>
                  </a:lnTo>
                  <a:lnTo>
                    <a:pt x="875" y="1948"/>
                  </a:lnTo>
                  <a:lnTo>
                    <a:pt x="869" y="1955"/>
                  </a:lnTo>
                  <a:lnTo>
                    <a:pt x="869" y="1955"/>
                  </a:lnTo>
                  <a:lnTo>
                    <a:pt x="877" y="1959"/>
                  </a:lnTo>
                  <a:lnTo>
                    <a:pt x="888" y="1961"/>
                  </a:lnTo>
                  <a:lnTo>
                    <a:pt x="899" y="1962"/>
                  </a:lnTo>
                  <a:lnTo>
                    <a:pt x="912" y="1961"/>
                  </a:lnTo>
                  <a:lnTo>
                    <a:pt x="926" y="1958"/>
                  </a:lnTo>
                  <a:lnTo>
                    <a:pt x="941" y="1954"/>
                  </a:lnTo>
                  <a:lnTo>
                    <a:pt x="957" y="1947"/>
                  </a:lnTo>
                  <a:lnTo>
                    <a:pt x="972" y="1939"/>
                  </a:lnTo>
                  <a:lnTo>
                    <a:pt x="989" y="1930"/>
                  </a:lnTo>
                  <a:lnTo>
                    <a:pt x="1004" y="1919"/>
                  </a:lnTo>
                  <a:lnTo>
                    <a:pt x="1019" y="1906"/>
                  </a:lnTo>
                  <a:lnTo>
                    <a:pt x="1035" y="1891"/>
                  </a:lnTo>
                  <a:lnTo>
                    <a:pt x="1048" y="1874"/>
                  </a:lnTo>
                  <a:lnTo>
                    <a:pt x="1061" y="1855"/>
                  </a:lnTo>
                  <a:lnTo>
                    <a:pt x="1073" y="1835"/>
                  </a:lnTo>
                  <a:lnTo>
                    <a:pt x="1083" y="1814"/>
                  </a:lnTo>
                  <a:lnTo>
                    <a:pt x="1083" y="1814"/>
                  </a:lnTo>
                  <a:lnTo>
                    <a:pt x="1086" y="1805"/>
                  </a:lnTo>
                  <a:lnTo>
                    <a:pt x="1089" y="1799"/>
                  </a:lnTo>
                  <a:lnTo>
                    <a:pt x="1092" y="1794"/>
                  </a:lnTo>
                  <a:lnTo>
                    <a:pt x="1096" y="1790"/>
                  </a:lnTo>
                  <a:lnTo>
                    <a:pt x="1100" y="1787"/>
                  </a:lnTo>
                  <a:lnTo>
                    <a:pt x="1103" y="1784"/>
                  </a:lnTo>
                  <a:lnTo>
                    <a:pt x="1111" y="1781"/>
                  </a:lnTo>
                  <a:lnTo>
                    <a:pt x="1120" y="1778"/>
                  </a:lnTo>
                  <a:lnTo>
                    <a:pt x="1129" y="1774"/>
                  </a:lnTo>
                  <a:lnTo>
                    <a:pt x="1138" y="1768"/>
                  </a:lnTo>
                  <a:lnTo>
                    <a:pt x="1143" y="1763"/>
                  </a:lnTo>
                  <a:lnTo>
                    <a:pt x="1148" y="1758"/>
                  </a:lnTo>
                  <a:lnTo>
                    <a:pt x="1148" y="1758"/>
                  </a:lnTo>
                  <a:lnTo>
                    <a:pt x="1151" y="1752"/>
                  </a:lnTo>
                  <a:lnTo>
                    <a:pt x="1154" y="1746"/>
                  </a:lnTo>
                  <a:lnTo>
                    <a:pt x="1158" y="1740"/>
                  </a:lnTo>
                  <a:lnTo>
                    <a:pt x="1159" y="1734"/>
                  </a:lnTo>
                  <a:lnTo>
                    <a:pt x="1160" y="1719"/>
                  </a:lnTo>
                  <a:lnTo>
                    <a:pt x="1160" y="1705"/>
                  </a:lnTo>
                  <a:lnTo>
                    <a:pt x="1160" y="1690"/>
                  </a:lnTo>
                  <a:lnTo>
                    <a:pt x="1160" y="1676"/>
                  </a:lnTo>
                  <a:lnTo>
                    <a:pt x="1162" y="1661"/>
                  </a:lnTo>
                  <a:lnTo>
                    <a:pt x="1164" y="1655"/>
                  </a:lnTo>
                  <a:lnTo>
                    <a:pt x="1166" y="1649"/>
                  </a:lnTo>
                  <a:lnTo>
                    <a:pt x="1166" y="1649"/>
                  </a:lnTo>
                  <a:lnTo>
                    <a:pt x="1170" y="1643"/>
                  </a:lnTo>
                  <a:lnTo>
                    <a:pt x="1174" y="1638"/>
                  </a:lnTo>
                  <a:lnTo>
                    <a:pt x="1178" y="1633"/>
                  </a:lnTo>
                  <a:lnTo>
                    <a:pt x="1183" y="1628"/>
                  </a:lnTo>
                  <a:lnTo>
                    <a:pt x="1195" y="1620"/>
                  </a:lnTo>
                  <a:lnTo>
                    <a:pt x="1209" y="1614"/>
                  </a:lnTo>
                  <a:lnTo>
                    <a:pt x="1223" y="1609"/>
                  </a:lnTo>
                  <a:lnTo>
                    <a:pt x="1237" y="1605"/>
                  </a:lnTo>
                  <a:lnTo>
                    <a:pt x="1268" y="1597"/>
                  </a:lnTo>
                  <a:lnTo>
                    <a:pt x="1298" y="1591"/>
                  </a:lnTo>
                  <a:lnTo>
                    <a:pt x="1310" y="1587"/>
                  </a:lnTo>
                  <a:lnTo>
                    <a:pt x="1321" y="1581"/>
                  </a:lnTo>
                  <a:lnTo>
                    <a:pt x="1329" y="1575"/>
                  </a:lnTo>
                  <a:lnTo>
                    <a:pt x="1333" y="1572"/>
                  </a:lnTo>
                  <a:lnTo>
                    <a:pt x="1335" y="1568"/>
                  </a:lnTo>
                  <a:lnTo>
                    <a:pt x="1338" y="1564"/>
                  </a:lnTo>
                  <a:lnTo>
                    <a:pt x="1340" y="1559"/>
                  </a:lnTo>
                  <a:lnTo>
                    <a:pt x="1340" y="1554"/>
                  </a:lnTo>
                  <a:lnTo>
                    <a:pt x="1340" y="1549"/>
                  </a:lnTo>
                  <a:lnTo>
                    <a:pt x="1340" y="1549"/>
                  </a:lnTo>
                  <a:lnTo>
                    <a:pt x="1338" y="1534"/>
                  </a:lnTo>
                  <a:lnTo>
                    <a:pt x="1338" y="1521"/>
                  </a:lnTo>
                  <a:lnTo>
                    <a:pt x="1341" y="1509"/>
                  </a:lnTo>
                  <a:lnTo>
                    <a:pt x="1345" y="1499"/>
                  </a:lnTo>
                  <a:lnTo>
                    <a:pt x="1350" y="1488"/>
                  </a:lnTo>
                  <a:lnTo>
                    <a:pt x="1355" y="1480"/>
                  </a:lnTo>
                  <a:lnTo>
                    <a:pt x="1362" y="1472"/>
                  </a:lnTo>
                  <a:lnTo>
                    <a:pt x="1370" y="1465"/>
                  </a:lnTo>
                  <a:lnTo>
                    <a:pt x="1378" y="1459"/>
                  </a:lnTo>
                  <a:lnTo>
                    <a:pt x="1388" y="1453"/>
                  </a:lnTo>
                  <a:lnTo>
                    <a:pt x="1406" y="1443"/>
                  </a:lnTo>
                  <a:lnTo>
                    <a:pt x="1424" y="1435"/>
                  </a:lnTo>
                  <a:lnTo>
                    <a:pt x="1441" y="1428"/>
                  </a:lnTo>
                  <a:lnTo>
                    <a:pt x="1441" y="1428"/>
                  </a:lnTo>
                  <a:lnTo>
                    <a:pt x="1443" y="1428"/>
                  </a:lnTo>
                  <a:lnTo>
                    <a:pt x="1444" y="1429"/>
                  </a:lnTo>
                  <a:lnTo>
                    <a:pt x="1447" y="1431"/>
                  </a:lnTo>
                  <a:lnTo>
                    <a:pt x="1449" y="1436"/>
                  </a:lnTo>
                  <a:lnTo>
                    <a:pt x="1453" y="1443"/>
                  </a:lnTo>
                  <a:lnTo>
                    <a:pt x="1461" y="1462"/>
                  </a:lnTo>
                  <a:lnTo>
                    <a:pt x="1467" y="1473"/>
                  </a:lnTo>
                  <a:lnTo>
                    <a:pt x="1474" y="1485"/>
                  </a:lnTo>
                  <a:lnTo>
                    <a:pt x="1484" y="1498"/>
                  </a:lnTo>
                  <a:lnTo>
                    <a:pt x="1494" y="1511"/>
                  </a:lnTo>
                  <a:lnTo>
                    <a:pt x="1506" y="1525"/>
                  </a:lnTo>
                  <a:lnTo>
                    <a:pt x="1522" y="1539"/>
                  </a:lnTo>
                  <a:lnTo>
                    <a:pt x="1539" y="1552"/>
                  </a:lnTo>
                  <a:lnTo>
                    <a:pt x="1559" y="1564"/>
                  </a:lnTo>
                  <a:lnTo>
                    <a:pt x="1583" y="1576"/>
                  </a:lnTo>
                  <a:lnTo>
                    <a:pt x="1609" y="1587"/>
                  </a:lnTo>
                  <a:lnTo>
                    <a:pt x="1609" y="1587"/>
                  </a:lnTo>
                  <a:lnTo>
                    <a:pt x="1684" y="1556"/>
                  </a:lnTo>
                  <a:lnTo>
                    <a:pt x="1730" y="1534"/>
                  </a:lnTo>
                  <a:lnTo>
                    <a:pt x="1757" y="1521"/>
                  </a:lnTo>
                  <a:lnTo>
                    <a:pt x="1786" y="1506"/>
                  </a:lnTo>
                  <a:lnTo>
                    <a:pt x="1786" y="1506"/>
                  </a:lnTo>
                  <a:lnTo>
                    <a:pt x="1818" y="1489"/>
                  </a:lnTo>
                  <a:lnTo>
                    <a:pt x="1848" y="1472"/>
                  </a:lnTo>
                  <a:lnTo>
                    <a:pt x="1860" y="1464"/>
                  </a:lnTo>
                  <a:lnTo>
                    <a:pt x="1871" y="1457"/>
                  </a:lnTo>
                  <a:lnTo>
                    <a:pt x="1881" y="1449"/>
                  </a:lnTo>
                  <a:lnTo>
                    <a:pt x="1889" y="1442"/>
                  </a:lnTo>
                  <a:lnTo>
                    <a:pt x="1889" y="1442"/>
                  </a:lnTo>
                  <a:lnTo>
                    <a:pt x="1888" y="1440"/>
                  </a:lnTo>
                  <a:lnTo>
                    <a:pt x="1887" y="1438"/>
                  </a:lnTo>
                  <a:lnTo>
                    <a:pt x="1879" y="1431"/>
                  </a:lnTo>
                  <a:lnTo>
                    <a:pt x="1868" y="1420"/>
                  </a:lnTo>
                  <a:lnTo>
                    <a:pt x="1855" y="1406"/>
                  </a:lnTo>
                  <a:lnTo>
                    <a:pt x="1840" y="1388"/>
                  </a:lnTo>
                  <a:lnTo>
                    <a:pt x="1825" y="1369"/>
                  </a:lnTo>
                  <a:lnTo>
                    <a:pt x="1818" y="1358"/>
                  </a:lnTo>
                  <a:lnTo>
                    <a:pt x="1812" y="1345"/>
                  </a:lnTo>
                  <a:lnTo>
                    <a:pt x="1807" y="1334"/>
                  </a:lnTo>
                  <a:lnTo>
                    <a:pt x="1802" y="1321"/>
                  </a:lnTo>
                  <a:lnTo>
                    <a:pt x="1802" y="1321"/>
                  </a:lnTo>
                  <a:lnTo>
                    <a:pt x="1799" y="1308"/>
                  </a:lnTo>
                  <a:lnTo>
                    <a:pt x="1796" y="1297"/>
                  </a:lnTo>
                  <a:lnTo>
                    <a:pt x="1794" y="1288"/>
                  </a:lnTo>
                  <a:lnTo>
                    <a:pt x="1794" y="1279"/>
                  </a:lnTo>
                  <a:lnTo>
                    <a:pt x="1794" y="1272"/>
                  </a:lnTo>
                  <a:lnTo>
                    <a:pt x="1794" y="1267"/>
                  </a:lnTo>
                  <a:lnTo>
                    <a:pt x="1795" y="1263"/>
                  </a:lnTo>
                  <a:lnTo>
                    <a:pt x="1796" y="1261"/>
                  </a:lnTo>
                  <a:lnTo>
                    <a:pt x="1796" y="1261"/>
                  </a:lnTo>
                  <a:lnTo>
                    <a:pt x="1809" y="1278"/>
                  </a:lnTo>
                  <a:lnTo>
                    <a:pt x="1824" y="1295"/>
                  </a:lnTo>
                  <a:lnTo>
                    <a:pt x="1845" y="1316"/>
                  </a:lnTo>
                  <a:lnTo>
                    <a:pt x="1857" y="1327"/>
                  </a:lnTo>
                  <a:lnTo>
                    <a:pt x="1869" y="1338"/>
                  </a:lnTo>
                  <a:lnTo>
                    <a:pt x="1883" y="1349"/>
                  </a:lnTo>
                  <a:lnTo>
                    <a:pt x="1899" y="1361"/>
                  </a:lnTo>
                  <a:lnTo>
                    <a:pt x="1915" y="1372"/>
                  </a:lnTo>
                  <a:lnTo>
                    <a:pt x="1932" y="1381"/>
                  </a:lnTo>
                  <a:lnTo>
                    <a:pt x="1949" y="1390"/>
                  </a:lnTo>
                  <a:lnTo>
                    <a:pt x="1967" y="1398"/>
                  </a:lnTo>
                  <a:lnTo>
                    <a:pt x="1967" y="1398"/>
                  </a:lnTo>
                  <a:lnTo>
                    <a:pt x="2021" y="1370"/>
                  </a:lnTo>
                  <a:lnTo>
                    <a:pt x="2075" y="1340"/>
                  </a:lnTo>
                  <a:lnTo>
                    <a:pt x="2129" y="1307"/>
                  </a:lnTo>
                  <a:lnTo>
                    <a:pt x="2183" y="1273"/>
                  </a:lnTo>
                  <a:lnTo>
                    <a:pt x="2183" y="1273"/>
                  </a:lnTo>
                  <a:lnTo>
                    <a:pt x="2218" y="1249"/>
                  </a:lnTo>
                  <a:lnTo>
                    <a:pt x="2218" y="1249"/>
                  </a:lnTo>
                  <a:lnTo>
                    <a:pt x="2219" y="1248"/>
                  </a:lnTo>
                  <a:lnTo>
                    <a:pt x="2219" y="1248"/>
                  </a:lnTo>
                  <a:lnTo>
                    <a:pt x="2220" y="1246"/>
                  </a:lnTo>
                  <a:lnTo>
                    <a:pt x="2219" y="1244"/>
                  </a:lnTo>
                  <a:lnTo>
                    <a:pt x="2215" y="1237"/>
                  </a:lnTo>
                  <a:lnTo>
                    <a:pt x="2207" y="1228"/>
                  </a:lnTo>
                  <a:lnTo>
                    <a:pt x="2196" y="1217"/>
                  </a:lnTo>
                  <a:lnTo>
                    <a:pt x="2171" y="1193"/>
                  </a:lnTo>
                  <a:lnTo>
                    <a:pt x="2142" y="1164"/>
                  </a:lnTo>
                  <a:lnTo>
                    <a:pt x="2129" y="1150"/>
                  </a:lnTo>
                  <a:lnTo>
                    <a:pt x="2118" y="1136"/>
                  </a:lnTo>
                  <a:lnTo>
                    <a:pt x="2108" y="1121"/>
                  </a:lnTo>
                  <a:lnTo>
                    <a:pt x="2104" y="1114"/>
                  </a:lnTo>
                  <a:lnTo>
                    <a:pt x="2101" y="1108"/>
                  </a:lnTo>
                  <a:lnTo>
                    <a:pt x="2100" y="1101"/>
                  </a:lnTo>
                  <a:lnTo>
                    <a:pt x="2099" y="1095"/>
                  </a:lnTo>
                  <a:lnTo>
                    <a:pt x="2099" y="1089"/>
                  </a:lnTo>
                  <a:lnTo>
                    <a:pt x="2100" y="1084"/>
                  </a:lnTo>
                  <a:lnTo>
                    <a:pt x="2102" y="1078"/>
                  </a:lnTo>
                  <a:lnTo>
                    <a:pt x="2106" y="1073"/>
                  </a:lnTo>
                  <a:lnTo>
                    <a:pt x="2112" y="1069"/>
                  </a:lnTo>
                  <a:lnTo>
                    <a:pt x="2119" y="1065"/>
                  </a:lnTo>
                  <a:lnTo>
                    <a:pt x="2119" y="1065"/>
                  </a:lnTo>
                  <a:lnTo>
                    <a:pt x="2125" y="1061"/>
                  </a:lnTo>
                  <a:lnTo>
                    <a:pt x="2130" y="1056"/>
                  </a:lnTo>
                  <a:lnTo>
                    <a:pt x="2133" y="1051"/>
                  </a:lnTo>
                  <a:lnTo>
                    <a:pt x="2135" y="1045"/>
                  </a:lnTo>
                  <a:lnTo>
                    <a:pt x="2136" y="1039"/>
                  </a:lnTo>
                  <a:lnTo>
                    <a:pt x="2136" y="1030"/>
                  </a:lnTo>
                  <a:lnTo>
                    <a:pt x="2136" y="1023"/>
                  </a:lnTo>
                  <a:lnTo>
                    <a:pt x="2134" y="1014"/>
                  </a:lnTo>
                  <a:lnTo>
                    <a:pt x="2129" y="997"/>
                  </a:lnTo>
                  <a:lnTo>
                    <a:pt x="2121" y="977"/>
                  </a:lnTo>
                  <a:lnTo>
                    <a:pt x="2102" y="935"/>
                  </a:lnTo>
                  <a:lnTo>
                    <a:pt x="2093" y="914"/>
                  </a:lnTo>
                  <a:lnTo>
                    <a:pt x="2085" y="893"/>
                  </a:lnTo>
                  <a:lnTo>
                    <a:pt x="2078" y="873"/>
                  </a:lnTo>
                  <a:lnTo>
                    <a:pt x="2076" y="863"/>
                  </a:lnTo>
                  <a:lnTo>
                    <a:pt x="2074" y="853"/>
                  </a:lnTo>
                  <a:lnTo>
                    <a:pt x="2074" y="844"/>
                  </a:lnTo>
                  <a:lnTo>
                    <a:pt x="2074" y="836"/>
                  </a:lnTo>
                  <a:lnTo>
                    <a:pt x="2075" y="828"/>
                  </a:lnTo>
                  <a:lnTo>
                    <a:pt x="2077" y="821"/>
                  </a:lnTo>
                  <a:lnTo>
                    <a:pt x="2080" y="814"/>
                  </a:lnTo>
                  <a:lnTo>
                    <a:pt x="2085" y="807"/>
                  </a:lnTo>
                  <a:lnTo>
                    <a:pt x="2091" y="801"/>
                  </a:lnTo>
                  <a:lnTo>
                    <a:pt x="2099" y="797"/>
                  </a:lnTo>
                  <a:lnTo>
                    <a:pt x="2099" y="797"/>
                  </a:lnTo>
                  <a:lnTo>
                    <a:pt x="2200" y="744"/>
                  </a:lnTo>
                  <a:lnTo>
                    <a:pt x="2306" y="693"/>
                  </a:lnTo>
                  <a:lnTo>
                    <a:pt x="2410" y="642"/>
                  </a:lnTo>
                  <a:lnTo>
                    <a:pt x="2513" y="592"/>
                  </a:lnTo>
                  <a:lnTo>
                    <a:pt x="2705" y="501"/>
                  </a:lnTo>
                  <a:lnTo>
                    <a:pt x="2788" y="461"/>
                  </a:lnTo>
                  <a:lnTo>
                    <a:pt x="2863" y="424"/>
                  </a:lnTo>
                  <a:lnTo>
                    <a:pt x="2863" y="424"/>
                  </a:lnTo>
                  <a:lnTo>
                    <a:pt x="2859" y="408"/>
                  </a:lnTo>
                  <a:lnTo>
                    <a:pt x="2853" y="389"/>
                  </a:lnTo>
                  <a:lnTo>
                    <a:pt x="2843" y="366"/>
                  </a:lnTo>
                  <a:lnTo>
                    <a:pt x="2836" y="354"/>
                  </a:lnTo>
                  <a:lnTo>
                    <a:pt x="2829" y="339"/>
                  </a:lnTo>
                  <a:lnTo>
                    <a:pt x="2821" y="325"/>
                  </a:lnTo>
                  <a:lnTo>
                    <a:pt x="2812" y="311"/>
                  </a:lnTo>
                  <a:lnTo>
                    <a:pt x="2801" y="296"/>
                  </a:lnTo>
                  <a:lnTo>
                    <a:pt x="2788" y="281"/>
                  </a:lnTo>
                  <a:lnTo>
                    <a:pt x="2774" y="267"/>
                  </a:lnTo>
                  <a:lnTo>
                    <a:pt x="2759" y="25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6" name="Freeform 32"/>
            <p:cNvSpPr>
              <a:spLocks/>
            </p:cNvSpPr>
            <p:nvPr userDrawn="1"/>
          </p:nvSpPr>
          <p:spPr bwMode="auto">
            <a:xfrm>
              <a:off x="5786685" y="1097130"/>
              <a:ext cx="161925" cy="153988"/>
            </a:xfrm>
            <a:custGeom>
              <a:avLst/>
              <a:gdLst>
                <a:gd name="T0" fmla="*/ 2 w 1226"/>
                <a:gd name="T1" fmla="*/ 386 h 1168"/>
                <a:gd name="T2" fmla="*/ 22 w 1226"/>
                <a:gd name="T3" fmla="*/ 434 h 1168"/>
                <a:gd name="T4" fmla="*/ 61 w 1226"/>
                <a:gd name="T5" fmla="*/ 466 h 1168"/>
                <a:gd name="T6" fmla="*/ 120 w 1226"/>
                <a:gd name="T7" fmla="*/ 479 h 1168"/>
                <a:gd name="T8" fmla="*/ 142 w 1226"/>
                <a:gd name="T9" fmla="*/ 469 h 1168"/>
                <a:gd name="T10" fmla="*/ 160 w 1226"/>
                <a:gd name="T11" fmla="*/ 436 h 1168"/>
                <a:gd name="T12" fmla="*/ 164 w 1226"/>
                <a:gd name="T13" fmla="*/ 370 h 1168"/>
                <a:gd name="T14" fmla="*/ 174 w 1226"/>
                <a:gd name="T15" fmla="*/ 344 h 1168"/>
                <a:gd name="T16" fmla="*/ 198 w 1226"/>
                <a:gd name="T17" fmla="*/ 331 h 1168"/>
                <a:gd name="T18" fmla="*/ 223 w 1226"/>
                <a:gd name="T19" fmla="*/ 318 h 1168"/>
                <a:gd name="T20" fmla="*/ 427 w 1226"/>
                <a:gd name="T21" fmla="*/ 416 h 1168"/>
                <a:gd name="T22" fmla="*/ 628 w 1226"/>
                <a:gd name="T23" fmla="*/ 534 h 1168"/>
                <a:gd name="T24" fmla="*/ 876 w 1226"/>
                <a:gd name="T25" fmla="*/ 703 h 1168"/>
                <a:gd name="T26" fmla="*/ 868 w 1226"/>
                <a:gd name="T27" fmla="*/ 783 h 1168"/>
                <a:gd name="T28" fmla="*/ 779 w 1226"/>
                <a:gd name="T29" fmla="*/ 957 h 1168"/>
                <a:gd name="T30" fmla="*/ 753 w 1226"/>
                <a:gd name="T31" fmla="*/ 1040 h 1168"/>
                <a:gd name="T32" fmla="*/ 754 w 1226"/>
                <a:gd name="T33" fmla="*/ 1090 h 1168"/>
                <a:gd name="T34" fmla="*/ 771 w 1226"/>
                <a:gd name="T35" fmla="*/ 1130 h 1168"/>
                <a:gd name="T36" fmla="*/ 801 w 1226"/>
                <a:gd name="T37" fmla="*/ 1157 h 1168"/>
                <a:gd name="T38" fmla="*/ 842 w 1226"/>
                <a:gd name="T39" fmla="*/ 1168 h 1168"/>
                <a:gd name="T40" fmla="*/ 880 w 1226"/>
                <a:gd name="T41" fmla="*/ 1163 h 1168"/>
                <a:gd name="T42" fmla="*/ 919 w 1226"/>
                <a:gd name="T43" fmla="*/ 1140 h 1168"/>
                <a:gd name="T44" fmla="*/ 944 w 1226"/>
                <a:gd name="T45" fmla="*/ 1107 h 1168"/>
                <a:gd name="T46" fmla="*/ 952 w 1226"/>
                <a:gd name="T47" fmla="*/ 1060 h 1168"/>
                <a:gd name="T48" fmla="*/ 930 w 1226"/>
                <a:gd name="T49" fmla="*/ 1010 h 1168"/>
                <a:gd name="T50" fmla="*/ 885 w 1226"/>
                <a:gd name="T51" fmla="*/ 989 h 1168"/>
                <a:gd name="T52" fmla="*/ 919 w 1226"/>
                <a:gd name="T53" fmla="*/ 879 h 1168"/>
                <a:gd name="T54" fmla="*/ 954 w 1226"/>
                <a:gd name="T55" fmla="*/ 807 h 1168"/>
                <a:gd name="T56" fmla="*/ 1024 w 1226"/>
                <a:gd name="T57" fmla="*/ 715 h 1168"/>
                <a:gd name="T58" fmla="*/ 1095 w 1226"/>
                <a:gd name="T59" fmla="*/ 673 h 1168"/>
                <a:gd name="T60" fmla="*/ 1125 w 1226"/>
                <a:gd name="T61" fmla="*/ 670 h 1168"/>
                <a:gd name="T62" fmla="*/ 1099 w 1226"/>
                <a:gd name="T63" fmla="*/ 633 h 1168"/>
                <a:gd name="T64" fmla="*/ 1083 w 1226"/>
                <a:gd name="T65" fmla="*/ 543 h 1168"/>
                <a:gd name="T66" fmla="*/ 1096 w 1226"/>
                <a:gd name="T67" fmla="*/ 477 h 1168"/>
                <a:gd name="T68" fmla="*/ 1132 w 1226"/>
                <a:gd name="T69" fmla="*/ 395 h 1168"/>
                <a:gd name="T70" fmla="*/ 1195 w 1226"/>
                <a:gd name="T71" fmla="*/ 258 h 1168"/>
                <a:gd name="T72" fmla="*/ 1225 w 1226"/>
                <a:gd name="T73" fmla="*/ 141 h 1168"/>
                <a:gd name="T74" fmla="*/ 1217 w 1226"/>
                <a:gd name="T75" fmla="*/ 95 h 1168"/>
                <a:gd name="T76" fmla="*/ 1187 w 1226"/>
                <a:gd name="T77" fmla="*/ 55 h 1168"/>
                <a:gd name="T78" fmla="*/ 1144 w 1226"/>
                <a:gd name="T79" fmla="*/ 34 h 1168"/>
                <a:gd name="T80" fmla="*/ 1104 w 1226"/>
                <a:gd name="T81" fmla="*/ 35 h 1168"/>
                <a:gd name="T82" fmla="*/ 1061 w 1226"/>
                <a:gd name="T83" fmla="*/ 57 h 1168"/>
                <a:gd name="T84" fmla="*/ 1033 w 1226"/>
                <a:gd name="T85" fmla="*/ 94 h 1168"/>
                <a:gd name="T86" fmla="*/ 1025 w 1226"/>
                <a:gd name="T87" fmla="*/ 139 h 1168"/>
                <a:gd name="T88" fmla="*/ 1048 w 1226"/>
                <a:gd name="T89" fmla="*/ 205 h 1168"/>
                <a:gd name="T90" fmla="*/ 1095 w 1226"/>
                <a:gd name="T91" fmla="*/ 230 h 1168"/>
                <a:gd name="T92" fmla="*/ 1107 w 1226"/>
                <a:gd name="T93" fmla="*/ 240 h 1168"/>
                <a:gd name="T94" fmla="*/ 1044 w 1226"/>
                <a:gd name="T95" fmla="*/ 390 h 1168"/>
                <a:gd name="T96" fmla="*/ 975 w 1226"/>
                <a:gd name="T97" fmla="*/ 431 h 1168"/>
                <a:gd name="T98" fmla="*/ 717 w 1226"/>
                <a:gd name="T99" fmla="*/ 289 h 1168"/>
                <a:gd name="T100" fmla="*/ 529 w 1226"/>
                <a:gd name="T101" fmla="*/ 205 h 1168"/>
                <a:gd name="T102" fmla="*/ 317 w 1226"/>
                <a:gd name="T103" fmla="*/ 140 h 1168"/>
                <a:gd name="T104" fmla="*/ 378 w 1226"/>
                <a:gd name="T105" fmla="*/ 31 h 1168"/>
                <a:gd name="T106" fmla="*/ 389 w 1226"/>
                <a:gd name="T107" fmla="*/ 0 h 1168"/>
                <a:gd name="T108" fmla="*/ 367 w 1226"/>
                <a:gd name="T109" fmla="*/ 10 h 1168"/>
                <a:gd name="T110" fmla="*/ 285 w 1226"/>
                <a:gd name="T111" fmla="*/ 57 h 1168"/>
                <a:gd name="T112" fmla="*/ 211 w 1226"/>
                <a:gd name="T113" fmla="*/ 85 h 1168"/>
                <a:gd name="T114" fmla="*/ 147 w 1226"/>
                <a:gd name="T115" fmla="*/ 85 h 1168"/>
                <a:gd name="T116" fmla="*/ 114 w 1226"/>
                <a:gd name="T117" fmla="*/ 85 h 1168"/>
                <a:gd name="T118" fmla="*/ 87 w 1226"/>
                <a:gd name="T119" fmla="*/ 134 h 1168"/>
                <a:gd name="T120" fmla="*/ 42 w 1226"/>
                <a:gd name="T121" fmla="*/ 261 h 1168"/>
                <a:gd name="T122" fmla="*/ 6 w 1226"/>
                <a:gd name="T123" fmla="*/ 327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6" h="1168">
                  <a:moveTo>
                    <a:pt x="1" y="345"/>
                  </a:moveTo>
                  <a:lnTo>
                    <a:pt x="1" y="345"/>
                  </a:lnTo>
                  <a:lnTo>
                    <a:pt x="0" y="359"/>
                  </a:lnTo>
                  <a:lnTo>
                    <a:pt x="0" y="370"/>
                  </a:lnTo>
                  <a:lnTo>
                    <a:pt x="2" y="386"/>
                  </a:lnTo>
                  <a:lnTo>
                    <a:pt x="5" y="401"/>
                  </a:lnTo>
                  <a:lnTo>
                    <a:pt x="8" y="409"/>
                  </a:lnTo>
                  <a:lnTo>
                    <a:pt x="11" y="417"/>
                  </a:lnTo>
                  <a:lnTo>
                    <a:pt x="16" y="425"/>
                  </a:lnTo>
                  <a:lnTo>
                    <a:pt x="22" y="434"/>
                  </a:lnTo>
                  <a:lnTo>
                    <a:pt x="28" y="442"/>
                  </a:lnTo>
                  <a:lnTo>
                    <a:pt x="36" y="449"/>
                  </a:lnTo>
                  <a:lnTo>
                    <a:pt x="36" y="449"/>
                  </a:lnTo>
                  <a:lnTo>
                    <a:pt x="48" y="458"/>
                  </a:lnTo>
                  <a:lnTo>
                    <a:pt x="61" y="466"/>
                  </a:lnTo>
                  <a:lnTo>
                    <a:pt x="76" y="473"/>
                  </a:lnTo>
                  <a:lnTo>
                    <a:pt x="91" y="478"/>
                  </a:lnTo>
                  <a:lnTo>
                    <a:pt x="105" y="480"/>
                  </a:lnTo>
                  <a:lnTo>
                    <a:pt x="113" y="480"/>
                  </a:lnTo>
                  <a:lnTo>
                    <a:pt x="120" y="479"/>
                  </a:lnTo>
                  <a:lnTo>
                    <a:pt x="126" y="478"/>
                  </a:lnTo>
                  <a:lnTo>
                    <a:pt x="132" y="476"/>
                  </a:lnTo>
                  <a:lnTo>
                    <a:pt x="137" y="473"/>
                  </a:lnTo>
                  <a:lnTo>
                    <a:pt x="142" y="469"/>
                  </a:lnTo>
                  <a:lnTo>
                    <a:pt x="142" y="469"/>
                  </a:lnTo>
                  <a:lnTo>
                    <a:pt x="147" y="464"/>
                  </a:lnTo>
                  <a:lnTo>
                    <a:pt x="152" y="457"/>
                  </a:lnTo>
                  <a:lnTo>
                    <a:pt x="155" y="451"/>
                  </a:lnTo>
                  <a:lnTo>
                    <a:pt x="158" y="444"/>
                  </a:lnTo>
                  <a:lnTo>
                    <a:pt x="160" y="436"/>
                  </a:lnTo>
                  <a:lnTo>
                    <a:pt x="161" y="428"/>
                  </a:lnTo>
                  <a:lnTo>
                    <a:pt x="162" y="411"/>
                  </a:lnTo>
                  <a:lnTo>
                    <a:pt x="162" y="395"/>
                  </a:lnTo>
                  <a:lnTo>
                    <a:pt x="163" y="378"/>
                  </a:lnTo>
                  <a:lnTo>
                    <a:pt x="164" y="370"/>
                  </a:lnTo>
                  <a:lnTo>
                    <a:pt x="166" y="362"/>
                  </a:lnTo>
                  <a:lnTo>
                    <a:pt x="168" y="355"/>
                  </a:lnTo>
                  <a:lnTo>
                    <a:pt x="172" y="347"/>
                  </a:lnTo>
                  <a:lnTo>
                    <a:pt x="172" y="347"/>
                  </a:lnTo>
                  <a:lnTo>
                    <a:pt x="174" y="344"/>
                  </a:lnTo>
                  <a:lnTo>
                    <a:pt x="178" y="341"/>
                  </a:lnTo>
                  <a:lnTo>
                    <a:pt x="187" y="335"/>
                  </a:lnTo>
                  <a:lnTo>
                    <a:pt x="195" y="332"/>
                  </a:lnTo>
                  <a:lnTo>
                    <a:pt x="198" y="331"/>
                  </a:lnTo>
                  <a:lnTo>
                    <a:pt x="198" y="331"/>
                  </a:lnTo>
                  <a:lnTo>
                    <a:pt x="205" y="329"/>
                  </a:lnTo>
                  <a:lnTo>
                    <a:pt x="211" y="326"/>
                  </a:lnTo>
                  <a:lnTo>
                    <a:pt x="217" y="323"/>
                  </a:lnTo>
                  <a:lnTo>
                    <a:pt x="223" y="318"/>
                  </a:lnTo>
                  <a:lnTo>
                    <a:pt x="223" y="318"/>
                  </a:lnTo>
                  <a:lnTo>
                    <a:pt x="264" y="337"/>
                  </a:lnTo>
                  <a:lnTo>
                    <a:pt x="305" y="355"/>
                  </a:lnTo>
                  <a:lnTo>
                    <a:pt x="347" y="374"/>
                  </a:lnTo>
                  <a:lnTo>
                    <a:pt x="388" y="395"/>
                  </a:lnTo>
                  <a:lnTo>
                    <a:pt x="427" y="416"/>
                  </a:lnTo>
                  <a:lnTo>
                    <a:pt x="468" y="439"/>
                  </a:lnTo>
                  <a:lnTo>
                    <a:pt x="509" y="461"/>
                  </a:lnTo>
                  <a:lnTo>
                    <a:pt x="549" y="485"/>
                  </a:lnTo>
                  <a:lnTo>
                    <a:pt x="589" y="509"/>
                  </a:lnTo>
                  <a:lnTo>
                    <a:pt x="628" y="534"/>
                  </a:lnTo>
                  <a:lnTo>
                    <a:pt x="706" y="584"/>
                  </a:lnTo>
                  <a:lnTo>
                    <a:pt x="782" y="636"/>
                  </a:lnTo>
                  <a:lnTo>
                    <a:pt x="857" y="689"/>
                  </a:lnTo>
                  <a:lnTo>
                    <a:pt x="857" y="689"/>
                  </a:lnTo>
                  <a:lnTo>
                    <a:pt x="876" y="703"/>
                  </a:lnTo>
                  <a:lnTo>
                    <a:pt x="894" y="714"/>
                  </a:lnTo>
                  <a:lnTo>
                    <a:pt x="894" y="714"/>
                  </a:lnTo>
                  <a:lnTo>
                    <a:pt x="887" y="736"/>
                  </a:lnTo>
                  <a:lnTo>
                    <a:pt x="878" y="759"/>
                  </a:lnTo>
                  <a:lnTo>
                    <a:pt x="868" y="783"/>
                  </a:lnTo>
                  <a:lnTo>
                    <a:pt x="856" y="809"/>
                  </a:lnTo>
                  <a:lnTo>
                    <a:pt x="856" y="809"/>
                  </a:lnTo>
                  <a:lnTo>
                    <a:pt x="816" y="885"/>
                  </a:lnTo>
                  <a:lnTo>
                    <a:pt x="797" y="921"/>
                  </a:lnTo>
                  <a:lnTo>
                    <a:pt x="779" y="957"/>
                  </a:lnTo>
                  <a:lnTo>
                    <a:pt x="772" y="975"/>
                  </a:lnTo>
                  <a:lnTo>
                    <a:pt x="766" y="992"/>
                  </a:lnTo>
                  <a:lnTo>
                    <a:pt x="760" y="1008"/>
                  </a:lnTo>
                  <a:lnTo>
                    <a:pt x="756" y="1025"/>
                  </a:lnTo>
                  <a:lnTo>
                    <a:pt x="753" y="1040"/>
                  </a:lnTo>
                  <a:lnTo>
                    <a:pt x="751" y="1054"/>
                  </a:lnTo>
                  <a:lnTo>
                    <a:pt x="751" y="1069"/>
                  </a:lnTo>
                  <a:lnTo>
                    <a:pt x="752" y="1081"/>
                  </a:lnTo>
                  <a:lnTo>
                    <a:pt x="752" y="1081"/>
                  </a:lnTo>
                  <a:lnTo>
                    <a:pt x="754" y="1090"/>
                  </a:lnTo>
                  <a:lnTo>
                    <a:pt x="756" y="1099"/>
                  </a:lnTo>
                  <a:lnTo>
                    <a:pt x="759" y="1107"/>
                  </a:lnTo>
                  <a:lnTo>
                    <a:pt x="762" y="1116"/>
                  </a:lnTo>
                  <a:lnTo>
                    <a:pt x="766" y="1123"/>
                  </a:lnTo>
                  <a:lnTo>
                    <a:pt x="771" y="1130"/>
                  </a:lnTo>
                  <a:lnTo>
                    <a:pt x="776" y="1136"/>
                  </a:lnTo>
                  <a:lnTo>
                    <a:pt x="781" y="1142"/>
                  </a:lnTo>
                  <a:lnTo>
                    <a:pt x="787" y="1147"/>
                  </a:lnTo>
                  <a:lnTo>
                    <a:pt x="794" y="1152"/>
                  </a:lnTo>
                  <a:lnTo>
                    <a:pt x="801" y="1157"/>
                  </a:lnTo>
                  <a:lnTo>
                    <a:pt x="808" y="1160"/>
                  </a:lnTo>
                  <a:lnTo>
                    <a:pt x="816" y="1163"/>
                  </a:lnTo>
                  <a:lnTo>
                    <a:pt x="824" y="1165"/>
                  </a:lnTo>
                  <a:lnTo>
                    <a:pt x="833" y="1167"/>
                  </a:lnTo>
                  <a:lnTo>
                    <a:pt x="842" y="1168"/>
                  </a:lnTo>
                  <a:lnTo>
                    <a:pt x="842" y="1168"/>
                  </a:lnTo>
                  <a:lnTo>
                    <a:pt x="852" y="1168"/>
                  </a:lnTo>
                  <a:lnTo>
                    <a:pt x="862" y="1167"/>
                  </a:lnTo>
                  <a:lnTo>
                    <a:pt x="871" y="1165"/>
                  </a:lnTo>
                  <a:lnTo>
                    <a:pt x="880" y="1163"/>
                  </a:lnTo>
                  <a:lnTo>
                    <a:pt x="889" y="1160"/>
                  </a:lnTo>
                  <a:lnTo>
                    <a:pt x="897" y="1155"/>
                  </a:lnTo>
                  <a:lnTo>
                    <a:pt x="905" y="1151"/>
                  </a:lnTo>
                  <a:lnTo>
                    <a:pt x="912" y="1146"/>
                  </a:lnTo>
                  <a:lnTo>
                    <a:pt x="919" y="1140"/>
                  </a:lnTo>
                  <a:lnTo>
                    <a:pt x="925" y="1135"/>
                  </a:lnTo>
                  <a:lnTo>
                    <a:pt x="931" y="1129"/>
                  </a:lnTo>
                  <a:lnTo>
                    <a:pt x="936" y="1122"/>
                  </a:lnTo>
                  <a:lnTo>
                    <a:pt x="940" y="1115"/>
                  </a:lnTo>
                  <a:lnTo>
                    <a:pt x="944" y="1107"/>
                  </a:lnTo>
                  <a:lnTo>
                    <a:pt x="947" y="1100"/>
                  </a:lnTo>
                  <a:lnTo>
                    <a:pt x="949" y="1092"/>
                  </a:lnTo>
                  <a:lnTo>
                    <a:pt x="949" y="1092"/>
                  </a:lnTo>
                  <a:lnTo>
                    <a:pt x="951" y="1076"/>
                  </a:lnTo>
                  <a:lnTo>
                    <a:pt x="952" y="1060"/>
                  </a:lnTo>
                  <a:lnTo>
                    <a:pt x="950" y="1048"/>
                  </a:lnTo>
                  <a:lnTo>
                    <a:pt x="947" y="1036"/>
                  </a:lnTo>
                  <a:lnTo>
                    <a:pt x="942" y="1027"/>
                  </a:lnTo>
                  <a:lnTo>
                    <a:pt x="937" y="1017"/>
                  </a:lnTo>
                  <a:lnTo>
                    <a:pt x="930" y="1010"/>
                  </a:lnTo>
                  <a:lnTo>
                    <a:pt x="922" y="1005"/>
                  </a:lnTo>
                  <a:lnTo>
                    <a:pt x="915" y="1000"/>
                  </a:lnTo>
                  <a:lnTo>
                    <a:pt x="908" y="996"/>
                  </a:lnTo>
                  <a:lnTo>
                    <a:pt x="894" y="991"/>
                  </a:lnTo>
                  <a:lnTo>
                    <a:pt x="885" y="989"/>
                  </a:lnTo>
                  <a:lnTo>
                    <a:pt x="880" y="989"/>
                  </a:lnTo>
                  <a:lnTo>
                    <a:pt x="880" y="989"/>
                  </a:lnTo>
                  <a:lnTo>
                    <a:pt x="896" y="944"/>
                  </a:lnTo>
                  <a:lnTo>
                    <a:pt x="908" y="908"/>
                  </a:lnTo>
                  <a:lnTo>
                    <a:pt x="919" y="879"/>
                  </a:lnTo>
                  <a:lnTo>
                    <a:pt x="919" y="879"/>
                  </a:lnTo>
                  <a:lnTo>
                    <a:pt x="927" y="859"/>
                  </a:lnTo>
                  <a:lnTo>
                    <a:pt x="937" y="841"/>
                  </a:lnTo>
                  <a:lnTo>
                    <a:pt x="945" y="823"/>
                  </a:lnTo>
                  <a:lnTo>
                    <a:pt x="954" y="807"/>
                  </a:lnTo>
                  <a:lnTo>
                    <a:pt x="962" y="792"/>
                  </a:lnTo>
                  <a:lnTo>
                    <a:pt x="971" y="777"/>
                  </a:lnTo>
                  <a:lnTo>
                    <a:pt x="989" y="753"/>
                  </a:lnTo>
                  <a:lnTo>
                    <a:pt x="1006" y="732"/>
                  </a:lnTo>
                  <a:lnTo>
                    <a:pt x="1024" y="715"/>
                  </a:lnTo>
                  <a:lnTo>
                    <a:pt x="1040" y="702"/>
                  </a:lnTo>
                  <a:lnTo>
                    <a:pt x="1055" y="690"/>
                  </a:lnTo>
                  <a:lnTo>
                    <a:pt x="1070" y="683"/>
                  </a:lnTo>
                  <a:lnTo>
                    <a:pt x="1083" y="677"/>
                  </a:lnTo>
                  <a:lnTo>
                    <a:pt x="1095" y="673"/>
                  </a:lnTo>
                  <a:lnTo>
                    <a:pt x="1105" y="671"/>
                  </a:lnTo>
                  <a:lnTo>
                    <a:pt x="1114" y="670"/>
                  </a:lnTo>
                  <a:lnTo>
                    <a:pt x="1120" y="670"/>
                  </a:lnTo>
                  <a:lnTo>
                    <a:pt x="1125" y="670"/>
                  </a:lnTo>
                  <a:lnTo>
                    <a:pt x="1125" y="670"/>
                  </a:lnTo>
                  <a:lnTo>
                    <a:pt x="1121" y="666"/>
                  </a:lnTo>
                  <a:lnTo>
                    <a:pt x="1116" y="661"/>
                  </a:lnTo>
                  <a:lnTo>
                    <a:pt x="1111" y="653"/>
                  </a:lnTo>
                  <a:lnTo>
                    <a:pt x="1104" y="644"/>
                  </a:lnTo>
                  <a:lnTo>
                    <a:pt x="1099" y="633"/>
                  </a:lnTo>
                  <a:lnTo>
                    <a:pt x="1093" y="620"/>
                  </a:lnTo>
                  <a:lnTo>
                    <a:pt x="1088" y="603"/>
                  </a:lnTo>
                  <a:lnTo>
                    <a:pt x="1085" y="586"/>
                  </a:lnTo>
                  <a:lnTo>
                    <a:pt x="1083" y="566"/>
                  </a:lnTo>
                  <a:lnTo>
                    <a:pt x="1083" y="543"/>
                  </a:lnTo>
                  <a:lnTo>
                    <a:pt x="1084" y="531"/>
                  </a:lnTo>
                  <a:lnTo>
                    <a:pt x="1086" y="519"/>
                  </a:lnTo>
                  <a:lnTo>
                    <a:pt x="1088" y="505"/>
                  </a:lnTo>
                  <a:lnTo>
                    <a:pt x="1092" y="491"/>
                  </a:lnTo>
                  <a:lnTo>
                    <a:pt x="1096" y="477"/>
                  </a:lnTo>
                  <a:lnTo>
                    <a:pt x="1101" y="461"/>
                  </a:lnTo>
                  <a:lnTo>
                    <a:pt x="1107" y="446"/>
                  </a:lnTo>
                  <a:lnTo>
                    <a:pt x="1115" y="430"/>
                  </a:lnTo>
                  <a:lnTo>
                    <a:pt x="1123" y="412"/>
                  </a:lnTo>
                  <a:lnTo>
                    <a:pt x="1132" y="395"/>
                  </a:lnTo>
                  <a:lnTo>
                    <a:pt x="1132" y="395"/>
                  </a:lnTo>
                  <a:lnTo>
                    <a:pt x="1152" y="358"/>
                  </a:lnTo>
                  <a:lnTo>
                    <a:pt x="1169" y="322"/>
                  </a:lnTo>
                  <a:lnTo>
                    <a:pt x="1184" y="289"/>
                  </a:lnTo>
                  <a:lnTo>
                    <a:pt x="1195" y="258"/>
                  </a:lnTo>
                  <a:lnTo>
                    <a:pt x="1206" y="227"/>
                  </a:lnTo>
                  <a:lnTo>
                    <a:pt x="1214" y="197"/>
                  </a:lnTo>
                  <a:lnTo>
                    <a:pt x="1220" y="169"/>
                  </a:lnTo>
                  <a:lnTo>
                    <a:pt x="1225" y="141"/>
                  </a:lnTo>
                  <a:lnTo>
                    <a:pt x="1225" y="141"/>
                  </a:lnTo>
                  <a:lnTo>
                    <a:pt x="1226" y="132"/>
                  </a:lnTo>
                  <a:lnTo>
                    <a:pt x="1225" y="123"/>
                  </a:lnTo>
                  <a:lnTo>
                    <a:pt x="1224" y="114"/>
                  </a:lnTo>
                  <a:lnTo>
                    <a:pt x="1221" y="104"/>
                  </a:lnTo>
                  <a:lnTo>
                    <a:pt x="1217" y="95"/>
                  </a:lnTo>
                  <a:lnTo>
                    <a:pt x="1213" y="87"/>
                  </a:lnTo>
                  <a:lnTo>
                    <a:pt x="1208" y="78"/>
                  </a:lnTo>
                  <a:lnTo>
                    <a:pt x="1202" y="70"/>
                  </a:lnTo>
                  <a:lnTo>
                    <a:pt x="1194" y="63"/>
                  </a:lnTo>
                  <a:lnTo>
                    <a:pt x="1187" y="55"/>
                  </a:lnTo>
                  <a:lnTo>
                    <a:pt x="1179" y="49"/>
                  </a:lnTo>
                  <a:lnTo>
                    <a:pt x="1171" y="44"/>
                  </a:lnTo>
                  <a:lnTo>
                    <a:pt x="1163" y="39"/>
                  </a:lnTo>
                  <a:lnTo>
                    <a:pt x="1153" y="36"/>
                  </a:lnTo>
                  <a:lnTo>
                    <a:pt x="1144" y="34"/>
                  </a:lnTo>
                  <a:lnTo>
                    <a:pt x="1134" y="32"/>
                  </a:lnTo>
                  <a:lnTo>
                    <a:pt x="1134" y="32"/>
                  </a:lnTo>
                  <a:lnTo>
                    <a:pt x="1124" y="32"/>
                  </a:lnTo>
                  <a:lnTo>
                    <a:pt x="1115" y="33"/>
                  </a:lnTo>
                  <a:lnTo>
                    <a:pt x="1104" y="35"/>
                  </a:lnTo>
                  <a:lnTo>
                    <a:pt x="1095" y="38"/>
                  </a:lnTo>
                  <a:lnTo>
                    <a:pt x="1086" y="42"/>
                  </a:lnTo>
                  <a:lnTo>
                    <a:pt x="1078" y="46"/>
                  </a:lnTo>
                  <a:lnTo>
                    <a:pt x="1070" y="52"/>
                  </a:lnTo>
                  <a:lnTo>
                    <a:pt x="1061" y="57"/>
                  </a:lnTo>
                  <a:lnTo>
                    <a:pt x="1054" y="65"/>
                  </a:lnTo>
                  <a:lnTo>
                    <a:pt x="1048" y="71"/>
                  </a:lnTo>
                  <a:lnTo>
                    <a:pt x="1042" y="78"/>
                  </a:lnTo>
                  <a:lnTo>
                    <a:pt x="1037" y="86"/>
                  </a:lnTo>
                  <a:lnTo>
                    <a:pt x="1033" y="94"/>
                  </a:lnTo>
                  <a:lnTo>
                    <a:pt x="1029" y="102"/>
                  </a:lnTo>
                  <a:lnTo>
                    <a:pt x="1027" y="111"/>
                  </a:lnTo>
                  <a:lnTo>
                    <a:pt x="1026" y="119"/>
                  </a:lnTo>
                  <a:lnTo>
                    <a:pt x="1026" y="119"/>
                  </a:lnTo>
                  <a:lnTo>
                    <a:pt x="1025" y="139"/>
                  </a:lnTo>
                  <a:lnTo>
                    <a:pt x="1026" y="158"/>
                  </a:lnTo>
                  <a:lnTo>
                    <a:pt x="1030" y="173"/>
                  </a:lnTo>
                  <a:lnTo>
                    <a:pt x="1035" y="185"/>
                  </a:lnTo>
                  <a:lnTo>
                    <a:pt x="1041" y="195"/>
                  </a:lnTo>
                  <a:lnTo>
                    <a:pt x="1048" y="205"/>
                  </a:lnTo>
                  <a:lnTo>
                    <a:pt x="1056" y="212"/>
                  </a:lnTo>
                  <a:lnTo>
                    <a:pt x="1065" y="217"/>
                  </a:lnTo>
                  <a:lnTo>
                    <a:pt x="1073" y="221"/>
                  </a:lnTo>
                  <a:lnTo>
                    <a:pt x="1081" y="225"/>
                  </a:lnTo>
                  <a:lnTo>
                    <a:pt x="1095" y="230"/>
                  </a:lnTo>
                  <a:lnTo>
                    <a:pt x="1101" y="232"/>
                  </a:lnTo>
                  <a:lnTo>
                    <a:pt x="1104" y="234"/>
                  </a:lnTo>
                  <a:lnTo>
                    <a:pt x="1107" y="237"/>
                  </a:lnTo>
                  <a:lnTo>
                    <a:pt x="1107" y="240"/>
                  </a:lnTo>
                  <a:lnTo>
                    <a:pt x="1107" y="240"/>
                  </a:lnTo>
                  <a:lnTo>
                    <a:pt x="1096" y="276"/>
                  </a:lnTo>
                  <a:lnTo>
                    <a:pt x="1084" y="309"/>
                  </a:lnTo>
                  <a:lnTo>
                    <a:pt x="1071" y="339"/>
                  </a:lnTo>
                  <a:lnTo>
                    <a:pt x="1057" y="365"/>
                  </a:lnTo>
                  <a:lnTo>
                    <a:pt x="1044" y="390"/>
                  </a:lnTo>
                  <a:lnTo>
                    <a:pt x="1031" y="411"/>
                  </a:lnTo>
                  <a:lnTo>
                    <a:pt x="1016" y="431"/>
                  </a:lnTo>
                  <a:lnTo>
                    <a:pt x="1002" y="447"/>
                  </a:lnTo>
                  <a:lnTo>
                    <a:pt x="1002" y="447"/>
                  </a:lnTo>
                  <a:lnTo>
                    <a:pt x="975" y="431"/>
                  </a:lnTo>
                  <a:lnTo>
                    <a:pt x="942" y="411"/>
                  </a:lnTo>
                  <a:lnTo>
                    <a:pt x="942" y="411"/>
                  </a:lnTo>
                  <a:lnTo>
                    <a:pt x="865" y="369"/>
                  </a:lnTo>
                  <a:lnTo>
                    <a:pt x="790" y="328"/>
                  </a:lnTo>
                  <a:lnTo>
                    <a:pt x="717" y="289"/>
                  </a:lnTo>
                  <a:lnTo>
                    <a:pt x="680" y="271"/>
                  </a:lnTo>
                  <a:lnTo>
                    <a:pt x="643" y="254"/>
                  </a:lnTo>
                  <a:lnTo>
                    <a:pt x="606" y="236"/>
                  </a:lnTo>
                  <a:lnTo>
                    <a:pt x="568" y="221"/>
                  </a:lnTo>
                  <a:lnTo>
                    <a:pt x="529" y="205"/>
                  </a:lnTo>
                  <a:lnTo>
                    <a:pt x="489" y="190"/>
                  </a:lnTo>
                  <a:lnTo>
                    <a:pt x="448" y="176"/>
                  </a:lnTo>
                  <a:lnTo>
                    <a:pt x="406" y="164"/>
                  </a:lnTo>
                  <a:lnTo>
                    <a:pt x="362" y="151"/>
                  </a:lnTo>
                  <a:lnTo>
                    <a:pt x="317" y="140"/>
                  </a:lnTo>
                  <a:lnTo>
                    <a:pt x="317" y="140"/>
                  </a:lnTo>
                  <a:lnTo>
                    <a:pt x="334" y="107"/>
                  </a:lnTo>
                  <a:lnTo>
                    <a:pt x="334" y="107"/>
                  </a:lnTo>
                  <a:lnTo>
                    <a:pt x="360" y="63"/>
                  </a:lnTo>
                  <a:lnTo>
                    <a:pt x="378" y="31"/>
                  </a:lnTo>
                  <a:lnTo>
                    <a:pt x="385" y="20"/>
                  </a:lnTo>
                  <a:lnTo>
                    <a:pt x="389" y="10"/>
                  </a:lnTo>
                  <a:lnTo>
                    <a:pt x="391" y="4"/>
                  </a:lnTo>
                  <a:lnTo>
                    <a:pt x="390" y="2"/>
                  </a:lnTo>
                  <a:lnTo>
                    <a:pt x="389" y="0"/>
                  </a:lnTo>
                  <a:lnTo>
                    <a:pt x="389" y="0"/>
                  </a:lnTo>
                  <a:lnTo>
                    <a:pt x="388" y="0"/>
                  </a:lnTo>
                  <a:lnTo>
                    <a:pt x="387" y="0"/>
                  </a:lnTo>
                  <a:lnTo>
                    <a:pt x="381" y="1"/>
                  </a:lnTo>
                  <a:lnTo>
                    <a:pt x="367" y="10"/>
                  </a:lnTo>
                  <a:lnTo>
                    <a:pt x="343" y="26"/>
                  </a:lnTo>
                  <a:lnTo>
                    <a:pt x="326" y="35"/>
                  </a:lnTo>
                  <a:lnTo>
                    <a:pt x="307" y="46"/>
                  </a:lnTo>
                  <a:lnTo>
                    <a:pt x="307" y="46"/>
                  </a:lnTo>
                  <a:lnTo>
                    <a:pt x="285" y="57"/>
                  </a:lnTo>
                  <a:lnTo>
                    <a:pt x="267" y="67"/>
                  </a:lnTo>
                  <a:lnTo>
                    <a:pt x="252" y="73"/>
                  </a:lnTo>
                  <a:lnTo>
                    <a:pt x="237" y="78"/>
                  </a:lnTo>
                  <a:lnTo>
                    <a:pt x="224" y="82"/>
                  </a:lnTo>
                  <a:lnTo>
                    <a:pt x="211" y="85"/>
                  </a:lnTo>
                  <a:lnTo>
                    <a:pt x="183" y="89"/>
                  </a:lnTo>
                  <a:lnTo>
                    <a:pt x="183" y="89"/>
                  </a:lnTo>
                  <a:lnTo>
                    <a:pt x="174" y="89"/>
                  </a:lnTo>
                  <a:lnTo>
                    <a:pt x="165" y="88"/>
                  </a:lnTo>
                  <a:lnTo>
                    <a:pt x="147" y="85"/>
                  </a:lnTo>
                  <a:lnTo>
                    <a:pt x="132" y="81"/>
                  </a:lnTo>
                  <a:lnTo>
                    <a:pt x="125" y="81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14" y="85"/>
                  </a:lnTo>
                  <a:lnTo>
                    <a:pt x="107" y="91"/>
                  </a:lnTo>
                  <a:lnTo>
                    <a:pt x="102" y="98"/>
                  </a:lnTo>
                  <a:lnTo>
                    <a:pt x="97" y="107"/>
                  </a:lnTo>
                  <a:lnTo>
                    <a:pt x="92" y="120"/>
                  </a:lnTo>
                  <a:lnTo>
                    <a:pt x="87" y="134"/>
                  </a:lnTo>
                  <a:lnTo>
                    <a:pt x="74" y="171"/>
                  </a:lnTo>
                  <a:lnTo>
                    <a:pt x="74" y="171"/>
                  </a:lnTo>
                  <a:lnTo>
                    <a:pt x="49" y="242"/>
                  </a:lnTo>
                  <a:lnTo>
                    <a:pt x="42" y="261"/>
                  </a:lnTo>
                  <a:lnTo>
                    <a:pt x="42" y="261"/>
                  </a:lnTo>
                  <a:lnTo>
                    <a:pt x="34" y="279"/>
                  </a:lnTo>
                  <a:lnTo>
                    <a:pt x="27" y="293"/>
                  </a:lnTo>
                  <a:lnTo>
                    <a:pt x="14" y="312"/>
                  </a:lnTo>
                  <a:lnTo>
                    <a:pt x="10" y="320"/>
                  </a:lnTo>
                  <a:lnTo>
                    <a:pt x="6" y="327"/>
                  </a:lnTo>
                  <a:lnTo>
                    <a:pt x="3" y="335"/>
                  </a:lnTo>
                  <a:lnTo>
                    <a:pt x="1" y="34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7" name="Freeform 33"/>
            <p:cNvSpPr>
              <a:spLocks/>
            </p:cNvSpPr>
            <p:nvPr userDrawn="1"/>
          </p:nvSpPr>
          <p:spPr bwMode="auto">
            <a:xfrm>
              <a:off x="5781921" y="449430"/>
              <a:ext cx="39687" cy="46038"/>
            </a:xfrm>
            <a:custGeom>
              <a:avLst/>
              <a:gdLst>
                <a:gd name="T0" fmla="*/ 103 w 296"/>
                <a:gd name="T1" fmla="*/ 350 h 350"/>
                <a:gd name="T2" fmla="*/ 103 w 296"/>
                <a:gd name="T3" fmla="*/ 350 h 350"/>
                <a:gd name="T4" fmla="*/ 132 w 296"/>
                <a:gd name="T5" fmla="*/ 349 h 350"/>
                <a:gd name="T6" fmla="*/ 164 w 296"/>
                <a:gd name="T7" fmla="*/ 346 h 350"/>
                <a:gd name="T8" fmla="*/ 196 w 296"/>
                <a:gd name="T9" fmla="*/ 343 h 350"/>
                <a:gd name="T10" fmla="*/ 226 w 296"/>
                <a:gd name="T11" fmla="*/ 339 h 350"/>
                <a:gd name="T12" fmla="*/ 276 w 296"/>
                <a:gd name="T13" fmla="*/ 333 h 350"/>
                <a:gd name="T14" fmla="*/ 296 w 296"/>
                <a:gd name="T15" fmla="*/ 329 h 350"/>
                <a:gd name="T16" fmla="*/ 293 w 296"/>
                <a:gd name="T17" fmla="*/ 25 h 350"/>
                <a:gd name="T18" fmla="*/ 293 w 296"/>
                <a:gd name="T19" fmla="*/ 25 h 350"/>
                <a:gd name="T20" fmla="*/ 244 w 296"/>
                <a:gd name="T21" fmla="*/ 18 h 350"/>
                <a:gd name="T22" fmla="*/ 142 w 296"/>
                <a:gd name="T23" fmla="*/ 2 h 350"/>
                <a:gd name="T24" fmla="*/ 142 w 296"/>
                <a:gd name="T25" fmla="*/ 2 h 350"/>
                <a:gd name="T26" fmla="*/ 129 w 296"/>
                <a:gd name="T27" fmla="*/ 1 h 350"/>
                <a:gd name="T28" fmla="*/ 117 w 296"/>
                <a:gd name="T29" fmla="*/ 0 h 350"/>
                <a:gd name="T30" fmla="*/ 105 w 296"/>
                <a:gd name="T31" fmla="*/ 0 h 350"/>
                <a:gd name="T32" fmla="*/ 94 w 296"/>
                <a:gd name="T33" fmla="*/ 1 h 350"/>
                <a:gd name="T34" fmla="*/ 84 w 296"/>
                <a:gd name="T35" fmla="*/ 3 h 350"/>
                <a:gd name="T36" fmla="*/ 75 w 296"/>
                <a:gd name="T37" fmla="*/ 6 h 350"/>
                <a:gd name="T38" fmla="*/ 66 w 296"/>
                <a:gd name="T39" fmla="*/ 9 h 350"/>
                <a:gd name="T40" fmla="*/ 59 w 296"/>
                <a:gd name="T41" fmla="*/ 13 h 350"/>
                <a:gd name="T42" fmla="*/ 51 w 296"/>
                <a:gd name="T43" fmla="*/ 17 h 350"/>
                <a:gd name="T44" fmla="*/ 44 w 296"/>
                <a:gd name="T45" fmla="*/ 22 h 350"/>
                <a:gd name="T46" fmla="*/ 38 w 296"/>
                <a:gd name="T47" fmla="*/ 27 h 350"/>
                <a:gd name="T48" fmla="*/ 33 w 296"/>
                <a:gd name="T49" fmla="*/ 32 h 350"/>
                <a:gd name="T50" fmla="*/ 24 w 296"/>
                <a:gd name="T51" fmla="*/ 45 h 350"/>
                <a:gd name="T52" fmla="*/ 17 w 296"/>
                <a:gd name="T53" fmla="*/ 57 h 350"/>
                <a:gd name="T54" fmla="*/ 11 w 296"/>
                <a:gd name="T55" fmla="*/ 70 h 350"/>
                <a:gd name="T56" fmla="*/ 6 w 296"/>
                <a:gd name="T57" fmla="*/ 83 h 350"/>
                <a:gd name="T58" fmla="*/ 3 w 296"/>
                <a:gd name="T59" fmla="*/ 96 h 350"/>
                <a:gd name="T60" fmla="*/ 1 w 296"/>
                <a:gd name="T61" fmla="*/ 106 h 350"/>
                <a:gd name="T62" fmla="*/ 0 w 296"/>
                <a:gd name="T63" fmla="*/ 123 h 350"/>
                <a:gd name="T64" fmla="*/ 0 w 296"/>
                <a:gd name="T65" fmla="*/ 129 h 350"/>
                <a:gd name="T66" fmla="*/ 4 w 296"/>
                <a:gd name="T67" fmla="*/ 213 h 350"/>
                <a:gd name="T68" fmla="*/ 4 w 296"/>
                <a:gd name="T69" fmla="*/ 213 h 350"/>
                <a:gd name="T70" fmla="*/ 4 w 296"/>
                <a:gd name="T71" fmla="*/ 219 h 350"/>
                <a:gd name="T72" fmla="*/ 6 w 296"/>
                <a:gd name="T73" fmla="*/ 235 h 350"/>
                <a:gd name="T74" fmla="*/ 11 w 296"/>
                <a:gd name="T75" fmla="*/ 256 h 350"/>
                <a:gd name="T76" fmla="*/ 15 w 296"/>
                <a:gd name="T77" fmla="*/ 268 h 350"/>
                <a:gd name="T78" fmla="*/ 19 w 296"/>
                <a:gd name="T79" fmla="*/ 282 h 350"/>
                <a:gd name="T80" fmla="*/ 24 w 296"/>
                <a:gd name="T81" fmla="*/ 294 h 350"/>
                <a:gd name="T82" fmla="*/ 31 w 296"/>
                <a:gd name="T83" fmla="*/ 306 h 350"/>
                <a:gd name="T84" fmla="*/ 39 w 296"/>
                <a:gd name="T85" fmla="*/ 319 h 350"/>
                <a:gd name="T86" fmla="*/ 48 w 296"/>
                <a:gd name="T87" fmla="*/ 329 h 350"/>
                <a:gd name="T88" fmla="*/ 53 w 296"/>
                <a:gd name="T89" fmla="*/ 333 h 350"/>
                <a:gd name="T90" fmla="*/ 60 w 296"/>
                <a:gd name="T91" fmla="*/ 337 h 350"/>
                <a:gd name="T92" fmla="*/ 66 w 296"/>
                <a:gd name="T93" fmla="*/ 341 h 350"/>
                <a:gd name="T94" fmla="*/ 72 w 296"/>
                <a:gd name="T95" fmla="*/ 344 h 350"/>
                <a:gd name="T96" fmla="*/ 79 w 296"/>
                <a:gd name="T97" fmla="*/ 346 h 350"/>
                <a:gd name="T98" fmla="*/ 86 w 296"/>
                <a:gd name="T99" fmla="*/ 348 h 350"/>
                <a:gd name="T100" fmla="*/ 94 w 296"/>
                <a:gd name="T101" fmla="*/ 349 h 350"/>
                <a:gd name="T102" fmla="*/ 103 w 296"/>
                <a:gd name="T103" fmla="*/ 3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350">
                  <a:moveTo>
                    <a:pt x="103" y="350"/>
                  </a:moveTo>
                  <a:lnTo>
                    <a:pt x="103" y="350"/>
                  </a:lnTo>
                  <a:lnTo>
                    <a:pt x="132" y="349"/>
                  </a:lnTo>
                  <a:lnTo>
                    <a:pt x="164" y="346"/>
                  </a:lnTo>
                  <a:lnTo>
                    <a:pt x="196" y="343"/>
                  </a:lnTo>
                  <a:lnTo>
                    <a:pt x="226" y="339"/>
                  </a:lnTo>
                  <a:lnTo>
                    <a:pt x="276" y="333"/>
                  </a:lnTo>
                  <a:lnTo>
                    <a:pt x="296" y="329"/>
                  </a:lnTo>
                  <a:lnTo>
                    <a:pt x="293" y="25"/>
                  </a:lnTo>
                  <a:lnTo>
                    <a:pt x="293" y="25"/>
                  </a:lnTo>
                  <a:lnTo>
                    <a:pt x="244" y="18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29" y="1"/>
                  </a:lnTo>
                  <a:lnTo>
                    <a:pt x="117" y="0"/>
                  </a:lnTo>
                  <a:lnTo>
                    <a:pt x="105" y="0"/>
                  </a:lnTo>
                  <a:lnTo>
                    <a:pt x="94" y="1"/>
                  </a:lnTo>
                  <a:lnTo>
                    <a:pt x="84" y="3"/>
                  </a:lnTo>
                  <a:lnTo>
                    <a:pt x="75" y="6"/>
                  </a:lnTo>
                  <a:lnTo>
                    <a:pt x="66" y="9"/>
                  </a:lnTo>
                  <a:lnTo>
                    <a:pt x="59" y="13"/>
                  </a:lnTo>
                  <a:lnTo>
                    <a:pt x="51" y="17"/>
                  </a:lnTo>
                  <a:lnTo>
                    <a:pt x="44" y="22"/>
                  </a:lnTo>
                  <a:lnTo>
                    <a:pt x="38" y="27"/>
                  </a:lnTo>
                  <a:lnTo>
                    <a:pt x="33" y="32"/>
                  </a:lnTo>
                  <a:lnTo>
                    <a:pt x="24" y="45"/>
                  </a:lnTo>
                  <a:lnTo>
                    <a:pt x="17" y="57"/>
                  </a:lnTo>
                  <a:lnTo>
                    <a:pt x="11" y="70"/>
                  </a:lnTo>
                  <a:lnTo>
                    <a:pt x="6" y="83"/>
                  </a:lnTo>
                  <a:lnTo>
                    <a:pt x="3" y="96"/>
                  </a:lnTo>
                  <a:lnTo>
                    <a:pt x="1" y="106"/>
                  </a:lnTo>
                  <a:lnTo>
                    <a:pt x="0" y="123"/>
                  </a:lnTo>
                  <a:lnTo>
                    <a:pt x="0" y="129"/>
                  </a:lnTo>
                  <a:lnTo>
                    <a:pt x="4" y="213"/>
                  </a:lnTo>
                  <a:lnTo>
                    <a:pt x="4" y="213"/>
                  </a:lnTo>
                  <a:lnTo>
                    <a:pt x="4" y="219"/>
                  </a:lnTo>
                  <a:lnTo>
                    <a:pt x="6" y="235"/>
                  </a:lnTo>
                  <a:lnTo>
                    <a:pt x="11" y="256"/>
                  </a:lnTo>
                  <a:lnTo>
                    <a:pt x="15" y="268"/>
                  </a:lnTo>
                  <a:lnTo>
                    <a:pt x="19" y="282"/>
                  </a:lnTo>
                  <a:lnTo>
                    <a:pt x="24" y="294"/>
                  </a:lnTo>
                  <a:lnTo>
                    <a:pt x="31" y="306"/>
                  </a:lnTo>
                  <a:lnTo>
                    <a:pt x="39" y="319"/>
                  </a:lnTo>
                  <a:lnTo>
                    <a:pt x="48" y="329"/>
                  </a:lnTo>
                  <a:lnTo>
                    <a:pt x="53" y="333"/>
                  </a:lnTo>
                  <a:lnTo>
                    <a:pt x="60" y="337"/>
                  </a:lnTo>
                  <a:lnTo>
                    <a:pt x="66" y="341"/>
                  </a:lnTo>
                  <a:lnTo>
                    <a:pt x="72" y="344"/>
                  </a:lnTo>
                  <a:lnTo>
                    <a:pt x="79" y="346"/>
                  </a:lnTo>
                  <a:lnTo>
                    <a:pt x="86" y="348"/>
                  </a:lnTo>
                  <a:lnTo>
                    <a:pt x="94" y="349"/>
                  </a:lnTo>
                  <a:lnTo>
                    <a:pt x="103" y="3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8" name="Freeform 34"/>
            <p:cNvSpPr>
              <a:spLocks/>
            </p:cNvSpPr>
            <p:nvPr userDrawn="1"/>
          </p:nvSpPr>
          <p:spPr bwMode="auto">
            <a:xfrm>
              <a:off x="5829546" y="438318"/>
              <a:ext cx="60325" cy="57150"/>
            </a:xfrm>
            <a:custGeom>
              <a:avLst/>
              <a:gdLst>
                <a:gd name="T0" fmla="*/ 450 w 450"/>
                <a:gd name="T1" fmla="*/ 290 h 425"/>
                <a:gd name="T2" fmla="*/ 450 w 450"/>
                <a:gd name="T3" fmla="*/ 225 h 425"/>
                <a:gd name="T4" fmla="*/ 449 w 450"/>
                <a:gd name="T5" fmla="*/ 54 h 425"/>
                <a:gd name="T6" fmla="*/ 444 w 450"/>
                <a:gd name="T7" fmla="*/ 20 h 425"/>
                <a:gd name="T8" fmla="*/ 436 w 450"/>
                <a:gd name="T9" fmla="*/ 3 h 425"/>
                <a:gd name="T10" fmla="*/ 429 w 450"/>
                <a:gd name="T11" fmla="*/ 0 h 425"/>
                <a:gd name="T12" fmla="*/ 367 w 450"/>
                <a:gd name="T13" fmla="*/ 2 h 425"/>
                <a:gd name="T14" fmla="*/ 362 w 450"/>
                <a:gd name="T15" fmla="*/ 14 h 425"/>
                <a:gd name="T16" fmla="*/ 347 w 450"/>
                <a:gd name="T17" fmla="*/ 59 h 425"/>
                <a:gd name="T18" fmla="*/ 325 w 450"/>
                <a:gd name="T19" fmla="*/ 2 h 425"/>
                <a:gd name="T20" fmla="*/ 261 w 450"/>
                <a:gd name="T21" fmla="*/ 2 h 425"/>
                <a:gd name="T22" fmla="*/ 242 w 450"/>
                <a:gd name="T23" fmla="*/ 16 h 425"/>
                <a:gd name="T24" fmla="*/ 224 w 450"/>
                <a:gd name="T25" fmla="*/ 64 h 425"/>
                <a:gd name="T26" fmla="*/ 192 w 450"/>
                <a:gd name="T27" fmla="*/ 4 h 425"/>
                <a:gd name="T28" fmla="*/ 135 w 450"/>
                <a:gd name="T29" fmla="*/ 6 h 425"/>
                <a:gd name="T30" fmla="*/ 127 w 450"/>
                <a:gd name="T31" fmla="*/ 11 h 425"/>
                <a:gd name="T32" fmla="*/ 110 w 450"/>
                <a:gd name="T33" fmla="*/ 53 h 425"/>
                <a:gd name="T34" fmla="*/ 86 w 450"/>
                <a:gd name="T35" fmla="*/ 6 h 425"/>
                <a:gd name="T36" fmla="*/ 38 w 450"/>
                <a:gd name="T37" fmla="*/ 6 h 425"/>
                <a:gd name="T38" fmla="*/ 25 w 450"/>
                <a:gd name="T39" fmla="*/ 10 h 425"/>
                <a:gd name="T40" fmla="*/ 10 w 450"/>
                <a:gd name="T41" fmla="*/ 28 h 425"/>
                <a:gd name="T42" fmla="*/ 1 w 450"/>
                <a:gd name="T43" fmla="*/ 55 h 425"/>
                <a:gd name="T44" fmla="*/ 1 w 450"/>
                <a:gd name="T45" fmla="*/ 141 h 425"/>
                <a:gd name="T46" fmla="*/ 5 w 450"/>
                <a:gd name="T47" fmla="*/ 324 h 425"/>
                <a:gd name="T48" fmla="*/ 27 w 450"/>
                <a:gd name="T49" fmla="*/ 401 h 425"/>
                <a:gd name="T50" fmla="*/ 54 w 450"/>
                <a:gd name="T51" fmla="*/ 396 h 425"/>
                <a:gd name="T52" fmla="*/ 74 w 450"/>
                <a:gd name="T53" fmla="*/ 384 h 425"/>
                <a:gd name="T54" fmla="*/ 83 w 450"/>
                <a:gd name="T55" fmla="*/ 374 h 425"/>
                <a:gd name="T56" fmla="*/ 100 w 450"/>
                <a:gd name="T57" fmla="*/ 341 h 425"/>
                <a:gd name="T58" fmla="*/ 105 w 450"/>
                <a:gd name="T59" fmla="*/ 317 h 425"/>
                <a:gd name="T60" fmla="*/ 105 w 450"/>
                <a:gd name="T61" fmla="*/ 367 h 425"/>
                <a:gd name="T62" fmla="*/ 108 w 450"/>
                <a:gd name="T63" fmla="*/ 420 h 425"/>
                <a:gd name="T64" fmla="*/ 116 w 450"/>
                <a:gd name="T65" fmla="*/ 424 h 425"/>
                <a:gd name="T66" fmla="*/ 150 w 450"/>
                <a:gd name="T67" fmla="*/ 423 h 425"/>
                <a:gd name="T68" fmla="*/ 176 w 450"/>
                <a:gd name="T69" fmla="*/ 412 h 425"/>
                <a:gd name="T70" fmla="*/ 189 w 450"/>
                <a:gd name="T71" fmla="*/ 402 h 425"/>
                <a:gd name="T72" fmla="*/ 209 w 450"/>
                <a:gd name="T73" fmla="*/ 368 h 425"/>
                <a:gd name="T74" fmla="*/ 224 w 450"/>
                <a:gd name="T75" fmla="*/ 317 h 425"/>
                <a:gd name="T76" fmla="*/ 225 w 450"/>
                <a:gd name="T77" fmla="*/ 381 h 425"/>
                <a:gd name="T78" fmla="*/ 229 w 450"/>
                <a:gd name="T79" fmla="*/ 419 h 425"/>
                <a:gd name="T80" fmla="*/ 237 w 450"/>
                <a:gd name="T81" fmla="*/ 421 h 425"/>
                <a:gd name="T82" fmla="*/ 266 w 450"/>
                <a:gd name="T83" fmla="*/ 418 h 425"/>
                <a:gd name="T84" fmla="*/ 300 w 450"/>
                <a:gd name="T85" fmla="*/ 405 h 425"/>
                <a:gd name="T86" fmla="*/ 309 w 450"/>
                <a:gd name="T87" fmla="*/ 397 h 425"/>
                <a:gd name="T88" fmla="*/ 331 w 450"/>
                <a:gd name="T89" fmla="*/ 367 h 425"/>
                <a:gd name="T90" fmla="*/ 342 w 450"/>
                <a:gd name="T91" fmla="*/ 334 h 425"/>
                <a:gd name="T92" fmla="*/ 345 w 450"/>
                <a:gd name="T93" fmla="*/ 346 h 425"/>
                <a:gd name="T94" fmla="*/ 348 w 450"/>
                <a:gd name="T95" fmla="*/ 391 h 425"/>
                <a:gd name="T96" fmla="*/ 379 w 450"/>
                <a:gd name="T97" fmla="*/ 386 h 425"/>
                <a:gd name="T98" fmla="*/ 404 w 450"/>
                <a:gd name="T99" fmla="*/ 375 h 425"/>
                <a:gd name="T100" fmla="*/ 425 w 450"/>
                <a:gd name="T101" fmla="*/ 360 h 425"/>
                <a:gd name="T102" fmla="*/ 439 w 450"/>
                <a:gd name="T103" fmla="*/ 342 h 425"/>
                <a:gd name="T104" fmla="*/ 448 w 450"/>
                <a:gd name="T105" fmla="*/ 311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50" h="425">
                  <a:moveTo>
                    <a:pt x="448" y="311"/>
                  </a:moveTo>
                  <a:lnTo>
                    <a:pt x="448" y="311"/>
                  </a:lnTo>
                  <a:lnTo>
                    <a:pt x="450" y="290"/>
                  </a:lnTo>
                  <a:lnTo>
                    <a:pt x="450" y="268"/>
                  </a:lnTo>
                  <a:lnTo>
                    <a:pt x="450" y="225"/>
                  </a:lnTo>
                  <a:lnTo>
                    <a:pt x="450" y="225"/>
                  </a:lnTo>
                  <a:lnTo>
                    <a:pt x="449" y="64"/>
                  </a:lnTo>
                  <a:lnTo>
                    <a:pt x="449" y="64"/>
                  </a:lnTo>
                  <a:lnTo>
                    <a:pt x="449" y="54"/>
                  </a:lnTo>
                  <a:lnTo>
                    <a:pt x="448" y="44"/>
                  </a:lnTo>
                  <a:lnTo>
                    <a:pt x="447" y="33"/>
                  </a:lnTo>
                  <a:lnTo>
                    <a:pt x="444" y="20"/>
                  </a:lnTo>
                  <a:lnTo>
                    <a:pt x="441" y="10"/>
                  </a:lnTo>
                  <a:lnTo>
                    <a:pt x="439" y="6"/>
                  </a:lnTo>
                  <a:lnTo>
                    <a:pt x="436" y="3"/>
                  </a:lnTo>
                  <a:lnTo>
                    <a:pt x="433" y="1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396" y="0"/>
                  </a:lnTo>
                  <a:lnTo>
                    <a:pt x="378" y="1"/>
                  </a:lnTo>
                  <a:lnTo>
                    <a:pt x="367" y="2"/>
                  </a:lnTo>
                  <a:lnTo>
                    <a:pt x="367" y="2"/>
                  </a:lnTo>
                  <a:lnTo>
                    <a:pt x="364" y="7"/>
                  </a:lnTo>
                  <a:lnTo>
                    <a:pt x="362" y="14"/>
                  </a:lnTo>
                  <a:lnTo>
                    <a:pt x="356" y="33"/>
                  </a:lnTo>
                  <a:lnTo>
                    <a:pt x="350" y="52"/>
                  </a:lnTo>
                  <a:lnTo>
                    <a:pt x="347" y="59"/>
                  </a:lnTo>
                  <a:lnTo>
                    <a:pt x="345" y="64"/>
                  </a:lnTo>
                  <a:lnTo>
                    <a:pt x="325" y="2"/>
                  </a:lnTo>
                  <a:lnTo>
                    <a:pt x="325" y="2"/>
                  </a:lnTo>
                  <a:lnTo>
                    <a:pt x="309" y="1"/>
                  </a:lnTo>
                  <a:lnTo>
                    <a:pt x="286" y="1"/>
                  </a:lnTo>
                  <a:lnTo>
                    <a:pt x="261" y="2"/>
                  </a:lnTo>
                  <a:lnTo>
                    <a:pt x="247" y="4"/>
                  </a:lnTo>
                  <a:lnTo>
                    <a:pt x="247" y="4"/>
                  </a:lnTo>
                  <a:lnTo>
                    <a:pt x="242" y="16"/>
                  </a:lnTo>
                  <a:lnTo>
                    <a:pt x="236" y="34"/>
                  </a:lnTo>
                  <a:lnTo>
                    <a:pt x="229" y="52"/>
                  </a:lnTo>
                  <a:lnTo>
                    <a:pt x="224" y="64"/>
                  </a:lnTo>
                  <a:lnTo>
                    <a:pt x="205" y="5"/>
                  </a:lnTo>
                  <a:lnTo>
                    <a:pt x="205" y="5"/>
                  </a:lnTo>
                  <a:lnTo>
                    <a:pt x="192" y="4"/>
                  </a:lnTo>
                  <a:lnTo>
                    <a:pt x="168" y="4"/>
                  </a:lnTo>
                  <a:lnTo>
                    <a:pt x="144" y="5"/>
                  </a:lnTo>
                  <a:lnTo>
                    <a:pt x="135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27" y="11"/>
                  </a:lnTo>
                  <a:lnTo>
                    <a:pt x="124" y="18"/>
                  </a:lnTo>
                  <a:lnTo>
                    <a:pt x="117" y="36"/>
                  </a:lnTo>
                  <a:lnTo>
                    <a:pt x="110" y="53"/>
                  </a:lnTo>
                  <a:lnTo>
                    <a:pt x="105" y="64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6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3" y="7"/>
                  </a:lnTo>
                  <a:lnTo>
                    <a:pt x="29" y="8"/>
                  </a:lnTo>
                  <a:lnTo>
                    <a:pt x="25" y="10"/>
                  </a:lnTo>
                  <a:lnTo>
                    <a:pt x="21" y="12"/>
                  </a:lnTo>
                  <a:lnTo>
                    <a:pt x="15" y="19"/>
                  </a:lnTo>
                  <a:lnTo>
                    <a:pt x="10" y="28"/>
                  </a:lnTo>
                  <a:lnTo>
                    <a:pt x="5" y="36"/>
                  </a:lnTo>
                  <a:lnTo>
                    <a:pt x="2" y="46"/>
                  </a:lnTo>
                  <a:lnTo>
                    <a:pt x="1" y="55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1" y="141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5" y="324"/>
                  </a:lnTo>
                  <a:lnTo>
                    <a:pt x="8" y="402"/>
                  </a:lnTo>
                  <a:lnTo>
                    <a:pt x="8" y="402"/>
                  </a:lnTo>
                  <a:lnTo>
                    <a:pt x="27" y="401"/>
                  </a:lnTo>
                  <a:lnTo>
                    <a:pt x="37" y="399"/>
                  </a:lnTo>
                  <a:lnTo>
                    <a:pt x="45" y="398"/>
                  </a:lnTo>
                  <a:lnTo>
                    <a:pt x="54" y="396"/>
                  </a:lnTo>
                  <a:lnTo>
                    <a:pt x="62" y="393"/>
                  </a:lnTo>
                  <a:lnTo>
                    <a:pt x="68" y="388"/>
                  </a:lnTo>
                  <a:lnTo>
                    <a:pt x="74" y="384"/>
                  </a:lnTo>
                  <a:lnTo>
                    <a:pt x="74" y="384"/>
                  </a:lnTo>
                  <a:lnTo>
                    <a:pt x="79" y="379"/>
                  </a:lnTo>
                  <a:lnTo>
                    <a:pt x="83" y="374"/>
                  </a:lnTo>
                  <a:lnTo>
                    <a:pt x="90" y="363"/>
                  </a:lnTo>
                  <a:lnTo>
                    <a:pt x="95" y="352"/>
                  </a:lnTo>
                  <a:lnTo>
                    <a:pt x="100" y="341"/>
                  </a:lnTo>
                  <a:lnTo>
                    <a:pt x="103" y="331"/>
                  </a:lnTo>
                  <a:lnTo>
                    <a:pt x="104" y="324"/>
                  </a:lnTo>
                  <a:lnTo>
                    <a:pt x="105" y="317"/>
                  </a:lnTo>
                  <a:lnTo>
                    <a:pt x="105" y="317"/>
                  </a:lnTo>
                  <a:lnTo>
                    <a:pt x="105" y="337"/>
                  </a:lnTo>
                  <a:lnTo>
                    <a:pt x="105" y="367"/>
                  </a:lnTo>
                  <a:lnTo>
                    <a:pt x="106" y="397"/>
                  </a:lnTo>
                  <a:lnTo>
                    <a:pt x="108" y="420"/>
                  </a:lnTo>
                  <a:lnTo>
                    <a:pt x="108" y="420"/>
                  </a:lnTo>
                  <a:lnTo>
                    <a:pt x="108" y="421"/>
                  </a:lnTo>
                  <a:lnTo>
                    <a:pt x="110" y="422"/>
                  </a:lnTo>
                  <a:lnTo>
                    <a:pt x="116" y="424"/>
                  </a:lnTo>
                  <a:lnTo>
                    <a:pt x="125" y="425"/>
                  </a:lnTo>
                  <a:lnTo>
                    <a:pt x="136" y="425"/>
                  </a:lnTo>
                  <a:lnTo>
                    <a:pt x="150" y="423"/>
                  </a:lnTo>
                  <a:lnTo>
                    <a:pt x="163" y="418"/>
                  </a:lnTo>
                  <a:lnTo>
                    <a:pt x="169" y="415"/>
                  </a:lnTo>
                  <a:lnTo>
                    <a:pt x="176" y="412"/>
                  </a:lnTo>
                  <a:lnTo>
                    <a:pt x="182" y="407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97" y="392"/>
                  </a:lnTo>
                  <a:lnTo>
                    <a:pt x="204" y="380"/>
                  </a:lnTo>
                  <a:lnTo>
                    <a:pt x="209" y="368"/>
                  </a:lnTo>
                  <a:lnTo>
                    <a:pt x="213" y="356"/>
                  </a:lnTo>
                  <a:lnTo>
                    <a:pt x="220" y="333"/>
                  </a:lnTo>
                  <a:lnTo>
                    <a:pt x="224" y="317"/>
                  </a:lnTo>
                  <a:lnTo>
                    <a:pt x="224" y="317"/>
                  </a:lnTo>
                  <a:lnTo>
                    <a:pt x="224" y="348"/>
                  </a:lnTo>
                  <a:lnTo>
                    <a:pt x="225" y="381"/>
                  </a:lnTo>
                  <a:lnTo>
                    <a:pt x="227" y="408"/>
                  </a:lnTo>
                  <a:lnTo>
                    <a:pt x="228" y="417"/>
                  </a:lnTo>
                  <a:lnTo>
                    <a:pt x="229" y="419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7" y="421"/>
                  </a:lnTo>
                  <a:lnTo>
                    <a:pt x="245" y="421"/>
                  </a:lnTo>
                  <a:lnTo>
                    <a:pt x="255" y="420"/>
                  </a:lnTo>
                  <a:lnTo>
                    <a:pt x="266" y="418"/>
                  </a:lnTo>
                  <a:lnTo>
                    <a:pt x="277" y="415"/>
                  </a:lnTo>
                  <a:lnTo>
                    <a:pt x="289" y="411"/>
                  </a:lnTo>
                  <a:lnTo>
                    <a:pt x="300" y="405"/>
                  </a:lnTo>
                  <a:lnTo>
                    <a:pt x="305" y="401"/>
                  </a:lnTo>
                  <a:lnTo>
                    <a:pt x="309" y="397"/>
                  </a:lnTo>
                  <a:lnTo>
                    <a:pt x="309" y="397"/>
                  </a:lnTo>
                  <a:lnTo>
                    <a:pt x="317" y="387"/>
                  </a:lnTo>
                  <a:lnTo>
                    <a:pt x="325" y="377"/>
                  </a:lnTo>
                  <a:lnTo>
                    <a:pt x="331" y="367"/>
                  </a:lnTo>
                  <a:lnTo>
                    <a:pt x="336" y="356"/>
                  </a:lnTo>
                  <a:lnTo>
                    <a:pt x="339" y="345"/>
                  </a:lnTo>
                  <a:lnTo>
                    <a:pt x="342" y="334"/>
                  </a:lnTo>
                  <a:lnTo>
                    <a:pt x="345" y="317"/>
                  </a:lnTo>
                  <a:lnTo>
                    <a:pt x="345" y="317"/>
                  </a:lnTo>
                  <a:lnTo>
                    <a:pt x="345" y="346"/>
                  </a:lnTo>
                  <a:lnTo>
                    <a:pt x="346" y="370"/>
                  </a:lnTo>
                  <a:lnTo>
                    <a:pt x="348" y="391"/>
                  </a:lnTo>
                  <a:lnTo>
                    <a:pt x="348" y="391"/>
                  </a:lnTo>
                  <a:lnTo>
                    <a:pt x="362" y="390"/>
                  </a:lnTo>
                  <a:lnTo>
                    <a:pt x="371" y="388"/>
                  </a:lnTo>
                  <a:lnTo>
                    <a:pt x="379" y="386"/>
                  </a:lnTo>
                  <a:lnTo>
                    <a:pt x="379" y="386"/>
                  </a:lnTo>
                  <a:lnTo>
                    <a:pt x="393" y="380"/>
                  </a:lnTo>
                  <a:lnTo>
                    <a:pt x="404" y="375"/>
                  </a:lnTo>
                  <a:lnTo>
                    <a:pt x="415" y="368"/>
                  </a:lnTo>
                  <a:lnTo>
                    <a:pt x="415" y="368"/>
                  </a:lnTo>
                  <a:lnTo>
                    <a:pt x="425" y="360"/>
                  </a:lnTo>
                  <a:lnTo>
                    <a:pt x="430" y="355"/>
                  </a:lnTo>
                  <a:lnTo>
                    <a:pt x="435" y="349"/>
                  </a:lnTo>
                  <a:lnTo>
                    <a:pt x="439" y="342"/>
                  </a:lnTo>
                  <a:lnTo>
                    <a:pt x="443" y="333"/>
                  </a:lnTo>
                  <a:lnTo>
                    <a:pt x="446" y="323"/>
                  </a:lnTo>
                  <a:lnTo>
                    <a:pt x="448" y="31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9" name="Freeform 35"/>
            <p:cNvSpPr>
              <a:spLocks/>
            </p:cNvSpPr>
            <p:nvPr userDrawn="1"/>
          </p:nvSpPr>
          <p:spPr bwMode="auto">
            <a:xfrm>
              <a:off x="5837484" y="441492"/>
              <a:ext cx="73026" cy="80964"/>
            </a:xfrm>
            <a:custGeom>
              <a:avLst/>
              <a:gdLst>
                <a:gd name="T0" fmla="*/ 554 w 554"/>
                <a:gd name="T1" fmla="*/ 356 h 620"/>
                <a:gd name="T2" fmla="*/ 549 w 554"/>
                <a:gd name="T3" fmla="*/ 350 h 620"/>
                <a:gd name="T4" fmla="*/ 535 w 554"/>
                <a:gd name="T5" fmla="*/ 331 h 620"/>
                <a:gd name="T6" fmla="*/ 525 w 554"/>
                <a:gd name="T7" fmla="*/ 306 h 620"/>
                <a:gd name="T8" fmla="*/ 520 w 554"/>
                <a:gd name="T9" fmla="*/ 285 h 620"/>
                <a:gd name="T10" fmla="*/ 516 w 554"/>
                <a:gd name="T11" fmla="*/ 258 h 620"/>
                <a:gd name="T12" fmla="*/ 515 w 554"/>
                <a:gd name="T13" fmla="*/ 243 h 620"/>
                <a:gd name="T14" fmla="*/ 516 w 554"/>
                <a:gd name="T15" fmla="*/ 222 h 620"/>
                <a:gd name="T16" fmla="*/ 520 w 554"/>
                <a:gd name="T17" fmla="*/ 202 h 620"/>
                <a:gd name="T18" fmla="*/ 532 w 554"/>
                <a:gd name="T19" fmla="*/ 167 h 620"/>
                <a:gd name="T20" fmla="*/ 546 w 554"/>
                <a:gd name="T21" fmla="*/ 142 h 620"/>
                <a:gd name="T22" fmla="*/ 551 w 554"/>
                <a:gd name="T23" fmla="*/ 43 h 620"/>
                <a:gd name="T24" fmla="*/ 542 w 554"/>
                <a:gd name="T25" fmla="*/ 36 h 620"/>
                <a:gd name="T26" fmla="*/ 504 w 554"/>
                <a:gd name="T27" fmla="*/ 13 h 620"/>
                <a:gd name="T28" fmla="*/ 482 w 554"/>
                <a:gd name="T29" fmla="*/ 2 h 620"/>
                <a:gd name="T30" fmla="*/ 470 w 554"/>
                <a:gd name="T31" fmla="*/ 0 h 620"/>
                <a:gd name="T32" fmla="*/ 465 w 554"/>
                <a:gd name="T33" fmla="*/ 327 h 620"/>
                <a:gd name="T34" fmla="*/ 465 w 554"/>
                <a:gd name="T35" fmla="*/ 339 h 620"/>
                <a:gd name="T36" fmla="*/ 458 w 554"/>
                <a:gd name="T37" fmla="*/ 360 h 620"/>
                <a:gd name="T38" fmla="*/ 444 w 554"/>
                <a:gd name="T39" fmla="*/ 382 h 620"/>
                <a:gd name="T40" fmla="*/ 426 w 554"/>
                <a:gd name="T41" fmla="*/ 402 h 620"/>
                <a:gd name="T42" fmla="*/ 405 w 554"/>
                <a:gd name="T43" fmla="*/ 421 h 620"/>
                <a:gd name="T44" fmla="*/ 380 w 554"/>
                <a:gd name="T45" fmla="*/ 437 h 620"/>
                <a:gd name="T46" fmla="*/ 353 w 554"/>
                <a:gd name="T47" fmla="*/ 449 h 620"/>
                <a:gd name="T48" fmla="*/ 327 w 554"/>
                <a:gd name="T49" fmla="*/ 458 h 620"/>
                <a:gd name="T50" fmla="*/ 314 w 554"/>
                <a:gd name="T51" fmla="*/ 461 h 620"/>
                <a:gd name="T52" fmla="*/ 255 w 554"/>
                <a:gd name="T53" fmla="*/ 471 h 620"/>
                <a:gd name="T54" fmla="*/ 199 w 554"/>
                <a:gd name="T55" fmla="*/ 477 h 620"/>
                <a:gd name="T56" fmla="*/ 98 w 554"/>
                <a:gd name="T57" fmla="*/ 482 h 620"/>
                <a:gd name="T58" fmla="*/ 27 w 554"/>
                <a:gd name="T59" fmla="*/ 482 h 620"/>
                <a:gd name="T60" fmla="*/ 0 w 554"/>
                <a:gd name="T61" fmla="*/ 481 h 620"/>
                <a:gd name="T62" fmla="*/ 4 w 554"/>
                <a:gd name="T63" fmla="*/ 508 h 620"/>
                <a:gd name="T64" fmla="*/ 13 w 554"/>
                <a:gd name="T65" fmla="*/ 550 h 620"/>
                <a:gd name="T66" fmla="*/ 18 w 554"/>
                <a:gd name="T67" fmla="*/ 566 h 620"/>
                <a:gd name="T68" fmla="*/ 29 w 554"/>
                <a:gd name="T69" fmla="*/ 586 h 620"/>
                <a:gd name="T70" fmla="*/ 44 w 554"/>
                <a:gd name="T71" fmla="*/ 604 h 620"/>
                <a:gd name="T72" fmla="*/ 62 w 554"/>
                <a:gd name="T73" fmla="*/ 620 h 620"/>
                <a:gd name="T74" fmla="*/ 554 w 554"/>
                <a:gd name="T75" fmla="*/ 45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4" h="620">
                  <a:moveTo>
                    <a:pt x="554" y="450"/>
                  </a:moveTo>
                  <a:lnTo>
                    <a:pt x="554" y="356"/>
                  </a:lnTo>
                  <a:lnTo>
                    <a:pt x="554" y="356"/>
                  </a:lnTo>
                  <a:lnTo>
                    <a:pt x="549" y="350"/>
                  </a:lnTo>
                  <a:lnTo>
                    <a:pt x="543" y="342"/>
                  </a:lnTo>
                  <a:lnTo>
                    <a:pt x="535" y="331"/>
                  </a:lnTo>
                  <a:lnTo>
                    <a:pt x="528" y="315"/>
                  </a:lnTo>
                  <a:lnTo>
                    <a:pt x="525" y="306"/>
                  </a:lnTo>
                  <a:lnTo>
                    <a:pt x="522" y="296"/>
                  </a:lnTo>
                  <a:lnTo>
                    <a:pt x="520" y="285"/>
                  </a:lnTo>
                  <a:lnTo>
                    <a:pt x="517" y="271"/>
                  </a:lnTo>
                  <a:lnTo>
                    <a:pt x="516" y="258"/>
                  </a:lnTo>
                  <a:lnTo>
                    <a:pt x="515" y="243"/>
                  </a:lnTo>
                  <a:lnTo>
                    <a:pt x="515" y="243"/>
                  </a:lnTo>
                  <a:lnTo>
                    <a:pt x="515" y="232"/>
                  </a:lnTo>
                  <a:lnTo>
                    <a:pt x="516" y="222"/>
                  </a:lnTo>
                  <a:lnTo>
                    <a:pt x="517" y="212"/>
                  </a:lnTo>
                  <a:lnTo>
                    <a:pt x="520" y="202"/>
                  </a:lnTo>
                  <a:lnTo>
                    <a:pt x="526" y="183"/>
                  </a:lnTo>
                  <a:lnTo>
                    <a:pt x="532" y="167"/>
                  </a:lnTo>
                  <a:lnTo>
                    <a:pt x="540" y="154"/>
                  </a:lnTo>
                  <a:lnTo>
                    <a:pt x="546" y="142"/>
                  </a:lnTo>
                  <a:lnTo>
                    <a:pt x="552" y="133"/>
                  </a:lnTo>
                  <a:lnTo>
                    <a:pt x="551" y="43"/>
                  </a:lnTo>
                  <a:lnTo>
                    <a:pt x="551" y="43"/>
                  </a:lnTo>
                  <a:lnTo>
                    <a:pt x="542" y="36"/>
                  </a:lnTo>
                  <a:lnTo>
                    <a:pt x="518" y="21"/>
                  </a:lnTo>
                  <a:lnTo>
                    <a:pt x="504" y="13"/>
                  </a:lnTo>
                  <a:lnTo>
                    <a:pt x="489" y="5"/>
                  </a:lnTo>
                  <a:lnTo>
                    <a:pt x="482" y="2"/>
                  </a:lnTo>
                  <a:lnTo>
                    <a:pt x="476" y="1"/>
                  </a:lnTo>
                  <a:lnTo>
                    <a:pt x="470" y="0"/>
                  </a:lnTo>
                  <a:lnTo>
                    <a:pt x="464" y="0"/>
                  </a:lnTo>
                  <a:lnTo>
                    <a:pt x="465" y="327"/>
                  </a:lnTo>
                  <a:lnTo>
                    <a:pt x="465" y="327"/>
                  </a:lnTo>
                  <a:lnTo>
                    <a:pt x="465" y="339"/>
                  </a:lnTo>
                  <a:lnTo>
                    <a:pt x="462" y="349"/>
                  </a:lnTo>
                  <a:lnTo>
                    <a:pt x="458" y="360"/>
                  </a:lnTo>
                  <a:lnTo>
                    <a:pt x="452" y="370"/>
                  </a:lnTo>
                  <a:lnTo>
                    <a:pt x="444" y="382"/>
                  </a:lnTo>
                  <a:lnTo>
                    <a:pt x="436" y="392"/>
                  </a:lnTo>
                  <a:lnTo>
                    <a:pt x="426" y="402"/>
                  </a:lnTo>
                  <a:lnTo>
                    <a:pt x="416" y="411"/>
                  </a:lnTo>
                  <a:lnTo>
                    <a:pt x="405" y="421"/>
                  </a:lnTo>
                  <a:lnTo>
                    <a:pt x="392" y="429"/>
                  </a:lnTo>
                  <a:lnTo>
                    <a:pt x="380" y="437"/>
                  </a:lnTo>
                  <a:lnTo>
                    <a:pt x="367" y="443"/>
                  </a:lnTo>
                  <a:lnTo>
                    <a:pt x="353" y="449"/>
                  </a:lnTo>
                  <a:lnTo>
                    <a:pt x="340" y="454"/>
                  </a:lnTo>
                  <a:lnTo>
                    <a:pt x="327" y="458"/>
                  </a:lnTo>
                  <a:lnTo>
                    <a:pt x="314" y="461"/>
                  </a:lnTo>
                  <a:lnTo>
                    <a:pt x="314" y="461"/>
                  </a:lnTo>
                  <a:lnTo>
                    <a:pt x="284" y="467"/>
                  </a:lnTo>
                  <a:lnTo>
                    <a:pt x="255" y="471"/>
                  </a:lnTo>
                  <a:lnTo>
                    <a:pt x="227" y="474"/>
                  </a:lnTo>
                  <a:lnTo>
                    <a:pt x="199" y="477"/>
                  </a:lnTo>
                  <a:lnTo>
                    <a:pt x="146" y="480"/>
                  </a:lnTo>
                  <a:lnTo>
                    <a:pt x="98" y="482"/>
                  </a:lnTo>
                  <a:lnTo>
                    <a:pt x="58" y="482"/>
                  </a:lnTo>
                  <a:lnTo>
                    <a:pt x="27" y="482"/>
                  </a:lnTo>
                  <a:lnTo>
                    <a:pt x="0" y="481"/>
                  </a:lnTo>
                  <a:lnTo>
                    <a:pt x="0" y="481"/>
                  </a:lnTo>
                  <a:lnTo>
                    <a:pt x="1" y="488"/>
                  </a:lnTo>
                  <a:lnTo>
                    <a:pt x="4" y="508"/>
                  </a:lnTo>
                  <a:lnTo>
                    <a:pt x="10" y="535"/>
                  </a:lnTo>
                  <a:lnTo>
                    <a:pt x="13" y="550"/>
                  </a:lnTo>
                  <a:lnTo>
                    <a:pt x="18" y="566"/>
                  </a:lnTo>
                  <a:lnTo>
                    <a:pt x="18" y="566"/>
                  </a:lnTo>
                  <a:lnTo>
                    <a:pt x="23" y="576"/>
                  </a:lnTo>
                  <a:lnTo>
                    <a:pt x="29" y="586"/>
                  </a:lnTo>
                  <a:lnTo>
                    <a:pt x="36" y="595"/>
                  </a:lnTo>
                  <a:lnTo>
                    <a:pt x="44" y="604"/>
                  </a:lnTo>
                  <a:lnTo>
                    <a:pt x="57" y="616"/>
                  </a:lnTo>
                  <a:lnTo>
                    <a:pt x="62" y="620"/>
                  </a:lnTo>
                  <a:lnTo>
                    <a:pt x="451" y="620"/>
                  </a:lnTo>
                  <a:lnTo>
                    <a:pt x="554" y="4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0" name="Freeform 36"/>
            <p:cNvSpPr>
              <a:spLocks/>
            </p:cNvSpPr>
            <p:nvPr userDrawn="1"/>
          </p:nvSpPr>
          <p:spPr bwMode="auto">
            <a:xfrm>
              <a:off x="5843835" y="533568"/>
              <a:ext cx="57150" cy="17463"/>
            </a:xfrm>
            <a:custGeom>
              <a:avLst/>
              <a:gdLst>
                <a:gd name="T0" fmla="*/ 20 w 435"/>
                <a:gd name="T1" fmla="*/ 142 h 142"/>
                <a:gd name="T2" fmla="*/ 411 w 435"/>
                <a:gd name="T3" fmla="*/ 142 h 142"/>
                <a:gd name="T4" fmla="*/ 411 w 435"/>
                <a:gd name="T5" fmla="*/ 142 h 142"/>
                <a:gd name="T6" fmla="*/ 422 w 435"/>
                <a:gd name="T7" fmla="*/ 109 h 142"/>
                <a:gd name="T8" fmla="*/ 430 w 435"/>
                <a:gd name="T9" fmla="*/ 83 h 142"/>
                <a:gd name="T10" fmla="*/ 433 w 435"/>
                <a:gd name="T11" fmla="*/ 72 h 142"/>
                <a:gd name="T12" fmla="*/ 435 w 435"/>
                <a:gd name="T13" fmla="*/ 63 h 142"/>
                <a:gd name="T14" fmla="*/ 417 w 435"/>
                <a:gd name="T15" fmla="*/ 0 h 142"/>
                <a:gd name="T16" fmla="*/ 22 w 435"/>
                <a:gd name="T17" fmla="*/ 0 h 142"/>
                <a:gd name="T18" fmla="*/ 0 w 435"/>
                <a:gd name="T19" fmla="*/ 65 h 142"/>
                <a:gd name="T20" fmla="*/ 20 w 435"/>
                <a:gd name="T2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5" h="142">
                  <a:moveTo>
                    <a:pt x="20" y="142"/>
                  </a:moveTo>
                  <a:lnTo>
                    <a:pt x="411" y="142"/>
                  </a:lnTo>
                  <a:lnTo>
                    <a:pt x="411" y="142"/>
                  </a:lnTo>
                  <a:lnTo>
                    <a:pt x="422" y="109"/>
                  </a:lnTo>
                  <a:lnTo>
                    <a:pt x="430" y="83"/>
                  </a:lnTo>
                  <a:lnTo>
                    <a:pt x="433" y="72"/>
                  </a:lnTo>
                  <a:lnTo>
                    <a:pt x="435" y="63"/>
                  </a:lnTo>
                  <a:lnTo>
                    <a:pt x="417" y="0"/>
                  </a:lnTo>
                  <a:lnTo>
                    <a:pt x="22" y="0"/>
                  </a:lnTo>
                  <a:lnTo>
                    <a:pt x="0" y="65"/>
                  </a:lnTo>
                  <a:lnTo>
                    <a:pt x="20" y="1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1" name="Freeform 37"/>
            <p:cNvSpPr>
              <a:spLocks/>
            </p:cNvSpPr>
            <p:nvPr userDrawn="1"/>
          </p:nvSpPr>
          <p:spPr bwMode="auto">
            <a:xfrm>
              <a:off x="5847009" y="562141"/>
              <a:ext cx="57150" cy="66675"/>
            </a:xfrm>
            <a:custGeom>
              <a:avLst/>
              <a:gdLst>
                <a:gd name="T0" fmla="*/ 384 w 436"/>
                <a:gd name="T1" fmla="*/ 0 h 514"/>
                <a:gd name="T2" fmla="*/ 2 w 436"/>
                <a:gd name="T3" fmla="*/ 0 h 514"/>
                <a:gd name="T4" fmla="*/ 0 w 436"/>
                <a:gd name="T5" fmla="*/ 505 h 514"/>
                <a:gd name="T6" fmla="*/ 331 w 436"/>
                <a:gd name="T7" fmla="*/ 514 h 514"/>
                <a:gd name="T8" fmla="*/ 436 w 436"/>
                <a:gd name="T9" fmla="*/ 431 h 514"/>
                <a:gd name="T10" fmla="*/ 384 w 436"/>
                <a:gd name="T11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6" h="514">
                  <a:moveTo>
                    <a:pt x="384" y="0"/>
                  </a:moveTo>
                  <a:lnTo>
                    <a:pt x="2" y="0"/>
                  </a:lnTo>
                  <a:lnTo>
                    <a:pt x="0" y="505"/>
                  </a:lnTo>
                  <a:lnTo>
                    <a:pt x="331" y="514"/>
                  </a:lnTo>
                  <a:lnTo>
                    <a:pt x="436" y="431"/>
                  </a:lnTo>
                  <a:lnTo>
                    <a:pt x="3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2" name="Freeform 38"/>
            <p:cNvSpPr>
              <a:spLocks/>
            </p:cNvSpPr>
            <p:nvPr userDrawn="1"/>
          </p:nvSpPr>
          <p:spPr bwMode="auto">
            <a:xfrm>
              <a:off x="5843835" y="627229"/>
              <a:ext cx="77787" cy="68262"/>
            </a:xfrm>
            <a:custGeom>
              <a:avLst/>
              <a:gdLst>
                <a:gd name="T0" fmla="*/ 586 w 586"/>
                <a:gd name="T1" fmla="*/ 139 h 523"/>
                <a:gd name="T2" fmla="*/ 586 w 586"/>
                <a:gd name="T3" fmla="*/ 139 h 523"/>
                <a:gd name="T4" fmla="*/ 552 w 586"/>
                <a:gd name="T5" fmla="*/ 115 h 523"/>
                <a:gd name="T6" fmla="*/ 527 w 586"/>
                <a:gd name="T7" fmla="*/ 97 h 523"/>
                <a:gd name="T8" fmla="*/ 519 w 586"/>
                <a:gd name="T9" fmla="*/ 90 h 523"/>
                <a:gd name="T10" fmla="*/ 514 w 586"/>
                <a:gd name="T11" fmla="*/ 85 h 523"/>
                <a:gd name="T12" fmla="*/ 514 w 586"/>
                <a:gd name="T13" fmla="*/ 85 h 523"/>
                <a:gd name="T14" fmla="*/ 512 w 586"/>
                <a:gd name="T15" fmla="*/ 79 h 523"/>
                <a:gd name="T16" fmla="*/ 510 w 586"/>
                <a:gd name="T17" fmla="*/ 69 h 523"/>
                <a:gd name="T18" fmla="*/ 506 w 586"/>
                <a:gd name="T19" fmla="*/ 40 h 523"/>
                <a:gd name="T20" fmla="*/ 503 w 586"/>
                <a:gd name="T21" fmla="*/ 0 h 523"/>
                <a:gd name="T22" fmla="*/ 381 w 586"/>
                <a:gd name="T23" fmla="*/ 98 h 523"/>
                <a:gd name="T24" fmla="*/ 8 w 586"/>
                <a:gd name="T25" fmla="*/ 97 h 523"/>
                <a:gd name="T26" fmla="*/ 8 w 586"/>
                <a:gd name="T27" fmla="*/ 97 h 523"/>
                <a:gd name="T28" fmla="*/ 8 w 586"/>
                <a:gd name="T29" fmla="*/ 98 h 523"/>
                <a:gd name="T30" fmla="*/ 7 w 586"/>
                <a:gd name="T31" fmla="*/ 100 h 523"/>
                <a:gd name="T32" fmla="*/ 5 w 586"/>
                <a:gd name="T33" fmla="*/ 108 h 523"/>
                <a:gd name="T34" fmla="*/ 3 w 586"/>
                <a:gd name="T35" fmla="*/ 139 h 523"/>
                <a:gd name="T36" fmla="*/ 2 w 586"/>
                <a:gd name="T37" fmla="*/ 183 h 523"/>
                <a:gd name="T38" fmla="*/ 1 w 586"/>
                <a:gd name="T39" fmla="*/ 233 h 523"/>
                <a:gd name="T40" fmla="*/ 0 w 586"/>
                <a:gd name="T41" fmla="*/ 327 h 523"/>
                <a:gd name="T42" fmla="*/ 0 w 586"/>
                <a:gd name="T43" fmla="*/ 369 h 523"/>
                <a:gd name="T44" fmla="*/ 0 w 586"/>
                <a:gd name="T45" fmla="*/ 369 h 523"/>
                <a:gd name="T46" fmla="*/ 29 w 586"/>
                <a:gd name="T47" fmla="*/ 395 h 523"/>
                <a:gd name="T48" fmla="*/ 95 w 586"/>
                <a:gd name="T49" fmla="*/ 448 h 523"/>
                <a:gd name="T50" fmla="*/ 131 w 586"/>
                <a:gd name="T51" fmla="*/ 477 h 523"/>
                <a:gd name="T52" fmla="*/ 162 w 586"/>
                <a:gd name="T53" fmla="*/ 501 h 523"/>
                <a:gd name="T54" fmla="*/ 186 w 586"/>
                <a:gd name="T55" fmla="*/ 517 h 523"/>
                <a:gd name="T56" fmla="*/ 193 w 586"/>
                <a:gd name="T57" fmla="*/ 522 h 523"/>
                <a:gd name="T58" fmla="*/ 195 w 586"/>
                <a:gd name="T59" fmla="*/ 523 h 523"/>
                <a:gd name="T60" fmla="*/ 197 w 586"/>
                <a:gd name="T61" fmla="*/ 523 h 523"/>
                <a:gd name="T62" fmla="*/ 448 w 586"/>
                <a:gd name="T63" fmla="*/ 206 h 523"/>
                <a:gd name="T64" fmla="*/ 586 w 586"/>
                <a:gd name="T65" fmla="*/ 139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86" h="523">
                  <a:moveTo>
                    <a:pt x="586" y="139"/>
                  </a:moveTo>
                  <a:lnTo>
                    <a:pt x="586" y="139"/>
                  </a:lnTo>
                  <a:lnTo>
                    <a:pt x="552" y="115"/>
                  </a:lnTo>
                  <a:lnTo>
                    <a:pt x="527" y="97"/>
                  </a:lnTo>
                  <a:lnTo>
                    <a:pt x="519" y="90"/>
                  </a:lnTo>
                  <a:lnTo>
                    <a:pt x="514" y="85"/>
                  </a:lnTo>
                  <a:lnTo>
                    <a:pt x="514" y="85"/>
                  </a:lnTo>
                  <a:lnTo>
                    <a:pt x="512" y="79"/>
                  </a:lnTo>
                  <a:lnTo>
                    <a:pt x="510" y="69"/>
                  </a:lnTo>
                  <a:lnTo>
                    <a:pt x="506" y="40"/>
                  </a:lnTo>
                  <a:lnTo>
                    <a:pt x="503" y="0"/>
                  </a:lnTo>
                  <a:lnTo>
                    <a:pt x="381" y="98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8" y="98"/>
                  </a:lnTo>
                  <a:lnTo>
                    <a:pt x="7" y="100"/>
                  </a:lnTo>
                  <a:lnTo>
                    <a:pt x="5" y="108"/>
                  </a:lnTo>
                  <a:lnTo>
                    <a:pt x="3" y="139"/>
                  </a:lnTo>
                  <a:lnTo>
                    <a:pt x="2" y="183"/>
                  </a:lnTo>
                  <a:lnTo>
                    <a:pt x="1" y="233"/>
                  </a:lnTo>
                  <a:lnTo>
                    <a:pt x="0" y="327"/>
                  </a:lnTo>
                  <a:lnTo>
                    <a:pt x="0" y="369"/>
                  </a:lnTo>
                  <a:lnTo>
                    <a:pt x="0" y="369"/>
                  </a:lnTo>
                  <a:lnTo>
                    <a:pt x="29" y="395"/>
                  </a:lnTo>
                  <a:lnTo>
                    <a:pt x="95" y="448"/>
                  </a:lnTo>
                  <a:lnTo>
                    <a:pt x="131" y="477"/>
                  </a:lnTo>
                  <a:lnTo>
                    <a:pt x="162" y="501"/>
                  </a:lnTo>
                  <a:lnTo>
                    <a:pt x="186" y="517"/>
                  </a:lnTo>
                  <a:lnTo>
                    <a:pt x="193" y="522"/>
                  </a:lnTo>
                  <a:lnTo>
                    <a:pt x="195" y="523"/>
                  </a:lnTo>
                  <a:lnTo>
                    <a:pt x="197" y="523"/>
                  </a:lnTo>
                  <a:lnTo>
                    <a:pt x="448" y="206"/>
                  </a:lnTo>
                  <a:lnTo>
                    <a:pt x="586" y="13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3" name="Freeform 39"/>
            <p:cNvSpPr>
              <a:spLocks/>
            </p:cNvSpPr>
            <p:nvPr userDrawn="1"/>
          </p:nvSpPr>
          <p:spPr bwMode="auto">
            <a:xfrm>
              <a:off x="5880346" y="652630"/>
              <a:ext cx="115888" cy="66675"/>
            </a:xfrm>
            <a:custGeom>
              <a:avLst/>
              <a:gdLst>
                <a:gd name="T0" fmla="*/ 226 w 879"/>
                <a:gd name="T1" fmla="*/ 65 h 509"/>
                <a:gd name="T2" fmla="*/ 0 w 879"/>
                <a:gd name="T3" fmla="*/ 355 h 509"/>
                <a:gd name="T4" fmla="*/ 369 w 879"/>
                <a:gd name="T5" fmla="*/ 509 h 509"/>
                <a:gd name="T6" fmla="*/ 369 w 879"/>
                <a:gd name="T7" fmla="*/ 509 h 509"/>
                <a:gd name="T8" fmla="*/ 409 w 879"/>
                <a:gd name="T9" fmla="*/ 487 h 509"/>
                <a:gd name="T10" fmla="*/ 452 w 879"/>
                <a:gd name="T11" fmla="*/ 464 h 509"/>
                <a:gd name="T12" fmla="*/ 495 w 879"/>
                <a:gd name="T13" fmla="*/ 439 h 509"/>
                <a:gd name="T14" fmla="*/ 538 w 879"/>
                <a:gd name="T15" fmla="*/ 413 h 509"/>
                <a:gd name="T16" fmla="*/ 623 w 879"/>
                <a:gd name="T17" fmla="*/ 361 h 509"/>
                <a:gd name="T18" fmla="*/ 703 w 879"/>
                <a:gd name="T19" fmla="*/ 311 h 509"/>
                <a:gd name="T20" fmla="*/ 773 w 879"/>
                <a:gd name="T21" fmla="*/ 266 h 509"/>
                <a:gd name="T22" fmla="*/ 829 w 879"/>
                <a:gd name="T23" fmla="*/ 229 h 509"/>
                <a:gd name="T24" fmla="*/ 879 w 879"/>
                <a:gd name="T25" fmla="*/ 196 h 509"/>
                <a:gd name="T26" fmla="*/ 359 w 879"/>
                <a:gd name="T27" fmla="*/ 0 h 509"/>
                <a:gd name="T28" fmla="*/ 226 w 879"/>
                <a:gd name="T29" fmla="*/ 65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79" h="509">
                  <a:moveTo>
                    <a:pt x="226" y="65"/>
                  </a:moveTo>
                  <a:lnTo>
                    <a:pt x="0" y="355"/>
                  </a:lnTo>
                  <a:lnTo>
                    <a:pt x="369" y="509"/>
                  </a:lnTo>
                  <a:lnTo>
                    <a:pt x="369" y="509"/>
                  </a:lnTo>
                  <a:lnTo>
                    <a:pt x="409" y="487"/>
                  </a:lnTo>
                  <a:lnTo>
                    <a:pt x="452" y="464"/>
                  </a:lnTo>
                  <a:lnTo>
                    <a:pt x="495" y="439"/>
                  </a:lnTo>
                  <a:lnTo>
                    <a:pt x="538" y="413"/>
                  </a:lnTo>
                  <a:lnTo>
                    <a:pt x="623" y="361"/>
                  </a:lnTo>
                  <a:lnTo>
                    <a:pt x="703" y="311"/>
                  </a:lnTo>
                  <a:lnTo>
                    <a:pt x="773" y="266"/>
                  </a:lnTo>
                  <a:lnTo>
                    <a:pt x="829" y="229"/>
                  </a:lnTo>
                  <a:lnTo>
                    <a:pt x="879" y="196"/>
                  </a:lnTo>
                  <a:lnTo>
                    <a:pt x="359" y="0"/>
                  </a:lnTo>
                  <a:lnTo>
                    <a:pt x="226" y="6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4" name="Freeform 40"/>
            <p:cNvSpPr>
              <a:spLocks/>
            </p:cNvSpPr>
            <p:nvPr userDrawn="1"/>
          </p:nvSpPr>
          <p:spPr bwMode="auto">
            <a:xfrm>
              <a:off x="5915272" y="408153"/>
              <a:ext cx="26988" cy="123825"/>
            </a:xfrm>
            <a:custGeom>
              <a:avLst/>
              <a:gdLst>
                <a:gd name="T0" fmla="*/ 170 w 211"/>
                <a:gd name="T1" fmla="*/ 388 h 928"/>
                <a:gd name="T2" fmla="*/ 169 w 211"/>
                <a:gd name="T3" fmla="*/ 133 h 928"/>
                <a:gd name="T4" fmla="*/ 171 w 211"/>
                <a:gd name="T5" fmla="*/ 84 h 928"/>
                <a:gd name="T6" fmla="*/ 172 w 211"/>
                <a:gd name="T7" fmla="*/ 79 h 928"/>
                <a:gd name="T8" fmla="*/ 182 w 211"/>
                <a:gd name="T9" fmla="*/ 64 h 928"/>
                <a:gd name="T10" fmla="*/ 188 w 211"/>
                <a:gd name="T11" fmla="*/ 53 h 928"/>
                <a:gd name="T12" fmla="*/ 192 w 211"/>
                <a:gd name="T13" fmla="*/ 36 h 928"/>
                <a:gd name="T14" fmla="*/ 191 w 211"/>
                <a:gd name="T15" fmla="*/ 18 h 928"/>
                <a:gd name="T16" fmla="*/ 188 w 211"/>
                <a:gd name="T17" fmla="*/ 0 h 928"/>
                <a:gd name="T18" fmla="*/ 6 w 211"/>
                <a:gd name="T19" fmla="*/ 0 h 928"/>
                <a:gd name="T20" fmla="*/ 4 w 211"/>
                <a:gd name="T21" fmla="*/ 8 h 928"/>
                <a:gd name="T22" fmla="*/ 5 w 211"/>
                <a:gd name="T23" fmla="*/ 33 h 928"/>
                <a:gd name="T24" fmla="*/ 7 w 211"/>
                <a:gd name="T25" fmla="*/ 43 h 928"/>
                <a:gd name="T26" fmla="*/ 17 w 211"/>
                <a:gd name="T27" fmla="*/ 65 h 928"/>
                <a:gd name="T28" fmla="*/ 28 w 211"/>
                <a:gd name="T29" fmla="*/ 80 h 928"/>
                <a:gd name="T30" fmla="*/ 33 w 211"/>
                <a:gd name="T31" fmla="*/ 388 h 928"/>
                <a:gd name="T32" fmla="*/ 29 w 211"/>
                <a:gd name="T33" fmla="*/ 395 h 928"/>
                <a:gd name="T34" fmla="*/ 19 w 211"/>
                <a:gd name="T35" fmla="*/ 412 h 928"/>
                <a:gd name="T36" fmla="*/ 9 w 211"/>
                <a:gd name="T37" fmla="*/ 443 h 928"/>
                <a:gd name="T38" fmla="*/ 0 w 211"/>
                <a:gd name="T39" fmla="*/ 487 h 928"/>
                <a:gd name="T40" fmla="*/ 0 w 211"/>
                <a:gd name="T41" fmla="*/ 498 h 928"/>
                <a:gd name="T42" fmla="*/ 1 w 211"/>
                <a:gd name="T43" fmla="*/ 518 h 928"/>
                <a:gd name="T44" fmla="*/ 10 w 211"/>
                <a:gd name="T45" fmla="*/ 546 h 928"/>
                <a:gd name="T46" fmla="*/ 23 w 211"/>
                <a:gd name="T47" fmla="*/ 576 h 928"/>
                <a:gd name="T48" fmla="*/ 35 w 211"/>
                <a:gd name="T49" fmla="*/ 594 h 928"/>
                <a:gd name="T50" fmla="*/ 31 w 211"/>
                <a:gd name="T51" fmla="*/ 850 h 928"/>
                <a:gd name="T52" fmla="*/ 23 w 211"/>
                <a:gd name="T53" fmla="*/ 859 h 928"/>
                <a:gd name="T54" fmla="*/ 18 w 211"/>
                <a:gd name="T55" fmla="*/ 871 h 928"/>
                <a:gd name="T56" fmla="*/ 14 w 211"/>
                <a:gd name="T57" fmla="*/ 888 h 928"/>
                <a:gd name="T58" fmla="*/ 14 w 211"/>
                <a:gd name="T59" fmla="*/ 898 h 928"/>
                <a:gd name="T60" fmla="*/ 15 w 211"/>
                <a:gd name="T61" fmla="*/ 919 h 928"/>
                <a:gd name="T62" fmla="*/ 18 w 211"/>
                <a:gd name="T63" fmla="*/ 928 h 928"/>
                <a:gd name="T64" fmla="*/ 188 w 211"/>
                <a:gd name="T65" fmla="*/ 928 h 928"/>
                <a:gd name="T66" fmla="*/ 191 w 211"/>
                <a:gd name="T67" fmla="*/ 906 h 928"/>
                <a:gd name="T68" fmla="*/ 190 w 211"/>
                <a:gd name="T69" fmla="*/ 881 h 928"/>
                <a:gd name="T70" fmla="*/ 188 w 211"/>
                <a:gd name="T71" fmla="*/ 873 h 928"/>
                <a:gd name="T72" fmla="*/ 179 w 211"/>
                <a:gd name="T73" fmla="*/ 857 h 928"/>
                <a:gd name="T74" fmla="*/ 169 w 211"/>
                <a:gd name="T75" fmla="*/ 846 h 928"/>
                <a:gd name="T76" fmla="*/ 168 w 211"/>
                <a:gd name="T77" fmla="*/ 594 h 928"/>
                <a:gd name="T78" fmla="*/ 190 w 211"/>
                <a:gd name="T79" fmla="*/ 561 h 928"/>
                <a:gd name="T80" fmla="*/ 202 w 211"/>
                <a:gd name="T81" fmla="*/ 537 h 928"/>
                <a:gd name="T82" fmla="*/ 210 w 211"/>
                <a:gd name="T83" fmla="*/ 507 h 928"/>
                <a:gd name="T84" fmla="*/ 211 w 211"/>
                <a:gd name="T85" fmla="*/ 491 h 928"/>
                <a:gd name="T86" fmla="*/ 211 w 211"/>
                <a:gd name="T87" fmla="*/ 482 h 928"/>
                <a:gd name="T88" fmla="*/ 206 w 211"/>
                <a:gd name="T89" fmla="*/ 458 h 928"/>
                <a:gd name="T90" fmla="*/ 195 w 211"/>
                <a:gd name="T91" fmla="*/ 428 h 928"/>
                <a:gd name="T92" fmla="*/ 181 w 211"/>
                <a:gd name="T93" fmla="*/ 405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1" h="928">
                  <a:moveTo>
                    <a:pt x="170" y="388"/>
                  </a:moveTo>
                  <a:lnTo>
                    <a:pt x="170" y="388"/>
                  </a:lnTo>
                  <a:lnTo>
                    <a:pt x="169" y="238"/>
                  </a:lnTo>
                  <a:lnTo>
                    <a:pt x="169" y="133"/>
                  </a:lnTo>
                  <a:lnTo>
                    <a:pt x="170" y="96"/>
                  </a:lnTo>
                  <a:lnTo>
                    <a:pt x="171" y="84"/>
                  </a:lnTo>
                  <a:lnTo>
                    <a:pt x="172" y="79"/>
                  </a:lnTo>
                  <a:lnTo>
                    <a:pt x="172" y="79"/>
                  </a:lnTo>
                  <a:lnTo>
                    <a:pt x="177" y="71"/>
                  </a:lnTo>
                  <a:lnTo>
                    <a:pt x="182" y="64"/>
                  </a:lnTo>
                  <a:lnTo>
                    <a:pt x="188" y="53"/>
                  </a:lnTo>
                  <a:lnTo>
                    <a:pt x="188" y="53"/>
                  </a:lnTo>
                  <a:lnTo>
                    <a:pt x="191" y="45"/>
                  </a:lnTo>
                  <a:lnTo>
                    <a:pt x="192" y="36"/>
                  </a:lnTo>
                  <a:lnTo>
                    <a:pt x="192" y="28"/>
                  </a:lnTo>
                  <a:lnTo>
                    <a:pt x="191" y="18"/>
                  </a:lnTo>
                  <a:lnTo>
                    <a:pt x="189" y="5"/>
                  </a:lnTo>
                  <a:lnTo>
                    <a:pt x="18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4"/>
                  </a:lnTo>
                  <a:lnTo>
                    <a:pt x="4" y="8"/>
                  </a:lnTo>
                  <a:lnTo>
                    <a:pt x="4" y="20"/>
                  </a:lnTo>
                  <a:lnTo>
                    <a:pt x="5" y="3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11" y="54"/>
                  </a:lnTo>
                  <a:lnTo>
                    <a:pt x="17" y="65"/>
                  </a:lnTo>
                  <a:lnTo>
                    <a:pt x="24" y="76"/>
                  </a:lnTo>
                  <a:lnTo>
                    <a:pt x="28" y="80"/>
                  </a:lnTo>
                  <a:lnTo>
                    <a:pt x="33" y="83"/>
                  </a:lnTo>
                  <a:lnTo>
                    <a:pt x="33" y="388"/>
                  </a:lnTo>
                  <a:lnTo>
                    <a:pt x="33" y="388"/>
                  </a:lnTo>
                  <a:lnTo>
                    <a:pt x="29" y="395"/>
                  </a:lnTo>
                  <a:lnTo>
                    <a:pt x="24" y="402"/>
                  </a:lnTo>
                  <a:lnTo>
                    <a:pt x="19" y="412"/>
                  </a:lnTo>
                  <a:lnTo>
                    <a:pt x="14" y="426"/>
                  </a:lnTo>
                  <a:lnTo>
                    <a:pt x="9" y="443"/>
                  </a:lnTo>
                  <a:lnTo>
                    <a:pt x="4" y="463"/>
                  </a:lnTo>
                  <a:lnTo>
                    <a:pt x="0" y="487"/>
                  </a:lnTo>
                  <a:lnTo>
                    <a:pt x="0" y="487"/>
                  </a:lnTo>
                  <a:lnTo>
                    <a:pt x="0" y="498"/>
                  </a:lnTo>
                  <a:lnTo>
                    <a:pt x="0" y="508"/>
                  </a:lnTo>
                  <a:lnTo>
                    <a:pt x="1" y="518"/>
                  </a:lnTo>
                  <a:lnTo>
                    <a:pt x="4" y="529"/>
                  </a:lnTo>
                  <a:lnTo>
                    <a:pt x="10" y="546"/>
                  </a:lnTo>
                  <a:lnTo>
                    <a:pt x="16" y="562"/>
                  </a:lnTo>
                  <a:lnTo>
                    <a:pt x="23" y="576"/>
                  </a:lnTo>
                  <a:lnTo>
                    <a:pt x="29" y="585"/>
                  </a:lnTo>
                  <a:lnTo>
                    <a:pt x="35" y="594"/>
                  </a:lnTo>
                  <a:lnTo>
                    <a:pt x="31" y="850"/>
                  </a:lnTo>
                  <a:lnTo>
                    <a:pt x="31" y="850"/>
                  </a:lnTo>
                  <a:lnTo>
                    <a:pt x="29" y="852"/>
                  </a:lnTo>
                  <a:lnTo>
                    <a:pt x="23" y="859"/>
                  </a:lnTo>
                  <a:lnTo>
                    <a:pt x="20" y="864"/>
                  </a:lnTo>
                  <a:lnTo>
                    <a:pt x="18" y="871"/>
                  </a:lnTo>
                  <a:lnTo>
                    <a:pt x="15" y="879"/>
                  </a:lnTo>
                  <a:lnTo>
                    <a:pt x="14" y="888"/>
                  </a:lnTo>
                  <a:lnTo>
                    <a:pt x="14" y="888"/>
                  </a:lnTo>
                  <a:lnTo>
                    <a:pt x="14" y="898"/>
                  </a:lnTo>
                  <a:lnTo>
                    <a:pt x="14" y="906"/>
                  </a:lnTo>
                  <a:lnTo>
                    <a:pt x="15" y="919"/>
                  </a:lnTo>
                  <a:lnTo>
                    <a:pt x="17" y="926"/>
                  </a:lnTo>
                  <a:lnTo>
                    <a:pt x="18" y="928"/>
                  </a:lnTo>
                  <a:lnTo>
                    <a:pt x="188" y="928"/>
                  </a:lnTo>
                  <a:lnTo>
                    <a:pt x="188" y="928"/>
                  </a:lnTo>
                  <a:lnTo>
                    <a:pt x="190" y="920"/>
                  </a:lnTo>
                  <a:lnTo>
                    <a:pt x="191" y="906"/>
                  </a:lnTo>
                  <a:lnTo>
                    <a:pt x="190" y="889"/>
                  </a:lnTo>
                  <a:lnTo>
                    <a:pt x="190" y="881"/>
                  </a:lnTo>
                  <a:lnTo>
                    <a:pt x="188" y="873"/>
                  </a:lnTo>
                  <a:lnTo>
                    <a:pt x="188" y="873"/>
                  </a:lnTo>
                  <a:lnTo>
                    <a:pt x="185" y="864"/>
                  </a:lnTo>
                  <a:lnTo>
                    <a:pt x="179" y="857"/>
                  </a:lnTo>
                  <a:lnTo>
                    <a:pt x="174" y="851"/>
                  </a:lnTo>
                  <a:lnTo>
                    <a:pt x="169" y="846"/>
                  </a:lnTo>
                  <a:lnTo>
                    <a:pt x="168" y="594"/>
                  </a:lnTo>
                  <a:lnTo>
                    <a:pt x="168" y="594"/>
                  </a:lnTo>
                  <a:lnTo>
                    <a:pt x="181" y="573"/>
                  </a:lnTo>
                  <a:lnTo>
                    <a:pt x="190" y="561"/>
                  </a:lnTo>
                  <a:lnTo>
                    <a:pt x="196" y="550"/>
                  </a:lnTo>
                  <a:lnTo>
                    <a:pt x="202" y="537"/>
                  </a:lnTo>
                  <a:lnTo>
                    <a:pt x="207" y="522"/>
                  </a:lnTo>
                  <a:lnTo>
                    <a:pt x="210" y="507"/>
                  </a:lnTo>
                  <a:lnTo>
                    <a:pt x="211" y="499"/>
                  </a:lnTo>
                  <a:lnTo>
                    <a:pt x="211" y="491"/>
                  </a:lnTo>
                  <a:lnTo>
                    <a:pt x="211" y="491"/>
                  </a:lnTo>
                  <a:lnTo>
                    <a:pt x="211" y="482"/>
                  </a:lnTo>
                  <a:lnTo>
                    <a:pt x="210" y="473"/>
                  </a:lnTo>
                  <a:lnTo>
                    <a:pt x="206" y="458"/>
                  </a:lnTo>
                  <a:lnTo>
                    <a:pt x="201" y="443"/>
                  </a:lnTo>
                  <a:lnTo>
                    <a:pt x="195" y="428"/>
                  </a:lnTo>
                  <a:lnTo>
                    <a:pt x="189" y="416"/>
                  </a:lnTo>
                  <a:lnTo>
                    <a:pt x="181" y="405"/>
                  </a:lnTo>
                  <a:lnTo>
                    <a:pt x="170" y="38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5" name="Freeform 41"/>
            <p:cNvSpPr>
              <a:spLocks/>
            </p:cNvSpPr>
            <p:nvPr userDrawn="1"/>
          </p:nvSpPr>
          <p:spPr bwMode="auto">
            <a:xfrm>
              <a:off x="5943847" y="444666"/>
              <a:ext cx="80964" cy="58737"/>
            </a:xfrm>
            <a:custGeom>
              <a:avLst/>
              <a:gdLst>
                <a:gd name="T0" fmla="*/ 617 w 617"/>
                <a:gd name="T1" fmla="*/ 73 h 442"/>
                <a:gd name="T2" fmla="*/ 433 w 617"/>
                <a:gd name="T3" fmla="*/ 70 h 442"/>
                <a:gd name="T4" fmla="*/ 202 w 617"/>
                <a:gd name="T5" fmla="*/ 68 h 442"/>
                <a:gd name="T6" fmla="*/ 195 w 617"/>
                <a:gd name="T7" fmla="*/ 67 h 442"/>
                <a:gd name="T8" fmla="*/ 174 w 617"/>
                <a:gd name="T9" fmla="*/ 61 h 442"/>
                <a:gd name="T10" fmla="*/ 137 w 617"/>
                <a:gd name="T11" fmla="*/ 44 h 442"/>
                <a:gd name="T12" fmla="*/ 84 w 617"/>
                <a:gd name="T13" fmla="*/ 16 h 442"/>
                <a:gd name="T14" fmla="*/ 53 w 617"/>
                <a:gd name="T15" fmla="*/ 2 h 442"/>
                <a:gd name="T16" fmla="*/ 40 w 617"/>
                <a:gd name="T17" fmla="*/ 0 h 442"/>
                <a:gd name="T18" fmla="*/ 37 w 617"/>
                <a:gd name="T19" fmla="*/ 2 h 442"/>
                <a:gd name="T20" fmla="*/ 22 w 617"/>
                <a:gd name="T21" fmla="*/ 38 h 442"/>
                <a:gd name="T22" fmla="*/ 1 w 617"/>
                <a:gd name="T23" fmla="*/ 91 h 442"/>
                <a:gd name="T24" fmla="*/ 19 w 617"/>
                <a:gd name="T25" fmla="*/ 113 h 442"/>
                <a:gd name="T26" fmla="*/ 38 w 617"/>
                <a:gd name="T27" fmla="*/ 147 h 442"/>
                <a:gd name="T28" fmla="*/ 47 w 617"/>
                <a:gd name="T29" fmla="*/ 169 h 442"/>
                <a:gd name="T30" fmla="*/ 52 w 617"/>
                <a:gd name="T31" fmla="*/ 191 h 442"/>
                <a:gd name="T32" fmla="*/ 55 w 617"/>
                <a:gd name="T33" fmla="*/ 216 h 442"/>
                <a:gd name="T34" fmla="*/ 53 w 617"/>
                <a:gd name="T35" fmla="*/ 235 h 442"/>
                <a:gd name="T36" fmla="*/ 48 w 617"/>
                <a:gd name="T37" fmla="*/ 265 h 442"/>
                <a:gd name="T38" fmla="*/ 42 w 617"/>
                <a:gd name="T39" fmla="*/ 283 h 442"/>
                <a:gd name="T40" fmla="*/ 32 w 617"/>
                <a:gd name="T41" fmla="*/ 304 h 442"/>
                <a:gd name="T42" fmla="*/ 19 w 617"/>
                <a:gd name="T43" fmla="*/ 324 h 442"/>
                <a:gd name="T44" fmla="*/ 0 w 617"/>
                <a:gd name="T45" fmla="*/ 345 h 442"/>
                <a:gd name="T46" fmla="*/ 23 w 617"/>
                <a:gd name="T47" fmla="*/ 391 h 442"/>
                <a:gd name="T48" fmla="*/ 47 w 617"/>
                <a:gd name="T49" fmla="*/ 435 h 442"/>
                <a:gd name="T50" fmla="*/ 52 w 617"/>
                <a:gd name="T51" fmla="*/ 442 h 442"/>
                <a:gd name="T52" fmla="*/ 84 w 617"/>
                <a:gd name="T53" fmla="*/ 423 h 442"/>
                <a:gd name="T54" fmla="*/ 129 w 617"/>
                <a:gd name="T55" fmla="*/ 400 h 442"/>
                <a:gd name="T56" fmla="*/ 183 w 617"/>
                <a:gd name="T57" fmla="*/ 378 h 442"/>
                <a:gd name="T58" fmla="*/ 211 w 617"/>
                <a:gd name="T59" fmla="*/ 371 h 442"/>
                <a:gd name="T60" fmla="*/ 224 w 617"/>
                <a:gd name="T61" fmla="*/ 369 h 442"/>
                <a:gd name="T62" fmla="*/ 330 w 617"/>
                <a:gd name="T63" fmla="*/ 363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17" h="442">
                  <a:moveTo>
                    <a:pt x="330" y="363"/>
                  </a:moveTo>
                  <a:lnTo>
                    <a:pt x="617" y="73"/>
                  </a:lnTo>
                  <a:lnTo>
                    <a:pt x="617" y="73"/>
                  </a:lnTo>
                  <a:lnTo>
                    <a:pt x="433" y="70"/>
                  </a:lnTo>
                  <a:lnTo>
                    <a:pt x="324" y="69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195" y="67"/>
                  </a:lnTo>
                  <a:lnTo>
                    <a:pt x="185" y="65"/>
                  </a:lnTo>
                  <a:lnTo>
                    <a:pt x="174" y="61"/>
                  </a:lnTo>
                  <a:lnTo>
                    <a:pt x="163" y="56"/>
                  </a:lnTo>
                  <a:lnTo>
                    <a:pt x="137" y="44"/>
                  </a:lnTo>
                  <a:lnTo>
                    <a:pt x="110" y="30"/>
                  </a:lnTo>
                  <a:lnTo>
                    <a:pt x="84" y="16"/>
                  </a:lnTo>
                  <a:lnTo>
                    <a:pt x="63" y="6"/>
                  </a:lnTo>
                  <a:lnTo>
                    <a:pt x="53" y="2"/>
                  </a:lnTo>
                  <a:lnTo>
                    <a:pt x="45" y="1"/>
                  </a:lnTo>
                  <a:lnTo>
                    <a:pt x="40" y="0"/>
                  </a:lnTo>
                  <a:lnTo>
                    <a:pt x="38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22" y="38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10" y="101"/>
                  </a:lnTo>
                  <a:lnTo>
                    <a:pt x="19" y="113"/>
                  </a:lnTo>
                  <a:lnTo>
                    <a:pt x="29" y="129"/>
                  </a:lnTo>
                  <a:lnTo>
                    <a:pt x="38" y="147"/>
                  </a:lnTo>
                  <a:lnTo>
                    <a:pt x="43" y="157"/>
                  </a:lnTo>
                  <a:lnTo>
                    <a:pt x="47" y="169"/>
                  </a:lnTo>
                  <a:lnTo>
                    <a:pt x="50" y="180"/>
                  </a:lnTo>
                  <a:lnTo>
                    <a:pt x="52" y="191"/>
                  </a:lnTo>
                  <a:lnTo>
                    <a:pt x="55" y="203"/>
                  </a:lnTo>
                  <a:lnTo>
                    <a:pt x="55" y="216"/>
                  </a:lnTo>
                  <a:lnTo>
                    <a:pt x="55" y="216"/>
                  </a:lnTo>
                  <a:lnTo>
                    <a:pt x="53" y="235"/>
                  </a:lnTo>
                  <a:lnTo>
                    <a:pt x="51" y="248"/>
                  </a:lnTo>
                  <a:lnTo>
                    <a:pt x="48" y="265"/>
                  </a:lnTo>
                  <a:lnTo>
                    <a:pt x="45" y="274"/>
                  </a:lnTo>
                  <a:lnTo>
                    <a:pt x="42" y="283"/>
                  </a:lnTo>
                  <a:lnTo>
                    <a:pt x="38" y="293"/>
                  </a:lnTo>
                  <a:lnTo>
                    <a:pt x="32" y="304"/>
                  </a:lnTo>
                  <a:lnTo>
                    <a:pt x="26" y="313"/>
                  </a:lnTo>
                  <a:lnTo>
                    <a:pt x="19" y="324"/>
                  </a:lnTo>
                  <a:lnTo>
                    <a:pt x="11" y="334"/>
                  </a:lnTo>
                  <a:lnTo>
                    <a:pt x="0" y="345"/>
                  </a:lnTo>
                  <a:lnTo>
                    <a:pt x="0" y="345"/>
                  </a:lnTo>
                  <a:lnTo>
                    <a:pt x="23" y="391"/>
                  </a:lnTo>
                  <a:lnTo>
                    <a:pt x="40" y="423"/>
                  </a:lnTo>
                  <a:lnTo>
                    <a:pt x="47" y="435"/>
                  </a:lnTo>
                  <a:lnTo>
                    <a:pt x="52" y="442"/>
                  </a:lnTo>
                  <a:lnTo>
                    <a:pt x="52" y="442"/>
                  </a:lnTo>
                  <a:lnTo>
                    <a:pt x="67" y="433"/>
                  </a:lnTo>
                  <a:lnTo>
                    <a:pt x="84" y="423"/>
                  </a:lnTo>
                  <a:lnTo>
                    <a:pt x="105" y="412"/>
                  </a:lnTo>
                  <a:lnTo>
                    <a:pt x="129" y="400"/>
                  </a:lnTo>
                  <a:lnTo>
                    <a:pt x="156" y="388"/>
                  </a:lnTo>
                  <a:lnTo>
                    <a:pt x="183" y="378"/>
                  </a:lnTo>
                  <a:lnTo>
                    <a:pt x="198" y="374"/>
                  </a:lnTo>
                  <a:lnTo>
                    <a:pt x="211" y="371"/>
                  </a:lnTo>
                  <a:lnTo>
                    <a:pt x="211" y="371"/>
                  </a:lnTo>
                  <a:lnTo>
                    <a:pt x="224" y="369"/>
                  </a:lnTo>
                  <a:lnTo>
                    <a:pt x="248" y="367"/>
                  </a:lnTo>
                  <a:lnTo>
                    <a:pt x="330" y="36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6" name="Freeform 42"/>
            <p:cNvSpPr>
              <a:spLocks/>
            </p:cNvSpPr>
            <p:nvPr userDrawn="1"/>
          </p:nvSpPr>
          <p:spPr bwMode="auto">
            <a:xfrm>
              <a:off x="6045446" y="366879"/>
              <a:ext cx="158749" cy="127000"/>
            </a:xfrm>
            <a:custGeom>
              <a:avLst/>
              <a:gdLst>
                <a:gd name="T0" fmla="*/ 1179 w 1207"/>
                <a:gd name="T1" fmla="*/ 480 h 962"/>
                <a:gd name="T2" fmla="*/ 1115 w 1207"/>
                <a:gd name="T3" fmla="*/ 496 h 962"/>
                <a:gd name="T4" fmla="*/ 1079 w 1207"/>
                <a:gd name="T5" fmla="*/ 532 h 962"/>
                <a:gd name="T6" fmla="*/ 1057 w 1207"/>
                <a:gd name="T7" fmla="*/ 600 h 962"/>
                <a:gd name="T8" fmla="*/ 1046 w 1207"/>
                <a:gd name="T9" fmla="*/ 585 h 962"/>
                <a:gd name="T10" fmla="*/ 1007 w 1207"/>
                <a:gd name="T11" fmla="*/ 556 h 962"/>
                <a:gd name="T12" fmla="*/ 935 w 1207"/>
                <a:gd name="T13" fmla="*/ 562 h 962"/>
                <a:gd name="T14" fmla="*/ 930 w 1207"/>
                <a:gd name="T15" fmla="*/ 613 h 962"/>
                <a:gd name="T16" fmla="*/ 935 w 1207"/>
                <a:gd name="T17" fmla="*/ 696 h 962"/>
                <a:gd name="T18" fmla="*/ 890 w 1207"/>
                <a:gd name="T19" fmla="*/ 725 h 962"/>
                <a:gd name="T20" fmla="*/ 842 w 1207"/>
                <a:gd name="T21" fmla="*/ 709 h 962"/>
                <a:gd name="T22" fmla="*/ 816 w 1207"/>
                <a:gd name="T23" fmla="*/ 658 h 962"/>
                <a:gd name="T24" fmla="*/ 805 w 1207"/>
                <a:gd name="T25" fmla="*/ 643 h 962"/>
                <a:gd name="T26" fmla="*/ 749 w 1207"/>
                <a:gd name="T27" fmla="*/ 659 h 962"/>
                <a:gd name="T28" fmla="*/ 701 w 1207"/>
                <a:gd name="T29" fmla="*/ 634 h 962"/>
                <a:gd name="T30" fmla="*/ 694 w 1207"/>
                <a:gd name="T31" fmla="*/ 581 h 962"/>
                <a:gd name="T32" fmla="*/ 754 w 1207"/>
                <a:gd name="T33" fmla="*/ 540 h 962"/>
                <a:gd name="T34" fmla="*/ 824 w 1207"/>
                <a:gd name="T35" fmla="*/ 520 h 962"/>
                <a:gd name="T36" fmla="*/ 805 w 1207"/>
                <a:gd name="T37" fmla="*/ 460 h 962"/>
                <a:gd name="T38" fmla="*/ 764 w 1207"/>
                <a:gd name="T39" fmla="*/ 421 h 962"/>
                <a:gd name="T40" fmla="*/ 698 w 1207"/>
                <a:gd name="T41" fmla="*/ 414 h 962"/>
                <a:gd name="T42" fmla="*/ 672 w 1207"/>
                <a:gd name="T43" fmla="*/ 415 h 962"/>
                <a:gd name="T44" fmla="*/ 712 w 1207"/>
                <a:gd name="T45" fmla="*/ 360 h 962"/>
                <a:gd name="T46" fmla="*/ 709 w 1207"/>
                <a:gd name="T47" fmla="*/ 285 h 962"/>
                <a:gd name="T48" fmla="*/ 668 w 1207"/>
                <a:gd name="T49" fmla="*/ 214 h 962"/>
                <a:gd name="T50" fmla="*/ 606 w 1207"/>
                <a:gd name="T51" fmla="*/ 224 h 962"/>
                <a:gd name="T52" fmla="*/ 535 w 1207"/>
                <a:gd name="T53" fmla="*/ 272 h 962"/>
                <a:gd name="T54" fmla="*/ 516 w 1207"/>
                <a:gd name="T55" fmla="*/ 334 h 962"/>
                <a:gd name="T56" fmla="*/ 508 w 1207"/>
                <a:gd name="T57" fmla="*/ 341 h 962"/>
                <a:gd name="T58" fmla="*/ 458 w 1207"/>
                <a:gd name="T59" fmla="*/ 287 h 962"/>
                <a:gd name="T60" fmla="*/ 404 w 1207"/>
                <a:gd name="T61" fmla="*/ 278 h 962"/>
                <a:gd name="T62" fmla="*/ 345 w 1207"/>
                <a:gd name="T63" fmla="*/ 300 h 962"/>
                <a:gd name="T64" fmla="*/ 362 w 1207"/>
                <a:gd name="T65" fmla="*/ 357 h 962"/>
                <a:gd name="T66" fmla="*/ 382 w 1207"/>
                <a:gd name="T67" fmla="*/ 432 h 962"/>
                <a:gd name="T68" fmla="*/ 347 w 1207"/>
                <a:gd name="T69" fmla="*/ 472 h 962"/>
                <a:gd name="T70" fmla="*/ 292 w 1207"/>
                <a:gd name="T71" fmla="*/ 462 h 962"/>
                <a:gd name="T72" fmla="*/ 262 w 1207"/>
                <a:gd name="T73" fmla="*/ 417 h 962"/>
                <a:gd name="T74" fmla="*/ 249 w 1207"/>
                <a:gd name="T75" fmla="*/ 398 h 962"/>
                <a:gd name="T76" fmla="*/ 194 w 1207"/>
                <a:gd name="T77" fmla="*/ 421 h 962"/>
                <a:gd name="T78" fmla="*/ 147 w 1207"/>
                <a:gd name="T79" fmla="*/ 404 h 962"/>
                <a:gd name="T80" fmla="*/ 128 w 1207"/>
                <a:gd name="T81" fmla="*/ 354 h 962"/>
                <a:gd name="T82" fmla="*/ 178 w 1207"/>
                <a:gd name="T83" fmla="*/ 300 h 962"/>
                <a:gd name="T84" fmla="*/ 233 w 1207"/>
                <a:gd name="T85" fmla="*/ 262 h 962"/>
                <a:gd name="T86" fmla="*/ 195 w 1207"/>
                <a:gd name="T87" fmla="*/ 203 h 962"/>
                <a:gd name="T88" fmla="*/ 145 w 1207"/>
                <a:gd name="T89" fmla="*/ 185 h 962"/>
                <a:gd name="T90" fmla="*/ 115 w 1207"/>
                <a:gd name="T91" fmla="*/ 191 h 962"/>
                <a:gd name="T92" fmla="*/ 153 w 1207"/>
                <a:gd name="T93" fmla="*/ 136 h 962"/>
                <a:gd name="T94" fmla="*/ 157 w 1207"/>
                <a:gd name="T95" fmla="*/ 76 h 962"/>
                <a:gd name="T96" fmla="*/ 134 w 1207"/>
                <a:gd name="T97" fmla="*/ 28 h 962"/>
                <a:gd name="T98" fmla="*/ 269 w 1207"/>
                <a:gd name="T99" fmla="*/ 712 h 962"/>
                <a:gd name="T100" fmla="*/ 354 w 1207"/>
                <a:gd name="T101" fmla="*/ 656 h 962"/>
                <a:gd name="T102" fmla="*/ 437 w 1207"/>
                <a:gd name="T103" fmla="*/ 636 h 962"/>
                <a:gd name="T104" fmla="*/ 517 w 1207"/>
                <a:gd name="T105" fmla="*/ 643 h 962"/>
                <a:gd name="T106" fmla="*/ 610 w 1207"/>
                <a:gd name="T107" fmla="*/ 683 h 962"/>
                <a:gd name="T108" fmla="*/ 658 w 1207"/>
                <a:gd name="T109" fmla="*/ 735 h 962"/>
                <a:gd name="T110" fmla="*/ 673 w 1207"/>
                <a:gd name="T111" fmla="*/ 793 h 962"/>
                <a:gd name="T112" fmla="*/ 646 w 1207"/>
                <a:gd name="T113" fmla="*/ 877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07" h="962">
                  <a:moveTo>
                    <a:pt x="841" y="962"/>
                  </a:moveTo>
                  <a:lnTo>
                    <a:pt x="1207" y="484"/>
                  </a:lnTo>
                  <a:lnTo>
                    <a:pt x="1207" y="484"/>
                  </a:lnTo>
                  <a:lnTo>
                    <a:pt x="1200" y="482"/>
                  </a:lnTo>
                  <a:lnTo>
                    <a:pt x="1190" y="481"/>
                  </a:lnTo>
                  <a:lnTo>
                    <a:pt x="1179" y="480"/>
                  </a:lnTo>
                  <a:lnTo>
                    <a:pt x="1166" y="480"/>
                  </a:lnTo>
                  <a:lnTo>
                    <a:pt x="1149" y="483"/>
                  </a:lnTo>
                  <a:lnTo>
                    <a:pt x="1141" y="485"/>
                  </a:lnTo>
                  <a:lnTo>
                    <a:pt x="1133" y="488"/>
                  </a:lnTo>
                  <a:lnTo>
                    <a:pt x="1124" y="492"/>
                  </a:lnTo>
                  <a:lnTo>
                    <a:pt x="1115" y="496"/>
                  </a:lnTo>
                  <a:lnTo>
                    <a:pt x="1115" y="496"/>
                  </a:lnTo>
                  <a:lnTo>
                    <a:pt x="1106" y="502"/>
                  </a:lnTo>
                  <a:lnTo>
                    <a:pt x="1097" y="508"/>
                  </a:lnTo>
                  <a:lnTo>
                    <a:pt x="1090" y="515"/>
                  </a:lnTo>
                  <a:lnTo>
                    <a:pt x="1084" y="523"/>
                  </a:lnTo>
                  <a:lnTo>
                    <a:pt x="1079" y="532"/>
                  </a:lnTo>
                  <a:lnTo>
                    <a:pt x="1074" y="540"/>
                  </a:lnTo>
                  <a:lnTo>
                    <a:pt x="1070" y="548"/>
                  </a:lnTo>
                  <a:lnTo>
                    <a:pt x="1067" y="557"/>
                  </a:lnTo>
                  <a:lnTo>
                    <a:pt x="1062" y="574"/>
                  </a:lnTo>
                  <a:lnTo>
                    <a:pt x="1058" y="589"/>
                  </a:lnTo>
                  <a:lnTo>
                    <a:pt x="1057" y="600"/>
                  </a:lnTo>
                  <a:lnTo>
                    <a:pt x="1058" y="605"/>
                  </a:lnTo>
                  <a:lnTo>
                    <a:pt x="1059" y="608"/>
                  </a:lnTo>
                  <a:lnTo>
                    <a:pt x="1059" y="608"/>
                  </a:lnTo>
                  <a:lnTo>
                    <a:pt x="1055" y="599"/>
                  </a:lnTo>
                  <a:lnTo>
                    <a:pt x="1051" y="592"/>
                  </a:lnTo>
                  <a:lnTo>
                    <a:pt x="1046" y="585"/>
                  </a:lnTo>
                  <a:lnTo>
                    <a:pt x="1041" y="579"/>
                  </a:lnTo>
                  <a:lnTo>
                    <a:pt x="1036" y="574"/>
                  </a:lnTo>
                  <a:lnTo>
                    <a:pt x="1031" y="568"/>
                  </a:lnTo>
                  <a:lnTo>
                    <a:pt x="1025" y="564"/>
                  </a:lnTo>
                  <a:lnTo>
                    <a:pt x="1020" y="561"/>
                  </a:lnTo>
                  <a:lnTo>
                    <a:pt x="1007" y="556"/>
                  </a:lnTo>
                  <a:lnTo>
                    <a:pt x="994" y="554"/>
                  </a:lnTo>
                  <a:lnTo>
                    <a:pt x="982" y="553"/>
                  </a:lnTo>
                  <a:lnTo>
                    <a:pt x="970" y="554"/>
                  </a:lnTo>
                  <a:lnTo>
                    <a:pt x="957" y="556"/>
                  </a:lnTo>
                  <a:lnTo>
                    <a:pt x="946" y="558"/>
                  </a:lnTo>
                  <a:lnTo>
                    <a:pt x="935" y="562"/>
                  </a:lnTo>
                  <a:lnTo>
                    <a:pt x="927" y="565"/>
                  </a:lnTo>
                  <a:lnTo>
                    <a:pt x="913" y="572"/>
                  </a:lnTo>
                  <a:lnTo>
                    <a:pt x="908" y="574"/>
                  </a:lnTo>
                  <a:lnTo>
                    <a:pt x="908" y="574"/>
                  </a:lnTo>
                  <a:lnTo>
                    <a:pt x="920" y="594"/>
                  </a:lnTo>
                  <a:lnTo>
                    <a:pt x="930" y="613"/>
                  </a:lnTo>
                  <a:lnTo>
                    <a:pt x="936" y="632"/>
                  </a:lnTo>
                  <a:lnTo>
                    <a:pt x="940" y="647"/>
                  </a:lnTo>
                  <a:lnTo>
                    <a:pt x="941" y="663"/>
                  </a:lnTo>
                  <a:lnTo>
                    <a:pt x="941" y="675"/>
                  </a:lnTo>
                  <a:lnTo>
                    <a:pt x="939" y="687"/>
                  </a:lnTo>
                  <a:lnTo>
                    <a:pt x="935" y="696"/>
                  </a:lnTo>
                  <a:lnTo>
                    <a:pt x="930" y="705"/>
                  </a:lnTo>
                  <a:lnTo>
                    <a:pt x="924" y="712"/>
                  </a:lnTo>
                  <a:lnTo>
                    <a:pt x="915" y="718"/>
                  </a:lnTo>
                  <a:lnTo>
                    <a:pt x="907" y="722"/>
                  </a:lnTo>
                  <a:lnTo>
                    <a:pt x="899" y="724"/>
                  </a:lnTo>
                  <a:lnTo>
                    <a:pt x="890" y="725"/>
                  </a:lnTo>
                  <a:lnTo>
                    <a:pt x="881" y="725"/>
                  </a:lnTo>
                  <a:lnTo>
                    <a:pt x="871" y="724"/>
                  </a:lnTo>
                  <a:lnTo>
                    <a:pt x="871" y="724"/>
                  </a:lnTo>
                  <a:lnTo>
                    <a:pt x="859" y="720"/>
                  </a:lnTo>
                  <a:lnTo>
                    <a:pt x="850" y="715"/>
                  </a:lnTo>
                  <a:lnTo>
                    <a:pt x="842" y="709"/>
                  </a:lnTo>
                  <a:lnTo>
                    <a:pt x="835" y="702"/>
                  </a:lnTo>
                  <a:lnTo>
                    <a:pt x="829" y="695"/>
                  </a:lnTo>
                  <a:lnTo>
                    <a:pt x="825" y="688"/>
                  </a:lnTo>
                  <a:lnTo>
                    <a:pt x="821" y="680"/>
                  </a:lnTo>
                  <a:lnTo>
                    <a:pt x="819" y="673"/>
                  </a:lnTo>
                  <a:lnTo>
                    <a:pt x="816" y="658"/>
                  </a:lnTo>
                  <a:lnTo>
                    <a:pt x="816" y="646"/>
                  </a:lnTo>
                  <a:lnTo>
                    <a:pt x="816" y="638"/>
                  </a:lnTo>
                  <a:lnTo>
                    <a:pt x="816" y="635"/>
                  </a:lnTo>
                  <a:lnTo>
                    <a:pt x="816" y="635"/>
                  </a:lnTo>
                  <a:lnTo>
                    <a:pt x="813" y="637"/>
                  </a:lnTo>
                  <a:lnTo>
                    <a:pt x="805" y="643"/>
                  </a:lnTo>
                  <a:lnTo>
                    <a:pt x="793" y="650"/>
                  </a:lnTo>
                  <a:lnTo>
                    <a:pt x="785" y="653"/>
                  </a:lnTo>
                  <a:lnTo>
                    <a:pt x="777" y="656"/>
                  </a:lnTo>
                  <a:lnTo>
                    <a:pt x="768" y="658"/>
                  </a:lnTo>
                  <a:lnTo>
                    <a:pt x="759" y="659"/>
                  </a:lnTo>
                  <a:lnTo>
                    <a:pt x="749" y="659"/>
                  </a:lnTo>
                  <a:lnTo>
                    <a:pt x="739" y="658"/>
                  </a:lnTo>
                  <a:lnTo>
                    <a:pt x="729" y="655"/>
                  </a:lnTo>
                  <a:lnTo>
                    <a:pt x="720" y="650"/>
                  </a:lnTo>
                  <a:lnTo>
                    <a:pt x="710" y="643"/>
                  </a:lnTo>
                  <a:lnTo>
                    <a:pt x="701" y="634"/>
                  </a:lnTo>
                  <a:lnTo>
                    <a:pt x="701" y="634"/>
                  </a:lnTo>
                  <a:lnTo>
                    <a:pt x="694" y="625"/>
                  </a:lnTo>
                  <a:lnTo>
                    <a:pt x="690" y="616"/>
                  </a:lnTo>
                  <a:lnTo>
                    <a:pt x="688" y="607"/>
                  </a:lnTo>
                  <a:lnTo>
                    <a:pt x="689" y="598"/>
                  </a:lnTo>
                  <a:lnTo>
                    <a:pt x="690" y="589"/>
                  </a:lnTo>
                  <a:lnTo>
                    <a:pt x="694" y="581"/>
                  </a:lnTo>
                  <a:lnTo>
                    <a:pt x="701" y="572"/>
                  </a:lnTo>
                  <a:lnTo>
                    <a:pt x="708" y="564"/>
                  </a:lnTo>
                  <a:lnTo>
                    <a:pt x="717" y="557"/>
                  </a:lnTo>
                  <a:lnTo>
                    <a:pt x="727" y="550"/>
                  </a:lnTo>
                  <a:lnTo>
                    <a:pt x="740" y="544"/>
                  </a:lnTo>
                  <a:lnTo>
                    <a:pt x="754" y="540"/>
                  </a:lnTo>
                  <a:lnTo>
                    <a:pt x="769" y="536"/>
                  </a:lnTo>
                  <a:lnTo>
                    <a:pt x="786" y="533"/>
                  </a:lnTo>
                  <a:lnTo>
                    <a:pt x="804" y="532"/>
                  </a:lnTo>
                  <a:lnTo>
                    <a:pt x="823" y="531"/>
                  </a:lnTo>
                  <a:lnTo>
                    <a:pt x="823" y="531"/>
                  </a:lnTo>
                  <a:lnTo>
                    <a:pt x="824" y="520"/>
                  </a:lnTo>
                  <a:lnTo>
                    <a:pt x="823" y="509"/>
                  </a:lnTo>
                  <a:lnTo>
                    <a:pt x="820" y="494"/>
                  </a:lnTo>
                  <a:lnTo>
                    <a:pt x="817" y="486"/>
                  </a:lnTo>
                  <a:lnTo>
                    <a:pt x="814" y="477"/>
                  </a:lnTo>
                  <a:lnTo>
                    <a:pt x="810" y="469"/>
                  </a:lnTo>
                  <a:lnTo>
                    <a:pt x="805" y="460"/>
                  </a:lnTo>
                  <a:lnTo>
                    <a:pt x="799" y="451"/>
                  </a:lnTo>
                  <a:lnTo>
                    <a:pt x="792" y="443"/>
                  </a:lnTo>
                  <a:lnTo>
                    <a:pt x="782" y="435"/>
                  </a:lnTo>
                  <a:lnTo>
                    <a:pt x="772" y="426"/>
                  </a:lnTo>
                  <a:lnTo>
                    <a:pt x="772" y="426"/>
                  </a:lnTo>
                  <a:lnTo>
                    <a:pt x="764" y="421"/>
                  </a:lnTo>
                  <a:lnTo>
                    <a:pt x="755" y="417"/>
                  </a:lnTo>
                  <a:lnTo>
                    <a:pt x="745" y="415"/>
                  </a:lnTo>
                  <a:lnTo>
                    <a:pt x="735" y="413"/>
                  </a:lnTo>
                  <a:lnTo>
                    <a:pt x="725" y="412"/>
                  </a:lnTo>
                  <a:lnTo>
                    <a:pt x="716" y="412"/>
                  </a:lnTo>
                  <a:lnTo>
                    <a:pt x="698" y="414"/>
                  </a:lnTo>
                  <a:lnTo>
                    <a:pt x="681" y="418"/>
                  </a:lnTo>
                  <a:lnTo>
                    <a:pt x="668" y="421"/>
                  </a:lnTo>
                  <a:lnTo>
                    <a:pt x="657" y="425"/>
                  </a:lnTo>
                  <a:lnTo>
                    <a:pt x="657" y="425"/>
                  </a:lnTo>
                  <a:lnTo>
                    <a:pt x="664" y="421"/>
                  </a:lnTo>
                  <a:lnTo>
                    <a:pt x="672" y="415"/>
                  </a:lnTo>
                  <a:lnTo>
                    <a:pt x="681" y="408"/>
                  </a:lnTo>
                  <a:lnTo>
                    <a:pt x="691" y="397"/>
                  </a:lnTo>
                  <a:lnTo>
                    <a:pt x="701" y="384"/>
                  </a:lnTo>
                  <a:lnTo>
                    <a:pt x="705" y="376"/>
                  </a:lnTo>
                  <a:lnTo>
                    <a:pt x="709" y="369"/>
                  </a:lnTo>
                  <a:lnTo>
                    <a:pt x="712" y="360"/>
                  </a:lnTo>
                  <a:lnTo>
                    <a:pt x="714" y="351"/>
                  </a:lnTo>
                  <a:lnTo>
                    <a:pt x="714" y="351"/>
                  </a:lnTo>
                  <a:lnTo>
                    <a:pt x="716" y="336"/>
                  </a:lnTo>
                  <a:lnTo>
                    <a:pt x="715" y="320"/>
                  </a:lnTo>
                  <a:lnTo>
                    <a:pt x="713" y="303"/>
                  </a:lnTo>
                  <a:lnTo>
                    <a:pt x="709" y="285"/>
                  </a:lnTo>
                  <a:lnTo>
                    <a:pt x="702" y="267"/>
                  </a:lnTo>
                  <a:lnTo>
                    <a:pt x="693" y="249"/>
                  </a:lnTo>
                  <a:lnTo>
                    <a:pt x="682" y="232"/>
                  </a:lnTo>
                  <a:lnTo>
                    <a:pt x="676" y="223"/>
                  </a:lnTo>
                  <a:lnTo>
                    <a:pt x="669" y="216"/>
                  </a:lnTo>
                  <a:lnTo>
                    <a:pt x="668" y="214"/>
                  </a:lnTo>
                  <a:lnTo>
                    <a:pt x="665" y="214"/>
                  </a:lnTo>
                  <a:lnTo>
                    <a:pt x="665" y="214"/>
                  </a:lnTo>
                  <a:lnTo>
                    <a:pt x="655" y="214"/>
                  </a:lnTo>
                  <a:lnTo>
                    <a:pt x="644" y="215"/>
                  </a:lnTo>
                  <a:lnTo>
                    <a:pt x="624" y="219"/>
                  </a:lnTo>
                  <a:lnTo>
                    <a:pt x="606" y="224"/>
                  </a:lnTo>
                  <a:lnTo>
                    <a:pt x="587" y="232"/>
                  </a:lnTo>
                  <a:lnTo>
                    <a:pt x="572" y="240"/>
                  </a:lnTo>
                  <a:lnTo>
                    <a:pt x="557" y="250"/>
                  </a:lnTo>
                  <a:lnTo>
                    <a:pt x="545" y="261"/>
                  </a:lnTo>
                  <a:lnTo>
                    <a:pt x="535" y="272"/>
                  </a:lnTo>
                  <a:lnTo>
                    <a:pt x="535" y="272"/>
                  </a:lnTo>
                  <a:lnTo>
                    <a:pt x="530" y="280"/>
                  </a:lnTo>
                  <a:lnTo>
                    <a:pt x="526" y="288"/>
                  </a:lnTo>
                  <a:lnTo>
                    <a:pt x="523" y="297"/>
                  </a:lnTo>
                  <a:lnTo>
                    <a:pt x="520" y="305"/>
                  </a:lnTo>
                  <a:lnTo>
                    <a:pt x="517" y="320"/>
                  </a:lnTo>
                  <a:lnTo>
                    <a:pt x="516" y="334"/>
                  </a:lnTo>
                  <a:lnTo>
                    <a:pt x="516" y="347"/>
                  </a:lnTo>
                  <a:lnTo>
                    <a:pt x="517" y="357"/>
                  </a:lnTo>
                  <a:lnTo>
                    <a:pt x="519" y="365"/>
                  </a:lnTo>
                  <a:lnTo>
                    <a:pt x="519" y="365"/>
                  </a:lnTo>
                  <a:lnTo>
                    <a:pt x="513" y="354"/>
                  </a:lnTo>
                  <a:lnTo>
                    <a:pt x="508" y="341"/>
                  </a:lnTo>
                  <a:lnTo>
                    <a:pt x="499" y="327"/>
                  </a:lnTo>
                  <a:lnTo>
                    <a:pt x="488" y="313"/>
                  </a:lnTo>
                  <a:lnTo>
                    <a:pt x="482" y="306"/>
                  </a:lnTo>
                  <a:lnTo>
                    <a:pt x="475" y="299"/>
                  </a:lnTo>
                  <a:lnTo>
                    <a:pt x="467" y="292"/>
                  </a:lnTo>
                  <a:lnTo>
                    <a:pt x="458" y="287"/>
                  </a:lnTo>
                  <a:lnTo>
                    <a:pt x="450" y="283"/>
                  </a:lnTo>
                  <a:lnTo>
                    <a:pt x="440" y="281"/>
                  </a:lnTo>
                  <a:lnTo>
                    <a:pt x="440" y="281"/>
                  </a:lnTo>
                  <a:lnTo>
                    <a:pt x="428" y="278"/>
                  </a:lnTo>
                  <a:lnTo>
                    <a:pt x="415" y="278"/>
                  </a:lnTo>
                  <a:lnTo>
                    <a:pt x="404" y="278"/>
                  </a:lnTo>
                  <a:lnTo>
                    <a:pt x="393" y="279"/>
                  </a:lnTo>
                  <a:lnTo>
                    <a:pt x="384" y="281"/>
                  </a:lnTo>
                  <a:lnTo>
                    <a:pt x="374" y="284"/>
                  </a:lnTo>
                  <a:lnTo>
                    <a:pt x="365" y="287"/>
                  </a:lnTo>
                  <a:lnTo>
                    <a:pt x="358" y="291"/>
                  </a:lnTo>
                  <a:lnTo>
                    <a:pt x="345" y="300"/>
                  </a:lnTo>
                  <a:lnTo>
                    <a:pt x="336" y="307"/>
                  </a:lnTo>
                  <a:lnTo>
                    <a:pt x="328" y="314"/>
                  </a:lnTo>
                  <a:lnTo>
                    <a:pt x="328" y="314"/>
                  </a:lnTo>
                  <a:lnTo>
                    <a:pt x="342" y="328"/>
                  </a:lnTo>
                  <a:lnTo>
                    <a:pt x="353" y="343"/>
                  </a:lnTo>
                  <a:lnTo>
                    <a:pt x="362" y="357"/>
                  </a:lnTo>
                  <a:lnTo>
                    <a:pt x="369" y="371"/>
                  </a:lnTo>
                  <a:lnTo>
                    <a:pt x="375" y="384"/>
                  </a:lnTo>
                  <a:lnTo>
                    <a:pt x="380" y="398"/>
                  </a:lnTo>
                  <a:lnTo>
                    <a:pt x="382" y="410"/>
                  </a:lnTo>
                  <a:lnTo>
                    <a:pt x="383" y="421"/>
                  </a:lnTo>
                  <a:lnTo>
                    <a:pt x="382" y="432"/>
                  </a:lnTo>
                  <a:lnTo>
                    <a:pt x="380" y="442"/>
                  </a:lnTo>
                  <a:lnTo>
                    <a:pt x="375" y="451"/>
                  </a:lnTo>
                  <a:lnTo>
                    <a:pt x="370" y="458"/>
                  </a:lnTo>
                  <a:lnTo>
                    <a:pt x="363" y="464"/>
                  </a:lnTo>
                  <a:lnTo>
                    <a:pt x="356" y="469"/>
                  </a:lnTo>
                  <a:lnTo>
                    <a:pt x="347" y="472"/>
                  </a:lnTo>
                  <a:lnTo>
                    <a:pt x="337" y="473"/>
                  </a:lnTo>
                  <a:lnTo>
                    <a:pt x="337" y="473"/>
                  </a:lnTo>
                  <a:lnTo>
                    <a:pt x="322" y="473"/>
                  </a:lnTo>
                  <a:lnTo>
                    <a:pt x="311" y="471"/>
                  </a:lnTo>
                  <a:lnTo>
                    <a:pt x="301" y="467"/>
                  </a:lnTo>
                  <a:lnTo>
                    <a:pt x="292" y="462"/>
                  </a:lnTo>
                  <a:lnTo>
                    <a:pt x="283" y="456"/>
                  </a:lnTo>
                  <a:lnTo>
                    <a:pt x="277" y="449"/>
                  </a:lnTo>
                  <a:lnTo>
                    <a:pt x="272" y="441"/>
                  </a:lnTo>
                  <a:lnTo>
                    <a:pt x="268" y="432"/>
                  </a:lnTo>
                  <a:lnTo>
                    <a:pt x="264" y="424"/>
                  </a:lnTo>
                  <a:lnTo>
                    <a:pt x="262" y="417"/>
                  </a:lnTo>
                  <a:lnTo>
                    <a:pt x="259" y="403"/>
                  </a:lnTo>
                  <a:lnTo>
                    <a:pt x="257" y="393"/>
                  </a:lnTo>
                  <a:lnTo>
                    <a:pt x="257" y="390"/>
                  </a:lnTo>
                  <a:lnTo>
                    <a:pt x="257" y="390"/>
                  </a:lnTo>
                  <a:lnTo>
                    <a:pt x="255" y="392"/>
                  </a:lnTo>
                  <a:lnTo>
                    <a:pt x="249" y="398"/>
                  </a:lnTo>
                  <a:lnTo>
                    <a:pt x="239" y="405"/>
                  </a:lnTo>
                  <a:lnTo>
                    <a:pt x="227" y="413"/>
                  </a:lnTo>
                  <a:lnTo>
                    <a:pt x="220" y="416"/>
                  </a:lnTo>
                  <a:lnTo>
                    <a:pt x="212" y="419"/>
                  </a:lnTo>
                  <a:lnTo>
                    <a:pt x="204" y="420"/>
                  </a:lnTo>
                  <a:lnTo>
                    <a:pt x="194" y="421"/>
                  </a:lnTo>
                  <a:lnTo>
                    <a:pt x="185" y="421"/>
                  </a:lnTo>
                  <a:lnTo>
                    <a:pt x="175" y="419"/>
                  </a:lnTo>
                  <a:lnTo>
                    <a:pt x="165" y="415"/>
                  </a:lnTo>
                  <a:lnTo>
                    <a:pt x="155" y="409"/>
                  </a:lnTo>
                  <a:lnTo>
                    <a:pt x="155" y="409"/>
                  </a:lnTo>
                  <a:lnTo>
                    <a:pt x="147" y="404"/>
                  </a:lnTo>
                  <a:lnTo>
                    <a:pt x="140" y="397"/>
                  </a:lnTo>
                  <a:lnTo>
                    <a:pt x="135" y="390"/>
                  </a:lnTo>
                  <a:lnTo>
                    <a:pt x="131" y="381"/>
                  </a:lnTo>
                  <a:lnTo>
                    <a:pt x="129" y="372"/>
                  </a:lnTo>
                  <a:lnTo>
                    <a:pt x="128" y="363"/>
                  </a:lnTo>
                  <a:lnTo>
                    <a:pt x="128" y="354"/>
                  </a:lnTo>
                  <a:lnTo>
                    <a:pt x="131" y="345"/>
                  </a:lnTo>
                  <a:lnTo>
                    <a:pt x="136" y="334"/>
                  </a:lnTo>
                  <a:lnTo>
                    <a:pt x="142" y="325"/>
                  </a:lnTo>
                  <a:lnTo>
                    <a:pt x="153" y="316"/>
                  </a:lnTo>
                  <a:lnTo>
                    <a:pt x="164" y="308"/>
                  </a:lnTo>
                  <a:lnTo>
                    <a:pt x="178" y="300"/>
                  </a:lnTo>
                  <a:lnTo>
                    <a:pt x="195" y="292"/>
                  </a:lnTo>
                  <a:lnTo>
                    <a:pt x="216" y="286"/>
                  </a:lnTo>
                  <a:lnTo>
                    <a:pt x="239" y="280"/>
                  </a:lnTo>
                  <a:lnTo>
                    <a:pt x="239" y="280"/>
                  </a:lnTo>
                  <a:lnTo>
                    <a:pt x="238" y="275"/>
                  </a:lnTo>
                  <a:lnTo>
                    <a:pt x="233" y="262"/>
                  </a:lnTo>
                  <a:lnTo>
                    <a:pt x="230" y="253"/>
                  </a:lnTo>
                  <a:lnTo>
                    <a:pt x="225" y="242"/>
                  </a:lnTo>
                  <a:lnTo>
                    <a:pt x="220" y="232"/>
                  </a:lnTo>
                  <a:lnTo>
                    <a:pt x="213" y="222"/>
                  </a:lnTo>
                  <a:lnTo>
                    <a:pt x="205" y="213"/>
                  </a:lnTo>
                  <a:lnTo>
                    <a:pt x="195" y="203"/>
                  </a:lnTo>
                  <a:lnTo>
                    <a:pt x="185" y="196"/>
                  </a:lnTo>
                  <a:lnTo>
                    <a:pt x="173" y="190"/>
                  </a:lnTo>
                  <a:lnTo>
                    <a:pt x="167" y="188"/>
                  </a:lnTo>
                  <a:lnTo>
                    <a:pt x="161" y="187"/>
                  </a:lnTo>
                  <a:lnTo>
                    <a:pt x="154" y="186"/>
                  </a:lnTo>
                  <a:lnTo>
                    <a:pt x="145" y="185"/>
                  </a:lnTo>
                  <a:lnTo>
                    <a:pt x="138" y="186"/>
                  </a:lnTo>
                  <a:lnTo>
                    <a:pt x="129" y="187"/>
                  </a:lnTo>
                  <a:lnTo>
                    <a:pt x="121" y="190"/>
                  </a:lnTo>
                  <a:lnTo>
                    <a:pt x="112" y="193"/>
                  </a:lnTo>
                  <a:lnTo>
                    <a:pt x="112" y="193"/>
                  </a:lnTo>
                  <a:lnTo>
                    <a:pt x="115" y="191"/>
                  </a:lnTo>
                  <a:lnTo>
                    <a:pt x="119" y="188"/>
                  </a:lnTo>
                  <a:lnTo>
                    <a:pt x="127" y="180"/>
                  </a:lnTo>
                  <a:lnTo>
                    <a:pt x="136" y="168"/>
                  </a:lnTo>
                  <a:lnTo>
                    <a:pt x="144" y="153"/>
                  </a:lnTo>
                  <a:lnTo>
                    <a:pt x="148" y="144"/>
                  </a:lnTo>
                  <a:lnTo>
                    <a:pt x="153" y="136"/>
                  </a:lnTo>
                  <a:lnTo>
                    <a:pt x="156" y="127"/>
                  </a:lnTo>
                  <a:lnTo>
                    <a:pt x="158" y="117"/>
                  </a:lnTo>
                  <a:lnTo>
                    <a:pt x="159" y="106"/>
                  </a:lnTo>
                  <a:lnTo>
                    <a:pt x="160" y="97"/>
                  </a:lnTo>
                  <a:lnTo>
                    <a:pt x="159" y="86"/>
                  </a:lnTo>
                  <a:lnTo>
                    <a:pt x="157" y="76"/>
                  </a:lnTo>
                  <a:lnTo>
                    <a:pt x="157" y="76"/>
                  </a:lnTo>
                  <a:lnTo>
                    <a:pt x="155" y="66"/>
                  </a:lnTo>
                  <a:lnTo>
                    <a:pt x="150" y="57"/>
                  </a:lnTo>
                  <a:lnTo>
                    <a:pt x="147" y="49"/>
                  </a:lnTo>
                  <a:lnTo>
                    <a:pt x="143" y="41"/>
                  </a:lnTo>
                  <a:lnTo>
                    <a:pt x="134" y="28"/>
                  </a:lnTo>
                  <a:lnTo>
                    <a:pt x="125" y="17"/>
                  </a:lnTo>
                  <a:lnTo>
                    <a:pt x="117" y="9"/>
                  </a:lnTo>
                  <a:lnTo>
                    <a:pt x="110" y="4"/>
                  </a:lnTo>
                  <a:lnTo>
                    <a:pt x="103" y="0"/>
                  </a:lnTo>
                  <a:lnTo>
                    <a:pt x="0" y="593"/>
                  </a:lnTo>
                  <a:lnTo>
                    <a:pt x="269" y="712"/>
                  </a:lnTo>
                  <a:lnTo>
                    <a:pt x="269" y="712"/>
                  </a:lnTo>
                  <a:lnTo>
                    <a:pt x="293" y="693"/>
                  </a:lnTo>
                  <a:lnTo>
                    <a:pt x="315" y="677"/>
                  </a:lnTo>
                  <a:lnTo>
                    <a:pt x="336" y="665"/>
                  </a:lnTo>
                  <a:lnTo>
                    <a:pt x="354" y="656"/>
                  </a:lnTo>
                  <a:lnTo>
                    <a:pt x="354" y="656"/>
                  </a:lnTo>
                  <a:lnTo>
                    <a:pt x="367" y="650"/>
                  </a:lnTo>
                  <a:lnTo>
                    <a:pt x="382" y="646"/>
                  </a:lnTo>
                  <a:lnTo>
                    <a:pt x="396" y="642"/>
                  </a:lnTo>
                  <a:lnTo>
                    <a:pt x="409" y="639"/>
                  </a:lnTo>
                  <a:lnTo>
                    <a:pt x="423" y="637"/>
                  </a:lnTo>
                  <a:lnTo>
                    <a:pt x="437" y="636"/>
                  </a:lnTo>
                  <a:lnTo>
                    <a:pt x="450" y="635"/>
                  </a:lnTo>
                  <a:lnTo>
                    <a:pt x="464" y="635"/>
                  </a:lnTo>
                  <a:lnTo>
                    <a:pt x="478" y="636"/>
                  </a:lnTo>
                  <a:lnTo>
                    <a:pt x="491" y="638"/>
                  </a:lnTo>
                  <a:lnTo>
                    <a:pt x="504" y="640"/>
                  </a:lnTo>
                  <a:lnTo>
                    <a:pt x="517" y="643"/>
                  </a:lnTo>
                  <a:lnTo>
                    <a:pt x="542" y="650"/>
                  </a:lnTo>
                  <a:lnTo>
                    <a:pt x="566" y="658"/>
                  </a:lnTo>
                  <a:lnTo>
                    <a:pt x="566" y="658"/>
                  </a:lnTo>
                  <a:lnTo>
                    <a:pt x="582" y="667"/>
                  </a:lnTo>
                  <a:lnTo>
                    <a:pt x="596" y="675"/>
                  </a:lnTo>
                  <a:lnTo>
                    <a:pt x="610" y="683"/>
                  </a:lnTo>
                  <a:lnTo>
                    <a:pt x="621" y="691"/>
                  </a:lnTo>
                  <a:lnTo>
                    <a:pt x="631" y="699"/>
                  </a:lnTo>
                  <a:lnTo>
                    <a:pt x="639" y="709"/>
                  </a:lnTo>
                  <a:lnTo>
                    <a:pt x="646" y="717"/>
                  </a:lnTo>
                  <a:lnTo>
                    <a:pt x="653" y="726"/>
                  </a:lnTo>
                  <a:lnTo>
                    <a:pt x="658" y="735"/>
                  </a:lnTo>
                  <a:lnTo>
                    <a:pt x="662" y="743"/>
                  </a:lnTo>
                  <a:lnTo>
                    <a:pt x="665" y="753"/>
                  </a:lnTo>
                  <a:lnTo>
                    <a:pt x="668" y="761"/>
                  </a:lnTo>
                  <a:lnTo>
                    <a:pt x="671" y="778"/>
                  </a:lnTo>
                  <a:lnTo>
                    <a:pt x="673" y="793"/>
                  </a:lnTo>
                  <a:lnTo>
                    <a:pt x="673" y="793"/>
                  </a:lnTo>
                  <a:lnTo>
                    <a:pt x="672" y="804"/>
                  </a:lnTo>
                  <a:lnTo>
                    <a:pt x="670" y="815"/>
                  </a:lnTo>
                  <a:lnTo>
                    <a:pt x="667" y="827"/>
                  </a:lnTo>
                  <a:lnTo>
                    <a:pt x="663" y="839"/>
                  </a:lnTo>
                  <a:lnTo>
                    <a:pt x="654" y="863"/>
                  </a:lnTo>
                  <a:lnTo>
                    <a:pt x="646" y="877"/>
                  </a:lnTo>
                  <a:lnTo>
                    <a:pt x="841" y="9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7" name="Freeform 43"/>
            <p:cNvSpPr>
              <a:spLocks/>
            </p:cNvSpPr>
            <p:nvPr userDrawn="1"/>
          </p:nvSpPr>
          <p:spPr bwMode="auto">
            <a:xfrm>
              <a:off x="6174034" y="454191"/>
              <a:ext cx="193675" cy="33339"/>
            </a:xfrm>
            <a:custGeom>
              <a:avLst/>
              <a:gdLst>
                <a:gd name="T0" fmla="*/ 1228 w 1463"/>
                <a:gd name="T1" fmla="*/ 227 h 256"/>
                <a:gd name="T2" fmla="*/ 1463 w 1463"/>
                <a:gd name="T3" fmla="*/ 113 h 256"/>
                <a:gd name="T4" fmla="*/ 1225 w 1463"/>
                <a:gd name="T5" fmla="*/ 14 h 256"/>
                <a:gd name="T6" fmla="*/ 1225 w 1463"/>
                <a:gd name="T7" fmla="*/ 14 h 256"/>
                <a:gd name="T8" fmla="*/ 1152 w 1463"/>
                <a:gd name="T9" fmla="*/ 15 h 256"/>
                <a:gd name="T10" fmla="*/ 1060 w 1463"/>
                <a:gd name="T11" fmla="*/ 16 h 256"/>
                <a:gd name="T12" fmla="*/ 949 w 1463"/>
                <a:gd name="T13" fmla="*/ 15 h 256"/>
                <a:gd name="T14" fmla="*/ 824 w 1463"/>
                <a:gd name="T15" fmla="*/ 13 h 256"/>
                <a:gd name="T16" fmla="*/ 531 w 1463"/>
                <a:gd name="T17" fmla="*/ 7 h 256"/>
                <a:gd name="T18" fmla="*/ 197 w 1463"/>
                <a:gd name="T19" fmla="*/ 0 h 256"/>
                <a:gd name="T20" fmla="*/ 0 w 1463"/>
                <a:gd name="T21" fmla="*/ 256 h 256"/>
                <a:gd name="T22" fmla="*/ 0 w 1463"/>
                <a:gd name="T23" fmla="*/ 256 h 256"/>
                <a:gd name="T24" fmla="*/ 734 w 1463"/>
                <a:gd name="T25" fmla="*/ 240 h 256"/>
                <a:gd name="T26" fmla="*/ 1024 w 1463"/>
                <a:gd name="T27" fmla="*/ 234 h 256"/>
                <a:gd name="T28" fmla="*/ 1228 w 1463"/>
                <a:gd name="T29" fmla="*/ 227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63" h="256">
                  <a:moveTo>
                    <a:pt x="1228" y="227"/>
                  </a:moveTo>
                  <a:lnTo>
                    <a:pt x="1463" y="113"/>
                  </a:lnTo>
                  <a:lnTo>
                    <a:pt x="1225" y="14"/>
                  </a:lnTo>
                  <a:lnTo>
                    <a:pt x="1225" y="14"/>
                  </a:lnTo>
                  <a:lnTo>
                    <a:pt x="1152" y="15"/>
                  </a:lnTo>
                  <a:lnTo>
                    <a:pt x="1060" y="16"/>
                  </a:lnTo>
                  <a:lnTo>
                    <a:pt x="949" y="15"/>
                  </a:lnTo>
                  <a:lnTo>
                    <a:pt x="824" y="13"/>
                  </a:lnTo>
                  <a:lnTo>
                    <a:pt x="531" y="7"/>
                  </a:lnTo>
                  <a:lnTo>
                    <a:pt x="197" y="0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734" y="240"/>
                  </a:lnTo>
                  <a:lnTo>
                    <a:pt x="1024" y="234"/>
                  </a:lnTo>
                  <a:lnTo>
                    <a:pt x="1228" y="2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8" name="Freeform 44"/>
            <p:cNvSpPr>
              <a:spLocks/>
            </p:cNvSpPr>
            <p:nvPr userDrawn="1"/>
          </p:nvSpPr>
          <p:spPr bwMode="auto">
            <a:xfrm>
              <a:off x="6235946" y="536742"/>
              <a:ext cx="114300" cy="112713"/>
            </a:xfrm>
            <a:custGeom>
              <a:avLst/>
              <a:gdLst>
                <a:gd name="T0" fmla="*/ 386 w 869"/>
                <a:gd name="T1" fmla="*/ 818 h 851"/>
                <a:gd name="T2" fmla="*/ 235 w 869"/>
                <a:gd name="T3" fmla="*/ 737 h 851"/>
                <a:gd name="T4" fmla="*/ 156 w 869"/>
                <a:gd name="T5" fmla="*/ 685 h 851"/>
                <a:gd name="T6" fmla="*/ 90 w 869"/>
                <a:gd name="T7" fmla="*/ 626 h 851"/>
                <a:gd name="T8" fmla="*/ 37 w 869"/>
                <a:gd name="T9" fmla="*/ 557 h 851"/>
                <a:gd name="T10" fmla="*/ 24 w 869"/>
                <a:gd name="T11" fmla="*/ 531 h 851"/>
                <a:gd name="T12" fmla="*/ 10 w 869"/>
                <a:gd name="T13" fmla="*/ 487 h 851"/>
                <a:gd name="T14" fmla="*/ 2 w 869"/>
                <a:gd name="T15" fmla="*/ 439 h 851"/>
                <a:gd name="T16" fmla="*/ 0 w 869"/>
                <a:gd name="T17" fmla="*/ 389 h 851"/>
                <a:gd name="T18" fmla="*/ 5 w 869"/>
                <a:gd name="T19" fmla="*/ 336 h 851"/>
                <a:gd name="T20" fmla="*/ 15 w 869"/>
                <a:gd name="T21" fmla="*/ 283 h 851"/>
                <a:gd name="T22" fmla="*/ 34 w 869"/>
                <a:gd name="T23" fmla="*/ 231 h 851"/>
                <a:gd name="T24" fmla="*/ 59 w 869"/>
                <a:gd name="T25" fmla="*/ 182 h 851"/>
                <a:gd name="T26" fmla="*/ 93 w 869"/>
                <a:gd name="T27" fmla="*/ 136 h 851"/>
                <a:gd name="T28" fmla="*/ 134 w 869"/>
                <a:gd name="T29" fmla="*/ 94 h 851"/>
                <a:gd name="T30" fmla="*/ 183 w 869"/>
                <a:gd name="T31" fmla="*/ 59 h 851"/>
                <a:gd name="T32" fmla="*/ 198 w 869"/>
                <a:gd name="T33" fmla="*/ 75 h 851"/>
                <a:gd name="T34" fmla="*/ 217 w 869"/>
                <a:gd name="T35" fmla="*/ 106 h 851"/>
                <a:gd name="T36" fmla="*/ 227 w 869"/>
                <a:gd name="T37" fmla="*/ 141 h 851"/>
                <a:gd name="T38" fmla="*/ 247 w 869"/>
                <a:gd name="T39" fmla="*/ 150 h 851"/>
                <a:gd name="T40" fmla="*/ 379 w 869"/>
                <a:gd name="T41" fmla="*/ 144 h 851"/>
                <a:gd name="T42" fmla="*/ 424 w 869"/>
                <a:gd name="T43" fmla="*/ 143 h 851"/>
                <a:gd name="T44" fmla="*/ 424 w 869"/>
                <a:gd name="T45" fmla="*/ 94 h 851"/>
                <a:gd name="T46" fmla="*/ 414 w 869"/>
                <a:gd name="T47" fmla="*/ 37 h 851"/>
                <a:gd name="T48" fmla="*/ 397 w 869"/>
                <a:gd name="T49" fmla="*/ 0 h 851"/>
                <a:gd name="T50" fmla="*/ 431 w 869"/>
                <a:gd name="T51" fmla="*/ 27 h 851"/>
                <a:gd name="T52" fmla="*/ 459 w 869"/>
                <a:gd name="T53" fmla="*/ 55 h 851"/>
                <a:gd name="T54" fmla="*/ 475 w 869"/>
                <a:gd name="T55" fmla="*/ 82 h 851"/>
                <a:gd name="T56" fmla="*/ 487 w 869"/>
                <a:gd name="T57" fmla="*/ 116 h 851"/>
                <a:gd name="T58" fmla="*/ 493 w 869"/>
                <a:gd name="T59" fmla="*/ 143 h 851"/>
                <a:gd name="T60" fmla="*/ 671 w 869"/>
                <a:gd name="T61" fmla="*/ 133 h 851"/>
                <a:gd name="T62" fmla="*/ 662 w 869"/>
                <a:gd name="T63" fmla="*/ 88 h 851"/>
                <a:gd name="T64" fmla="*/ 643 w 869"/>
                <a:gd name="T65" fmla="*/ 50 h 851"/>
                <a:gd name="T66" fmla="*/ 651 w 869"/>
                <a:gd name="T67" fmla="*/ 46 h 851"/>
                <a:gd name="T68" fmla="*/ 699 w 869"/>
                <a:gd name="T69" fmla="*/ 73 h 851"/>
                <a:gd name="T70" fmla="*/ 740 w 869"/>
                <a:gd name="T71" fmla="*/ 104 h 851"/>
                <a:gd name="T72" fmla="*/ 775 w 869"/>
                <a:gd name="T73" fmla="*/ 138 h 851"/>
                <a:gd name="T74" fmla="*/ 803 w 869"/>
                <a:gd name="T75" fmla="*/ 175 h 851"/>
                <a:gd name="T76" fmla="*/ 837 w 869"/>
                <a:gd name="T77" fmla="*/ 238 h 851"/>
                <a:gd name="T78" fmla="*/ 861 w 869"/>
                <a:gd name="T79" fmla="*/ 312 h 851"/>
                <a:gd name="T80" fmla="*/ 869 w 869"/>
                <a:gd name="T81" fmla="*/ 379 h 851"/>
                <a:gd name="T82" fmla="*/ 869 w 869"/>
                <a:gd name="T83" fmla="*/ 423 h 851"/>
                <a:gd name="T84" fmla="*/ 859 w 869"/>
                <a:gd name="T85" fmla="*/ 499 h 851"/>
                <a:gd name="T86" fmla="*/ 834 w 869"/>
                <a:gd name="T87" fmla="*/ 569 h 851"/>
                <a:gd name="T88" fmla="*/ 796 w 869"/>
                <a:gd name="T89" fmla="*/ 631 h 851"/>
                <a:gd name="T90" fmla="*/ 749 w 869"/>
                <a:gd name="T91" fmla="*/ 684 h 851"/>
                <a:gd name="T92" fmla="*/ 693 w 869"/>
                <a:gd name="T93" fmla="*/ 727 h 851"/>
                <a:gd name="T94" fmla="*/ 626 w 869"/>
                <a:gd name="T95" fmla="*/ 766 h 851"/>
                <a:gd name="T96" fmla="*/ 506 w 869"/>
                <a:gd name="T97" fmla="*/ 826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9" h="851">
                  <a:moveTo>
                    <a:pt x="452" y="851"/>
                  </a:moveTo>
                  <a:lnTo>
                    <a:pt x="452" y="851"/>
                  </a:lnTo>
                  <a:lnTo>
                    <a:pt x="386" y="818"/>
                  </a:lnTo>
                  <a:lnTo>
                    <a:pt x="323" y="785"/>
                  </a:lnTo>
                  <a:lnTo>
                    <a:pt x="264" y="754"/>
                  </a:lnTo>
                  <a:lnTo>
                    <a:pt x="235" y="737"/>
                  </a:lnTo>
                  <a:lnTo>
                    <a:pt x="207" y="720"/>
                  </a:lnTo>
                  <a:lnTo>
                    <a:pt x="181" y="703"/>
                  </a:lnTo>
                  <a:lnTo>
                    <a:pt x="156" y="685"/>
                  </a:lnTo>
                  <a:lnTo>
                    <a:pt x="133" y="666"/>
                  </a:lnTo>
                  <a:lnTo>
                    <a:pt x="110" y="646"/>
                  </a:lnTo>
                  <a:lnTo>
                    <a:pt x="90" y="626"/>
                  </a:lnTo>
                  <a:lnTo>
                    <a:pt x="70" y="605"/>
                  </a:lnTo>
                  <a:lnTo>
                    <a:pt x="53" y="581"/>
                  </a:lnTo>
                  <a:lnTo>
                    <a:pt x="37" y="557"/>
                  </a:lnTo>
                  <a:lnTo>
                    <a:pt x="37" y="557"/>
                  </a:lnTo>
                  <a:lnTo>
                    <a:pt x="31" y="544"/>
                  </a:lnTo>
                  <a:lnTo>
                    <a:pt x="24" y="531"/>
                  </a:lnTo>
                  <a:lnTo>
                    <a:pt x="19" y="517"/>
                  </a:lnTo>
                  <a:lnTo>
                    <a:pt x="14" y="502"/>
                  </a:lnTo>
                  <a:lnTo>
                    <a:pt x="10" y="487"/>
                  </a:lnTo>
                  <a:lnTo>
                    <a:pt x="7" y="472"/>
                  </a:lnTo>
                  <a:lnTo>
                    <a:pt x="4" y="455"/>
                  </a:lnTo>
                  <a:lnTo>
                    <a:pt x="2" y="439"/>
                  </a:lnTo>
                  <a:lnTo>
                    <a:pt x="1" y="423"/>
                  </a:lnTo>
                  <a:lnTo>
                    <a:pt x="0" y="405"/>
                  </a:lnTo>
                  <a:lnTo>
                    <a:pt x="0" y="389"/>
                  </a:lnTo>
                  <a:lnTo>
                    <a:pt x="1" y="371"/>
                  </a:lnTo>
                  <a:lnTo>
                    <a:pt x="2" y="353"/>
                  </a:lnTo>
                  <a:lnTo>
                    <a:pt x="5" y="336"/>
                  </a:lnTo>
                  <a:lnTo>
                    <a:pt x="7" y="318"/>
                  </a:lnTo>
                  <a:lnTo>
                    <a:pt x="11" y="301"/>
                  </a:lnTo>
                  <a:lnTo>
                    <a:pt x="15" y="283"/>
                  </a:lnTo>
                  <a:lnTo>
                    <a:pt x="21" y="266"/>
                  </a:lnTo>
                  <a:lnTo>
                    <a:pt x="26" y="249"/>
                  </a:lnTo>
                  <a:lnTo>
                    <a:pt x="34" y="231"/>
                  </a:lnTo>
                  <a:lnTo>
                    <a:pt x="42" y="215"/>
                  </a:lnTo>
                  <a:lnTo>
                    <a:pt x="50" y="199"/>
                  </a:lnTo>
                  <a:lnTo>
                    <a:pt x="59" y="182"/>
                  </a:lnTo>
                  <a:lnTo>
                    <a:pt x="69" y="166"/>
                  </a:lnTo>
                  <a:lnTo>
                    <a:pt x="81" y="151"/>
                  </a:lnTo>
                  <a:lnTo>
                    <a:pt x="93" y="136"/>
                  </a:lnTo>
                  <a:lnTo>
                    <a:pt x="105" y="122"/>
                  </a:lnTo>
                  <a:lnTo>
                    <a:pt x="120" y="108"/>
                  </a:lnTo>
                  <a:lnTo>
                    <a:pt x="134" y="94"/>
                  </a:lnTo>
                  <a:lnTo>
                    <a:pt x="149" y="82"/>
                  </a:lnTo>
                  <a:lnTo>
                    <a:pt x="166" y="70"/>
                  </a:lnTo>
                  <a:lnTo>
                    <a:pt x="183" y="59"/>
                  </a:lnTo>
                  <a:lnTo>
                    <a:pt x="183" y="59"/>
                  </a:lnTo>
                  <a:lnTo>
                    <a:pt x="191" y="67"/>
                  </a:lnTo>
                  <a:lnTo>
                    <a:pt x="198" y="75"/>
                  </a:lnTo>
                  <a:lnTo>
                    <a:pt x="203" y="82"/>
                  </a:lnTo>
                  <a:lnTo>
                    <a:pt x="208" y="90"/>
                  </a:lnTo>
                  <a:lnTo>
                    <a:pt x="217" y="106"/>
                  </a:lnTo>
                  <a:lnTo>
                    <a:pt x="222" y="120"/>
                  </a:lnTo>
                  <a:lnTo>
                    <a:pt x="225" y="132"/>
                  </a:lnTo>
                  <a:lnTo>
                    <a:pt x="227" y="141"/>
                  </a:lnTo>
                  <a:lnTo>
                    <a:pt x="227" y="150"/>
                  </a:lnTo>
                  <a:lnTo>
                    <a:pt x="227" y="150"/>
                  </a:lnTo>
                  <a:lnTo>
                    <a:pt x="247" y="150"/>
                  </a:lnTo>
                  <a:lnTo>
                    <a:pt x="272" y="150"/>
                  </a:lnTo>
                  <a:lnTo>
                    <a:pt x="325" y="146"/>
                  </a:lnTo>
                  <a:lnTo>
                    <a:pt x="379" y="144"/>
                  </a:lnTo>
                  <a:lnTo>
                    <a:pt x="404" y="143"/>
                  </a:lnTo>
                  <a:lnTo>
                    <a:pt x="424" y="143"/>
                  </a:lnTo>
                  <a:lnTo>
                    <a:pt x="424" y="143"/>
                  </a:lnTo>
                  <a:lnTo>
                    <a:pt x="425" y="129"/>
                  </a:lnTo>
                  <a:lnTo>
                    <a:pt x="425" y="112"/>
                  </a:lnTo>
                  <a:lnTo>
                    <a:pt x="424" y="94"/>
                  </a:lnTo>
                  <a:lnTo>
                    <a:pt x="422" y="76"/>
                  </a:lnTo>
                  <a:lnTo>
                    <a:pt x="419" y="56"/>
                  </a:lnTo>
                  <a:lnTo>
                    <a:pt x="414" y="37"/>
                  </a:lnTo>
                  <a:lnTo>
                    <a:pt x="407" y="19"/>
                  </a:lnTo>
                  <a:lnTo>
                    <a:pt x="402" y="9"/>
                  </a:lnTo>
                  <a:lnTo>
                    <a:pt x="397" y="0"/>
                  </a:lnTo>
                  <a:lnTo>
                    <a:pt x="397" y="0"/>
                  </a:lnTo>
                  <a:lnTo>
                    <a:pt x="415" y="14"/>
                  </a:lnTo>
                  <a:lnTo>
                    <a:pt x="431" y="27"/>
                  </a:lnTo>
                  <a:lnTo>
                    <a:pt x="446" y="40"/>
                  </a:lnTo>
                  <a:lnTo>
                    <a:pt x="453" y="47"/>
                  </a:lnTo>
                  <a:lnTo>
                    <a:pt x="459" y="55"/>
                  </a:lnTo>
                  <a:lnTo>
                    <a:pt x="465" y="64"/>
                  </a:lnTo>
                  <a:lnTo>
                    <a:pt x="470" y="73"/>
                  </a:lnTo>
                  <a:lnTo>
                    <a:pt x="475" y="82"/>
                  </a:lnTo>
                  <a:lnTo>
                    <a:pt x="479" y="92"/>
                  </a:lnTo>
                  <a:lnTo>
                    <a:pt x="484" y="104"/>
                  </a:lnTo>
                  <a:lnTo>
                    <a:pt x="487" y="116"/>
                  </a:lnTo>
                  <a:lnTo>
                    <a:pt x="490" y="129"/>
                  </a:lnTo>
                  <a:lnTo>
                    <a:pt x="493" y="143"/>
                  </a:lnTo>
                  <a:lnTo>
                    <a:pt x="493" y="143"/>
                  </a:lnTo>
                  <a:lnTo>
                    <a:pt x="671" y="150"/>
                  </a:lnTo>
                  <a:lnTo>
                    <a:pt x="671" y="150"/>
                  </a:lnTo>
                  <a:lnTo>
                    <a:pt x="671" y="133"/>
                  </a:lnTo>
                  <a:lnTo>
                    <a:pt x="670" y="118"/>
                  </a:lnTo>
                  <a:lnTo>
                    <a:pt x="667" y="103"/>
                  </a:lnTo>
                  <a:lnTo>
                    <a:pt x="662" y="88"/>
                  </a:lnTo>
                  <a:lnTo>
                    <a:pt x="657" y="75"/>
                  </a:lnTo>
                  <a:lnTo>
                    <a:pt x="651" y="62"/>
                  </a:lnTo>
                  <a:lnTo>
                    <a:pt x="643" y="50"/>
                  </a:lnTo>
                  <a:lnTo>
                    <a:pt x="634" y="38"/>
                  </a:lnTo>
                  <a:lnTo>
                    <a:pt x="634" y="38"/>
                  </a:lnTo>
                  <a:lnTo>
                    <a:pt x="651" y="46"/>
                  </a:lnTo>
                  <a:lnTo>
                    <a:pt x="669" y="54"/>
                  </a:lnTo>
                  <a:lnTo>
                    <a:pt x="684" y="64"/>
                  </a:lnTo>
                  <a:lnTo>
                    <a:pt x="699" y="73"/>
                  </a:lnTo>
                  <a:lnTo>
                    <a:pt x="714" y="83"/>
                  </a:lnTo>
                  <a:lnTo>
                    <a:pt x="728" y="93"/>
                  </a:lnTo>
                  <a:lnTo>
                    <a:pt x="740" y="104"/>
                  </a:lnTo>
                  <a:lnTo>
                    <a:pt x="752" y="115"/>
                  </a:lnTo>
                  <a:lnTo>
                    <a:pt x="764" y="126"/>
                  </a:lnTo>
                  <a:lnTo>
                    <a:pt x="775" y="138"/>
                  </a:lnTo>
                  <a:lnTo>
                    <a:pt x="785" y="151"/>
                  </a:lnTo>
                  <a:lnTo>
                    <a:pt x="794" y="163"/>
                  </a:lnTo>
                  <a:lnTo>
                    <a:pt x="803" y="175"/>
                  </a:lnTo>
                  <a:lnTo>
                    <a:pt x="811" y="187"/>
                  </a:lnTo>
                  <a:lnTo>
                    <a:pt x="825" y="213"/>
                  </a:lnTo>
                  <a:lnTo>
                    <a:pt x="837" y="238"/>
                  </a:lnTo>
                  <a:lnTo>
                    <a:pt x="848" y="263"/>
                  </a:lnTo>
                  <a:lnTo>
                    <a:pt x="855" y="289"/>
                  </a:lnTo>
                  <a:lnTo>
                    <a:pt x="861" y="312"/>
                  </a:lnTo>
                  <a:lnTo>
                    <a:pt x="865" y="336"/>
                  </a:lnTo>
                  <a:lnTo>
                    <a:pt x="868" y="358"/>
                  </a:lnTo>
                  <a:lnTo>
                    <a:pt x="869" y="379"/>
                  </a:lnTo>
                  <a:lnTo>
                    <a:pt x="869" y="397"/>
                  </a:lnTo>
                  <a:lnTo>
                    <a:pt x="869" y="397"/>
                  </a:lnTo>
                  <a:lnTo>
                    <a:pt x="869" y="423"/>
                  </a:lnTo>
                  <a:lnTo>
                    <a:pt x="868" y="449"/>
                  </a:lnTo>
                  <a:lnTo>
                    <a:pt x="864" y="474"/>
                  </a:lnTo>
                  <a:lnTo>
                    <a:pt x="859" y="499"/>
                  </a:lnTo>
                  <a:lnTo>
                    <a:pt x="852" y="523"/>
                  </a:lnTo>
                  <a:lnTo>
                    <a:pt x="843" y="546"/>
                  </a:lnTo>
                  <a:lnTo>
                    <a:pt x="834" y="569"/>
                  </a:lnTo>
                  <a:lnTo>
                    <a:pt x="823" y="590"/>
                  </a:lnTo>
                  <a:lnTo>
                    <a:pt x="811" y="612"/>
                  </a:lnTo>
                  <a:lnTo>
                    <a:pt x="796" y="631"/>
                  </a:lnTo>
                  <a:lnTo>
                    <a:pt x="782" y="651"/>
                  </a:lnTo>
                  <a:lnTo>
                    <a:pt x="766" y="668"/>
                  </a:lnTo>
                  <a:lnTo>
                    <a:pt x="749" y="684"/>
                  </a:lnTo>
                  <a:lnTo>
                    <a:pt x="731" y="700"/>
                  </a:lnTo>
                  <a:lnTo>
                    <a:pt x="713" y="714"/>
                  </a:lnTo>
                  <a:lnTo>
                    <a:pt x="693" y="727"/>
                  </a:lnTo>
                  <a:lnTo>
                    <a:pt x="693" y="727"/>
                  </a:lnTo>
                  <a:lnTo>
                    <a:pt x="658" y="748"/>
                  </a:lnTo>
                  <a:lnTo>
                    <a:pt x="626" y="766"/>
                  </a:lnTo>
                  <a:lnTo>
                    <a:pt x="594" y="783"/>
                  </a:lnTo>
                  <a:lnTo>
                    <a:pt x="563" y="799"/>
                  </a:lnTo>
                  <a:lnTo>
                    <a:pt x="506" y="826"/>
                  </a:lnTo>
                  <a:lnTo>
                    <a:pt x="452" y="85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9" name="Freeform 45"/>
            <p:cNvSpPr>
              <a:spLocks/>
            </p:cNvSpPr>
            <p:nvPr userDrawn="1"/>
          </p:nvSpPr>
          <p:spPr bwMode="auto">
            <a:xfrm>
              <a:off x="6269285" y="814553"/>
              <a:ext cx="1587" cy="0"/>
            </a:xfrm>
            <a:custGeom>
              <a:avLst/>
              <a:gdLst>
                <a:gd name="T0" fmla="*/ 22 w 22"/>
                <a:gd name="T1" fmla="*/ 9 h 9"/>
                <a:gd name="T2" fmla="*/ 22 w 22"/>
                <a:gd name="T3" fmla="*/ 9 h 9"/>
                <a:gd name="T4" fmla="*/ 3 w 22"/>
                <a:gd name="T5" fmla="*/ 2 h 9"/>
                <a:gd name="T6" fmla="*/ 3 w 22"/>
                <a:gd name="T7" fmla="*/ 2 h 9"/>
                <a:gd name="T8" fmla="*/ 0 w 22"/>
                <a:gd name="T9" fmla="*/ 0 h 9"/>
                <a:gd name="T10" fmla="*/ 0 w 22"/>
                <a:gd name="T11" fmla="*/ 0 h 9"/>
                <a:gd name="T12" fmla="*/ 22 w 2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9">
                  <a:moveTo>
                    <a:pt x="22" y="9"/>
                  </a:moveTo>
                  <a:lnTo>
                    <a:pt x="22" y="9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2" y="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0" name="Freeform 46"/>
            <p:cNvSpPr>
              <a:spLocks/>
            </p:cNvSpPr>
            <p:nvPr userDrawn="1"/>
          </p:nvSpPr>
          <p:spPr bwMode="auto">
            <a:xfrm>
              <a:off x="6021634" y="497053"/>
              <a:ext cx="20637" cy="12699"/>
            </a:xfrm>
            <a:custGeom>
              <a:avLst/>
              <a:gdLst>
                <a:gd name="T0" fmla="*/ 166 w 166"/>
                <a:gd name="T1" fmla="*/ 69 h 96"/>
                <a:gd name="T2" fmla="*/ 166 w 166"/>
                <a:gd name="T3" fmla="*/ 69 h 96"/>
                <a:gd name="T4" fmla="*/ 166 w 166"/>
                <a:gd name="T5" fmla="*/ 70 h 96"/>
                <a:gd name="T6" fmla="*/ 165 w 166"/>
                <a:gd name="T7" fmla="*/ 72 h 96"/>
                <a:gd name="T8" fmla="*/ 161 w 166"/>
                <a:gd name="T9" fmla="*/ 74 h 96"/>
                <a:gd name="T10" fmla="*/ 155 w 166"/>
                <a:gd name="T11" fmla="*/ 77 h 96"/>
                <a:gd name="T12" fmla="*/ 145 w 166"/>
                <a:gd name="T13" fmla="*/ 79 h 96"/>
                <a:gd name="T14" fmla="*/ 123 w 166"/>
                <a:gd name="T15" fmla="*/ 85 h 96"/>
                <a:gd name="T16" fmla="*/ 95 w 166"/>
                <a:gd name="T17" fmla="*/ 90 h 96"/>
                <a:gd name="T18" fmla="*/ 68 w 166"/>
                <a:gd name="T19" fmla="*/ 94 h 96"/>
                <a:gd name="T20" fmla="*/ 42 w 166"/>
                <a:gd name="T21" fmla="*/ 96 h 96"/>
                <a:gd name="T22" fmla="*/ 24 w 166"/>
                <a:gd name="T23" fmla="*/ 96 h 96"/>
                <a:gd name="T24" fmla="*/ 17 w 166"/>
                <a:gd name="T25" fmla="*/ 95 h 96"/>
                <a:gd name="T26" fmla="*/ 13 w 166"/>
                <a:gd name="T27" fmla="*/ 94 h 96"/>
                <a:gd name="T28" fmla="*/ 13 w 166"/>
                <a:gd name="T29" fmla="*/ 94 h 96"/>
                <a:gd name="T30" fmla="*/ 10 w 166"/>
                <a:gd name="T31" fmla="*/ 92 h 96"/>
                <a:gd name="T32" fmla="*/ 8 w 166"/>
                <a:gd name="T33" fmla="*/ 88 h 96"/>
                <a:gd name="T34" fmla="*/ 5 w 166"/>
                <a:gd name="T35" fmla="*/ 77 h 96"/>
                <a:gd name="T36" fmla="*/ 2 w 166"/>
                <a:gd name="T37" fmla="*/ 65 h 96"/>
                <a:gd name="T38" fmla="*/ 0 w 166"/>
                <a:gd name="T39" fmla="*/ 51 h 96"/>
                <a:gd name="T40" fmla="*/ 0 w 166"/>
                <a:gd name="T41" fmla="*/ 36 h 96"/>
                <a:gd name="T42" fmla="*/ 0 w 166"/>
                <a:gd name="T43" fmla="*/ 23 h 96"/>
                <a:gd name="T44" fmla="*/ 1 w 166"/>
                <a:gd name="T45" fmla="*/ 13 h 96"/>
                <a:gd name="T46" fmla="*/ 2 w 166"/>
                <a:gd name="T47" fmla="*/ 8 h 96"/>
                <a:gd name="T48" fmla="*/ 4 w 166"/>
                <a:gd name="T49" fmla="*/ 5 h 96"/>
                <a:gd name="T50" fmla="*/ 4 w 166"/>
                <a:gd name="T51" fmla="*/ 5 h 96"/>
                <a:gd name="T52" fmla="*/ 5 w 166"/>
                <a:gd name="T53" fmla="*/ 4 h 96"/>
                <a:gd name="T54" fmla="*/ 7 w 166"/>
                <a:gd name="T55" fmla="*/ 2 h 96"/>
                <a:gd name="T56" fmla="*/ 13 w 166"/>
                <a:gd name="T57" fmla="*/ 1 h 96"/>
                <a:gd name="T58" fmla="*/ 22 w 166"/>
                <a:gd name="T59" fmla="*/ 0 h 96"/>
                <a:gd name="T60" fmla="*/ 32 w 166"/>
                <a:gd name="T61" fmla="*/ 0 h 96"/>
                <a:gd name="T62" fmla="*/ 43 w 166"/>
                <a:gd name="T63" fmla="*/ 1 h 96"/>
                <a:gd name="T64" fmla="*/ 55 w 166"/>
                <a:gd name="T65" fmla="*/ 3 h 96"/>
                <a:gd name="T66" fmla="*/ 69 w 166"/>
                <a:gd name="T67" fmla="*/ 6 h 96"/>
                <a:gd name="T68" fmla="*/ 83 w 166"/>
                <a:gd name="T69" fmla="*/ 10 h 96"/>
                <a:gd name="T70" fmla="*/ 96 w 166"/>
                <a:gd name="T71" fmla="*/ 15 h 96"/>
                <a:gd name="T72" fmla="*/ 110 w 166"/>
                <a:gd name="T73" fmla="*/ 20 h 96"/>
                <a:gd name="T74" fmla="*/ 123 w 166"/>
                <a:gd name="T75" fmla="*/ 27 h 96"/>
                <a:gd name="T76" fmla="*/ 135 w 166"/>
                <a:gd name="T77" fmla="*/ 34 h 96"/>
                <a:gd name="T78" fmla="*/ 145 w 166"/>
                <a:gd name="T79" fmla="*/ 42 h 96"/>
                <a:gd name="T80" fmla="*/ 155 w 166"/>
                <a:gd name="T81" fmla="*/ 51 h 96"/>
                <a:gd name="T82" fmla="*/ 162 w 166"/>
                <a:gd name="T83" fmla="*/ 60 h 96"/>
                <a:gd name="T84" fmla="*/ 164 w 166"/>
                <a:gd name="T85" fmla="*/ 64 h 96"/>
                <a:gd name="T86" fmla="*/ 166 w 166"/>
                <a:gd name="T87" fmla="*/ 6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6" h="96">
                  <a:moveTo>
                    <a:pt x="166" y="69"/>
                  </a:moveTo>
                  <a:lnTo>
                    <a:pt x="166" y="69"/>
                  </a:lnTo>
                  <a:lnTo>
                    <a:pt x="166" y="70"/>
                  </a:lnTo>
                  <a:lnTo>
                    <a:pt x="165" y="72"/>
                  </a:lnTo>
                  <a:lnTo>
                    <a:pt x="161" y="74"/>
                  </a:lnTo>
                  <a:lnTo>
                    <a:pt x="155" y="77"/>
                  </a:lnTo>
                  <a:lnTo>
                    <a:pt x="145" y="79"/>
                  </a:lnTo>
                  <a:lnTo>
                    <a:pt x="123" y="85"/>
                  </a:lnTo>
                  <a:lnTo>
                    <a:pt x="95" y="90"/>
                  </a:lnTo>
                  <a:lnTo>
                    <a:pt x="68" y="94"/>
                  </a:lnTo>
                  <a:lnTo>
                    <a:pt x="42" y="96"/>
                  </a:lnTo>
                  <a:lnTo>
                    <a:pt x="24" y="96"/>
                  </a:lnTo>
                  <a:lnTo>
                    <a:pt x="17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0" y="92"/>
                  </a:lnTo>
                  <a:lnTo>
                    <a:pt x="8" y="88"/>
                  </a:lnTo>
                  <a:lnTo>
                    <a:pt x="5" y="77"/>
                  </a:lnTo>
                  <a:lnTo>
                    <a:pt x="2" y="65"/>
                  </a:lnTo>
                  <a:lnTo>
                    <a:pt x="0" y="51"/>
                  </a:lnTo>
                  <a:lnTo>
                    <a:pt x="0" y="36"/>
                  </a:lnTo>
                  <a:lnTo>
                    <a:pt x="0" y="23"/>
                  </a:lnTo>
                  <a:lnTo>
                    <a:pt x="1" y="13"/>
                  </a:lnTo>
                  <a:lnTo>
                    <a:pt x="2" y="8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4"/>
                  </a:lnTo>
                  <a:lnTo>
                    <a:pt x="7" y="2"/>
                  </a:lnTo>
                  <a:lnTo>
                    <a:pt x="13" y="1"/>
                  </a:lnTo>
                  <a:lnTo>
                    <a:pt x="22" y="0"/>
                  </a:lnTo>
                  <a:lnTo>
                    <a:pt x="32" y="0"/>
                  </a:lnTo>
                  <a:lnTo>
                    <a:pt x="43" y="1"/>
                  </a:lnTo>
                  <a:lnTo>
                    <a:pt x="55" y="3"/>
                  </a:lnTo>
                  <a:lnTo>
                    <a:pt x="69" y="6"/>
                  </a:lnTo>
                  <a:lnTo>
                    <a:pt x="83" y="10"/>
                  </a:lnTo>
                  <a:lnTo>
                    <a:pt x="96" y="15"/>
                  </a:lnTo>
                  <a:lnTo>
                    <a:pt x="110" y="20"/>
                  </a:lnTo>
                  <a:lnTo>
                    <a:pt x="123" y="27"/>
                  </a:lnTo>
                  <a:lnTo>
                    <a:pt x="135" y="34"/>
                  </a:lnTo>
                  <a:lnTo>
                    <a:pt x="145" y="42"/>
                  </a:lnTo>
                  <a:lnTo>
                    <a:pt x="155" y="51"/>
                  </a:lnTo>
                  <a:lnTo>
                    <a:pt x="162" y="60"/>
                  </a:lnTo>
                  <a:lnTo>
                    <a:pt x="164" y="64"/>
                  </a:lnTo>
                  <a:lnTo>
                    <a:pt x="166" y="6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1" name="Freeform 47"/>
            <p:cNvSpPr>
              <a:spLocks/>
            </p:cNvSpPr>
            <p:nvPr userDrawn="1"/>
          </p:nvSpPr>
          <p:spPr bwMode="auto">
            <a:xfrm>
              <a:off x="5743823" y="454191"/>
              <a:ext cx="657225" cy="776289"/>
            </a:xfrm>
            <a:custGeom>
              <a:avLst/>
              <a:gdLst>
                <a:gd name="T0" fmla="*/ 4703 w 4973"/>
                <a:gd name="T1" fmla="*/ 1877 h 5865"/>
                <a:gd name="T2" fmla="*/ 4733 w 4973"/>
                <a:gd name="T3" fmla="*/ 1183 h 5865"/>
                <a:gd name="T4" fmla="*/ 4302 w 4973"/>
                <a:gd name="T5" fmla="*/ 476 h 5865"/>
                <a:gd name="T6" fmla="*/ 3581 w 4973"/>
                <a:gd name="T7" fmla="*/ 813 h 5865"/>
                <a:gd name="T8" fmla="*/ 3899 w 4973"/>
                <a:gd name="T9" fmla="*/ 1529 h 5865"/>
                <a:gd name="T10" fmla="*/ 3757 w 4973"/>
                <a:gd name="T11" fmla="*/ 2227 h 5865"/>
                <a:gd name="T12" fmla="*/ 3939 w 4973"/>
                <a:gd name="T13" fmla="*/ 2068 h 5865"/>
                <a:gd name="T14" fmla="*/ 4069 w 4973"/>
                <a:gd name="T15" fmla="*/ 1928 h 5865"/>
                <a:gd name="T16" fmla="*/ 4545 w 4973"/>
                <a:gd name="T17" fmla="*/ 1985 h 5865"/>
                <a:gd name="T18" fmla="*/ 4487 w 4973"/>
                <a:gd name="T19" fmla="*/ 2697 h 5865"/>
                <a:gd name="T20" fmla="*/ 3601 w 4973"/>
                <a:gd name="T21" fmla="*/ 2477 h 5865"/>
                <a:gd name="T22" fmla="*/ 3285 w 4973"/>
                <a:gd name="T23" fmla="*/ 1581 h 5865"/>
                <a:gd name="T24" fmla="*/ 3364 w 4973"/>
                <a:gd name="T25" fmla="*/ 1421 h 5865"/>
                <a:gd name="T26" fmla="*/ 3101 w 4973"/>
                <a:gd name="T27" fmla="*/ 996 h 5865"/>
                <a:gd name="T28" fmla="*/ 3251 w 4973"/>
                <a:gd name="T29" fmla="*/ 599 h 5865"/>
                <a:gd name="T30" fmla="*/ 2863 w 4973"/>
                <a:gd name="T31" fmla="*/ 144 h 5865"/>
                <a:gd name="T32" fmla="*/ 1960 w 4973"/>
                <a:gd name="T33" fmla="*/ 304 h 5865"/>
                <a:gd name="T34" fmla="*/ 1819 w 4973"/>
                <a:gd name="T35" fmla="*/ 748 h 5865"/>
                <a:gd name="T36" fmla="*/ 2202 w 4973"/>
                <a:gd name="T37" fmla="*/ 626 h 5865"/>
                <a:gd name="T38" fmla="*/ 2215 w 4973"/>
                <a:gd name="T39" fmla="*/ 803 h 5865"/>
                <a:gd name="T40" fmla="*/ 1623 w 4973"/>
                <a:gd name="T41" fmla="*/ 851 h 5865"/>
                <a:gd name="T42" fmla="*/ 1602 w 4973"/>
                <a:gd name="T43" fmla="*/ 1055 h 5865"/>
                <a:gd name="T44" fmla="*/ 2246 w 4973"/>
                <a:gd name="T45" fmla="*/ 924 h 5865"/>
                <a:gd name="T46" fmla="*/ 2036 w 4973"/>
                <a:gd name="T47" fmla="*/ 981 h 5865"/>
                <a:gd name="T48" fmla="*/ 1754 w 4973"/>
                <a:gd name="T49" fmla="*/ 1278 h 5865"/>
                <a:gd name="T50" fmla="*/ 2105 w 4973"/>
                <a:gd name="T51" fmla="*/ 1619 h 5865"/>
                <a:gd name="T52" fmla="*/ 863 w 4973"/>
                <a:gd name="T53" fmla="*/ 2239 h 5865"/>
                <a:gd name="T54" fmla="*/ 310 w 4973"/>
                <a:gd name="T55" fmla="*/ 2027 h 5865"/>
                <a:gd name="T56" fmla="*/ 319 w 4973"/>
                <a:gd name="T57" fmla="*/ 2172 h 5865"/>
                <a:gd name="T58" fmla="*/ 380 w 4973"/>
                <a:gd name="T59" fmla="*/ 2295 h 5865"/>
                <a:gd name="T60" fmla="*/ 39 w 4973"/>
                <a:gd name="T61" fmla="*/ 2396 h 5865"/>
                <a:gd name="T62" fmla="*/ 189 w 4973"/>
                <a:gd name="T63" fmla="*/ 2511 h 5865"/>
                <a:gd name="T64" fmla="*/ 322 w 4973"/>
                <a:gd name="T65" fmla="*/ 2588 h 5865"/>
                <a:gd name="T66" fmla="*/ 272 w 4973"/>
                <a:gd name="T67" fmla="*/ 2893 h 5865"/>
                <a:gd name="T68" fmla="*/ 630 w 4973"/>
                <a:gd name="T69" fmla="*/ 2730 h 5865"/>
                <a:gd name="T70" fmla="*/ 811 w 4973"/>
                <a:gd name="T71" fmla="*/ 2843 h 5865"/>
                <a:gd name="T72" fmla="*/ 1024 w 4973"/>
                <a:gd name="T73" fmla="*/ 2773 h 5865"/>
                <a:gd name="T74" fmla="*/ 1290 w 4973"/>
                <a:gd name="T75" fmla="*/ 2556 h 5865"/>
                <a:gd name="T76" fmla="*/ 1713 w 4973"/>
                <a:gd name="T77" fmla="*/ 2519 h 5865"/>
                <a:gd name="T78" fmla="*/ 2306 w 4973"/>
                <a:gd name="T79" fmla="*/ 2641 h 5865"/>
                <a:gd name="T80" fmla="*/ 3357 w 4973"/>
                <a:gd name="T81" fmla="*/ 3092 h 5865"/>
                <a:gd name="T82" fmla="*/ 3742 w 4973"/>
                <a:gd name="T83" fmla="*/ 3928 h 5865"/>
                <a:gd name="T84" fmla="*/ 3685 w 4973"/>
                <a:gd name="T85" fmla="*/ 4224 h 5865"/>
                <a:gd name="T86" fmla="*/ 4224 w 4973"/>
                <a:gd name="T87" fmla="*/ 4337 h 5865"/>
                <a:gd name="T88" fmla="*/ 4264 w 4973"/>
                <a:gd name="T89" fmla="*/ 5017 h 5865"/>
                <a:gd name="T90" fmla="*/ 3761 w 4973"/>
                <a:gd name="T91" fmla="*/ 5058 h 5865"/>
                <a:gd name="T92" fmla="*/ 3894 w 4973"/>
                <a:gd name="T93" fmla="*/ 5210 h 5865"/>
                <a:gd name="T94" fmla="*/ 3894 w 4973"/>
                <a:gd name="T95" fmla="*/ 5294 h 5865"/>
                <a:gd name="T96" fmla="*/ 3751 w 4973"/>
                <a:gd name="T97" fmla="*/ 5644 h 5865"/>
                <a:gd name="T98" fmla="*/ 3926 w 4973"/>
                <a:gd name="T99" fmla="*/ 5586 h 5865"/>
                <a:gd name="T100" fmla="*/ 4212 w 4973"/>
                <a:gd name="T101" fmla="*/ 5447 h 5865"/>
                <a:gd name="T102" fmla="*/ 4257 w 4973"/>
                <a:gd name="T103" fmla="*/ 5812 h 5865"/>
                <a:gd name="T104" fmla="*/ 4352 w 4973"/>
                <a:gd name="T105" fmla="*/ 5675 h 5865"/>
                <a:gd name="T106" fmla="*/ 4557 w 4973"/>
                <a:gd name="T107" fmla="*/ 5328 h 5865"/>
                <a:gd name="T108" fmla="*/ 4736 w 4973"/>
                <a:gd name="T109" fmla="*/ 5505 h 5865"/>
                <a:gd name="T110" fmla="*/ 4753 w 4973"/>
                <a:gd name="T111" fmla="*/ 5108 h 5865"/>
                <a:gd name="T112" fmla="*/ 4693 w 4973"/>
                <a:gd name="T113" fmla="*/ 4810 h 5865"/>
                <a:gd name="T114" fmla="*/ 4677 w 4973"/>
                <a:gd name="T115" fmla="*/ 4437 h 5865"/>
                <a:gd name="T116" fmla="*/ 4640 w 4973"/>
                <a:gd name="T117" fmla="*/ 4108 h 5865"/>
                <a:gd name="T118" fmla="*/ 4297 w 4973"/>
                <a:gd name="T119" fmla="*/ 3793 h 5865"/>
                <a:gd name="T120" fmla="*/ 4267 w 4973"/>
                <a:gd name="T121" fmla="*/ 3366 h 5865"/>
                <a:gd name="T122" fmla="*/ 4428 w 4973"/>
                <a:gd name="T123" fmla="*/ 2994 h 5865"/>
                <a:gd name="T124" fmla="*/ 4923 w 4973"/>
                <a:gd name="T125" fmla="*/ 2543 h 5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3" h="5865">
                  <a:moveTo>
                    <a:pt x="4842" y="2253"/>
                  </a:moveTo>
                  <a:lnTo>
                    <a:pt x="4842" y="2253"/>
                  </a:lnTo>
                  <a:lnTo>
                    <a:pt x="4862" y="2257"/>
                  </a:lnTo>
                  <a:lnTo>
                    <a:pt x="4881" y="2259"/>
                  </a:lnTo>
                  <a:lnTo>
                    <a:pt x="4900" y="2260"/>
                  </a:lnTo>
                  <a:lnTo>
                    <a:pt x="4916" y="2259"/>
                  </a:lnTo>
                  <a:lnTo>
                    <a:pt x="4932" y="2257"/>
                  </a:lnTo>
                  <a:lnTo>
                    <a:pt x="4946" y="2254"/>
                  </a:lnTo>
                  <a:lnTo>
                    <a:pt x="4958" y="2249"/>
                  </a:lnTo>
                  <a:lnTo>
                    <a:pt x="4969" y="2243"/>
                  </a:lnTo>
                  <a:lnTo>
                    <a:pt x="4969" y="2243"/>
                  </a:lnTo>
                  <a:lnTo>
                    <a:pt x="4967" y="2217"/>
                  </a:lnTo>
                  <a:lnTo>
                    <a:pt x="4960" y="2157"/>
                  </a:lnTo>
                  <a:lnTo>
                    <a:pt x="4951" y="2084"/>
                  </a:lnTo>
                  <a:lnTo>
                    <a:pt x="4946" y="2052"/>
                  </a:lnTo>
                  <a:lnTo>
                    <a:pt x="4940" y="2024"/>
                  </a:lnTo>
                  <a:lnTo>
                    <a:pt x="4940" y="2024"/>
                  </a:lnTo>
                  <a:lnTo>
                    <a:pt x="4922" y="2027"/>
                  </a:lnTo>
                  <a:lnTo>
                    <a:pt x="4902" y="2030"/>
                  </a:lnTo>
                  <a:lnTo>
                    <a:pt x="4891" y="2030"/>
                  </a:lnTo>
                  <a:lnTo>
                    <a:pt x="4879" y="2030"/>
                  </a:lnTo>
                  <a:lnTo>
                    <a:pt x="4867" y="2029"/>
                  </a:lnTo>
                  <a:lnTo>
                    <a:pt x="4855" y="2027"/>
                  </a:lnTo>
                  <a:lnTo>
                    <a:pt x="4843" y="2024"/>
                  </a:lnTo>
                  <a:lnTo>
                    <a:pt x="4830" y="2020"/>
                  </a:lnTo>
                  <a:lnTo>
                    <a:pt x="4818" y="2015"/>
                  </a:lnTo>
                  <a:lnTo>
                    <a:pt x="4806" y="2008"/>
                  </a:lnTo>
                  <a:lnTo>
                    <a:pt x="4794" y="1998"/>
                  </a:lnTo>
                  <a:lnTo>
                    <a:pt x="4782" y="1988"/>
                  </a:lnTo>
                  <a:lnTo>
                    <a:pt x="4771" y="1976"/>
                  </a:lnTo>
                  <a:lnTo>
                    <a:pt x="4761" y="1962"/>
                  </a:lnTo>
                  <a:lnTo>
                    <a:pt x="4761" y="1962"/>
                  </a:lnTo>
                  <a:lnTo>
                    <a:pt x="4743" y="1933"/>
                  </a:lnTo>
                  <a:lnTo>
                    <a:pt x="4724" y="1905"/>
                  </a:lnTo>
                  <a:lnTo>
                    <a:pt x="4724" y="1905"/>
                  </a:lnTo>
                  <a:lnTo>
                    <a:pt x="4703" y="1877"/>
                  </a:lnTo>
                  <a:lnTo>
                    <a:pt x="4680" y="1849"/>
                  </a:lnTo>
                  <a:lnTo>
                    <a:pt x="4658" y="1823"/>
                  </a:lnTo>
                  <a:lnTo>
                    <a:pt x="4634" y="1797"/>
                  </a:lnTo>
                  <a:lnTo>
                    <a:pt x="4611" y="1773"/>
                  </a:lnTo>
                  <a:lnTo>
                    <a:pt x="4586" y="1750"/>
                  </a:lnTo>
                  <a:lnTo>
                    <a:pt x="4562" y="1727"/>
                  </a:lnTo>
                  <a:lnTo>
                    <a:pt x="4538" y="1707"/>
                  </a:lnTo>
                  <a:lnTo>
                    <a:pt x="4513" y="1687"/>
                  </a:lnTo>
                  <a:lnTo>
                    <a:pt x="4489" y="1667"/>
                  </a:lnTo>
                  <a:lnTo>
                    <a:pt x="4463" y="1649"/>
                  </a:lnTo>
                  <a:lnTo>
                    <a:pt x="4439" y="1630"/>
                  </a:lnTo>
                  <a:lnTo>
                    <a:pt x="4413" y="1614"/>
                  </a:lnTo>
                  <a:lnTo>
                    <a:pt x="4389" y="1598"/>
                  </a:lnTo>
                  <a:lnTo>
                    <a:pt x="4337" y="1566"/>
                  </a:lnTo>
                  <a:lnTo>
                    <a:pt x="4337" y="1566"/>
                  </a:lnTo>
                  <a:lnTo>
                    <a:pt x="4381" y="1543"/>
                  </a:lnTo>
                  <a:lnTo>
                    <a:pt x="4422" y="1521"/>
                  </a:lnTo>
                  <a:lnTo>
                    <a:pt x="4459" y="1498"/>
                  </a:lnTo>
                  <a:lnTo>
                    <a:pt x="4492" y="1477"/>
                  </a:lnTo>
                  <a:lnTo>
                    <a:pt x="4523" y="1455"/>
                  </a:lnTo>
                  <a:lnTo>
                    <a:pt x="4549" y="1434"/>
                  </a:lnTo>
                  <a:lnTo>
                    <a:pt x="4574" y="1414"/>
                  </a:lnTo>
                  <a:lnTo>
                    <a:pt x="4595" y="1393"/>
                  </a:lnTo>
                  <a:lnTo>
                    <a:pt x="4615" y="1374"/>
                  </a:lnTo>
                  <a:lnTo>
                    <a:pt x="4632" y="1355"/>
                  </a:lnTo>
                  <a:lnTo>
                    <a:pt x="4647" y="1337"/>
                  </a:lnTo>
                  <a:lnTo>
                    <a:pt x="4661" y="1319"/>
                  </a:lnTo>
                  <a:lnTo>
                    <a:pt x="4673" y="1303"/>
                  </a:lnTo>
                  <a:lnTo>
                    <a:pt x="4683" y="1288"/>
                  </a:lnTo>
                  <a:lnTo>
                    <a:pt x="4700" y="1260"/>
                  </a:lnTo>
                  <a:lnTo>
                    <a:pt x="4700" y="1260"/>
                  </a:lnTo>
                  <a:lnTo>
                    <a:pt x="4708" y="1248"/>
                  </a:lnTo>
                  <a:lnTo>
                    <a:pt x="4714" y="1234"/>
                  </a:lnTo>
                  <a:lnTo>
                    <a:pt x="4721" y="1218"/>
                  </a:lnTo>
                  <a:lnTo>
                    <a:pt x="4727" y="1202"/>
                  </a:lnTo>
                  <a:lnTo>
                    <a:pt x="4733" y="1183"/>
                  </a:lnTo>
                  <a:lnTo>
                    <a:pt x="4739" y="1164"/>
                  </a:lnTo>
                  <a:lnTo>
                    <a:pt x="4743" y="1144"/>
                  </a:lnTo>
                  <a:lnTo>
                    <a:pt x="4749" y="1123"/>
                  </a:lnTo>
                  <a:lnTo>
                    <a:pt x="4753" y="1101"/>
                  </a:lnTo>
                  <a:lnTo>
                    <a:pt x="4756" y="1078"/>
                  </a:lnTo>
                  <a:lnTo>
                    <a:pt x="4758" y="1054"/>
                  </a:lnTo>
                  <a:lnTo>
                    <a:pt x="4759" y="1030"/>
                  </a:lnTo>
                  <a:lnTo>
                    <a:pt x="4760" y="1005"/>
                  </a:lnTo>
                  <a:lnTo>
                    <a:pt x="4759" y="980"/>
                  </a:lnTo>
                  <a:lnTo>
                    <a:pt x="4758" y="954"/>
                  </a:lnTo>
                  <a:lnTo>
                    <a:pt x="4755" y="928"/>
                  </a:lnTo>
                  <a:lnTo>
                    <a:pt x="4751" y="902"/>
                  </a:lnTo>
                  <a:lnTo>
                    <a:pt x="4745" y="876"/>
                  </a:lnTo>
                  <a:lnTo>
                    <a:pt x="4738" y="849"/>
                  </a:lnTo>
                  <a:lnTo>
                    <a:pt x="4730" y="824"/>
                  </a:lnTo>
                  <a:lnTo>
                    <a:pt x="4720" y="797"/>
                  </a:lnTo>
                  <a:lnTo>
                    <a:pt x="4709" y="771"/>
                  </a:lnTo>
                  <a:lnTo>
                    <a:pt x="4695" y="746"/>
                  </a:lnTo>
                  <a:lnTo>
                    <a:pt x="4681" y="721"/>
                  </a:lnTo>
                  <a:lnTo>
                    <a:pt x="4665" y="697"/>
                  </a:lnTo>
                  <a:lnTo>
                    <a:pt x="4646" y="672"/>
                  </a:lnTo>
                  <a:lnTo>
                    <a:pt x="4625" y="649"/>
                  </a:lnTo>
                  <a:lnTo>
                    <a:pt x="4602" y="626"/>
                  </a:lnTo>
                  <a:lnTo>
                    <a:pt x="4578" y="605"/>
                  </a:lnTo>
                  <a:lnTo>
                    <a:pt x="4551" y="584"/>
                  </a:lnTo>
                  <a:lnTo>
                    <a:pt x="4522" y="565"/>
                  </a:lnTo>
                  <a:lnTo>
                    <a:pt x="4490" y="545"/>
                  </a:lnTo>
                  <a:lnTo>
                    <a:pt x="4490" y="545"/>
                  </a:lnTo>
                  <a:lnTo>
                    <a:pt x="4466" y="533"/>
                  </a:lnTo>
                  <a:lnTo>
                    <a:pt x="4443" y="522"/>
                  </a:lnTo>
                  <a:lnTo>
                    <a:pt x="4419" y="512"/>
                  </a:lnTo>
                  <a:lnTo>
                    <a:pt x="4396" y="503"/>
                  </a:lnTo>
                  <a:lnTo>
                    <a:pt x="4372" y="494"/>
                  </a:lnTo>
                  <a:lnTo>
                    <a:pt x="4348" y="487"/>
                  </a:lnTo>
                  <a:lnTo>
                    <a:pt x="4325" y="481"/>
                  </a:lnTo>
                  <a:lnTo>
                    <a:pt x="4302" y="476"/>
                  </a:lnTo>
                  <a:lnTo>
                    <a:pt x="4278" y="471"/>
                  </a:lnTo>
                  <a:lnTo>
                    <a:pt x="4256" y="468"/>
                  </a:lnTo>
                  <a:lnTo>
                    <a:pt x="4233" y="465"/>
                  </a:lnTo>
                  <a:lnTo>
                    <a:pt x="4211" y="463"/>
                  </a:lnTo>
                  <a:lnTo>
                    <a:pt x="4188" y="461"/>
                  </a:lnTo>
                  <a:lnTo>
                    <a:pt x="4167" y="461"/>
                  </a:lnTo>
                  <a:lnTo>
                    <a:pt x="4145" y="461"/>
                  </a:lnTo>
                  <a:lnTo>
                    <a:pt x="4124" y="461"/>
                  </a:lnTo>
                  <a:lnTo>
                    <a:pt x="4083" y="464"/>
                  </a:lnTo>
                  <a:lnTo>
                    <a:pt x="4044" y="468"/>
                  </a:lnTo>
                  <a:lnTo>
                    <a:pt x="4007" y="474"/>
                  </a:lnTo>
                  <a:lnTo>
                    <a:pt x="3973" y="482"/>
                  </a:lnTo>
                  <a:lnTo>
                    <a:pt x="3941" y="490"/>
                  </a:lnTo>
                  <a:lnTo>
                    <a:pt x="3912" y="499"/>
                  </a:lnTo>
                  <a:lnTo>
                    <a:pt x="3887" y="510"/>
                  </a:lnTo>
                  <a:lnTo>
                    <a:pt x="3864" y="519"/>
                  </a:lnTo>
                  <a:lnTo>
                    <a:pt x="3864" y="519"/>
                  </a:lnTo>
                  <a:lnTo>
                    <a:pt x="3844" y="529"/>
                  </a:lnTo>
                  <a:lnTo>
                    <a:pt x="3824" y="539"/>
                  </a:lnTo>
                  <a:lnTo>
                    <a:pt x="3806" y="551"/>
                  </a:lnTo>
                  <a:lnTo>
                    <a:pt x="3787" y="562"/>
                  </a:lnTo>
                  <a:lnTo>
                    <a:pt x="3769" y="575"/>
                  </a:lnTo>
                  <a:lnTo>
                    <a:pt x="3752" y="587"/>
                  </a:lnTo>
                  <a:lnTo>
                    <a:pt x="3735" y="602"/>
                  </a:lnTo>
                  <a:lnTo>
                    <a:pt x="3719" y="616"/>
                  </a:lnTo>
                  <a:lnTo>
                    <a:pt x="3703" y="631"/>
                  </a:lnTo>
                  <a:lnTo>
                    <a:pt x="3687" y="647"/>
                  </a:lnTo>
                  <a:lnTo>
                    <a:pt x="3673" y="663"/>
                  </a:lnTo>
                  <a:lnTo>
                    <a:pt x="3659" y="679"/>
                  </a:lnTo>
                  <a:lnTo>
                    <a:pt x="3645" y="697"/>
                  </a:lnTo>
                  <a:lnTo>
                    <a:pt x="3633" y="715"/>
                  </a:lnTo>
                  <a:lnTo>
                    <a:pt x="3621" y="734"/>
                  </a:lnTo>
                  <a:lnTo>
                    <a:pt x="3609" y="753"/>
                  </a:lnTo>
                  <a:lnTo>
                    <a:pt x="3599" y="772"/>
                  </a:lnTo>
                  <a:lnTo>
                    <a:pt x="3589" y="793"/>
                  </a:lnTo>
                  <a:lnTo>
                    <a:pt x="3581" y="813"/>
                  </a:lnTo>
                  <a:lnTo>
                    <a:pt x="3573" y="835"/>
                  </a:lnTo>
                  <a:lnTo>
                    <a:pt x="3565" y="856"/>
                  </a:lnTo>
                  <a:lnTo>
                    <a:pt x="3559" y="879"/>
                  </a:lnTo>
                  <a:lnTo>
                    <a:pt x="3554" y="901"/>
                  </a:lnTo>
                  <a:lnTo>
                    <a:pt x="3550" y="924"/>
                  </a:lnTo>
                  <a:lnTo>
                    <a:pt x="3547" y="947"/>
                  </a:lnTo>
                  <a:lnTo>
                    <a:pt x="3545" y="972"/>
                  </a:lnTo>
                  <a:lnTo>
                    <a:pt x="3544" y="996"/>
                  </a:lnTo>
                  <a:lnTo>
                    <a:pt x="3543" y="1021"/>
                  </a:lnTo>
                  <a:lnTo>
                    <a:pt x="3544" y="1046"/>
                  </a:lnTo>
                  <a:lnTo>
                    <a:pt x="3546" y="1072"/>
                  </a:lnTo>
                  <a:lnTo>
                    <a:pt x="3550" y="1098"/>
                  </a:lnTo>
                  <a:lnTo>
                    <a:pt x="3554" y="1124"/>
                  </a:lnTo>
                  <a:lnTo>
                    <a:pt x="3554" y="1124"/>
                  </a:lnTo>
                  <a:lnTo>
                    <a:pt x="3559" y="1148"/>
                  </a:lnTo>
                  <a:lnTo>
                    <a:pt x="3564" y="1169"/>
                  </a:lnTo>
                  <a:lnTo>
                    <a:pt x="3571" y="1191"/>
                  </a:lnTo>
                  <a:lnTo>
                    <a:pt x="3577" y="1211"/>
                  </a:lnTo>
                  <a:lnTo>
                    <a:pt x="3585" y="1231"/>
                  </a:lnTo>
                  <a:lnTo>
                    <a:pt x="3592" y="1249"/>
                  </a:lnTo>
                  <a:lnTo>
                    <a:pt x="3601" y="1267"/>
                  </a:lnTo>
                  <a:lnTo>
                    <a:pt x="3610" y="1285"/>
                  </a:lnTo>
                  <a:lnTo>
                    <a:pt x="3620" y="1301"/>
                  </a:lnTo>
                  <a:lnTo>
                    <a:pt x="3631" y="1316"/>
                  </a:lnTo>
                  <a:lnTo>
                    <a:pt x="3641" y="1332"/>
                  </a:lnTo>
                  <a:lnTo>
                    <a:pt x="3652" y="1347"/>
                  </a:lnTo>
                  <a:lnTo>
                    <a:pt x="3665" y="1361"/>
                  </a:lnTo>
                  <a:lnTo>
                    <a:pt x="3677" y="1375"/>
                  </a:lnTo>
                  <a:lnTo>
                    <a:pt x="3690" y="1388"/>
                  </a:lnTo>
                  <a:lnTo>
                    <a:pt x="3704" y="1400"/>
                  </a:lnTo>
                  <a:lnTo>
                    <a:pt x="3732" y="1425"/>
                  </a:lnTo>
                  <a:lnTo>
                    <a:pt x="3763" y="1447"/>
                  </a:lnTo>
                  <a:lnTo>
                    <a:pt x="3795" y="1469"/>
                  </a:lnTo>
                  <a:lnTo>
                    <a:pt x="3828" y="1489"/>
                  </a:lnTo>
                  <a:lnTo>
                    <a:pt x="3863" y="1510"/>
                  </a:lnTo>
                  <a:lnTo>
                    <a:pt x="3899" y="1529"/>
                  </a:lnTo>
                  <a:lnTo>
                    <a:pt x="3976" y="1567"/>
                  </a:lnTo>
                  <a:lnTo>
                    <a:pt x="3976" y="1567"/>
                  </a:lnTo>
                  <a:lnTo>
                    <a:pt x="3945" y="1584"/>
                  </a:lnTo>
                  <a:lnTo>
                    <a:pt x="3916" y="1601"/>
                  </a:lnTo>
                  <a:lnTo>
                    <a:pt x="3890" y="1618"/>
                  </a:lnTo>
                  <a:lnTo>
                    <a:pt x="3864" y="1636"/>
                  </a:lnTo>
                  <a:lnTo>
                    <a:pt x="3840" y="1656"/>
                  </a:lnTo>
                  <a:lnTo>
                    <a:pt x="3817" y="1675"/>
                  </a:lnTo>
                  <a:lnTo>
                    <a:pt x="3797" y="1696"/>
                  </a:lnTo>
                  <a:lnTo>
                    <a:pt x="3778" y="1717"/>
                  </a:lnTo>
                  <a:lnTo>
                    <a:pt x="3761" y="1741"/>
                  </a:lnTo>
                  <a:lnTo>
                    <a:pt x="3754" y="1753"/>
                  </a:lnTo>
                  <a:lnTo>
                    <a:pt x="3746" y="1765"/>
                  </a:lnTo>
                  <a:lnTo>
                    <a:pt x="3739" y="1778"/>
                  </a:lnTo>
                  <a:lnTo>
                    <a:pt x="3733" y="1791"/>
                  </a:lnTo>
                  <a:lnTo>
                    <a:pt x="3728" y="1804"/>
                  </a:lnTo>
                  <a:lnTo>
                    <a:pt x="3723" y="1818"/>
                  </a:lnTo>
                  <a:lnTo>
                    <a:pt x="3718" y="1833"/>
                  </a:lnTo>
                  <a:lnTo>
                    <a:pt x="3714" y="1848"/>
                  </a:lnTo>
                  <a:lnTo>
                    <a:pt x="3711" y="1863"/>
                  </a:lnTo>
                  <a:lnTo>
                    <a:pt x="3708" y="1879"/>
                  </a:lnTo>
                  <a:lnTo>
                    <a:pt x="3706" y="1895"/>
                  </a:lnTo>
                  <a:lnTo>
                    <a:pt x="3705" y="1912"/>
                  </a:lnTo>
                  <a:lnTo>
                    <a:pt x="3704" y="1930"/>
                  </a:lnTo>
                  <a:lnTo>
                    <a:pt x="3703" y="1947"/>
                  </a:lnTo>
                  <a:lnTo>
                    <a:pt x="3703" y="1947"/>
                  </a:lnTo>
                  <a:lnTo>
                    <a:pt x="3704" y="1970"/>
                  </a:lnTo>
                  <a:lnTo>
                    <a:pt x="3707" y="1993"/>
                  </a:lnTo>
                  <a:lnTo>
                    <a:pt x="3711" y="2016"/>
                  </a:lnTo>
                  <a:lnTo>
                    <a:pt x="3716" y="2039"/>
                  </a:lnTo>
                  <a:lnTo>
                    <a:pt x="3729" y="2087"/>
                  </a:lnTo>
                  <a:lnTo>
                    <a:pt x="3736" y="2113"/>
                  </a:lnTo>
                  <a:lnTo>
                    <a:pt x="3742" y="2139"/>
                  </a:lnTo>
                  <a:lnTo>
                    <a:pt x="3749" y="2168"/>
                  </a:lnTo>
                  <a:lnTo>
                    <a:pt x="3753" y="2197"/>
                  </a:lnTo>
                  <a:lnTo>
                    <a:pt x="3757" y="2227"/>
                  </a:lnTo>
                  <a:lnTo>
                    <a:pt x="3758" y="2260"/>
                  </a:lnTo>
                  <a:lnTo>
                    <a:pt x="3758" y="2295"/>
                  </a:lnTo>
                  <a:lnTo>
                    <a:pt x="3757" y="2313"/>
                  </a:lnTo>
                  <a:lnTo>
                    <a:pt x="3755" y="2332"/>
                  </a:lnTo>
                  <a:lnTo>
                    <a:pt x="3753" y="2350"/>
                  </a:lnTo>
                  <a:lnTo>
                    <a:pt x="3750" y="2371"/>
                  </a:lnTo>
                  <a:lnTo>
                    <a:pt x="3745" y="2391"/>
                  </a:lnTo>
                  <a:lnTo>
                    <a:pt x="3741" y="2411"/>
                  </a:lnTo>
                  <a:lnTo>
                    <a:pt x="3741" y="2411"/>
                  </a:lnTo>
                  <a:lnTo>
                    <a:pt x="3741" y="2413"/>
                  </a:lnTo>
                  <a:lnTo>
                    <a:pt x="3741" y="2414"/>
                  </a:lnTo>
                  <a:lnTo>
                    <a:pt x="3743" y="2414"/>
                  </a:lnTo>
                  <a:lnTo>
                    <a:pt x="3745" y="2416"/>
                  </a:lnTo>
                  <a:lnTo>
                    <a:pt x="3753" y="2413"/>
                  </a:lnTo>
                  <a:lnTo>
                    <a:pt x="3762" y="2411"/>
                  </a:lnTo>
                  <a:lnTo>
                    <a:pt x="3785" y="2401"/>
                  </a:lnTo>
                  <a:lnTo>
                    <a:pt x="3814" y="2389"/>
                  </a:lnTo>
                  <a:lnTo>
                    <a:pt x="3842" y="2374"/>
                  </a:lnTo>
                  <a:lnTo>
                    <a:pt x="3867" y="2360"/>
                  </a:lnTo>
                  <a:lnTo>
                    <a:pt x="3886" y="2349"/>
                  </a:lnTo>
                  <a:lnTo>
                    <a:pt x="3891" y="2345"/>
                  </a:lnTo>
                  <a:lnTo>
                    <a:pt x="3894" y="2343"/>
                  </a:lnTo>
                  <a:lnTo>
                    <a:pt x="3894" y="2343"/>
                  </a:lnTo>
                  <a:lnTo>
                    <a:pt x="3903" y="2319"/>
                  </a:lnTo>
                  <a:lnTo>
                    <a:pt x="3910" y="2296"/>
                  </a:lnTo>
                  <a:lnTo>
                    <a:pt x="3916" y="2272"/>
                  </a:lnTo>
                  <a:lnTo>
                    <a:pt x="3921" y="2248"/>
                  </a:lnTo>
                  <a:lnTo>
                    <a:pt x="3925" y="2224"/>
                  </a:lnTo>
                  <a:lnTo>
                    <a:pt x="3928" y="2201"/>
                  </a:lnTo>
                  <a:lnTo>
                    <a:pt x="3930" y="2178"/>
                  </a:lnTo>
                  <a:lnTo>
                    <a:pt x="3932" y="2156"/>
                  </a:lnTo>
                  <a:lnTo>
                    <a:pt x="3932" y="2117"/>
                  </a:lnTo>
                  <a:lnTo>
                    <a:pt x="3931" y="2086"/>
                  </a:lnTo>
                  <a:lnTo>
                    <a:pt x="3928" y="2059"/>
                  </a:lnTo>
                  <a:lnTo>
                    <a:pt x="3928" y="2059"/>
                  </a:lnTo>
                  <a:lnTo>
                    <a:pt x="3939" y="2068"/>
                  </a:lnTo>
                  <a:lnTo>
                    <a:pt x="3947" y="2079"/>
                  </a:lnTo>
                  <a:lnTo>
                    <a:pt x="3954" y="2091"/>
                  </a:lnTo>
                  <a:lnTo>
                    <a:pt x="3960" y="2105"/>
                  </a:lnTo>
                  <a:lnTo>
                    <a:pt x="3964" y="2120"/>
                  </a:lnTo>
                  <a:lnTo>
                    <a:pt x="3968" y="2135"/>
                  </a:lnTo>
                  <a:lnTo>
                    <a:pt x="3971" y="2152"/>
                  </a:lnTo>
                  <a:lnTo>
                    <a:pt x="3973" y="2168"/>
                  </a:lnTo>
                  <a:lnTo>
                    <a:pt x="3975" y="2185"/>
                  </a:lnTo>
                  <a:lnTo>
                    <a:pt x="3976" y="2203"/>
                  </a:lnTo>
                  <a:lnTo>
                    <a:pt x="3976" y="2219"/>
                  </a:lnTo>
                  <a:lnTo>
                    <a:pt x="3975" y="2237"/>
                  </a:lnTo>
                  <a:lnTo>
                    <a:pt x="3971" y="2268"/>
                  </a:lnTo>
                  <a:lnTo>
                    <a:pt x="3965" y="2297"/>
                  </a:lnTo>
                  <a:lnTo>
                    <a:pt x="3965" y="2297"/>
                  </a:lnTo>
                  <a:lnTo>
                    <a:pt x="3982" y="2288"/>
                  </a:lnTo>
                  <a:lnTo>
                    <a:pt x="3998" y="2276"/>
                  </a:lnTo>
                  <a:lnTo>
                    <a:pt x="4016" y="2263"/>
                  </a:lnTo>
                  <a:lnTo>
                    <a:pt x="4036" y="2249"/>
                  </a:lnTo>
                  <a:lnTo>
                    <a:pt x="4053" y="2234"/>
                  </a:lnTo>
                  <a:lnTo>
                    <a:pt x="4061" y="2226"/>
                  </a:lnTo>
                  <a:lnTo>
                    <a:pt x="4068" y="2219"/>
                  </a:lnTo>
                  <a:lnTo>
                    <a:pt x="4072" y="2212"/>
                  </a:lnTo>
                  <a:lnTo>
                    <a:pt x="4075" y="2206"/>
                  </a:lnTo>
                  <a:lnTo>
                    <a:pt x="4075" y="2206"/>
                  </a:lnTo>
                  <a:lnTo>
                    <a:pt x="4083" y="2176"/>
                  </a:lnTo>
                  <a:lnTo>
                    <a:pt x="4090" y="2148"/>
                  </a:lnTo>
                  <a:lnTo>
                    <a:pt x="4094" y="2121"/>
                  </a:lnTo>
                  <a:lnTo>
                    <a:pt x="4096" y="2095"/>
                  </a:lnTo>
                  <a:lnTo>
                    <a:pt x="4096" y="2071"/>
                  </a:lnTo>
                  <a:lnTo>
                    <a:pt x="4095" y="2047"/>
                  </a:lnTo>
                  <a:lnTo>
                    <a:pt x="4093" y="2025"/>
                  </a:lnTo>
                  <a:lnTo>
                    <a:pt x="4090" y="2003"/>
                  </a:lnTo>
                  <a:lnTo>
                    <a:pt x="4085" y="1983"/>
                  </a:lnTo>
                  <a:lnTo>
                    <a:pt x="4080" y="1964"/>
                  </a:lnTo>
                  <a:lnTo>
                    <a:pt x="4075" y="1945"/>
                  </a:lnTo>
                  <a:lnTo>
                    <a:pt x="4069" y="1928"/>
                  </a:lnTo>
                  <a:lnTo>
                    <a:pt x="4055" y="1894"/>
                  </a:lnTo>
                  <a:lnTo>
                    <a:pt x="4043" y="1862"/>
                  </a:lnTo>
                  <a:lnTo>
                    <a:pt x="4043" y="1862"/>
                  </a:lnTo>
                  <a:lnTo>
                    <a:pt x="4038" y="1847"/>
                  </a:lnTo>
                  <a:lnTo>
                    <a:pt x="4035" y="1832"/>
                  </a:lnTo>
                  <a:lnTo>
                    <a:pt x="4034" y="1817"/>
                  </a:lnTo>
                  <a:lnTo>
                    <a:pt x="4035" y="1802"/>
                  </a:lnTo>
                  <a:lnTo>
                    <a:pt x="4037" y="1788"/>
                  </a:lnTo>
                  <a:lnTo>
                    <a:pt x="4041" y="1773"/>
                  </a:lnTo>
                  <a:lnTo>
                    <a:pt x="4046" y="1759"/>
                  </a:lnTo>
                  <a:lnTo>
                    <a:pt x="4053" y="1746"/>
                  </a:lnTo>
                  <a:lnTo>
                    <a:pt x="4061" y="1733"/>
                  </a:lnTo>
                  <a:lnTo>
                    <a:pt x="4071" y="1719"/>
                  </a:lnTo>
                  <a:lnTo>
                    <a:pt x="4081" y="1707"/>
                  </a:lnTo>
                  <a:lnTo>
                    <a:pt x="4092" y="1696"/>
                  </a:lnTo>
                  <a:lnTo>
                    <a:pt x="4103" y="1684"/>
                  </a:lnTo>
                  <a:lnTo>
                    <a:pt x="4117" y="1673"/>
                  </a:lnTo>
                  <a:lnTo>
                    <a:pt x="4130" y="1664"/>
                  </a:lnTo>
                  <a:lnTo>
                    <a:pt x="4145" y="1655"/>
                  </a:lnTo>
                  <a:lnTo>
                    <a:pt x="4145" y="1655"/>
                  </a:lnTo>
                  <a:lnTo>
                    <a:pt x="4180" y="1674"/>
                  </a:lnTo>
                  <a:lnTo>
                    <a:pt x="4215" y="1695"/>
                  </a:lnTo>
                  <a:lnTo>
                    <a:pt x="4251" y="1716"/>
                  </a:lnTo>
                  <a:lnTo>
                    <a:pt x="4286" y="1740"/>
                  </a:lnTo>
                  <a:lnTo>
                    <a:pt x="4286" y="1740"/>
                  </a:lnTo>
                  <a:lnTo>
                    <a:pt x="4307" y="1754"/>
                  </a:lnTo>
                  <a:lnTo>
                    <a:pt x="4341" y="1779"/>
                  </a:lnTo>
                  <a:lnTo>
                    <a:pt x="4361" y="1794"/>
                  </a:lnTo>
                  <a:lnTo>
                    <a:pt x="4382" y="1812"/>
                  </a:lnTo>
                  <a:lnTo>
                    <a:pt x="4405" y="1832"/>
                  </a:lnTo>
                  <a:lnTo>
                    <a:pt x="4430" y="1853"/>
                  </a:lnTo>
                  <a:lnTo>
                    <a:pt x="4453" y="1877"/>
                  </a:lnTo>
                  <a:lnTo>
                    <a:pt x="4478" y="1901"/>
                  </a:lnTo>
                  <a:lnTo>
                    <a:pt x="4501" y="1928"/>
                  </a:lnTo>
                  <a:lnTo>
                    <a:pt x="4524" y="1956"/>
                  </a:lnTo>
                  <a:lnTo>
                    <a:pt x="4545" y="1985"/>
                  </a:lnTo>
                  <a:lnTo>
                    <a:pt x="4564" y="2016"/>
                  </a:lnTo>
                  <a:lnTo>
                    <a:pt x="4574" y="2031"/>
                  </a:lnTo>
                  <a:lnTo>
                    <a:pt x="4582" y="2047"/>
                  </a:lnTo>
                  <a:lnTo>
                    <a:pt x="4590" y="2064"/>
                  </a:lnTo>
                  <a:lnTo>
                    <a:pt x="4596" y="2080"/>
                  </a:lnTo>
                  <a:lnTo>
                    <a:pt x="4596" y="2080"/>
                  </a:lnTo>
                  <a:lnTo>
                    <a:pt x="4606" y="2106"/>
                  </a:lnTo>
                  <a:lnTo>
                    <a:pt x="4616" y="2130"/>
                  </a:lnTo>
                  <a:lnTo>
                    <a:pt x="4624" y="2155"/>
                  </a:lnTo>
                  <a:lnTo>
                    <a:pt x="4630" y="2178"/>
                  </a:lnTo>
                  <a:lnTo>
                    <a:pt x="4636" y="2202"/>
                  </a:lnTo>
                  <a:lnTo>
                    <a:pt x="4641" y="2224"/>
                  </a:lnTo>
                  <a:lnTo>
                    <a:pt x="4645" y="2246"/>
                  </a:lnTo>
                  <a:lnTo>
                    <a:pt x="4649" y="2266"/>
                  </a:lnTo>
                  <a:lnTo>
                    <a:pt x="4651" y="2287"/>
                  </a:lnTo>
                  <a:lnTo>
                    <a:pt x="4653" y="2306"/>
                  </a:lnTo>
                  <a:lnTo>
                    <a:pt x="4654" y="2325"/>
                  </a:lnTo>
                  <a:lnTo>
                    <a:pt x="4655" y="2343"/>
                  </a:lnTo>
                  <a:lnTo>
                    <a:pt x="4654" y="2377"/>
                  </a:lnTo>
                  <a:lnTo>
                    <a:pt x="4652" y="2408"/>
                  </a:lnTo>
                  <a:lnTo>
                    <a:pt x="4648" y="2437"/>
                  </a:lnTo>
                  <a:lnTo>
                    <a:pt x="4642" y="2464"/>
                  </a:lnTo>
                  <a:lnTo>
                    <a:pt x="4635" y="2487"/>
                  </a:lnTo>
                  <a:lnTo>
                    <a:pt x="4628" y="2509"/>
                  </a:lnTo>
                  <a:lnTo>
                    <a:pt x="4620" y="2527"/>
                  </a:lnTo>
                  <a:lnTo>
                    <a:pt x="4612" y="2544"/>
                  </a:lnTo>
                  <a:lnTo>
                    <a:pt x="4603" y="2559"/>
                  </a:lnTo>
                  <a:lnTo>
                    <a:pt x="4596" y="2570"/>
                  </a:lnTo>
                  <a:lnTo>
                    <a:pt x="4596" y="2570"/>
                  </a:lnTo>
                  <a:lnTo>
                    <a:pt x="4582" y="2590"/>
                  </a:lnTo>
                  <a:lnTo>
                    <a:pt x="4568" y="2611"/>
                  </a:lnTo>
                  <a:lnTo>
                    <a:pt x="4553" y="2629"/>
                  </a:lnTo>
                  <a:lnTo>
                    <a:pt x="4538" y="2648"/>
                  </a:lnTo>
                  <a:lnTo>
                    <a:pt x="4522" y="2665"/>
                  </a:lnTo>
                  <a:lnTo>
                    <a:pt x="4505" y="2681"/>
                  </a:lnTo>
                  <a:lnTo>
                    <a:pt x="4487" y="2697"/>
                  </a:lnTo>
                  <a:lnTo>
                    <a:pt x="4469" y="2711"/>
                  </a:lnTo>
                  <a:lnTo>
                    <a:pt x="4450" y="2724"/>
                  </a:lnTo>
                  <a:lnTo>
                    <a:pt x="4430" y="2736"/>
                  </a:lnTo>
                  <a:lnTo>
                    <a:pt x="4409" y="2747"/>
                  </a:lnTo>
                  <a:lnTo>
                    <a:pt x="4388" y="2756"/>
                  </a:lnTo>
                  <a:lnTo>
                    <a:pt x="4364" y="2764"/>
                  </a:lnTo>
                  <a:lnTo>
                    <a:pt x="4341" y="2771"/>
                  </a:lnTo>
                  <a:lnTo>
                    <a:pt x="4316" y="2776"/>
                  </a:lnTo>
                  <a:lnTo>
                    <a:pt x="4290" y="2779"/>
                  </a:lnTo>
                  <a:lnTo>
                    <a:pt x="4290" y="2779"/>
                  </a:lnTo>
                  <a:lnTo>
                    <a:pt x="4283" y="2778"/>
                  </a:lnTo>
                  <a:lnTo>
                    <a:pt x="4275" y="2778"/>
                  </a:lnTo>
                  <a:lnTo>
                    <a:pt x="4275" y="2778"/>
                  </a:lnTo>
                  <a:lnTo>
                    <a:pt x="4242" y="2779"/>
                  </a:lnTo>
                  <a:lnTo>
                    <a:pt x="4213" y="2779"/>
                  </a:lnTo>
                  <a:lnTo>
                    <a:pt x="4185" y="2778"/>
                  </a:lnTo>
                  <a:lnTo>
                    <a:pt x="4159" y="2775"/>
                  </a:lnTo>
                  <a:lnTo>
                    <a:pt x="4159" y="2775"/>
                  </a:lnTo>
                  <a:lnTo>
                    <a:pt x="4131" y="2770"/>
                  </a:lnTo>
                  <a:lnTo>
                    <a:pt x="4103" y="2765"/>
                  </a:lnTo>
                  <a:lnTo>
                    <a:pt x="4077" y="2758"/>
                  </a:lnTo>
                  <a:lnTo>
                    <a:pt x="4052" y="2751"/>
                  </a:lnTo>
                  <a:lnTo>
                    <a:pt x="4052" y="2751"/>
                  </a:lnTo>
                  <a:lnTo>
                    <a:pt x="4009" y="2736"/>
                  </a:lnTo>
                  <a:lnTo>
                    <a:pt x="3965" y="2717"/>
                  </a:lnTo>
                  <a:lnTo>
                    <a:pt x="3965" y="2717"/>
                  </a:lnTo>
                  <a:lnTo>
                    <a:pt x="3925" y="2697"/>
                  </a:lnTo>
                  <a:lnTo>
                    <a:pt x="3874" y="2669"/>
                  </a:lnTo>
                  <a:lnTo>
                    <a:pt x="3846" y="2652"/>
                  </a:lnTo>
                  <a:lnTo>
                    <a:pt x="3815" y="2632"/>
                  </a:lnTo>
                  <a:lnTo>
                    <a:pt x="3782" y="2612"/>
                  </a:lnTo>
                  <a:lnTo>
                    <a:pt x="3748" y="2588"/>
                  </a:lnTo>
                  <a:lnTo>
                    <a:pt x="3712" y="2564"/>
                  </a:lnTo>
                  <a:lnTo>
                    <a:pt x="3676" y="2536"/>
                  </a:lnTo>
                  <a:lnTo>
                    <a:pt x="3638" y="2508"/>
                  </a:lnTo>
                  <a:lnTo>
                    <a:pt x="3601" y="2477"/>
                  </a:lnTo>
                  <a:lnTo>
                    <a:pt x="3563" y="2444"/>
                  </a:lnTo>
                  <a:lnTo>
                    <a:pt x="3526" y="2409"/>
                  </a:lnTo>
                  <a:lnTo>
                    <a:pt x="3488" y="2373"/>
                  </a:lnTo>
                  <a:lnTo>
                    <a:pt x="3451" y="2335"/>
                  </a:lnTo>
                  <a:lnTo>
                    <a:pt x="3451" y="2335"/>
                  </a:lnTo>
                  <a:lnTo>
                    <a:pt x="3394" y="2271"/>
                  </a:lnTo>
                  <a:lnTo>
                    <a:pt x="3342" y="2212"/>
                  </a:lnTo>
                  <a:lnTo>
                    <a:pt x="3295" y="2157"/>
                  </a:lnTo>
                  <a:lnTo>
                    <a:pt x="3253" y="2107"/>
                  </a:lnTo>
                  <a:lnTo>
                    <a:pt x="3215" y="2060"/>
                  </a:lnTo>
                  <a:lnTo>
                    <a:pt x="3180" y="2017"/>
                  </a:lnTo>
                  <a:lnTo>
                    <a:pt x="3120" y="1940"/>
                  </a:lnTo>
                  <a:lnTo>
                    <a:pt x="3120" y="1940"/>
                  </a:lnTo>
                  <a:lnTo>
                    <a:pt x="3138" y="1947"/>
                  </a:lnTo>
                  <a:lnTo>
                    <a:pt x="3156" y="1953"/>
                  </a:lnTo>
                  <a:lnTo>
                    <a:pt x="3175" y="1958"/>
                  </a:lnTo>
                  <a:lnTo>
                    <a:pt x="3193" y="1963"/>
                  </a:lnTo>
                  <a:lnTo>
                    <a:pt x="3211" y="1966"/>
                  </a:lnTo>
                  <a:lnTo>
                    <a:pt x="3229" y="1968"/>
                  </a:lnTo>
                  <a:lnTo>
                    <a:pt x="3262" y="1971"/>
                  </a:lnTo>
                  <a:lnTo>
                    <a:pt x="3289" y="1971"/>
                  </a:lnTo>
                  <a:lnTo>
                    <a:pt x="3312" y="1970"/>
                  </a:lnTo>
                  <a:lnTo>
                    <a:pt x="3332" y="1968"/>
                  </a:lnTo>
                  <a:lnTo>
                    <a:pt x="3332" y="1968"/>
                  </a:lnTo>
                  <a:lnTo>
                    <a:pt x="3336" y="1918"/>
                  </a:lnTo>
                  <a:lnTo>
                    <a:pt x="3338" y="1873"/>
                  </a:lnTo>
                  <a:lnTo>
                    <a:pt x="3340" y="1833"/>
                  </a:lnTo>
                  <a:lnTo>
                    <a:pt x="3346" y="1698"/>
                  </a:lnTo>
                  <a:lnTo>
                    <a:pt x="3346" y="1698"/>
                  </a:lnTo>
                  <a:lnTo>
                    <a:pt x="3349" y="1661"/>
                  </a:lnTo>
                  <a:lnTo>
                    <a:pt x="3351" y="1626"/>
                  </a:lnTo>
                  <a:lnTo>
                    <a:pt x="3352" y="1589"/>
                  </a:lnTo>
                  <a:lnTo>
                    <a:pt x="3352" y="1589"/>
                  </a:lnTo>
                  <a:lnTo>
                    <a:pt x="3340" y="1588"/>
                  </a:lnTo>
                  <a:lnTo>
                    <a:pt x="3307" y="1584"/>
                  </a:lnTo>
                  <a:lnTo>
                    <a:pt x="3285" y="1581"/>
                  </a:lnTo>
                  <a:lnTo>
                    <a:pt x="3260" y="1576"/>
                  </a:lnTo>
                  <a:lnTo>
                    <a:pt x="3233" y="1571"/>
                  </a:lnTo>
                  <a:lnTo>
                    <a:pt x="3206" y="1564"/>
                  </a:lnTo>
                  <a:lnTo>
                    <a:pt x="3176" y="1555"/>
                  </a:lnTo>
                  <a:lnTo>
                    <a:pt x="3147" y="1544"/>
                  </a:lnTo>
                  <a:lnTo>
                    <a:pt x="3120" y="1532"/>
                  </a:lnTo>
                  <a:lnTo>
                    <a:pt x="3106" y="1526"/>
                  </a:lnTo>
                  <a:lnTo>
                    <a:pt x="3093" y="1519"/>
                  </a:lnTo>
                  <a:lnTo>
                    <a:pt x="3081" y="1511"/>
                  </a:lnTo>
                  <a:lnTo>
                    <a:pt x="3070" y="1502"/>
                  </a:lnTo>
                  <a:lnTo>
                    <a:pt x="3058" y="1493"/>
                  </a:lnTo>
                  <a:lnTo>
                    <a:pt x="3049" y="1484"/>
                  </a:lnTo>
                  <a:lnTo>
                    <a:pt x="3040" y="1474"/>
                  </a:lnTo>
                  <a:lnTo>
                    <a:pt x="3032" y="1463"/>
                  </a:lnTo>
                  <a:lnTo>
                    <a:pt x="3025" y="1451"/>
                  </a:lnTo>
                  <a:lnTo>
                    <a:pt x="3019" y="1439"/>
                  </a:lnTo>
                  <a:lnTo>
                    <a:pt x="3019" y="1439"/>
                  </a:lnTo>
                  <a:lnTo>
                    <a:pt x="3030" y="1445"/>
                  </a:lnTo>
                  <a:lnTo>
                    <a:pt x="3042" y="1450"/>
                  </a:lnTo>
                  <a:lnTo>
                    <a:pt x="3059" y="1457"/>
                  </a:lnTo>
                  <a:lnTo>
                    <a:pt x="3081" y="1465"/>
                  </a:lnTo>
                  <a:lnTo>
                    <a:pt x="3106" y="1472"/>
                  </a:lnTo>
                  <a:lnTo>
                    <a:pt x="3136" y="1477"/>
                  </a:lnTo>
                  <a:lnTo>
                    <a:pt x="3152" y="1479"/>
                  </a:lnTo>
                  <a:lnTo>
                    <a:pt x="3169" y="1480"/>
                  </a:lnTo>
                  <a:lnTo>
                    <a:pt x="3169" y="1480"/>
                  </a:lnTo>
                  <a:lnTo>
                    <a:pt x="3201" y="1481"/>
                  </a:lnTo>
                  <a:lnTo>
                    <a:pt x="3234" y="1481"/>
                  </a:lnTo>
                  <a:lnTo>
                    <a:pt x="3266" y="1479"/>
                  </a:lnTo>
                  <a:lnTo>
                    <a:pt x="3295" y="1477"/>
                  </a:lnTo>
                  <a:lnTo>
                    <a:pt x="3340" y="1471"/>
                  </a:lnTo>
                  <a:lnTo>
                    <a:pt x="3357" y="1469"/>
                  </a:lnTo>
                  <a:lnTo>
                    <a:pt x="3357" y="1469"/>
                  </a:lnTo>
                  <a:lnTo>
                    <a:pt x="3359" y="1463"/>
                  </a:lnTo>
                  <a:lnTo>
                    <a:pt x="3361" y="1451"/>
                  </a:lnTo>
                  <a:lnTo>
                    <a:pt x="3364" y="1421"/>
                  </a:lnTo>
                  <a:lnTo>
                    <a:pt x="3367" y="1381"/>
                  </a:lnTo>
                  <a:lnTo>
                    <a:pt x="3369" y="1337"/>
                  </a:lnTo>
                  <a:lnTo>
                    <a:pt x="3373" y="1257"/>
                  </a:lnTo>
                  <a:lnTo>
                    <a:pt x="3375" y="1222"/>
                  </a:lnTo>
                  <a:lnTo>
                    <a:pt x="3375" y="1222"/>
                  </a:lnTo>
                  <a:lnTo>
                    <a:pt x="3376" y="1194"/>
                  </a:lnTo>
                  <a:lnTo>
                    <a:pt x="3377" y="1154"/>
                  </a:lnTo>
                  <a:lnTo>
                    <a:pt x="3377" y="1105"/>
                  </a:lnTo>
                  <a:lnTo>
                    <a:pt x="3377" y="1105"/>
                  </a:lnTo>
                  <a:lnTo>
                    <a:pt x="3369" y="1107"/>
                  </a:lnTo>
                  <a:lnTo>
                    <a:pt x="3359" y="1108"/>
                  </a:lnTo>
                  <a:lnTo>
                    <a:pt x="3338" y="1110"/>
                  </a:lnTo>
                  <a:lnTo>
                    <a:pt x="3315" y="1109"/>
                  </a:lnTo>
                  <a:lnTo>
                    <a:pt x="3290" y="1107"/>
                  </a:lnTo>
                  <a:lnTo>
                    <a:pt x="3264" y="1104"/>
                  </a:lnTo>
                  <a:lnTo>
                    <a:pt x="3236" y="1100"/>
                  </a:lnTo>
                  <a:lnTo>
                    <a:pt x="3208" y="1094"/>
                  </a:lnTo>
                  <a:lnTo>
                    <a:pt x="3178" y="1086"/>
                  </a:lnTo>
                  <a:lnTo>
                    <a:pt x="3178" y="1086"/>
                  </a:lnTo>
                  <a:lnTo>
                    <a:pt x="3158" y="1080"/>
                  </a:lnTo>
                  <a:lnTo>
                    <a:pt x="3135" y="1071"/>
                  </a:lnTo>
                  <a:lnTo>
                    <a:pt x="3112" y="1059"/>
                  </a:lnTo>
                  <a:lnTo>
                    <a:pt x="3088" y="1044"/>
                  </a:lnTo>
                  <a:lnTo>
                    <a:pt x="3064" y="1028"/>
                  </a:lnTo>
                  <a:lnTo>
                    <a:pt x="3053" y="1019"/>
                  </a:lnTo>
                  <a:lnTo>
                    <a:pt x="3043" y="1010"/>
                  </a:lnTo>
                  <a:lnTo>
                    <a:pt x="3034" y="999"/>
                  </a:lnTo>
                  <a:lnTo>
                    <a:pt x="3025" y="990"/>
                  </a:lnTo>
                  <a:lnTo>
                    <a:pt x="3017" y="980"/>
                  </a:lnTo>
                  <a:lnTo>
                    <a:pt x="3010" y="969"/>
                  </a:lnTo>
                  <a:lnTo>
                    <a:pt x="3010" y="969"/>
                  </a:lnTo>
                  <a:lnTo>
                    <a:pt x="3022" y="974"/>
                  </a:lnTo>
                  <a:lnTo>
                    <a:pt x="3035" y="978"/>
                  </a:lnTo>
                  <a:lnTo>
                    <a:pt x="3052" y="984"/>
                  </a:lnTo>
                  <a:lnTo>
                    <a:pt x="3075" y="990"/>
                  </a:lnTo>
                  <a:lnTo>
                    <a:pt x="3101" y="996"/>
                  </a:lnTo>
                  <a:lnTo>
                    <a:pt x="3132" y="1003"/>
                  </a:lnTo>
                  <a:lnTo>
                    <a:pt x="3167" y="1008"/>
                  </a:lnTo>
                  <a:lnTo>
                    <a:pt x="3167" y="1008"/>
                  </a:lnTo>
                  <a:lnTo>
                    <a:pt x="3187" y="1010"/>
                  </a:lnTo>
                  <a:lnTo>
                    <a:pt x="3207" y="1011"/>
                  </a:lnTo>
                  <a:lnTo>
                    <a:pt x="3226" y="1012"/>
                  </a:lnTo>
                  <a:lnTo>
                    <a:pt x="3245" y="1012"/>
                  </a:lnTo>
                  <a:lnTo>
                    <a:pt x="3283" y="1010"/>
                  </a:lnTo>
                  <a:lnTo>
                    <a:pt x="3317" y="1007"/>
                  </a:lnTo>
                  <a:lnTo>
                    <a:pt x="3346" y="1001"/>
                  </a:lnTo>
                  <a:lnTo>
                    <a:pt x="3369" y="996"/>
                  </a:lnTo>
                  <a:lnTo>
                    <a:pt x="3377" y="993"/>
                  </a:lnTo>
                  <a:lnTo>
                    <a:pt x="3383" y="991"/>
                  </a:lnTo>
                  <a:lnTo>
                    <a:pt x="3388" y="988"/>
                  </a:lnTo>
                  <a:lnTo>
                    <a:pt x="3390" y="985"/>
                  </a:lnTo>
                  <a:lnTo>
                    <a:pt x="3390" y="985"/>
                  </a:lnTo>
                  <a:lnTo>
                    <a:pt x="3392" y="959"/>
                  </a:lnTo>
                  <a:lnTo>
                    <a:pt x="3393" y="925"/>
                  </a:lnTo>
                  <a:lnTo>
                    <a:pt x="3394" y="848"/>
                  </a:lnTo>
                  <a:lnTo>
                    <a:pt x="3394" y="750"/>
                  </a:lnTo>
                  <a:lnTo>
                    <a:pt x="3394" y="750"/>
                  </a:lnTo>
                  <a:lnTo>
                    <a:pt x="3399" y="686"/>
                  </a:lnTo>
                  <a:lnTo>
                    <a:pt x="3400" y="642"/>
                  </a:lnTo>
                  <a:lnTo>
                    <a:pt x="3400" y="627"/>
                  </a:lnTo>
                  <a:lnTo>
                    <a:pt x="3399" y="623"/>
                  </a:lnTo>
                  <a:lnTo>
                    <a:pt x="3398" y="622"/>
                  </a:lnTo>
                  <a:lnTo>
                    <a:pt x="3398" y="622"/>
                  </a:lnTo>
                  <a:lnTo>
                    <a:pt x="3392" y="622"/>
                  </a:lnTo>
                  <a:lnTo>
                    <a:pt x="3381" y="623"/>
                  </a:lnTo>
                  <a:lnTo>
                    <a:pt x="3368" y="623"/>
                  </a:lnTo>
                  <a:lnTo>
                    <a:pt x="3354" y="622"/>
                  </a:lnTo>
                  <a:lnTo>
                    <a:pt x="3336" y="620"/>
                  </a:lnTo>
                  <a:lnTo>
                    <a:pt x="3317" y="617"/>
                  </a:lnTo>
                  <a:lnTo>
                    <a:pt x="3297" y="612"/>
                  </a:lnTo>
                  <a:lnTo>
                    <a:pt x="3274" y="607"/>
                  </a:lnTo>
                  <a:lnTo>
                    <a:pt x="3251" y="599"/>
                  </a:lnTo>
                  <a:lnTo>
                    <a:pt x="3226" y="589"/>
                  </a:lnTo>
                  <a:lnTo>
                    <a:pt x="3200" y="578"/>
                  </a:lnTo>
                  <a:lnTo>
                    <a:pt x="3175" y="564"/>
                  </a:lnTo>
                  <a:lnTo>
                    <a:pt x="3149" y="548"/>
                  </a:lnTo>
                  <a:lnTo>
                    <a:pt x="3123" y="529"/>
                  </a:lnTo>
                  <a:lnTo>
                    <a:pt x="3110" y="519"/>
                  </a:lnTo>
                  <a:lnTo>
                    <a:pt x="3097" y="508"/>
                  </a:lnTo>
                  <a:lnTo>
                    <a:pt x="3085" y="495"/>
                  </a:lnTo>
                  <a:lnTo>
                    <a:pt x="3073" y="483"/>
                  </a:lnTo>
                  <a:lnTo>
                    <a:pt x="3073" y="483"/>
                  </a:lnTo>
                  <a:lnTo>
                    <a:pt x="3071" y="481"/>
                  </a:lnTo>
                  <a:lnTo>
                    <a:pt x="3065" y="476"/>
                  </a:lnTo>
                  <a:lnTo>
                    <a:pt x="3059" y="467"/>
                  </a:lnTo>
                  <a:lnTo>
                    <a:pt x="3056" y="461"/>
                  </a:lnTo>
                  <a:lnTo>
                    <a:pt x="3053" y="454"/>
                  </a:lnTo>
                  <a:lnTo>
                    <a:pt x="3051" y="447"/>
                  </a:lnTo>
                  <a:lnTo>
                    <a:pt x="3050" y="439"/>
                  </a:lnTo>
                  <a:lnTo>
                    <a:pt x="3049" y="430"/>
                  </a:lnTo>
                  <a:lnTo>
                    <a:pt x="3050" y="420"/>
                  </a:lnTo>
                  <a:lnTo>
                    <a:pt x="3053" y="410"/>
                  </a:lnTo>
                  <a:lnTo>
                    <a:pt x="3056" y="398"/>
                  </a:lnTo>
                  <a:lnTo>
                    <a:pt x="3062" y="386"/>
                  </a:lnTo>
                  <a:lnTo>
                    <a:pt x="3071" y="373"/>
                  </a:lnTo>
                  <a:lnTo>
                    <a:pt x="3071" y="373"/>
                  </a:lnTo>
                  <a:lnTo>
                    <a:pt x="2806" y="254"/>
                  </a:lnTo>
                  <a:lnTo>
                    <a:pt x="2806" y="254"/>
                  </a:lnTo>
                  <a:lnTo>
                    <a:pt x="2815" y="245"/>
                  </a:lnTo>
                  <a:lnTo>
                    <a:pt x="2824" y="234"/>
                  </a:lnTo>
                  <a:lnTo>
                    <a:pt x="2834" y="219"/>
                  </a:lnTo>
                  <a:lnTo>
                    <a:pt x="2845" y="203"/>
                  </a:lnTo>
                  <a:lnTo>
                    <a:pt x="2850" y="194"/>
                  </a:lnTo>
                  <a:lnTo>
                    <a:pt x="2854" y="185"/>
                  </a:lnTo>
                  <a:lnTo>
                    <a:pt x="2858" y="174"/>
                  </a:lnTo>
                  <a:lnTo>
                    <a:pt x="2861" y="164"/>
                  </a:lnTo>
                  <a:lnTo>
                    <a:pt x="2863" y="154"/>
                  </a:lnTo>
                  <a:lnTo>
                    <a:pt x="2863" y="144"/>
                  </a:lnTo>
                  <a:lnTo>
                    <a:pt x="2863" y="144"/>
                  </a:lnTo>
                  <a:lnTo>
                    <a:pt x="2863" y="132"/>
                  </a:lnTo>
                  <a:lnTo>
                    <a:pt x="2860" y="122"/>
                  </a:lnTo>
                  <a:lnTo>
                    <a:pt x="2855" y="112"/>
                  </a:lnTo>
                  <a:lnTo>
                    <a:pt x="2849" y="103"/>
                  </a:lnTo>
                  <a:lnTo>
                    <a:pt x="2841" y="94"/>
                  </a:lnTo>
                  <a:lnTo>
                    <a:pt x="2830" y="86"/>
                  </a:lnTo>
                  <a:lnTo>
                    <a:pt x="2820" y="79"/>
                  </a:lnTo>
                  <a:lnTo>
                    <a:pt x="2808" y="73"/>
                  </a:lnTo>
                  <a:lnTo>
                    <a:pt x="2795" y="68"/>
                  </a:lnTo>
                  <a:lnTo>
                    <a:pt x="2781" y="64"/>
                  </a:lnTo>
                  <a:lnTo>
                    <a:pt x="2767" y="60"/>
                  </a:lnTo>
                  <a:lnTo>
                    <a:pt x="2753" y="58"/>
                  </a:lnTo>
                  <a:lnTo>
                    <a:pt x="2738" y="56"/>
                  </a:lnTo>
                  <a:lnTo>
                    <a:pt x="2723" y="56"/>
                  </a:lnTo>
                  <a:lnTo>
                    <a:pt x="2709" y="57"/>
                  </a:lnTo>
                  <a:lnTo>
                    <a:pt x="2694" y="59"/>
                  </a:lnTo>
                  <a:lnTo>
                    <a:pt x="2694" y="59"/>
                  </a:lnTo>
                  <a:lnTo>
                    <a:pt x="2681" y="62"/>
                  </a:lnTo>
                  <a:lnTo>
                    <a:pt x="2669" y="66"/>
                  </a:lnTo>
                  <a:lnTo>
                    <a:pt x="2656" y="71"/>
                  </a:lnTo>
                  <a:lnTo>
                    <a:pt x="2644" y="77"/>
                  </a:lnTo>
                  <a:lnTo>
                    <a:pt x="2634" y="84"/>
                  </a:lnTo>
                  <a:lnTo>
                    <a:pt x="2623" y="92"/>
                  </a:lnTo>
                  <a:lnTo>
                    <a:pt x="2604" y="107"/>
                  </a:lnTo>
                  <a:lnTo>
                    <a:pt x="2589" y="122"/>
                  </a:lnTo>
                  <a:lnTo>
                    <a:pt x="2578" y="134"/>
                  </a:lnTo>
                  <a:lnTo>
                    <a:pt x="2569" y="147"/>
                  </a:lnTo>
                  <a:lnTo>
                    <a:pt x="2238" y="0"/>
                  </a:lnTo>
                  <a:lnTo>
                    <a:pt x="1977" y="263"/>
                  </a:lnTo>
                  <a:lnTo>
                    <a:pt x="1977" y="263"/>
                  </a:lnTo>
                  <a:lnTo>
                    <a:pt x="1972" y="268"/>
                  </a:lnTo>
                  <a:lnTo>
                    <a:pt x="1966" y="280"/>
                  </a:lnTo>
                  <a:lnTo>
                    <a:pt x="1963" y="287"/>
                  </a:lnTo>
                  <a:lnTo>
                    <a:pt x="1961" y="295"/>
                  </a:lnTo>
                  <a:lnTo>
                    <a:pt x="1960" y="304"/>
                  </a:lnTo>
                  <a:lnTo>
                    <a:pt x="1960" y="313"/>
                  </a:lnTo>
                  <a:lnTo>
                    <a:pt x="1964" y="337"/>
                  </a:lnTo>
                  <a:lnTo>
                    <a:pt x="1964" y="337"/>
                  </a:lnTo>
                  <a:lnTo>
                    <a:pt x="1964" y="343"/>
                  </a:lnTo>
                  <a:lnTo>
                    <a:pt x="1963" y="349"/>
                  </a:lnTo>
                  <a:lnTo>
                    <a:pt x="1962" y="354"/>
                  </a:lnTo>
                  <a:lnTo>
                    <a:pt x="1961" y="358"/>
                  </a:lnTo>
                  <a:lnTo>
                    <a:pt x="1957" y="366"/>
                  </a:lnTo>
                  <a:lnTo>
                    <a:pt x="1955" y="370"/>
                  </a:lnTo>
                  <a:lnTo>
                    <a:pt x="1955" y="370"/>
                  </a:lnTo>
                  <a:lnTo>
                    <a:pt x="1936" y="392"/>
                  </a:lnTo>
                  <a:lnTo>
                    <a:pt x="1916" y="416"/>
                  </a:lnTo>
                  <a:lnTo>
                    <a:pt x="1896" y="438"/>
                  </a:lnTo>
                  <a:lnTo>
                    <a:pt x="1876" y="461"/>
                  </a:lnTo>
                  <a:lnTo>
                    <a:pt x="1876" y="461"/>
                  </a:lnTo>
                  <a:lnTo>
                    <a:pt x="1847" y="499"/>
                  </a:lnTo>
                  <a:lnTo>
                    <a:pt x="1836" y="515"/>
                  </a:lnTo>
                  <a:lnTo>
                    <a:pt x="1828" y="527"/>
                  </a:lnTo>
                  <a:lnTo>
                    <a:pt x="1828" y="527"/>
                  </a:lnTo>
                  <a:lnTo>
                    <a:pt x="1819" y="542"/>
                  </a:lnTo>
                  <a:lnTo>
                    <a:pt x="1811" y="558"/>
                  </a:lnTo>
                  <a:lnTo>
                    <a:pt x="1799" y="583"/>
                  </a:lnTo>
                  <a:lnTo>
                    <a:pt x="1789" y="607"/>
                  </a:lnTo>
                  <a:lnTo>
                    <a:pt x="1781" y="628"/>
                  </a:lnTo>
                  <a:lnTo>
                    <a:pt x="1781" y="628"/>
                  </a:lnTo>
                  <a:lnTo>
                    <a:pt x="1780" y="631"/>
                  </a:lnTo>
                  <a:lnTo>
                    <a:pt x="1778" y="642"/>
                  </a:lnTo>
                  <a:lnTo>
                    <a:pt x="1778" y="649"/>
                  </a:lnTo>
                  <a:lnTo>
                    <a:pt x="1777" y="657"/>
                  </a:lnTo>
                  <a:lnTo>
                    <a:pt x="1778" y="666"/>
                  </a:lnTo>
                  <a:lnTo>
                    <a:pt x="1780" y="677"/>
                  </a:lnTo>
                  <a:lnTo>
                    <a:pt x="1784" y="690"/>
                  </a:lnTo>
                  <a:lnTo>
                    <a:pt x="1789" y="703"/>
                  </a:lnTo>
                  <a:lnTo>
                    <a:pt x="1797" y="716"/>
                  </a:lnTo>
                  <a:lnTo>
                    <a:pt x="1807" y="732"/>
                  </a:lnTo>
                  <a:lnTo>
                    <a:pt x="1819" y="748"/>
                  </a:lnTo>
                  <a:lnTo>
                    <a:pt x="1833" y="764"/>
                  </a:lnTo>
                  <a:lnTo>
                    <a:pt x="1852" y="782"/>
                  </a:lnTo>
                  <a:lnTo>
                    <a:pt x="1874" y="800"/>
                  </a:lnTo>
                  <a:lnTo>
                    <a:pt x="1881" y="806"/>
                  </a:lnTo>
                  <a:lnTo>
                    <a:pt x="1881" y="806"/>
                  </a:lnTo>
                  <a:lnTo>
                    <a:pt x="1894" y="789"/>
                  </a:lnTo>
                  <a:lnTo>
                    <a:pt x="1905" y="800"/>
                  </a:lnTo>
                  <a:lnTo>
                    <a:pt x="1905" y="800"/>
                  </a:lnTo>
                  <a:lnTo>
                    <a:pt x="1914" y="809"/>
                  </a:lnTo>
                  <a:lnTo>
                    <a:pt x="1926" y="820"/>
                  </a:lnTo>
                  <a:lnTo>
                    <a:pt x="1941" y="832"/>
                  </a:lnTo>
                  <a:lnTo>
                    <a:pt x="1957" y="842"/>
                  </a:lnTo>
                  <a:lnTo>
                    <a:pt x="1957" y="842"/>
                  </a:lnTo>
                  <a:lnTo>
                    <a:pt x="1959" y="835"/>
                  </a:lnTo>
                  <a:lnTo>
                    <a:pt x="1964" y="815"/>
                  </a:lnTo>
                  <a:lnTo>
                    <a:pt x="1969" y="802"/>
                  </a:lnTo>
                  <a:lnTo>
                    <a:pt x="1975" y="789"/>
                  </a:lnTo>
                  <a:lnTo>
                    <a:pt x="1983" y="775"/>
                  </a:lnTo>
                  <a:lnTo>
                    <a:pt x="1991" y="760"/>
                  </a:lnTo>
                  <a:lnTo>
                    <a:pt x="1991" y="760"/>
                  </a:lnTo>
                  <a:lnTo>
                    <a:pt x="2000" y="748"/>
                  </a:lnTo>
                  <a:lnTo>
                    <a:pt x="2011" y="736"/>
                  </a:lnTo>
                  <a:lnTo>
                    <a:pt x="2025" y="722"/>
                  </a:lnTo>
                  <a:lnTo>
                    <a:pt x="2038" y="709"/>
                  </a:lnTo>
                  <a:lnTo>
                    <a:pt x="2052" y="697"/>
                  </a:lnTo>
                  <a:lnTo>
                    <a:pt x="2065" y="686"/>
                  </a:lnTo>
                  <a:lnTo>
                    <a:pt x="2080" y="675"/>
                  </a:lnTo>
                  <a:lnTo>
                    <a:pt x="2092" y="667"/>
                  </a:lnTo>
                  <a:lnTo>
                    <a:pt x="2092" y="667"/>
                  </a:lnTo>
                  <a:lnTo>
                    <a:pt x="2107" y="658"/>
                  </a:lnTo>
                  <a:lnTo>
                    <a:pt x="2123" y="650"/>
                  </a:lnTo>
                  <a:lnTo>
                    <a:pt x="2138" y="643"/>
                  </a:lnTo>
                  <a:lnTo>
                    <a:pt x="2154" y="636"/>
                  </a:lnTo>
                  <a:lnTo>
                    <a:pt x="2170" y="632"/>
                  </a:lnTo>
                  <a:lnTo>
                    <a:pt x="2186" y="629"/>
                  </a:lnTo>
                  <a:lnTo>
                    <a:pt x="2202" y="626"/>
                  </a:lnTo>
                  <a:lnTo>
                    <a:pt x="2220" y="625"/>
                  </a:lnTo>
                  <a:lnTo>
                    <a:pt x="2220" y="625"/>
                  </a:lnTo>
                  <a:lnTo>
                    <a:pt x="2234" y="626"/>
                  </a:lnTo>
                  <a:lnTo>
                    <a:pt x="2247" y="627"/>
                  </a:lnTo>
                  <a:lnTo>
                    <a:pt x="2261" y="630"/>
                  </a:lnTo>
                  <a:lnTo>
                    <a:pt x="2272" y="635"/>
                  </a:lnTo>
                  <a:lnTo>
                    <a:pt x="2283" y="642"/>
                  </a:lnTo>
                  <a:lnTo>
                    <a:pt x="2295" y="649"/>
                  </a:lnTo>
                  <a:lnTo>
                    <a:pt x="2305" y="658"/>
                  </a:lnTo>
                  <a:lnTo>
                    <a:pt x="2316" y="668"/>
                  </a:lnTo>
                  <a:lnTo>
                    <a:pt x="2316" y="668"/>
                  </a:lnTo>
                  <a:lnTo>
                    <a:pt x="2323" y="676"/>
                  </a:lnTo>
                  <a:lnTo>
                    <a:pt x="2330" y="687"/>
                  </a:lnTo>
                  <a:lnTo>
                    <a:pt x="2336" y="698"/>
                  </a:lnTo>
                  <a:lnTo>
                    <a:pt x="2342" y="710"/>
                  </a:lnTo>
                  <a:lnTo>
                    <a:pt x="2347" y="722"/>
                  </a:lnTo>
                  <a:lnTo>
                    <a:pt x="2351" y="736"/>
                  </a:lnTo>
                  <a:lnTo>
                    <a:pt x="2355" y="750"/>
                  </a:lnTo>
                  <a:lnTo>
                    <a:pt x="2358" y="764"/>
                  </a:lnTo>
                  <a:lnTo>
                    <a:pt x="2360" y="778"/>
                  </a:lnTo>
                  <a:lnTo>
                    <a:pt x="2362" y="792"/>
                  </a:lnTo>
                  <a:lnTo>
                    <a:pt x="2363" y="805"/>
                  </a:lnTo>
                  <a:lnTo>
                    <a:pt x="2364" y="818"/>
                  </a:lnTo>
                  <a:lnTo>
                    <a:pt x="2364" y="831"/>
                  </a:lnTo>
                  <a:lnTo>
                    <a:pt x="2363" y="842"/>
                  </a:lnTo>
                  <a:lnTo>
                    <a:pt x="2361" y="852"/>
                  </a:lnTo>
                  <a:lnTo>
                    <a:pt x="2359" y="861"/>
                  </a:lnTo>
                  <a:lnTo>
                    <a:pt x="2359" y="861"/>
                  </a:lnTo>
                  <a:lnTo>
                    <a:pt x="2330" y="843"/>
                  </a:lnTo>
                  <a:lnTo>
                    <a:pt x="2330" y="843"/>
                  </a:lnTo>
                  <a:lnTo>
                    <a:pt x="2309" y="832"/>
                  </a:lnTo>
                  <a:lnTo>
                    <a:pt x="2281" y="822"/>
                  </a:lnTo>
                  <a:lnTo>
                    <a:pt x="2266" y="815"/>
                  </a:lnTo>
                  <a:lnTo>
                    <a:pt x="2251" y="811"/>
                  </a:lnTo>
                  <a:lnTo>
                    <a:pt x="2233" y="807"/>
                  </a:lnTo>
                  <a:lnTo>
                    <a:pt x="2215" y="803"/>
                  </a:lnTo>
                  <a:lnTo>
                    <a:pt x="2195" y="801"/>
                  </a:lnTo>
                  <a:lnTo>
                    <a:pt x="2175" y="800"/>
                  </a:lnTo>
                  <a:lnTo>
                    <a:pt x="2154" y="800"/>
                  </a:lnTo>
                  <a:lnTo>
                    <a:pt x="2132" y="802"/>
                  </a:lnTo>
                  <a:lnTo>
                    <a:pt x="2109" y="805"/>
                  </a:lnTo>
                  <a:lnTo>
                    <a:pt x="2086" y="810"/>
                  </a:lnTo>
                  <a:lnTo>
                    <a:pt x="2062" y="818"/>
                  </a:lnTo>
                  <a:lnTo>
                    <a:pt x="2037" y="829"/>
                  </a:lnTo>
                  <a:lnTo>
                    <a:pt x="2037" y="829"/>
                  </a:lnTo>
                  <a:lnTo>
                    <a:pt x="1995" y="847"/>
                  </a:lnTo>
                  <a:lnTo>
                    <a:pt x="1967" y="859"/>
                  </a:lnTo>
                  <a:lnTo>
                    <a:pt x="1936" y="872"/>
                  </a:lnTo>
                  <a:lnTo>
                    <a:pt x="1900" y="886"/>
                  </a:lnTo>
                  <a:lnTo>
                    <a:pt x="1860" y="900"/>
                  </a:lnTo>
                  <a:lnTo>
                    <a:pt x="1814" y="916"/>
                  </a:lnTo>
                  <a:lnTo>
                    <a:pt x="1764" y="931"/>
                  </a:lnTo>
                  <a:lnTo>
                    <a:pt x="1764" y="931"/>
                  </a:lnTo>
                  <a:lnTo>
                    <a:pt x="1737" y="938"/>
                  </a:lnTo>
                  <a:lnTo>
                    <a:pt x="1725" y="940"/>
                  </a:lnTo>
                  <a:lnTo>
                    <a:pt x="1713" y="941"/>
                  </a:lnTo>
                  <a:lnTo>
                    <a:pt x="1701" y="941"/>
                  </a:lnTo>
                  <a:lnTo>
                    <a:pt x="1691" y="941"/>
                  </a:lnTo>
                  <a:lnTo>
                    <a:pt x="1681" y="940"/>
                  </a:lnTo>
                  <a:lnTo>
                    <a:pt x="1672" y="938"/>
                  </a:lnTo>
                  <a:lnTo>
                    <a:pt x="1664" y="935"/>
                  </a:lnTo>
                  <a:lnTo>
                    <a:pt x="1655" y="930"/>
                  </a:lnTo>
                  <a:lnTo>
                    <a:pt x="1649" y="925"/>
                  </a:lnTo>
                  <a:lnTo>
                    <a:pt x="1642" y="919"/>
                  </a:lnTo>
                  <a:lnTo>
                    <a:pt x="1637" y="912"/>
                  </a:lnTo>
                  <a:lnTo>
                    <a:pt x="1633" y="902"/>
                  </a:lnTo>
                  <a:lnTo>
                    <a:pt x="1629" y="892"/>
                  </a:lnTo>
                  <a:lnTo>
                    <a:pt x="1626" y="881"/>
                  </a:lnTo>
                  <a:lnTo>
                    <a:pt x="1626" y="881"/>
                  </a:lnTo>
                  <a:lnTo>
                    <a:pt x="1624" y="871"/>
                  </a:lnTo>
                  <a:lnTo>
                    <a:pt x="1623" y="860"/>
                  </a:lnTo>
                  <a:lnTo>
                    <a:pt x="1623" y="851"/>
                  </a:lnTo>
                  <a:lnTo>
                    <a:pt x="1623" y="842"/>
                  </a:lnTo>
                  <a:lnTo>
                    <a:pt x="1625" y="826"/>
                  </a:lnTo>
                  <a:lnTo>
                    <a:pt x="1629" y="811"/>
                  </a:lnTo>
                  <a:lnTo>
                    <a:pt x="1633" y="800"/>
                  </a:lnTo>
                  <a:lnTo>
                    <a:pt x="1636" y="792"/>
                  </a:lnTo>
                  <a:lnTo>
                    <a:pt x="1640" y="784"/>
                  </a:lnTo>
                  <a:lnTo>
                    <a:pt x="1640" y="784"/>
                  </a:lnTo>
                  <a:lnTo>
                    <a:pt x="1636" y="785"/>
                  </a:lnTo>
                  <a:lnTo>
                    <a:pt x="1626" y="788"/>
                  </a:lnTo>
                  <a:lnTo>
                    <a:pt x="1610" y="794"/>
                  </a:lnTo>
                  <a:lnTo>
                    <a:pt x="1601" y="797"/>
                  </a:lnTo>
                  <a:lnTo>
                    <a:pt x="1592" y="802"/>
                  </a:lnTo>
                  <a:lnTo>
                    <a:pt x="1582" y="808"/>
                  </a:lnTo>
                  <a:lnTo>
                    <a:pt x="1573" y="814"/>
                  </a:lnTo>
                  <a:lnTo>
                    <a:pt x="1563" y="823"/>
                  </a:lnTo>
                  <a:lnTo>
                    <a:pt x="1554" y="832"/>
                  </a:lnTo>
                  <a:lnTo>
                    <a:pt x="1546" y="842"/>
                  </a:lnTo>
                  <a:lnTo>
                    <a:pt x="1539" y="853"/>
                  </a:lnTo>
                  <a:lnTo>
                    <a:pt x="1533" y="867"/>
                  </a:lnTo>
                  <a:lnTo>
                    <a:pt x="1528" y="881"/>
                  </a:lnTo>
                  <a:lnTo>
                    <a:pt x="1528" y="881"/>
                  </a:lnTo>
                  <a:lnTo>
                    <a:pt x="1525" y="896"/>
                  </a:lnTo>
                  <a:lnTo>
                    <a:pt x="1523" y="912"/>
                  </a:lnTo>
                  <a:lnTo>
                    <a:pt x="1523" y="927"/>
                  </a:lnTo>
                  <a:lnTo>
                    <a:pt x="1523" y="941"/>
                  </a:lnTo>
                  <a:lnTo>
                    <a:pt x="1524" y="954"/>
                  </a:lnTo>
                  <a:lnTo>
                    <a:pt x="1527" y="969"/>
                  </a:lnTo>
                  <a:lnTo>
                    <a:pt x="1531" y="981"/>
                  </a:lnTo>
                  <a:lnTo>
                    <a:pt x="1536" y="993"/>
                  </a:lnTo>
                  <a:lnTo>
                    <a:pt x="1542" y="1006"/>
                  </a:lnTo>
                  <a:lnTo>
                    <a:pt x="1549" y="1016"/>
                  </a:lnTo>
                  <a:lnTo>
                    <a:pt x="1557" y="1026"/>
                  </a:lnTo>
                  <a:lnTo>
                    <a:pt x="1568" y="1034"/>
                  </a:lnTo>
                  <a:lnTo>
                    <a:pt x="1578" y="1042"/>
                  </a:lnTo>
                  <a:lnTo>
                    <a:pt x="1590" y="1049"/>
                  </a:lnTo>
                  <a:lnTo>
                    <a:pt x="1602" y="1055"/>
                  </a:lnTo>
                  <a:lnTo>
                    <a:pt x="1617" y="1059"/>
                  </a:lnTo>
                  <a:lnTo>
                    <a:pt x="1617" y="1059"/>
                  </a:lnTo>
                  <a:lnTo>
                    <a:pt x="1630" y="1062"/>
                  </a:lnTo>
                  <a:lnTo>
                    <a:pt x="1644" y="1063"/>
                  </a:lnTo>
                  <a:lnTo>
                    <a:pt x="1660" y="1062"/>
                  </a:lnTo>
                  <a:lnTo>
                    <a:pt x="1676" y="1060"/>
                  </a:lnTo>
                  <a:lnTo>
                    <a:pt x="1692" y="1058"/>
                  </a:lnTo>
                  <a:lnTo>
                    <a:pt x="1710" y="1054"/>
                  </a:lnTo>
                  <a:lnTo>
                    <a:pt x="1727" y="1049"/>
                  </a:lnTo>
                  <a:lnTo>
                    <a:pt x="1744" y="1043"/>
                  </a:lnTo>
                  <a:lnTo>
                    <a:pt x="1779" y="1029"/>
                  </a:lnTo>
                  <a:lnTo>
                    <a:pt x="1815" y="1014"/>
                  </a:lnTo>
                  <a:lnTo>
                    <a:pt x="1849" y="997"/>
                  </a:lnTo>
                  <a:lnTo>
                    <a:pt x="1880" y="981"/>
                  </a:lnTo>
                  <a:lnTo>
                    <a:pt x="1880" y="981"/>
                  </a:lnTo>
                  <a:lnTo>
                    <a:pt x="1942" y="949"/>
                  </a:lnTo>
                  <a:lnTo>
                    <a:pt x="1979" y="931"/>
                  </a:lnTo>
                  <a:lnTo>
                    <a:pt x="2013" y="915"/>
                  </a:lnTo>
                  <a:lnTo>
                    <a:pt x="2013" y="915"/>
                  </a:lnTo>
                  <a:lnTo>
                    <a:pt x="2041" y="903"/>
                  </a:lnTo>
                  <a:lnTo>
                    <a:pt x="2054" y="899"/>
                  </a:lnTo>
                  <a:lnTo>
                    <a:pt x="2068" y="895"/>
                  </a:lnTo>
                  <a:lnTo>
                    <a:pt x="2081" y="892"/>
                  </a:lnTo>
                  <a:lnTo>
                    <a:pt x="2093" y="890"/>
                  </a:lnTo>
                  <a:lnTo>
                    <a:pt x="2105" y="888"/>
                  </a:lnTo>
                  <a:lnTo>
                    <a:pt x="2119" y="888"/>
                  </a:lnTo>
                  <a:lnTo>
                    <a:pt x="2131" y="888"/>
                  </a:lnTo>
                  <a:lnTo>
                    <a:pt x="2143" y="889"/>
                  </a:lnTo>
                  <a:lnTo>
                    <a:pt x="2156" y="891"/>
                  </a:lnTo>
                  <a:lnTo>
                    <a:pt x="2170" y="893"/>
                  </a:lnTo>
                  <a:lnTo>
                    <a:pt x="2183" y="897"/>
                  </a:lnTo>
                  <a:lnTo>
                    <a:pt x="2196" y="901"/>
                  </a:lnTo>
                  <a:lnTo>
                    <a:pt x="2211" y="907"/>
                  </a:lnTo>
                  <a:lnTo>
                    <a:pt x="2226" y="914"/>
                  </a:lnTo>
                  <a:lnTo>
                    <a:pt x="2226" y="914"/>
                  </a:lnTo>
                  <a:lnTo>
                    <a:pt x="2246" y="924"/>
                  </a:lnTo>
                  <a:lnTo>
                    <a:pt x="2265" y="934"/>
                  </a:lnTo>
                  <a:lnTo>
                    <a:pt x="2281" y="945"/>
                  </a:lnTo>
                  <a:lnTo>
                    <a:pt x="2295" y="954"/>
                  </a:lnTo>
                  <a:lnTo>
                    <a:pt x="2305" y="964"/>
                  </a:lnTo>
                  <a:lnTo>
                    <a:pt x="2312" y="971"/>
                  </a:lnTo>
                  <a:lnTo>
                    <a:pt x="2319" y="977"/>
                  </a:lnTo>
                  <a:lnTo>
                    <a:pt x="2319" y="977"/>
                  </a:lnTo>
                  <a:lnTo>
                    <a:pt x="2317" y="980"/>
                  </a:lnTo>
                  <a:lnTo>
                    <a:pt x="2313" y="987"/>
                  </a:lnTo>
                  <a:lnTo>
                    <a:pt x="2305" y="998"/>
                  </a:lnTo>
                  <a:lnTo>
                    <a:pt x="2300" y="1005"/>
                  </a:lnTo>
                  <a:lnTo>
                    <a:pt x="2293" y="1012"/>
                  </a:lnTo>
                  <a:lnTo>
                    <a:pt x="2285" y="1018"/>
                  </a:lnTo>
                  <a:lnTo>
                    <a:pt x="2276" y="1025"/>
                  </a:lnTo>
                  <a:lnTo>
                    <a:pt x="2267" y="1031"/>
                  </a:lnTo>
                  <a:lnTo>
                    <a:pt x="2255" y="1036"/>
                  </a:lnTo>
                  <a:lnTo>
                    <a:pt x="2242" y="1041"/>
                  </a:lnTo>
                  <a:lnTo>
                    <a:pt x="2228" y="1045"/>
                  </a:lnTo>
                  <a:lnTo>
                    <a:pt x="2212" y="1049"/>
                  </a:lnTo>
                  <a:lnTo>
                    <a:pt x="2194" y="1050"/>
                  </a:lnTo>
                  <a:lnTo>
                    <a:pt x="2194" y="1050"/>
                  </a:lnTo>
                  <a:lnTo>
                    <a:pt x="2180" y="1051"/>
                  </a:lnTo>
                  <a:lnTo>
                    <a:pt x="2166" y="1050"/>
                  </a:lnTo>
                  <a:lnTo>
                    <a:pt x="2152" y="1048"/>
                  </a:lnTo>
                  <a:lnTo>
                    <a:pt x="2139" y="1044"/>
                  </a:lnTo>
                  <a:lnTo>
                    <a:pt x="2127" y="1041"/>
                  </a:lnTo>
                  <a:lnTo>
                    <a:pt x="2115" y="1037"/>
                  </a:lnTo>
                  <a:lnTo>
                    <a:pt x="2103" y="1033"/>
                  </a:lnTo>
                  <a:lnTo>
                    <a:pt x="2092" y="1027"/>
                  </a:lnTo>
                  <a:lnTo>
                    <a:pt x="2082" y="1022"/>
                  </a:lnTo>
                  <a:lnTo>
                    <a:pt x="2073" y="1016"/>
                  </a:lnTo>
                  <a:lnTo>
                    <a:pt x="2064" y="1010"/>
                  </a:lnTo>
                  <a:lnTo>
                    <a:pt x="2056" y="1003"/>
                  </a:lnTo>
                  <a:lnTo>
                    <a:pt x="2048" y="995"/>
                  </a:lnTo>
                  <a:lnTo>
                    <a:pt x="2042" y="988"/>
                  </a:lnTo>
                  <a:lnTo>
                    <a:pt x="2036" y="981"/>
                  </a:lnTo>
                  <a:lnTo>
                    <a:pt x="2031" y="974"/>
                  </a:lnTo>
                  <a:lnTo>
                    <a:pt x="2031" y="974"/>
                  </a:lnTo>
                  <a:lnTo>
                    <a:pt x="2022" y="996"/>
                  </a:lnTo>
                  <a:lnTo>
                    <a:pt x="2013" y="1014"/>
                  </a:lnTo>
                  <a:lnTo>
                    <a:pt x="2007" y="1027"/>
                  </a:lnTo>
                  <a:lnTo>
                    <a:pt x="2007" y="1027"/>
                  </a:lnTo>
                  <a:lnTo>
                    <a:pt x="2003" y="1035"/>
                  </a:lnTo>
                  <a:lnTo>
                    <a:pt x="2000" y="1042"/>
                  </a:lnTo>
                  <a:lnTo>
                    <a:pt x="1998" y="1051"/>
                  </a:lnTo>
                  <a:lnTo>
                    <a:pt x="1997" y="1057"/>
                  </a:lnTo>
                  <a:lnTo>
                    <a:pt x="1997" y="1064"/>
                  </a:lnTo>
                  <a:lnTo>
                    <a:pt x="1997" y="1070"/>
                  </a:lnTo>
                  <a:lnTo>
                    <a:pt x="1999" y="1082"/>
                  </a:lnTo>
                  <a:lnTo>
                    <a:pt x="2001" y="1094"/>
                  </a:lnTo>
                  <a:lnTo>
                    <a:pt x="2003" y="1104"/>
                  </a:lnTo>
                  <a:lnTo>
                    <a:pt x="2004" y="1115"/>
                  </a:lnTo>
                  <a:lnTo>
                    <a:pt x="2003" y="1121"/>
                  </a:lnTo>
                  <a:lnTo>
                    <a:pt x="2001" y="1126"/>
                  </a:lnTo>
                  <a:lnTo>
                    <a:pt x="2001" y="1126"/>
                  </a:lnTo>
                  <a:lnTo>
                    <a:pt x="1999" y="1132"/>
                  </a:lnTo>
                  <a:lnTo>
                    <a:pt x="1995" y="1138"/>
                  </a:lnTo>
                  <a:lnTo>
                    <a:pt x="1986" y="1151"/>
                  </a:lnTo>
                  <a:lnTo>
                    <a:pt x="1973" y="1163"/>
                  </a:lnTo>
                  <a:lnTo>
                    <a:pt x="1960" y="1175"/>
                  </a:lnTo>
                  <a:lnTo>
                    <a:pt x="1945" y="1187"/>
                  </a:lnTo>
                  <a:lnTo>
                    <a:pt x="1931" y="1198"/>
                  </a:lnTo>
                  <a:lnTo>
                    <a:pt x="1904" y="1216"/>
                  </a:lnTo>
                  <a:lnTo>
                    <a:pt x="1904" y="1216"/>
                  </a:lnTo>
                  <a:lnTo>
                    <a:pt x="1886" y="1227"/>
                  </a:lnTo>
                  <a:lnTo>
                    <a:pt x="1864" y="1239"/>
                  </a:lnTo>
                  <a:lnTo>
                    <a:pt x="1842" y="1249"/>
                  </a:lnTo>
                  <a:lnTo>
                    <a:pt x="1819" y="1257"/>
                  </a:lnTo>
                  <a:lnTo>
                    <a:pt x="1798" y="1264"/>
                  </a:lnTo>
                  <a:lnTo>
                    <a:pt x="1779" y="1270"/>
                  </a:lnTo>
                  <a:lnTo>
                    <a:pt x="1754" y="1278"/>
                  </a:lnTo>
                  <a:lnTo>
                    <a:pt x="1754" y="1278"/>
                  </a:lnTo>
                  <a:lnTo>
                    <a:pt x="1779" y="1336"/>
                  </a:lnTo>
                  <a:lnTo>
                    <a:pt x="1811" y="1404"/>
                  </a:lnTo>
                  <a:lnTo>
                    <a:pt x="1811" y="1404"/>
                  </a:lnTo>
                  <a:lnTo>
                    <a:pt x="1833" y="1449"/>
                  </a:lnTo>
                  <a:lnTo>
                    <a:pt x="1862" y="1504"/>
                  </a:lnTo>
                  <a:lnTo>
                    <a:pt x="1877" y="1531"/>
                  </a:lnTo>
                  <a:lnTo>
                    <a:pt x="1893" y="1557"/>
                  </a:lnTo>
                  <a:lnTo>
                    <a:pt x="1909" y="1578"/>
                  </a:lnTo>
                  <a:lnTo>
                    <a:pt x="1916" y="1588"/>
                  </a:lnTo>
                  <a:lnTo>
                    <a:pt x="1924" y="1597"/>
                  </a:lnTo>
                  <a:lnTo>
                    <a:pt x="1924" y="1597"/>
                  </a:lnTo>
                  <a:lnTo>
                    <a:pt x="1940" y="1592"/>
                  </a:lnTo>
                  <a:lnTo>
                    <a:pt x="1957" y="1587"/>
                  </a:lnTo>
                  <a:lnTo>
                    <a:pt x="1980" y="1581"/>
                  </a:lnTo>
                  <a:lnTo>
                    <a:pt x="2004" y="1573"/>
                  </a:lnTo>
                  <a:lnTo>
                    <a:pt x="2031" y="1563"/>
                  </a:lnTo>
                  <a:lnTo>
                    <a:pt x="2057" y="1551"/>
                  </a:lnTo>
                  <a:lnTo>
                    <a:pt x="2071" y="1544"/>
                  </a:lnTo>
                  <a:lnTo>
                    <a:pt x="2083" y="1537"/>
                  </a:lnTo>
                  <a:lnTo>
                    <a:pt x="2083" y="1537"/>
                  </a:lnTo>
                  <a:lnTo>
                    <a:pt x="2105" y="1524"/>
                  </a:lnTo>
                  <a:lnTo>
                    <a:pt x="2126" y="1510"/>
                  </a:lnTo>
                  <a:lnTo>
                    <a:pt x="2145" y="1495"/>
                  </a:lnTo>
                  <a:lnTo>
                    <a:pt x="2162" y="1480"/>
                  </a:lnTo>
                  <a:lnTo>
                    <a:pt x="2177" y="1466"/>
                  </a:lnTo>
                  <a:lnTo>
                    <a:pt x="2189" y="1451"/>
                  </a:lnTo>
                  <a:lnTo>
                    <a:pt x="2199" y="1437"/>
                  </a:lnTo>
                  <a:lnTo>
                    <a:pt x="2207" y="1424"/>
                  </a:lnTo>
                  <a:lnTo>
                    <a:pt x="2207" y="1424"/>
                  </a:lnTo>
                  <a:lnTo>
                    <a:pt x="2190" y="1460"/>
                  </a:lnTo>
                  <a:lnTo>
                    <a:pt x="2175" y="1493"/>
                  </a:lnTo>
                  <a:lnTo>
                    <a:pt x="2161" y="1523"/>
                  </a:lnTo>
                  <a:lnTo>
                    <a:pt x="2146" y="1551"/>
                  </a:lnTo>
                  <a:lnTo>
                    <a:pt x="2132" y="1576"/>
                  </a:lnTo>
                  <a:lnTo>
                    <a:pt x="2119" y="1599"/>
                  </a:lnTo>
                  <a:lnTo>
                    <a:pt x="2105" y="1619"/>
                  </a:lnTo>
                  <a:lnTo>
                    <a:pt x="2092" y="1637"/>
                  </a:lnTo>
                  <a:lnTo>
                    <a:pt x="2080" y="1655"/>
                  </a:lnTo>
                  <a:lnTo>
                    <a:pt x="2068" y="1669"/>
                  </a:lnTo>
                  <a:lnTo>
                    <a:pt x="2055" y="1682"/>
                  </a:lnTo>
                  <a:lnTo>
                    <a:pt x="2044" y="1694"/>
                  </a:lnTo>
                  <a:lnTo>
                    <a:pt x="2033" y="1705"/>
                  </a:lnTo>
                  <a:lnTo>
                    <a:pt x="2022" y="1714"/>
                  </a:lnTo>
                  <a:lnTo>
                    <a:pt x="2011" y="1721"/>
                  </a:lnTo>
                  <a:lnTo>
                    <a:pt x="2000" y="1729"/>
                  </a:lnTo>
                  <a:lnTo>
                    <a:pt x="2000" y="1729"/>
                  </a:lnTo>
                  <a:lnTo>
                    <a:pt x="1907" y="1790"/>
                  </a:lnTo>
                  <a:lnTo>
                    <a:pt x="1797" y="1862"/>
                  </a:lnTo>
                  <a:lnTo>
                    <a:pt x="1735" y="1901"/>
                  </a:lnTo>
                  <a:lnTo>
                    <a:pt x="1671" y="1940"/>
                  </a:lnTo>
                  <a:lnTo>
                    <a:pt x="1602" y="1980"/>
                  </a:lnTo>
                  <a:lnTo>
                    <a:pt x="1532" y="2020"/>
                  </a:lnTo>
                  <a:lnTo>
                    <a:pt x="1459" y="2058"/>
                  </a:lnTo>
                  <a:lnTo>
                    <a:pt x="1422" y="2077"/>
                  </a:lnTo>
                  <a:lnTo>
                    <a:pt x="1384" y="2094"/>
                  </a:lnTo>
                  <a:lnTo>
                    <a:pt x="1347" y="2112"/>
                  </a:lnTo>
                  <a:lnTo>
                    <a:pt x="1308" y="2129"/>
                  </a:lnTo>
                  <a:lnTo>
                    <a:pt x="1269" y="2146"/>
                  </a:lnTo>
                  <a:lnTo>
                    <a:pt x="1230" y="2161"/>
                  </a:lnTo>
                  <a:lnTo>
                    <a:pt x="1190" y="2175"/>
                  </a:lnTo>
                  <a:lnTo>
                    <a:pt x="1151" y="2189"/>
                  </a:lnTo>
                  <a:lnTo>
                    <a:pt x="1111" y="2202"/>
                  </a:lnTo>
                  <a:lnTo>
                    <a:pt x="1072" y="2213"/>
                  </a:lnTo>
                  <a:lnTo>
                    <a:pt x="1032" y="2223"/>
                  </a:lnTo>
                  <a:lnTo>
                    <a:pt x="992" y="2231"/>
                  </a:lnTo>
                  <a:lnTo>
                    <a:pt x="952" y="2240"/>
                  </a:lnTo>
                  <a:lnTo>
                    <a:pt x="913" y="2246"/>
                  </a:lnTo>
                  <a:lnTo>
                    <a:pt x="913" y="2246"/>
                  </a:lnTo>
                  <a:lnTo>
                    <a:pt x="901" y="2246"/>
                  </a:lnTo>
                  <a:lnTo>
                    <a:pt x="889" y="2245"/>
                  </a:lnTo>
                  <a:lnTo>
                    <a:pt x="876" y="2242"/>
                  </a:lnTo>
                  <a:lnTo>
                    <a:pt x="863" y="2239"/>
                  </a:lnTo>
                  <a:lnTo>
                    <a:pt x="850" y="2236"/>
                  </a:lnTo>
                  <a:lnTo>
                    <a:pt x="836" y="2230"/>
                  </a:lnTo>
                  <a:lnTo>
                    <a:pt x="809" y="2218"/>
                  </a:lnTo>
                  <a:lnTo>
                    <a:pt x="781" y="2204"/>
                  </a:lnTo>
                  <a:lnTo>
                    <a:pt x="754" y="2188"/>
                  </a:lnTo>
                  <a:lnTo>
                    <a:pt x="726" y="2170"/>
                  </a:lnTo>
                  <a:lnTo>
                    <a:pt x="698" y="2151"/>
                  </a:lnTo>
                  <a:lnTo>
                    <a:pt x="672" y="2130"/>
                  </a:lnTo>
                  <a:lnTo>
                    <a:pt x="646" y="2110"/>
                  </a:lnTo>
                  <a:lnTo>
                    <a:pt x="623" y="2089"/>
                  </a:lnTo>
                  <a:lnTo>
                    <a:pt x="600" y="2069"/>
                  </a:lnTo>
                  <a:lnTo>
                    <a:pt x="581" y="2049"/>
                  </a:lnTo>
                  <a:lnTo>
                    <a:pt x="563" y="2032"/>
                  </a:lnTo>
                  <a:lnTo>
                    <a:pt x="548" y="2017"/>
                  </a:lnTo>
                  <a:lnTo>
                    <a:pt x="537" y="2003"/>
                  </a:lnTo>
                  <a:lnTo>
                    <a:pt x="537" y="2003"/>
                  </a:lnTo>
                  <a:lnTo>
                    <a:pt x="533" y="1999"/>
                  </a:lnTo>
                  <a:lnTo>
                    <a:pt x="530" y="1995"/>
                  </a:lnTo>
                  <a:lnTo>
                    <a:pt x="520" y="1990"/>
                  </a:lnTo>
                  <a:lnTo>
                    <a:pt x="512" y="1988"/>
                  </a:lnTo>
                  <a:lnTo>
                    <a:pt x="502" y="1987"/>
                  </a:lnTo>
                  <a:lnTo>
                    <a:pt x="493" y="1987"/>
                  </a:lnTo>
                  <a:lnTo>
                    <a:pt x="483" y="1989"/>
                  </a:lnTo>
                  <a:lnTo>
                    <a:pt x="473" y="1992"/>
                  </a:lnTo>
                  <a:lnTo>
                    <a:pt x="464" y="1996"/>
                  </a:lnTo>
                  <a:lnTo>
                    <a:pt x="447" y="2004"/>
                  </a:lnTo>
                  <a:lnTo>
                    <a:pt x="433" y="2014"/>
                  </a:lnTo>
                  <a:lnTo>
                    <a:pt x="419" y="2024"/>
                  </a:lnTo>
                  <a:lnTo>
                    <a:pt x="419" y="2024"/>
                  </a:lnTo>
                  <a:lnTo>
                    <a:pt x="412" y="2023"/>
                  </a:lnTo>
                  <a:lnTo>
                    <a:pt x="393" y="2021"/>
                  </a:lnTo>
                  <a:lnTo>
                    <a:pt x="379" y="2021"/>
                  </a:lnTo>
                  <a:lnTo>
                    <a:pt x="364" y="2021"/>
                  </a:lnTo>
                  <a:lnTo>
                    <a:pt x="348" y="2022"/>
                  </a:lnTo>
                  <a:lnTo>
                    <a:pt x="329" y="2024"/>
                  </a:lnTo>
                  <a:lnTo>
                    <a:pt x="310" y="2027"/>
                  </a:lnTo>
                  <a:lnTo>
                    <a:pt x="290" y="2032"/>
                  </a:lnTo>
                  <a:lnTo>
                    <a:pt x="271" y="2038"/>
                  </a:lnTo>
                  <a:lnTo>
                    <a:pt x="252" y="2047"/>
                  </a:lnTo>
                  <a:lnTo>
                    <a:pt x="242" y="2053"/>
                  </a:lnTo>
                  <a:lnTo>
                    <a:pt x="233" y="2058"/>
                  </a:lnTo>
                  <a:lnTo>
                    <a:pt x="224" y="2064"/>
                  </a:lnTo>
                  <a:lnTo>
                    <a:pt x="216" y="2071"/>
                  </a:lnTo>
                  <a:lnTo>
                    <a:pt x="207" y="2079"/>
                  </a:lnTo>
                  <a:lnTo>
                    <a:pt x="199" y="2087"/>
                  </a:lnTo>
                  <a:lnTo>
                    <a:pt x="191" y="2097"/>
                  </a:lnTo>
                  <a:lnTo>
                    <a:pt x="184" y="2106"/>
                  </a:lnTo>
                  <a:lnTo>
                    <a:pt x="184" y="2106"/>
                  </a:lnTo>
                  <a:lnTo>
                    <a:pt x="183" y="2109"/>
                  </a:lnTo>
                  <a:lnTo>
                    <a:pt x="185" y="2111"/>
                  </a:lnTo>
                  <a:lnTo>
                    <a:pt x="188" y="2112"/>
                  </a:lnTo>
                  <a:lnTo>
                    <a:pt x="193" y="2112"/>
                  </a:lnTo>
                  <a:lnTo>
                    <a:pt x="210" y="2110"/>
                  </a:lnTo>
                  <a:lnTo>
                    <a:pt x="230" y="2108"/>
                  </a:lnTo>
                  <a:lnTo>
                    <a:pt x="255" y="2106"/>
                  </a:lnTo>
                  <a:lnTo>
                    <a:pt x="280" y="2105"/>
                  </a:lnTo>
                  <a:lnTo>
                    <a:pt x="293" y="2106"/>
                  </a:lnTo>
                  <a:lnTo>
                    <a:pt x="307" y="2107"/>
                  </a:lnTo>
                  <a:lnTo>
                    <a:pt x="319" y="2109"/>
                  </a:lnTo>
                  <a:lnTo>
                    <a:pt x="331" y="2112"/>
                  </a:lnTo>
                  <a:lnTo>
                    <a:pt x="331" y="2112"/>
                  </a:lnTo>
                  <a:lnTo>
                    <a:pt x="338" y="2115"/>
                  </a:lnTo>
                  <a:lnTo>
                    <a:pt x="343" y="2118"/>
                  </a:lnTo>
                  <a:lnTo>
                    <a:pt x="346" y="2121"/>
                  </a:lnTo>
                  <a:lnTo>
                    <a:pt x="347" y="2124"/>
                  </a:lnTo>
                  <a:lnTo>
                    <a:pt x="347" y="2127"/>
                  </a:lnTo>
                  <a:lnTo>
                    <a:pt x="345" y="2131"/>
                  </a:lnTo>
                  <a:lnTo>
                    <a:pt x="339" y="2139"/>
                  </a:lnTo>
                  <a:lnTo>
                    <a:pt x="332" y="2149"/>
                  </a:lnTo>
                  <a:lnTo>
                    <a:pt x="325" y="2160"/>
                  </a:lnTo>
                  <a:lnTo>
                    <a:pt x="321" y="2166"/>
                  </a:lnTo>
                  <a:lnTo>
                    <a:pt x="319" y="2172"/>
                  </a:lnTo>
                  <a:lnTo>
                    <a:pt x="317" y="2178"/>
                  </a:lnTo>
                  <a:lnTo>
                    <a:pt x="317" y="2185"/>
                  </a:lnTo>
                  <a:lnTo>
                    <a:pt x="317" y="2185"/>
                  </a:lnTo>
                  <a:lnTo>
                    <a:pt x="317" y="2191"/>
                  </a:lnTo>
                  <a:lnTo>
                    <a:pt x="319" y="2197"/>
                  </a:lnTo>
                  <a:lnTo>
                    <a:pt x="321" y="2202"/>
                  </a:lnTo>
                  <a:lnTo>
                    <a:pt x="324" y="2207"/>
                  </a:lnTo>
                  <a:lnTo>
                    <a:pt x="328" y="2212"/>
                  </a:lnTo>
                  <a:lnTo>
                    <a:pt x="333" y="2217"/>
                  </a:lnTo>
                  <a:lnTo>
                    <a:pt x="346" y="2227"/>
                  </a:lnTo>
                  <a:lnTo>
                    <a:pt x="361" y="2237"/>
                  </a:lnTo>
                  <a:lnTo>
                    <a:pt x="377" y="2246"/>
                  </a:lnTo>
                  <a:lnTo>
                    <a:pt x="397" y="2255"/>
                  </a:lnTo>
                  <a:lnTo>
                    <a:pt x="416" y="2263"/>
                  </a:lnTo>
                  <a:lnTo>
                    <a:pt x="458" y="2279"/>
                  </a:lnTo>
                  <a:lnTo>
                    <a:pt x="500" y="2293"/>
                  </a:lnTo>
                  <a:lnTo>
                    <a:pt x="571" y="2314"/>
                  </a:lnTo>
                  <a:lnTo>
                    <a:pt x="571" y="2314"/>
                  </a:lnTo>
                  <a:lnTo>
                    <a:pt x="579" y="2318"/>
                  </a:lnTo>
                  <a:lnTo>
                    <a:pt x="585" y="2322"/>
                  </a:lnTo>
                  <a:lnTo>
                    <a:pt x="588" y="2328"/>
                  </a:lnTo>
                  <a:lnTo>
                    <a:pt x="590" y="2333"/>
                  </a:lnTo>
                  <a:lnTo>
                    <a:pt x="590" y="2337"/>
                  </a:lnTo>
                  <a:lnTo>
                    <a:pt x="588" y="2341"/>
                  </a:lnTo>
                  <a:lnTo>
                    <a:pt x="585" y="2343"/>
                  </a:lnTo>
                  <a:lnTo>
                    <a:pt x="581" y="2344"/>
                  </a:lnTo>
                  <a:lnTo>
                    <a:pt x="581" y="2344"/>
                  </a:lnTo>
                  <a:lnTo>
                    <a:pt x="556" y="2343"/>
                  </a:lnTo>
                  <a:lnTo>
                    <a:pt x="532" y="2340"/>
                  </a:lnTo>
                  <a:lnTo>
                    <a:pt x="509" y="2337"/>
                  </a:lnTo>
                  <a:lnTo>
                    <a:pt x="488" y="2332"/>
                  </a:lnTo>
                  <a:lnTo>
                    <a:pt x="467" y="2327"/>
                  </a:lnTo>
                  <a:lnTo>
                    <a:pt x="448" y="2320"/>
                  </a:lnTo>
                  <a:lnTo>
                    <a:pt x="429" y="2314"/>
                  </a:lnTo>
                  <a:lnTo>
                    <a:pt x="412" y="2308"/>
                  </a:lnTo>
                  <a:lnTo>
                    <a:pt x="380" y="2295"/>
                  </a:lnTo>
                  <a:lnTo>
                    <a:pt x="352" y="2283"/>
                  </a:lnTo>
                  <a:lnTo>
                    <a:pt x="327" y="2271"/>
                  </a:lnTo>
                  <a:lnTo>
                    <a:pt x="316" y="2267"/>
                  </a:lnTo>
                  <a:lnTo>
                    <a:pt x="305" y="2263"/>
                  </a:lnTo>
                  <a:lnTo>
                    <a:pt x="305" y="2263"/>
                  </a:lnTo>
                  <a:lnTo>
                    <a:pt x="286" y="2258"/>
                  </a:lnTo>
                  <a:lnTo>
                    <a:pt x="268" y="2254"/>
                  </a:lnTo>
                  <a:lnTo>
                    <a:pt x="253" y="2251"/>
                  </a:lnTo>
                  <a:lnTo>
                    <a:pt x="237" y="2249"/>
                  </a:lnTo>
                  <a:lnTo>
                    <a:pt x="224" y="2248"/>
                  </a:lnTo>
                  <a:lnTo>
                    <a:pt x="213" y="2249"/>
                  </a:lnTo>
                  <a:lnTo>
                    <a:pt x="202" y="2250"/>
                  </a:lnTo>
                  <a:lnTo>
                    <a:pt x="192" y="2252"/>
                  </a:lnTo>
                  <a:lnTo>
                    <a:pt x="185" y="2256"/>
                  </a:lnTo>
                  <a:lnTo>
                    <a:pt x="178" y="2260"/>
                  </a:lnTo>
                  <a:lnTo>
                    <a:pt x="172" y="2265"/>
                  </a:lnTo>
                  <a:lnTo>
                    <a:pt x="167" y="2271"/>
                  </a:lnTo>
                  <a:lnTo>
                    <a:pt x="163" y="2277"/>
                  </a:lnTo>
                  <a:lnTo>
                    <a:pt x="160" y="2286"/>
                  </a:lnTo>
                  <a:lnTo>
                    <a:pt x="156" y="2294"/>
                  </a:lnTo>
                  <a:lnTo>
                    <a:pt x="155" y="2303"/>
                  </a:lnTo>
                  <a:lnTo>
                    <a:pt x="155" y="2303"/>
                  </a:lnTo>
                  <a:lnTo>
                    <a:pt x="154" y="2306"/>
                  </a:lnTo>
                  <a:lnTo>
                    <a:pt x="152" y="2309"/>
                  </a:lnTo>
                  <a:lnTo>
                    <a:pt x="150" y="2312"/>
                  </a:lnTo>
                  <a:lnTo>
                    <a:pt x="147" y="2314"/>
                  </a:lnTo>
                  <a:lnTo>
                    <a:pt x="140" y="2318"/>
                  </a:lnTo>
                  <a:lnTo>
                    <a:pt x="132" y="2323"/>
                  </a:lnTo>
                  <a:lnTo>
                    <a:pt x="109" y="2333"/>
                  </a:lnTo>
                  <a:lnTo>
                    <a:pt x="97" y="2339"/>
                  </a:lnTo>
                  <a:lnTo>
                    <a:pt x="84" y="2347"/>
                  </a:lnTo>
                  <a:lnTo>
                    <a:pt x="71" y="2357"/>
                  </a:lnTo>
                  <a:lnTo>
                    <a:pt x="57" y="2371"/>
                  </a:lnTo>
                  <a:lnTo>
                    <a:pt x="51" y="2378"/>
                  </a:lnTo>
                  <a:lnTo>
                    <a:pt x="45" y="2386"/>
                  </a:lnTo>
                  <a:lnTo>
                    <a:pt x="39" y="2396"/>
                  </a:lnTo>
                  <a:lnTo>
                    <a:pt x="33" y="2406"/>
                  </a:lnTo>
                  <a:lnTo>
                    <a:pt x="28" y="2418"/>
                  </a:lnTo>
                  <a:lnTo>
                    <a:pt x="22" y="2430"/>
                  </a:lnTo>
                  <a:lnTo>
                    <a:pt x="17" y="2444"/>
                  </a:lnTo>
                  <a:lnTo>
                    <a:pt x="13" y="2458"/>
                  </a:lnTo>
                  <a:lnTo>
                    <a:pt x="9" y="2475"/>
                  </a:lnTo>
                  <a:lnTo>
                    <a:pt x="6" y="2492"/>
                  </a:lnTo>
                  <a:lnTo>
                    <a:pt x="3" y="2512"/>
                  </a:lnTo>
                  <a:lnTo>
                    <a:pt x="0" y="2532"/>
                  </a:lnTo>
                  <a:lnTo>
                    <a:pt x="0" y="2532"/>
                  </a:lnTo>
                  <a:lnTo>
                    <a:pt x="1" y="2533"/>
                  </a:lnTo>
                  <a:lnTo>
                    <a:pt x="2" y="2534"/>
                  </a:lnTo>
                  <a:lnTo>
                    <a:pt x="6" y="2532"/>
                  </a:lnTo>
                  <a:lnTo>
                    <a:pt x="12" y="2527"/>
                  </a:lnTo>
                  <a:lnTo>
                    <a:pt x="20" y="2519"/>
                  </a:lnTo>
                  <a:lnTo>
                    <a:pt x="43" y="2496"/>
                  </a:lnTo>
                  <a:lnTo>
                    <a:pt x="69" y="2472"/>
                  </a:lnTo>
                  <a:lnTo>
                    <a:pt x="82" y="2459"/>
                  </a:lnTo>
                  <a:lnTo>
                    <a:pt x="95" y="2448"/>
                  </a:lnTo>
                  <a:lnTo>
                    <a:pt x="107" y="2439"/>
                  </a:lnTo>
                  <a:lnTo>
                    <a:pt x="119" y="2432"/>
                  </a:lnTo>
                  <a:lnTo>
                    <a:pt x="124" y="2429"/>
                  </a:lnTo>
                  <a:lnTo>
                    <a:pt x="129" y="2428"/>
                  </a:lnTo>
                  <a:lnTo>
                    <a:pt x="133" y="2427"/>
                  </a:lnTo>
                  <a:lnTo>
                    <a:pt x="137" y="2427"/>
                  </a:lnTo>
                  <a:lnTo>
                    <a:pt x="140" y="2429"/>
                  </a:lnTo>
                  <a:lnTo>
                    <a:pt x="143" y="2431"/>
                  </a:lnTo>
                  <a:lnTo>
                    <a:pt x="144" y="2435"/>
                  </a:lnTo>
                  <a:lnTo>
                    <a:pt x="146" y="2439"/>
                  </a:lnTo>
                  <a:lnTo>
                    <a:pt x="146" y="2439"/>
                  </a:lnTo>
                  <a:lnTo>
                    <a:pt x="149" y="2455"/>
                  </a:lnTo>
                  <a:lnTo>
                    <a:pt x="154" y="2470"/>
                  </a:lnTo>
                  <a:lnTo>
                    <a:pt x="162" y="2483"/>
                  </a:lnTo>
                  <a:lnTo>
                    <a:pt x="170" y="2493"/>
                  </a:lnTo>
                  <a:lnTo>
                    <a:pt x="179" y="2503"/>
                  </a:lnTo>
                  <a:lnTo>
                    <a:pt x="189" y="2511"/>
                  </a:lnTo>
                  <a:lnTo>
                    <a:pt x="200" y="2518"/>
                  </a:lnTo>
                  <a:lnTo>
                    <a:pt x="214" y="2523"/>
                  </a:lnTo>
                  <a:lnTo>
                    <a:pt x="227" y="2527"/>
                  </a:lnTo>
                  <a:lnTo>
                    <a:pt x="241" y="2529"/>
                  </a:lnTo>
                  <a:lnTo>
                    <a:pt x="256" y="2531"/>
                  </a:lnTo>
                  <a:lnTo>
                    <a:pt x="271" y="2532"/>
                  </a:lnTo>
                  <a:lnTo>
                    <a:pt x="287" y="2533"/>
                  </a:lnTo>
                  <a:lnTo>
                    <a:pt x="304" y="2532"/>
                  </a:lnTo>
                  <a:lnTo>
                    <a:pt x="337" y="2530"/>
                  </a:lnTo>
                  <a:lnTo>
                    <a:pt x="371" y="2526"/>
                  </a:lnTo>
                  <a:lnTo>
                    <a:pt x="405" y="2521"/>
                  </a:lnTo>
                  <a:lnTo>
                    <a:pt x="438" y="2516"/>
                  </a:lnTo>
                  <a:lnTo>
                    <a:pt x="468" y="2512"/>
                  </a:lnTo>
                  <a:lnTo>
                    <a:pt x="496" y="2510"/>
                  </a:lnTo>
                  <a:lnTo>
                    <a:pt x="509" y="2509"/>
                  </a:lnTo>
                  <a:lnTo>
                    <a:pt x="520" y="2509"/>
                  </a:lnTo>
                  <a:lnTo>
                    <a:pt x="531" y="2510"/>
                  </a:lnTo>
                  <a:lnTo>
                    <a:pt x="541" y="2512"/>
                  </a:lnTo>
                  <a:lnTo>
                    <a:pt x="549" y="2515"/>
                  </a:lnTo>
                  <a:lnTo>
                    <a:pt x="555" y="2519"/>
                  </a:lnTo>
                  <a:lnTo>
                    <a:pt x="555" y="2519"/>
                  </a:lnTo>
                  <a:lnTo>
                    <a:pt x="558" y="2522"/>
                  </a:lnTo>
                  <a:lnTo>
                    <a:pt x="559" y="2524"/>
                  </a:lnTo>
                  <a:lnTo>
                    <a:pt x="557" y="2527"/>
                  </a:lnTo>
                  <a:lnTo>
                    <a:pt x="554" y="2529"/>
                  </a:lnTo>
                  <a:lnTo>
                    <a:pt x="549" y="2532"/>
                  </a:lnTo>
                  <a:lnTo>
                    <a:pt x="542" y="2534"/>
                  </a:lnTo>
                  <a:lnTo>
                    <a:pt x="525" y="2538"/>
                  </a:lnTo>
                  <a:lnTo>
                    <a:pt x="475" y="2547"/>
                  </a:lnTo>
                  <a:lnTo>
                    <a:pt x="447" y="2553"/>
                  </a:lnTo>
                  <a:lnTo>
                    <a:pt x="417" y="2559"/>
                  </a:lnTo>
                  <a:lnTo>
                    <a:pt x="388" y="2566"/>
                  </a:lnTo>
                  <a:lnTo>
                    <a:pt x="359" y="2574"/>
                  </a:lnTo>
                  <a:lnTo>
                    <a:pt x="346" y="2578"/>
                  </a:lnTo>
                  <a:lnTo>
                    <a:pt x="333" y="2583"/>
                  </a:lnTo>
                  <a:lnTo>
                    <a:pt x="322" y="2588"/>
                  </a:lnTo>
                  <a:lnTo>
                    <a:pt x="312" y="2594"/>
                  </a:lnTo>
                  <a:lnTo>
                    <a:pt x="303" y="2601"/>
                  </a:lnTo>
                  <a:lnTo>
                    <a:pt x="294" y="2607"/>
                  </a:lnTo>
                  <a:lnTo>
                    <a:pt x="288" y="2614"/>
                  </a:lnTo>
                  <a:lnTo>
                    <a:pt x="284" y="2622"/>
                  </a:lnTo>
                  <a:lnTo>
                    <a:pt x="282" y="2630"/>
                  </a:lnTo>
                  <a:lnTo>
                    <a:pt x="281" y="2638"/>
                  </a:lnTo>
                  <a:lnTo>
                    <a:pt x="283" y="2649"/>
                  </a:lnTo>
                  <a:lnTo>
                    <a:pt x="287" y="2659"/>
                  </a:lnTo>
                  <a:lnTo>
                    <a:pt x="287" y="2659"/>
                  </a:lnTo>
                  <a:lnTo>
                    <a:pt x="287" y="2660"/>
                  </a:lnTo>
                  <a:lnTo>
                    <a:pt x="286" y="2663"/>
                  </a:lnTo>
                  <a:lnTo>
                    <a:pt x="283" y="2669"/>
                  </a:lnTo>
                  <a:lnTo>
                    <a:pt x="268" y="2686"/>
                  </a:lnTo>
                  <a:lnTo>
                    <a:pt x="258" y="2699"/>
                  </a:lnTo>
                  <a:lnTo>
                    <a:pt x="247" y="2712"/>
                  </a:lnTo>
                  <a:lnTo>
                    <a:pt x="237" y="2727"/>
                  </a:lnTo>
                  <a:lnTo>
                    <a:pt x="228" y="2744"/>
                  </a:lnTo>
                  <a:lnTo>
                    <a:pt x="220" y="2761"/>
                  </a:lnTo>
                  <a:lnTo>
                    <a:pt x="217" y="2770"/>
                  </a:lnTo>
                  <a:lnTo>
                    <a:pt x="214" y="2781"/>
                  </a:lnTo>
                  <a:lnTo>
                    <a:pt x="213" y="2790"/>
                  </a:lnTo>
                  <a:lnTo>
                    <a:pt x="212" y="2801"/>
                  </a:lnTo>
                  <a:lnTo>
                    <a:pt x="212" y="2811"/>
                  </a:lnTo>
                  <a:lnTo>
                    <a:pt x="213" y="2821"/>
                  </a:lnTo>
                  <a:lnTo>
                    <a:pt x="215" y="2833"/>
                  </a:lnTo>
                  <a:lnTo>
                    <a:pt x="219" y="2844"/>
                  </a:lnTo>
                  <a:lnTo>
                    <a:pt x="223" y="2856"/>
                  </a:lnTo>
                  <a:lnTo>
                    <a:pt x="229" y="2867"/>
                  </a:lnTo>
                  <a:lnTo>
                    <a:pt x="237" y="2880"/>
                  </a:lnTo>
                  <a:lnTo>
                    <a:pt x="246" y="2892"/>
                  </a:lnTo>
                  <a:lnTo>
                    <a:pt x="257" y="2904"/>
                  </a:lnTo>
                  <a:lnTo>
                    <a:pt x="270" y="2917"/>
                  </a:lnTo>
                  <a:lnTo>
                    <a:pt x="270" y="2917"/>
                  </a:lnTo>
                  <a:lnTo>
                    <a:pt x="270" y="2910"/>
                  </a:lnTo>
                  <a:lnTo>
                    <a:pt x="272" y="2893"/>
                  </a:lnTo>
                  <a:lnTo>
                    <a:pt x="277" y="2868"/>
                  </a:lnTo>
                  <a:lnTo>
                    <a:pt x="281" y="2855"/>
                  </a:lnTo>
                  <a:lnTo>
                    <a:pt x="285" y="2841"/>
                  </a:lnTo>
                  <a:lnTo>
                    <a:pt x="291" y="2828"/>
                  </a:lnTo>
                  <a:lnTo>
                    <a:pt x="298" y="2814"/>
                  </a:lnTo>
                  <a:lnTo>
                    <a:pt x="306" y="2801"/>
                  </a:lnTo>
                  <a:lnTo>
                    <a:pt x="315" y="2791"/>
                  </a:lnTo>
                  <a:lnTo>
                    <a:pt x="321" y="2786"/>
                  </a:lnTo>
                  <a:lnTo>
                    <a:pt x="326" y="2782"/>
                  </a:lnTo>
                  <a:lnTo>
                    <a:pt x="332" y="2777"/>
                  </a:lnTo>
                  <a:lnTo>
                    <a:pt x="339" y="2774"/>
                  </a:lnTo>
                  <a:lnTo>
                    <a:pt x="346" y="2772"/>
                  </a:lnTo>
                  <a:lnTo>
                    <a:pt x="354" y="2770"/>
                  </a:lnTo>
                  <a:lnTo>
                    <a:pt x="361" y="2770"/>
                  </a:lnTo>
                  <a:lnTo>
                    <a:pt x="369" y="2770"/>
                  </a:lnTo>
                  <a:lnTo>
                    <a:pt x="369" y="2770"/>
                  </a:lnTo>
                  <a:lnTo>
                    <a:pt x="383" y="2771"/>
                  </a:lnTo>
                  <a:lnTo>
                    <a:pt x="396" y="2774"/>
                  </a:lnTo>
                  <a:lnTo>
                    <a:pt x="408" y="2778"/>
                  </a:lnTo>
                  <a:lnTo>
                    <a:pt x="420" y="2783"/>
                  </a:lnTo>
                  <a:lnTo>
                    <a:pt x="443" y="2793"/>
                  </a:lnTo>
                  <a:lnTo>
                    <a:pt x="454" y="2797"/>
                  </a:lnTo>
                  <a:lnTo>
                    <a:pt x="465" y="2801"/>
                  </a:lnTo>
                  <a:lnTo>
                    <a:pt x="476" y="2804"/>
                  </a:lnTo>
                  <a:lnTo>
                    <a:pt x="489" y="2806"/>
                  </a:lnTo>
                  <a:lnTo>
                    <a:pt x="501" y="2807"/>
                  </a:lnTo>
                  <a:lnTo>
                    <a:pt x="514" y="2805"/>
                  </a:lnTo>
                  <a:lnTo>
                    <a:pt x="528" y="2802"/>
                  </a:lnTo>
                  <a:lnTo>
                    <a:pt x="542" y="2796"/>
                  </a:lnTo>
                  <a:lnTo>
                    <a:pt x="558" y="2788"/>
                  </a:lnTo>
                  <a:lnTo>
                    <a:pt x="575" y="2775"/>
                  </a:lnTo>
                  <a:lnTo>
                    <a:pt x="575" y="2775"/>
                  </a:lnTo>
                  <a:lnTo>
                    <a:pt x="588" y="2766"/>
                  </a:lnTo>
                  <a:lnTo>
                    <a:pt x="600" y="2755"/>
                  </a:lnTo>
                  <a:lnTo>
                    <a:pt x="614" y="2743"/>
                  </a:lnTo>
                  <a:lnTo>
                    <a:pt x="630" y="2730"/>
                  </a:lnTo>
                  <a:lnTo>
                    <a:pt x="651" y="2718"/>
                  </a:lnTo>
                  <a:lnTo>
                    <a:pt x="664" y="2711"/>
                  </a:lnTo>
                  <a:lnTo>
                    <a:pt x="678" y="2705"/>
                  </a:lnTo>
                  <a:lnTo>
                    <a:pt x="693" y="2698"/>
                  </a:lnTo>
                  <a:lnTo>
                    <a:pt x="712" y="2692"/>
                  </a:lnTo>
                  <a:lnTo>
                    <a:pt x="732" y="2684"/>
                  </a:lnTo>
                  <a:lnTo>
                    <a:pt x="754" y="2677"/>
                  </a:lnTo>
                  <a:lnTo>
                    <a:pt x="754" y="2677"/>
                  </a:lnTo>
                  <a:lnTo>
                    <a:pt x="756" y="2677"/>
                  </a:lnTo>
                  <a:lnTo>
                    <a:pt x="757" y="2678"/>
                  </a:lnTo>
                  <a:lnTo>
                    <a:pt x="760" y="2683"/>
                  </a:lnTo>
                  <a:lnTo>
                    <a:pt x="762" y="2692"/>
                  </a:lnTo>
                  <a:lnTo>
                    <a:pt x="765" y="2701"/>
                  </a:lnTo>
                  <a:lnTo>
                    <a:pt x="768" y="2713"/>
                  </a:lnTo>
                  <a:lnTo>
                    <a:pt x="772" y="2725"/>
                  </a:lnTo>
                  <a:lnTo>
                    <a:pt x="777" y="2738"/>
                  </a:lnTo>
                  <a:lnTo>
                    <a:pt x="783" y="2750"/>
                  </a:lnTo>
                  <a:lnTo>
                    <a:pt x="783" y="2750"/>
                  </a:lnTo>
                  <a:lnTo>
                    <a:pt x="786" y="2753"/>
                  </a:lnTo>
                  <a:lnTo>
                    <a:pt x="789" y="2755"/>
                  </a:lnTo>
                  <a:lnTo>
                    <a:pt x="797" y="2760"/>
                  </a:lnTo>
                  <a:lnTo>
                    <a:pt x="805" y="2763"/>
                  </a:lnTo>
                  <a:lnTo>
                    <a:pt x="813" y="2767"/>
                  </a:lnTo>
                  <a:lnTo>
                    <a:pt x="821" y="2770"/>
                  </a:lnTo>
                  <a:lnTo>
                    <a:pt x="827" y="2773"/>
                  </a:lnTo>
                  <a:lnTo>
                    <a:pt x="830" y="2775"/>
                  </a:lnTo>
                  <a:lnTo>
                    <a:pt x="831" y="2777"/>
                  </a:lnTo>
                  <a:lnTo>
                    <a:pt x="833" y="2781"/>
                  </a:lnTo>
                  <a:lnTo>
                    <a:pt x="833" y="2784"/>
                  </a:lnTo>
                  <a:lnTo>
                    <a:pt x="833" y="2784"/>
                  </a:lnTo>
                  <a:lnTo>
                    <a:pt x="832" y="2794"/>
                  </a:lnTo>
                  <a:lnTo>
                    <a:pt x="830" y="2805"/>
                  </a:lnTo>
                  <a:lnTo>
                    <a:pt x="826" y="2815"/>
                  </a:lnTo>
                  <a:lnTo>
                    <a:pt x="822" y="2824"/>
                  </a:lnTo>
                  <a:lnTo>
                    <a:pt x="817" y="2834"/>
                  </a:lnTo>
                  <a:lnTo>
                    <a:pt x="811" y="2843"/>
                  </a:lnTo>
                  <a:lnTo>
                    <a:pt x="798" y="2859"/>
                  </a:lnTo>
                  <a:lnTo>
                    <a:pt x="784" y="2873"/>
                  </a:lnTo>
                  <a:lnTo>
                    <a:pt x="773" y="2884"/>
                  </a:lnTo>
                  <a:lnTo>
                    <a:pt x="765" y="2890"/>
                  </a:lnTo>
                  <a:lnTo>
                    <a:pt x="763" y="2893"/>
                  </a:lnTo>
                  <a:lnTo>
                    <a:pt x="763" y="2893"/>
                  </a:lnTo>
                  <a:lnTo>
                    <a:pt x="767" y="2896"/>
                  </a:lnTo>
                  <a:lnTo>
                    <a:pt x="778" y="2899"/>
                  </a:lnTo>
                  <a:lnTo>
                    <a:pt x="785" y="2900"/>
                  </a:lnTo>
                  <a:lnTo>
                    <a:pt x="794" y="2901"/>
                  </a:lnTo>
                  <a:lnTo>
                    <a:pt x="804" y="2901"/>
                  </a:lnTo>
                  <a:lnTo>
                    <a:pt x="815" y="2899"/>
                  </a:lnTo>
                  <a:lnTo>
                    <a:pt x="826" y="2896"/>
                  </a:lnTo>
                  <a:lnTo>
                    <a:pt x="839" y="2891"/>
                  </a:lnTo>
                  <a:lnTo>
                    <a:pt x="852" y="2884"/>
                  </a:lnTo>
                  <a:lnTo>
                    <a:pt x="865" y="2874"/>
                  </a:lnTo>
                  <a:lnTo>
                    <a:pt x="879" y="2860"/>
                  </a:lnTo>
                  <a:lnTo>
                    <a:pt x="894" y="2844"/>
                  </a:lnTo>
                  <a:lnTo>
                    <a:pt x="907" y="2824"/>
                  </a:lnTo>
                  <a:lnTo>
                    <a:pt x="921" y="2801"/>
                  </a:lnTo>
                  <a:lnTo>
                    <a:pt x="921" y="2801"/>
                  </a:lnTo>
                  <a:lnTo>
                    <a:pt x="924" y="2797"/>
                  </a:lnTo>
                  <a:lnTo>
                    <a:pt x="927" y="2793"/>
                  </a:lnTo>
                  <a:lnTo>
                    <a:pt x="930" y="2791"/>
                  </a:lnTo>
                  <a:lnTo>
                    <a:pt x="935" y="2789"/>
                  </a:lnTo>
                  <a:lnTo>
                    <a:pt x="939" y="2788"/>
                  </a:lnTo>
                  <a:lnTo>
                    <a:pt x="943" y="2788"/>
                  </a:lnTo>
                  <a:lnTo>
                    <a:pt x="951" y="2788"/>
                  </a:lnTo>
                  <a:lnTo>
                    <a:pt x="970" y="2790"/>
                  </a:lnTo>
                  <a:lnTo>
                    <a:pt x="982" y="2790"/>
                  </a:lnTo>
                  <a:lnTo>
                    <a:pt x="987" y="2789"/>
                  </a:lnTo>
                  <a:lnTo>
                    <a:pt x="992" y="2788"/>
                  </a:lnTo>
                  <a:lnTo>
                    <a:pt x="992" y="2788"/>
                  </a:lnTo>
                  <a:lnTo>
                    <a:pt x="1010" y="2782"/>
                  </a:lnTo>
                  <a:lnTo>
                    <a:pt x="1017" y="2777"/>
                  </a:lnTo>
                  <a:lnTo>
                    <a:pt x="1024" y="2773"/>
                  </a:lnTo>
                  <a:lnTo>
                    <a:pt x="1029" y="2770"/>
                  </a:lnTo>
                  <a:lnTo>
                    <a:pt x="1033" y="2766"/>
                  </a:lnTo>
                  <a:lnTo>
                    <a:pt x="1036" y="2762"/>
                  </a:lnTo>
                  <a:lnTo>
                    <a:pt x="1039" y="2757"/>
                  </a:lnTo>
                  <a:lnTo>
                    <a:pt x="1041" y="2753"/>
                  </a:lnTo>
                  <a:lnTo>
                    <a:pt x="1042" y="2748"/>
                  </a:lnTo>
                  <a:lnTo>
                    <a:pt x="1043" y="2739"/>
                  </a:lnTo>
                  <a:lnTo>
                    <a:pt x="1042" y="2728"/>
                  </a:lnTo>
                  <a:lnTo>
                    <a:pt x="1040" y="2718"/>
                  </a:lnTo>
                  <a:lnTo>
                    <a:pt x="1035" y="2696"/>
                  </a:lnTo>
                  <a:lnTo>
                    <a:pt x="1034" y="2685"/>
                  </a:lnTo>
                  <a:lnTo>
                    <a:pt x="1033" y="2673"/>
                  </a:lnTo>
                  <a:lnTo>
                    <a:pt x="1034" y="2662"/>
                  </a:lnTo>
                  <a:lnTo>
                    <a:pt x="1036" y="2657"/>
                  </a:lnTo>
                  <a:lnTo>
                    <a:pt x="1038" y="2651"/>
                  </a:lnTo>
                  <a:lnTo>
                    <a:pt x="1040" y="2646"/>
                  </a:lnTo>
                  <a:lnTo>
                    <a:pt x="1044" y="2640"/>
                  </a:lnTo>
                  <a:lnTo>
                    <a:pt x="1048" y="2634"/>
                  </a:lnTo>
                  <a:lnTo>
                    <a:pt x="1054" y="2629"/>
                  </a:lnTo>
                  <a:lnTo>
                    <a:pt x="1054" y="2629"/>
                  </a:lnTo>
                  <a:lnTo>
                    <a:pt x="1069" y="2616"/>
                  </a:lnTo>
                  <a:lnTo>
                    <a:pt x="1084" y="2603"/>
                  </a:lnTo>
                  <a:lnTo>
                    <a:pt x="1099" y="2591"/>
                  </a:lnTo>
                  <a:lnTo>
                    <a:pt x="1115" y="2579"/>
                  </a:lnTo>
                  <a:lnTo>
                    <a:pt x="1146" y="2559"/>
                  </a:lnTo>
                  <a:lnTo>
                    <a:pt x="1178" y="2540"/>
                  </a:lnTo>
                  <a:lnTo>
                    <a:pt x="1210" y="2524"/>
                  </a:lnTo>
                  <a:lnTo>
                    <a:pt x="1241" y="2509"/>
                  </a:lnTo>
                  <a:lnTo>
                    <a:pt x="1273" y="2494"/>
                  </a:lnTo>
                  <a:lnTo>
                    <a:pt x="1304" y="2482"/>
                  </a:lnTo>
                  <a:lnTo>
                    <a:pt x="1304" y="2482"/>
                  </a:lnTo>
                  <a:lnTo>
                    <a:pt x="1303" y="2486"/>
                  </a:lnTo>
                  <a:lnTo>
                    <a:pt x="1299" y="2498"/>
                  </a:lnTo>
                  <a:lnTo>
                    <a:pt x="1294" y="2518"/>
                  </a:lnTo>
                  <a:lnTo>
                    <a:pt x="1291" y="2541"/>
                  </a:lnTo>
                  <a:lnTo>
                    <a:pt x="1290" y="2556"/>
                  </a:lnTo>
                  <a:lnTo>
                    <a:pt x="1290" y="2570"/>
                  </a:lnTo>
                  <a:lnTo>
                    <a:pt x="1291" y="2585"/>
                  </a:lnTo>
                  <a:lnTo>
                    <a:pt x="1292" y="2602"/>
                  </a:lnTo>
                  <a:lnTo>
                    <a:pt x="1296" y="2618"/>
                  </a:lnTo>
                  <a:lnTo>
                    <a:pt x="1301" y="2634"/>
                  </a:lnTo>
                  <a:lnTo>
                    <a:pt x="1306" y="2652"/>
                  </a:lnTo>
                  <a:lnTo>
                    <a:pt x="1314" y="2669"/>
                  </a:lnTo>
                  <a:lnTo>
                    <a:pt x="1640" y="2585"/>
                  </a:lnTo>
                  <a:lnTo>
                    <a:pt x="1640" y="2585"/>
                  </a:lnTo>
                  <a:lnTo>
                    <a:pt x="1634" y="2569"/>
                  </a:lnTo>
                  <a:lnTo>
                    <a:pt x="1631" y="2553"/>
                  </a:lnTo>
                  <a:lnTo>
                    <a:pt x="1629" y="2535"/>
                  </a:lnTo>
                  <a:lnTo>
                    <a:pt x="1629" y="2518"/>
                  </a:lnTo>
                  <a:lnTo>
                    <a:pt x="1631" y="2500"/>
                  </a:lnTo>
                  <a:lnTo>
                    <a:pt x="1634" y="2483"/>
                  </a:lnTo>
                  <a:lnTo>
                    <a:pt x="1638" y="2466"/>
                  </a:lnTo>
                  <a:lnTo>
                    <a:pt x="1644" y="2447"/>
                  </a:lnTo>
                  <a:lnTo>
                    <a:pt x="1651" y="2430"/>
                  </a:lnTo>
                  <a:lnTo>
                    <a:pt x="1660" y="2411"/>
                  </a:lnTo>
                  <a:lnTo>
                    <a:pt x="1669" y="2394"/>
                  </a:lnTo>
                  <a:lnTo>
                    <a:pt x="1679" y="2377"/>
                  </a:lnTo>
                  <a:lnTo>
                    <a:pt x="1689" y="2359"/>
                  </a:lnTo>
                  <a:lnTo>
                    <a:pt x="1701" y="2342"/>
                  </a:lnTo>
                  <a:lnTo>
                    <a:pt x="1725" y="2310"/>
                  </a:lnTo>
                  <a:lnTo>
                    <a:pt x="1725" y="2310"/>
                  </a:lnTo>
                  <a:lnTo>
                    <a:pt x="1726" y="2309"/>
                  </a:lnTo>
                  <a:lnTo>
                    <a:pt x="1727" y="2309"/>
                  </a:lnTo>
                  <a:lnTo>
                    <a:pt x="1728" y="2313"/>
                  </a:lnTo>
                  <a:lnTo>
                    <a:pt x="1725" y="2335"/>
                  </a:lnTo>
                  <a:lnTo>
                    <a:pt x="1721" y="2368"/>
                  </a:lnTo>
                  <a:lnTo>
                    <a:pt x="1715" y="2410"/>
                  </a:lnTo>
                  <a:lnTo>
                    <a:pt x="1713" y="2433"/>
                  </a:lnTo>
                  <a:lnTo>
                    <a:pt x="1711" y="2456"/>
                  </a:lnTo>
                  <a:lnTo>
                    <a:pt x="1711" y="2478"/>
                  </a:lnTo>
                  <a:lnTo>
                    <a:pt x="1711" y="2499"/>
                  </a:lnTo>
                  <a:lnTo>
                    <a:pt x="1713" y="2519"/>
                  </a:lnTo>
                  <a:lnTo>
                    <a:pt x="1716" y="2536"/>
                  </a:lnTo>
                  <a:lnTo>
                    <a:pt x="1719" y="2544"/>
                  </a:lnTo>
                  <a:lnTo>
                    <a:pt x="1722" y="2551"/>
                  </a:lnTo>
                  <a:lnTo>
                    <a:pt x="1726" y="2557"/>
                  </a:lnTo>
                  <a:lnTo>
                    <a:pt x="1730" y="2562"/>
                  </a:lnTo>
                  <a:lnTo>
                    <a:pt x="2050" y="2479"/>
                  </a:lnTo>
                  <a:lnTo>
                    <a:pt x="2050" y="2479"/>
                  </a:lnTo>
                  <a:lnTo>
                    <a:pt x="2046" y="2469"/>
                  </a:lnTo>
                  <a:lnTo>
                    <a:pt x="2043" y="2457"/>
                  </a:lnTo>
                  <a:lnTo>
                    <a:pt x="2041" y="2446"/>
                  </a:lnTo>
                  <a:lnTo>
                    <a:pt x="2039" y="2434"/>
                  </a:lnTo>
                  <a:lnTo>
                    <a:pt x="2038" y="2422"/>
                  </a:lnTo>
                  <a:lnTo>
                    <a:pt x="2038" y="2409"/>
                  </a:lnTo>
                  <a:lnTo>
                    <a:pt x="2039" y="2383"/>
                  </a:lnTo>
                  <a:lnTo>
                    <a:pt x="2043" y="2356"/>
                  </a:lnTo>
                  <a:lnTo>
                    <a:pt x="2048" y="2330"/>
                  </a:lnTo>
                  <a:lnTo>
                    <a:pt x="2055" y="2303"/>
                  </a:lnTo>
                  <a:lnTo>
                    <a:pt x="2064" y="2279"/>
                  </a:lnTo>
                  <a:lnTo>
                    <a:pt x="2064" y="2279"/>
                  </a:lnTo>
                  <a:lnTo>
                    <a:pt x="2072" y="2306"/>
                  </a:lnTo>
                  <a:lnTo>
                    <a:pt x="2079" y="2335"/>
                  </a:lnTo>
                  <a:lnTo>
                    <a:pt x="2088" y="2362"/>
                  </a:lnTo>
                  <a:lnTo>
                    <a:pt x="2098" y="2390"/>
                  </a:lnTo>
                  <a:lnTo>
                    <a:pt x="2108" y="2417"/>
                  </a:lnTo>
                  <a:lnTo>
                    <a:pt x="2121" y="2443"/>
                  </a:lnTo>
                  <a:lnTo>
                    <a:pt x="2135" y="2469"/>
                  </a:lnTo>
                  <a:lnTo>
                    <a:pt x="2149" y="2494"/>
                  </a:lnTo>
                  <a:lnTo>
                    <a:pt x="2166" y="2519"/>
                  </a:lnTo>
                  <a:lnTo>
                    <a:pt x="2183" y="2541"/>
                  </a:lnTo>
                  <a:lnTo>
                    <a:pt x="2201" y="2563"/>
                  </a:lnTo>
                  <a:lnTo>
                    <a:pt x="2222" y="2583"/>
                  </a:lnTo>
                  <a:lnTo>
                    <a:pt x="2244" y="2603"/>
                  </a:lnTo>
                  <a:lnTo>
                    <a:pt x="2268" y="2619"/>
                  </a:lnTo>
                  <a:lnTo>
                    <a:pt x="2280" y="2627"/>
                  </a:lnTo>
                  <a:lnTo>
                    <a:pt x="2292" y="2634"/>
                  </a:lnTo>
                  <a:lnTo>
                    <a:pt x="2306" y="2641"/>
                  </a:lnTo>
                  <a:lnTo>
                    <a:pt x="2320" y="2648"/>
                  </a:lnTo>
                  <a:lnTo>
                    <a:pt x="2320" y="2648"/>
                  </a:lnTo>
                  <a:lnTo>
                    <a:pt x="2365" y="2667"/>
                  </a:lnTo>
                  <a:lnTo>
                    <a:pt x="2410" y="2685"/>
                  </a:lnTo>
                  <a:lnTo>
                    <a:pt x="2454" y="2702"/>
                  </a:lnTo>
                  <a:lnTo>
                    <a:pt x="2499" y="2718"/>
                  </a:lnTo>
                  <a:lnTo>
                    <a:pt x="2544" y="2733"/>
                  </a:lnTo>
                  <a:lnTo>
                    <a:pt x="2589" y="2749"/>
                  </a:lnTo>
                  <a:lnTo>
                    <a:pt x="2683" y="2778"/>
                  </a:lnTo>
                  <a:lnTo>
                    <a:pt x="2782" y="2807"/>
                  </a:lnTo>
                  <a:lnTo>
                    <a:pt x="2889" y="2838"/>
                  </a:lnTo>
                  <a:lnTo>
                    <a:pt x="3005" y="2872"/>
                  </a:lnTo>
                  <a:lnTo>
                    <a:pt x="3133" y="2908"/>
                  </a:lnTo>
                  <a:lnTo>
                    <a:pt x="3133" y="2908"/>
                  </a:lnTo>
                  <a:lnTo>
                    <a:pt x="3205" y="2931"/>
                  </a:lnTo>
                  <a:lnTo>
                    <a:pt x="3273" y="2954"/>
                  </a:lnTo>
                  <a:lnTo>
                    <a:pt x="3305" y="2966"/>
                  </a:lnTo>
                  <a:lnTo>
                    <a:pt x="3333" y="2977"/>
                  </a:lnTo>
                  <a:lnTo>
                    <a:pt x="3358" y="2987"/>
                  </a:lnTo>
                  <a:lnTo>
                    <a:pt x="3377" y="2996"/>
                  </a:lnTo>
                  <a:lnTo>
                    <a:pt x="3377" y="2996"/>
                  </a:lnTo>
                  <a:lnTo>
                    <a:pt x="3383" y="2999"/>
                  </a:lnTo>
                  <a:lnTo>
                    <a:pt x="3389" y="3003"/>
                  </a:lnTo>
                  <a:lnTo>
                    <a:pt x="3393" y="3006"/>
                  </a:lnTo>
                  <a:lnTo>
                    <a:pt x="3397" y="3011"/>
                  </a:lnTo>
                  <a:lnTo>
                    <a:pt x="3399" y="3015"/>
                  </a:lnTo>
                  <a:lnTo>
                    <a:pt x="3401" y="3020"/>
                  </a:lnTo>
                  <a:lnTo>
                    <a:pt x="3402" y="3024"/>
                  </a:lnTo>
                  <a:lnTo>
                    <a:pt x="3402" y="3028"/>
                  </a:lnTo>
                  <a:lnTo>
                    <a:pt x="3401" y="3037"/>
                  </a:lnTo>
                  <a:lnTo>
                    <a:pt x="3397" y="3046"/>
                  </a:lnTo>
                  <a:lnTo>
                    <a:pt x="3392" y="3055"/>
                  </a:lnTo>
                  <a:lnTo>
                    <a:pt x="3386" y="3064"/>
                  </a:lnTo>
                  <a:lnTo>
                    <a:pt x="3378" y="3072"/>
                  </a:lnTo>
                  <a:lnTo>
                    <a:pt x="3371" y="3080"/>
                  </a:lnTo>
                  <a:lnTo>
                    <a:pt x="3357" y="3092"/>
                  </a:lnTo>
                  <a:lnTo>
                    <a:pt x="3346" y="3102"/>
                  </a:lnTo>
                  <a:lnTo>
                    <a:pt x="3341" y="3105"/>
                  </a:lnTo>
                  <a:lnTo>
                    <a:pt x="3341" y="3105"/>
                  </a:lnTo>
                  <a:lnTo>
                    <a:pt x="3355" y="3113"/>
                  </a:lnTo>
                  <a:lnTo>
                    <a:pt x="3371" y="3121"/>
                  </a:lnTo>
                  <a:lnTo>
                    <a:pt x="3411" y="3139"/>
                  </a:lnTo>
                  <a:lnTo>
                    <a:pt x="3435" y="3152"/>
                  </a:lnTo>
                  <a:lnTo>
                    <a:pt x="3461" y="3167"/>
                  </a:lnTo>
                  <a:lnTo>
                    <a:pt x="3492" y="3186"/>
                  </a:lnTo>
                  <a:lnTo>
                    <a:pt x="3527" y="3211"/>
                  </a:lnTo>
                  <a:lnTo>
                    <a:pt x="3527" y="3211"/>
                  </a:lnTo>
                  <a:lnTo>
                    <a:pt x="3545" y="3226"/>
                  </a:lnTo>
                  <a:lnTo>
                    <a:pt x="3563" y="3244"/>
                  </a:lnTo>
                  <a:lnTo>
                    <a:pt x="3580" y="3263"/>
                  </a:lnTo>
                  <a:lnTo>
                    <a:pt x="3595" y="3284"/>
                  </a:lnTo>
                  <a:lnTo>
                    <a:pt x="3608" y="3305"/>
                  </a:lnTo>
                  <a:lnTo>
                    <a:pt x="3622" y="3329"/>
                  </a:lnTo>
                  <a:lnTo>
                    <a:pt x="3634" y="3352"/>
                  </a:lnTo>
                  <a:lnTo>
                    <a:pt x="3645" y="3378"/>
                  </a:lnTo>
                  <a:lnTo>
                    <a:pt x="3655" y="3404"/>
                  </a:lnTo>
                  <a:lnTo>
                    <a:pt x="3665" y="3432"/>
                  </a:lnTo>
                  <a:lnTo>
                    <a:pt x="3674" y="3460"/>
                  </a:lnTo>
                  <a:lnTo>
                    <a:pt x="3682" y="3489"/>
                  </a:lnTo>
                  <a:lnTo>
                    <a:pt x="3698" y="3549"/>
                  </a:lnTo>
                  <a:lnTo>
                    <a:pt x="3714" y="3612"/>
                  </a:lnTo>
                  <a:lnTo>
                    <a:pt x="3714" y="3612"/>
                  </a:lnTo>
                  <a:lnTo>
                    <a:pt x="3725" y="3662"/>
                  </a:lnTo>
                  <a:lnTo>
                    <a:pt x="3734" y="3715"/>
                  </a:lnTo>
                  <a:lnTo>
                    <a:pt x="3742" y="3768"/>
                  </a:lnTo>
                  <a:lnTo>
                    <a:pt x="3744" y="3795"/>
                  </a:lnTo>
                  <a:lnTo>
                    <a:pt x="3746" y="3819"/>
                  </a:lnTo>
                  <a:lnTo>
                    <a:pt x="3748" y="3844"/>
                  </a:lnTo>
                  <a:lnTo>
                    <a:pt x="3749" y="3867"/>
                  </a:lnTo>
                  <a:lnTo>
                    <a:pt x="3748" y="3889"/>
                  </a:lnTo>
                  <a:lnTo>
                    <a:pt x="3745" y="3909"/>
                  </a:lnTo>
                  <a:lnTo>
                    <a:pt x="3742" y="3928"/>
                  </a:lnTo>
                  <a:lnTo>
                    <a:pt x="3737" y="3944"/>
                  </a:lnTo>
                  <a:lnTo>
                    <a:pt x="3731" y="3957"/>
                  </a:lnTo>
                  <a:lnTo>
                    <a:pt x="3728" y="3963"/>
                  </a:lnTo>
                  <a:lnTo>
                    <a:pt x="3724" y="3969"/>
                  </a:lnTo>
                  <a:lnTo>
                    <a:pt x="3724" y="3969"/>
                  </a:lnTo>
                  <a:lnTo>
                    <a:pt x="3715" y="3979"/>
                  </a:lnTo>
                  <a:lnTo>
                    <a:pt x="3705" y="3989"/>
                  </a:lnTo>
                  <a:lnTo>
                    <a:pt x="3691" y="3998"/>
                  </a:lnTo>
                  <a:lnTo>
                    <a:pt x="3683" y="4003"/>
                  </a:lnTo>
                  <a:lnTo>
                    <a:pt x="3673" y="4008"/>
                  </a:lnTo>
                  <a:lnTo>
                    <a:pt x="3663" y="4014"/>
                  </a:lnTo>
                  <a:lnTo>
                    <a:pt x="3650" y="4019"/>
                  </a:lnTo>
                  <a:lnTo>
                    <a:pt x="3621" y="4028"/>
                  </a:lnTo>
                  <a:lnTo>
                    <a:pt x="3582" y="4038"/>
                  </a:lnTo>
                  <a:lnTo>
                    <a:pt x="3535" y="4048"/>
                  </a:lnTo>
                  <a:lnTo>
                    <a:pt x="3560" y="4171"/>
                  </a:lnTo>
                  <a:lnTo>
                    <a:pt x="3560" y="4171"/>
                  </a:lnTo>
                  <a:lnTo>
                    <a:pt x="3579" y="4172"/>
                  </a:lnTo>
                  <a:lnTo>
                    <a:pt x="3597" y="4172"/>
                  </a:lnTo>
                  <a:lnTo>
                    <a:pt x="3615" y="4171"/>
                  </a:lnTo>
                  <a:lnTo>
                    <a:pt x="3631" y="4169"/>
                  </a:lnTo>
                  <a:lnTo>
                    <a:pt x="3646" y="4167"/>
                  </a:lnTo>
                  <a:lnTo>
                    <a:pt x="3662" y="4164"/>
                  </a:lnTo>
                  <a:lnTo>
                    <a:pt x="3688" y="4157"/>
                  </a:lnTo>
                  <a:lnTo>
                    <a:pt x="3711" y="4150"/>
                  </a:lnTo>
                  <a:lnTo>
                    <a:pt x="3728" y="4143"/>
                  </a:lnTo>
                  <a:lnTo>
                    <a:pt x="3742" y="4137"/>
                  </a:lnTo>
                  <a:lnTo>
                    <a:pt x="3742" y="4137"/>
                  </a:lnTo>
                  <a:lnTo>
                    <a:pt x="3736" y="4143"/>
                  </a:lnTo>
                  <a:lnTo>
                    <a:pt x="3730" y="4151"/>
                  </a:lnTo>
                  <a:lnTo>
                    <a:pt x="3722" y="4161"/>
                  </a:lnTo>
                  <a:lnTo>
                    <a:pt x="3722" y="4161"/>
                  </a:lnTo>
                  <a:lnTo>
                    <a:pt x="3711" y="4177"/>
                  </a:lnTo>
                  <a:lnTo>
                    <a:pt x="3700" y="4194"/>
                  </a:lnTo>
                  <a:lnTo>
                    <a:pt x="3692" y="4209"/>
                  </a:lnTo>
                  <a:lnTo>
                    <a:pt x="3685" y="4224"/>
                  </a:lnTo>
                  <a:lnTo>
                    <a:pt x="3680" y="4240"/>
                  </a:lnTo>
                  <a:lnTo>
                    <a:pt x="3675" y="4257"/>
                  </a:lnTo>
                  <a:lnTo>
                    <a:pt x="3672" y="4274"/>
                  </a:lnTo>
                  <a:lnTo>
                    <a:pt x="3669" y="4295"/>
                  </a:lnTo>
                  <a:lnTo>
                    <a:pt x="3799" y="4379"/>
                  </a:lnTo>
                  <a:lnTo>
                    <a:pt x="3799" y="4379"/>
                  </a:lnTo>
                  <a:lnTo>
                    <a:pt x="3812" y="4338"/>
                  </a:lnTo>
                  <a:lnTo>
                    <a:pt x="3826" y="4298"/>
                  </a:lnTo>
                  <a:lnTo>
                    <a:pt x="3841" y="4262"/>
                  </a:lnTo>
                  <a:lnTo>
                    <a:pt x="3855" y="4229"/>
                  </a:lnTo>
                  <a:lnTo>
                    <a:pt x="3870" y="4202"/>
                  </a:lnTo>
                  <a:lnTo>
                    <a:pt x="3877" y="4189"/>
                  </a:lnTo>
                  <a:lnTo>
                    <a:pt x="3885" y="4179"/>
                  </a:lnTo>
                  <a:lnTo>
                    <a:pt x="3892" y="4170"/>
                  </a:lnTo>
                  <a:lnTo>
                    <a:pt x="3899" y="4163"/>
                  </a:lnTo>
                  <a:lnTo>
                    <a:pt x="3906" y="4158"/>
                  </a:lnTo>
                  <a:lnTo>
                    <a:pt x="3913" y="4154"/>
                  </a:lnTo>
                  <a:lnTo>
                    <a:pt x="3913" y="4154"/>
                  </a:lnTo>
                  <a:lnTo>
                    <a:pt x="3919" y="4152"/>
                  </a:lnTo>
                  <a:lnTo>
                    <a:pt x="3926" y="4152"/>
                  </a:lnTo>
                  <a:lnTo>
                    <a:pt x="3935" y="4152"/>
                  </a:lnTo>
                  <a:lnTo>
                    <a:pt x="3944" y="4153"/>
                  </a:lnTo>
                  <a:lnTo>
                    <a:pt x="3954" y="4155"/>
                  </a:lnTo>
                  <a:lnTo>
                    <a:pt x="3965" y="4157"/>
                  </a:lnTo>
                  <a:lnTo>
                    <a:pt x="3990" y="4166"/>
                  </a:lnTo>
                  <a:lnTo>
                    <a:pt x="4017" y="4177"/>
                  </a:lnTo>
                  <a:lnTo>
                    <a:pt x="4047" y="4192"/>
                  </a:lnTo>
                  <a:lnTo>
                    <a:pt x="4078" y="4212"/>
                  </a:lnTo>
                  <a:lnTo>
                    <a:pt x="4110" y="4233"/>
                  </a:lnTo>
                  <a:lnTo>
                    <a:pt x="4127" y="4246"/>
                  </a:lnTo>
                  <a:lnTo>
                    <a:pt x="4143" y="4259"/>
                  </a:lnTo>
                  <a:lnTo>
                    <a:pt x="4160" y="4273"/>
                  </a:lnTo>
                  <a:lnTo>
                    <a:pt x="4176" y="4288"/>
                  </a:lnTo>
                  <a:lnTo>
                    <a:pt x="4192" y="4303"/>
                  </a:lnTo>
                  <a:lnTo>
                    <a:pt x="4208" y="4319"/>
                  </a:lnTo>
                  <a:lnTo>
                    <a:pt x="4224" y="4337"/>
                  </a:lnTo>
                  <a:lnTo>
                    <a:pt x="4239" y="4355"/>
                  </a:lnTo>
                  <a:lnTo>
                    <a:pt x="4254" y="4373"/>
                  </a:lnTo>
                  <a:lnTo>
                    <a:pt x="4268" y="4393"/>
                  </a:lnTo>
                  <a:lnTo>
                    <a:pt x="4282" y="4413"/>
                  </a:lnTo>
                  <a:lnTo>
                    <a:pt x="4296" y="4435"/>
                  </a:lnTo>
                  <a:lnTo>
                    <a:pt x="4308" y="4456"/>
                  </a:lnTo>
                  <a:lnTo>
                    <a:pt x="4320" y="4479"/>
                  </a:lnTo>
                  <a:lnTo>
                    <a:pt x="4331" y="4502"/>
                  </a:lnTo>
                  <a:lnTo>
                    <a:pt x="4342" y="4527"/>
                  </a:lnTo>
                  <a:lnTo>
                    <a:pt x="4342" y="4527"/>
                  </a:lnTo>
                  <a:lnTo>
                    <a:pt x="4347" y="4541"/>
                  </a:lnTo>
                  <a:lnTo>
                    <a:pt x="4352" y="4558"/>
                  </a:lnTo>
                  <a:lnTo>
                    <a:pt x="4356" y="4574"/>
                  </a:lnTo>
                  <a:lnTo>
                    <a:pt x="4360" y="4591"/>
                  </a:lnTo>
                  <a:lnTo>
                    <a:pt x="4363" y="4610"/>
                  </a:lnTo>
                  <a:lnTo>
                    <a:pt x="4366" y="4628"/>
                  </a:lnTo>
                  <a:lnTo>
                    <a:pt x="4370" y="4667"/>
                  </a:lnTo>
                  <a:lnTo>
                    <a:pt x="4372" y="4706"/>
                  </a:lnTo>
                  <a:lnTo>
                    <a:pt x="4371" y="4747"/>
                  </a:lnTo>
                  <a:lnTo>
                    <a:pt x="4370" y="4767"/>
                  </a:lnTo>
                  <a:lnTo>
                    <a:pt x="4369" y="4787"/>
                  </a:lnTo>
                  <a:lnTo>
                    <a:pt x="4366" y="4807"/>
                  </a:lnTo>
                  <a:lnTo>
                    <a:pt x="4363" y="4826"/>
                  </a:lnTo>
                  <a:lnTo>
                    <a:pt x="4360" y="4846"/>
                  </a:lnTo>
                  <a:lnTo>
                    <a:pt x="4356" y="4864"/>
                  </a:lnTo>
                  <a:lnTo>
                    <a:pt x="4351" y="4883"/>
                  </a:lnTo>
                  <a:lnTo>
                    <a:pt x="4345" y="4900"/>
                  </a:lnTo>
                  <a:lnTo>
                    <a:pt x="4339" y="4917"/>
                  </a:lnTo>
                  <a:lnTo>
                    <a:pt x="4332" y="4933"/>
                  </a:lnTo>
                  <a:lnTo>
                    <a:pt x="4324" y="4948"/>
                  </a:lnTo>
                  <a:lnTo>
                    <a:pt x="4316" y="4962"/>
                  </a:lnTo>
                  <a:lnTo>
                    <a:pt x="4307" y="4976"/>
                  </a:lnTo>
                  <a:lnTo>
                    <a:pt x="4298" y="4988"/>
                  </a:lnTo>
                  <a:lnTo>
                    <a:pt x="4287" y="4999"/>
                  </a:lnTo>
                  <a:lnTo>
                    <a:pt x="4276" y="5008"/>
                  </a:lnTo>
                  <a:lnTo>
                    <a:pt x="4264" y="5017"/>
                  </a:lnTo>
                  <a:lnTo>
                    <a:pt x="4252" y="5024"/>
                  </a:lnTo>
                  <a:lnTo>
                    <a:pt x="4238" y="5029"/>
                  </a:lnTo>
                  <a:lnTo>
                    <a:pt x="4224" y="5032"/>
                  </a:lnTo>
                  <a:lnTo>
                    <a:pt x="4224" y="5032"/>
                  </a:lnTo>
                  <a:lnTo>
                    <a:pt x="4216" y="5033"/>
                  </a:lnTo>
                  <a:lnTo>
                    <a:pt x="4208" y="5033"/>
                  </a:lnTo>
                  <a:lnTo>
                    <a:pt x="4198" y="5032"/>
                  </a:lnTo>
                  <a:lnTo>
                    <a:pt x="4188" y="5030"/>
                  </a:lnTo>
                  <a:lnTo>
                    <a:pt x="4168" y="5025"/>
                  </a:lnTo>
                  <a:lnTo>
                    <a:pt x="4145" y="5017"/>
                  </a:lnTo>
                  <a:lnTo>
                    <a:pt x="4123" y="5006"/>
                  </a:lnTo>
                  <a:lnTo>
                    <a:pt x="4099" y="4995"/>
                  </a:lnTo>
                  <a:lnTo>
                    <a:pt x="4051" y="4973"/>
                  </a:lnTo>
                  <a:lnTo>
                    <a:pt x="4028" y="4961"/>
                  </a:lnTo>
                  <a:lnTo>
                    <a:pt x="4005" y="4952"/>
                  </a:lnTo>
                  <a:lnTo>
                    <a:pt x="3984" y="4945"/>
                  </a:lnTo>
                  <a:lnTo>
                    <a:pt x="3964" y="4940"/>
                  </a:lnTo>
                  <a:lnTo>
                    <a:pt x="3955" y="4939"/>
                  </a:lnTo>
                  <a:lnTo>
                    <a:pt x="3947" y="4938"/>
                  </a:lnTo>
                  <a:lnTo>
                    <a:pt x="3939" y="4939"/>
                  </a:lnTo>
                  <a:lnTo>
                    <a:pt x="3932" y="4940"/>
                  </a:lnTo>
                  <a:lnTo>
                    <a:pt x="3924" y="4943"/>
                  </a:lnTo>
                  <a:lnTo>
                    <a:pt x="3919" y="4947"/>
                  </a:lnTo>
                  <a:lnTo>
                    <a:pt x="3914" y="4952"/>
                  </a:lnTo>
                  <a:lnTo>
                    <a:pt x="3909" y="4958"/>
                  </a:lnTo>
                  <a:lnTo>
                    <a:pt x="3909" y="4958"/>
                  </a:lnTo>
                  <a:lnTo>
                    <a:pt x="3905" y="4965"/>
                  </a:lnTo>
                  <a:lnTo>
                    <a:pt x="3900" y="4973"/>
                  </a:lnTo>
                  <a:lnTo>
                    <a:pt x="3893" y="4979"/>
                  </a:lnTo>
                  <a:lnTo>
                    <a:pt x="3886" y="4985"/>
                  </a:lnTo>
                  <a:lnTo>
                    <a:pt x="3869" y="4996"/>
                  </a:lnTo>
                  <a:lnTo>
                    <a:pt x="3851" y="5006"/>
                  </a:lnTo>
                  <a:lnTo>
                    <a:pt x="3810" y="5028"/>
                  </a:lnTo>
                  <a:lnTo>
                    <a:pt x="3789" y="5039"/>
                  </a:lnTo>
                  <a:lnTo>
                    <a:pt x="3770" y="5052"/>
                  </a:lnTo>
                  <a:lnTo>
                    <a:pt x="3761" y="5058"/>
                  </a:lnTo>
                  <a:lnTo>
                    <a:pt x="3752" y="5067"/>
                  </a:lnTo>
                  <a:lnTo>
                    <a:pt x="3743" y="5074"/>
                  </a:lnTo>
                  <a:lnTo>
                    <a:pt x="3735" y="5083"/>
                  </a:lnTo>
                  <a:lnTo>
                    <a:pt x="3728" y="5092"/>
                  </a:lnTo>
                  <a:lnTo>
                    <a:pt x="3722" y="5102"/>
                  </a:lnTo>
                  <a:lnTo>
                    <a:pt x="3717" y="5113"/>
                  </a:lnTo>
                  <a:lnTo>
                    <a:pt x="3713" y="5125"/>
                  </a:lnTo>
                  <a:lnTo>
                    <a:pt x="3710" y="5137"/>
                  </a:lnTo>
                  <a:lnTo>
                    <a:pt x="3708" y="5151"/>
                  </a:lnTo>
                  <a:lnTo>
                    <a:pt x="3707" y="5165"/>
                  </a:lnTo>
                  <a:lnTo>
                    <a:pt x="3707" y="5181"/>
                  </a:lnTo>
                  <a:lnTo>
                    <a:pt x="3709" y="5198"/>
                  </a:lnTo>
                  <a:lnTo>
                    <a:pt x="3713" y="5215"/>
                  </a:lnTo>
                  <a:lnTo>
                    <a:pt x="3718" y="5234"/>
                  </a:lnTo>
                  <a:lnTo>
                    <a:pt x="3724" y="5255"/>
                  </a:lnTo>
                  <a:lnTo>
                    <a:pt x="3724" y="5255"/>
                  </a:lnTo>
                  <a:lnTo>
                    <a:pt x="3741" y="5234"/>
                  </a:lnTo>
                  <a:lnTo>
                    <a:pt x="3759" y="5213"/>
                  </a:lnTo>
                  <a:lnTo>
                    <a:pt x="3776" y="5194"/>
                  </a:lnTo>
                  <a:lnTo>
                    <a:pt x="3794" y="5178"/>
                  </a:lnTo>
                  <a:lnTo>
                    <a:pt x="3802" y="5171"/>
                  </a:lnTo>
                  <a:lnTo>
                    <a:pt x="3811" y="5165"/>
                  </a:lnTo>
                  <a:lnTo>
                    <a:pt x="3819" y="5159"/>
                  </a:lnTo>
                  <a:lnTo>
                    <a:pt x="3827" y="5155"/>
                  </a:lnTo>
                  <a:lnTo>
                    <a:pt x="3835" y="5153"/>
                  </a:lnTo>
                  <a:lnTo>
                    <a:pt x="3843" y="5151"/>
                  </a:lnTo>
                  <a:lnTo>
                    <a:pt x="3850" y="5151"/>
                  </a:lnTo>
                  <a:lnTo>
                    <a:pt x="3857" y="5153"/>
                  </a:lnTo>
                  <a:lnTo>
                    <a:pt x="3857" y="5153"/>
                  </a:lnTo>
                  <a:lnTo>
                    <a:pt x="3861" y="5155"/>
                  </a:lnTo>
                  <a:lnTo>
                    <a:pt x="3864" y="5157"/>
                  </a:lnTo>
                  <a:lnTo>
                    <a:pt x="3870" y="5163"/>
                  </a:lnTo>
                  <a:lnTo>
                    <a:pt x="3875" y="5171"/>
                  </a:lnTo>
                  <a:lnTo>
                    <a:pt x="3879" y="5179"/>
                  </a:lnTo>
                  <a:lnTo>
                    <a:pt x="3888" y="5200"/>
                  </a:lnTo>
                  <a:lnTo>
                    <a:pt x="3894" y="5210"/>
                  </a:lnTo>
                  <a:lnTo>
                    <a:pt x="3901" y="5220"/>
                  </a:lnTo>
                  <a:lnTo>
                    <a:pt x="3901" y="5220"/>
                  </a:lnTo>
                  <a:lnTo>
                    <a:pt x="3904" y="5223"/>
                  </a:lnTo>
                  <a:lnTo>
                    <a:pt x="3908" y="5225"/>
                  </a:lnTo>
                  <a:lnTo>
                    <a:pt x="3913" y="5227"/>
                  </a:lnTo>
                  <a:lnTo>
                    <a:pt x="3919" y="5228"/>
                  </a:lnTo>
                  <a:lnTo>
                    <a:pt x="3934" y="5230"/>
                  </a:lnTo>
                  <a:lnTo>
                    <a:pt x="3950" y="5230"/>
                  </a:lnTo>
                  <a:lnTo>
                    <a:pt x="3968" y="5229"/>
                  </a:lnTo>
                  <a:lnTo>
                    <a:pt x="3989" y="5227"/>
                  </a:lnTo>
                  <a:lnTo>
                    <a:pt x="4032" y="5223"/>
                  </a:lnTo>
                  <a:lnTo>
                    <a:pt x="4074" y="5219"/>
                  </a:lnTo>
                  <a:lnTo>
                    <a:pt x="4093" y="5217"/>
                  </a:lnTo>
                  <a:lnTo>
                    <a:pt x="4110" y="5217"/>
                  </a:lnTo>
                  <a:lnTo>
                    <a:pt x="4126" y="5217"/>
                  </a:lnTo>
                  <a:lnTo>
                    <a:pt x="4137" y="5219"/>
                  </a:lnTo>
                  <a:lnTo>
                    <a:pt x="4142" y="5221"/>
                  </a:lnTo>
                  <a:lnTo>
                    <a:pt x="4146" y="5223"/>
                  </a:lnTo>
                  <a:lnTo>
                    <a:pt x="4148" y="5225"/>
                  </a:lnTo>
                  <a:lnTo>
                    <a:pt x="4150" y="5228"/>
                  </a:lnTo>
                  <a:lnTo>
                    <a:pt x="4150" y="5228"/>
                  </a:lnTo>
                  <a:lnTo>
                    <a:pt x="4151" y="5231"/>
                  </a:lnTo>
                  <a:lnTo>
                    <a:pt x="4150" y="5234"/>
                  </a:lnTo>
                  <a:lnTo>
                    <a:pt x="4149" y="5236"/>
                  </a:lnTo>
                  <a:lnTo>
                    <a:pt x="4148" y="5238"/>
                  </a:lnTo>
                  <a:lnTo>
                    <a:pt x="4143" y="5242"/>
                  </a:lnTo>
                  <a:lnTo>
                    <a:pt x="4136" y="5243"/>
                  </a:lnTo>
                  <a:lnTo>
                    <a:pt x="4118" y="5246"/>
                  </a:lnTo>
                  <a:lnTo>
                    <a:pt x="4100" y="5248"/>
                  </a:lnTo>
                  <a:lnTo>
                    <a:pt x="4100" y="5248"/>
                  </a:lnTo>
                  <a:lnTo>
                    <a:pt x="4021" y="5262"/>
                  </a:lnTo>
                  <a:lnTo>
                    <a:pt x="3981" y="5269"/>
                  </a:lnTo>
                  <a:lnTo>
                    <a:pt x="3943" y="5277"/>
                  </a:lnTo>
                  <a:lnTo>
                    <a:pt x="3925" y="5282"/>
                  </a:lnTo>
                  <a:lnTo>
                    <a:pt x="3909" y="5288"/>
                  </a:lnTo>
                  <a:lnTo>
                    <a:pt x="3894" y="5294"/>
                  </a:lnTo>
                  <a:lnTo>
                    <a:pt x="3881" y="5300"/>
                  </a:lnTo>
                  <a:lnTo>
                    <a:pt x="3869" y="5306"/>
                  </a:lnTo>
                  <a:lnTo>
                    <a:pt x="3860" y="5314"/>
                  </a:lnTo>
                  <a:lnTo>
                    <a:pt x="3853" y="5322"/>
                  </a:lnTo>
                  <a:lnTo>
                    <a:pt x="3850" y="5326"/>
                  </a:lnTo>
                  <a:lnTo>
                    <a:pt x="3848" y="5331"/>
                  </a:lnTo>
                  <a:lnTo>
                    <a:pt x="3848" y="5331"/>
                  </a:lnTo>
                  <a:lnTo>
                    <a:pt x="3846" y="5338"/>
                  </a:lnTo>
                  <a:lnTo>
                    <a:pt x="3846" y="5342"/>
                  </a:lnTo>
                  <a:lnTo>
                    <a:pt x="3847" y="5352"/>
                  </a:lnTo>
                  <a:lnTo>
                    <a:pt x="3847" y="5357"/>
                  </a:lnTo>
                  <a:lnTo>
                    <a:pt x="3846" y="5363"/>
                  </a:lnTo>
                  <a:lnTo>
                    <a:pt x="3845" y="5371"/>
                  </a:lnTo>
                  <a:lnTo>
                    <a:pt x="3842" y="5382"/>
                  </a:lnTo>
                  <a:lnTo>
                    <a:pt x="3842" y="5382"/>
                  </a:lnTo>
                  <a:lnTo>
                    <a:pt x="3837" y="5393"/>
                  </a:lnTo>
                  <a:lnTo>
                    <a:pt x="3831" y="5402"/>
                  </a:lnTo>
                  <a:lnTo>
                    <a:pt x="3823" y="5410"/>
                  </a:lnTo>
                  <a:lnTo>
                    <a:pt x="3815" y="5418"/>
                  </a:lnTo>
                  <a:lnTo>
                    <a:pt x="3796" y="5434"/>
                  </a:lnTo>
                  <a:lnTo>
                    <a:pt x="3786" y="5442"/>
                  </a:lnTo>
                  <a:lnTo>
                    <a:pt x="3776" y="5451"/>
                  </a:lnTo>
                  <a:lnTo>
                    <a:pt x="3767" y="5460"/>
                  </a:lnTo>
                  <a:lnTo>
                    <a:pt x="3758" y="5472"/>
                  </a:lnTo>
                  <a:lnTo>
                    <a:pt x="3750" y="5485"/>
                  </a:lnTo>
                  <a:lnTo>
                    <a:pt x="3742" y="5499"/>
                  </a:lnTo>
                  <a:lnTo>
                    <a:pt x="3736" y="5517"/>
                  </a:lnTo>
                  <a:lnTo>
                    <a:pt x="3732" y="5536"/>
                  </a:lnTo>
                  <a:lnTo>
                    <a:pt x="3730" y="5558"/>
                  </a:lnTo>
                  <a:lnTo>
                    <a:pt x="3730" y="5584"/>
                  </a:lnTo>
                  <a:lnTo>
                    <a:pt x="3730" y="5584"/>
                  </a:lnTo>
                  <a:lnTo>
                    <a:pt x="3732" y="5597"/>
                  </a:lnTo>
                  <a:lnTo>
                    <a:pt x="3735" y="5610"/>
                  </a:lnTo>
                  <a:lnTo>
                    <a:pt x="3739" y="5622"/>
                  </a:lnTo>
                  <a:lnTo>
                    <a:pt x="3744" y="5634"/>
                  </a:lnTo>
                  <a:lnTo>
                    <a:pt x="3751" y="5644"/>
                  </a:lnTo>
                  <a:lnTo>
                    <a:pt x="3757" y="5656"/>
                  </a:lnTo>
                  <a:lnTo>
                    <a:pt x="3763" y="5665"/>
                  </a:lnTo>
                  <a:lnTo>
                    <a:pt x="3770" y="5674"/>
                  </a:lnTo>
                  <a:lnTo>
                    <a:pt x="3784" y="5689"/>
                  </a:lnTo>
                  <a:lnTo>
                    <a:pt x="3797" y="5701"/>
                  </a:lnTo>
                  <a:lnTo>
                    <a:pt x="3807" y="5708"/>
                  </a:lnTo>
                  <a:lnTo>
                    <a:pt x="3810" y="5710"/>
                  </a:lnTo>
                  <a:lnTo>
                    <a:pt x="3813" y="5711"/>
                  </a:lnTo>
                  <a:lnTo>
                    <a:pt x="3813" y="5711"/>
                  </a:lnTo>
                  <a:lnTo>
                    <a:pt x="3814" y="5710"/>
                  </a:lnTo>
                  <a:lnTo>
                    <a:pt x="3815" y="5709"/>
                  </a:lnTo>
                  <a:lnTo>
                    <a:pt x="3816" y="5704"/>
                  </a:lnTo>
                  <a:lnTo>
                    <a:pt x="3818" y="5696"/>
                  </a:lnTo>
                  <a:lnTo>
                    <a:pt x="3818" y="5686"/>
                  </a:lnTo>
                  <a:lnTo>
                    <a:pt x="3820" y="5662"/>
                  </a:lnTo>
                  <a:lnTo>
                    <a:pt x="3823" y="5633"/>
                  </a:lnTo>
                  <a:lnTo>
                    <a:pt x="3825" y="5619"/>
                  </a:lnTo>
                  <a:lnTo>
                    <a:pt x="3828" y="5603"/>
                  </a:lnTo>
                  <a:lnTo>
                    <a:pt x="3831" y="5590"/>
                  </a:lnTo>
                  <a:lnTo>
                    <a:pt x="3836" y="5577"/>
                  </a:lnTo>
                  <a:lnTo>
                    <a:pt x="3843" y="5566"/>
                  </a:lnTo>
                  <a:lnTo>
                    <a:pt x="3847" y="5562"/>
                  </a:lnTo>
                  <a:lnTo>
                    <a:pt x="3851" y="5556"/>
                  </a:lnTo>
                  <a:lnTo>
                    <a:pt x="3855" y="5553"/>
                  </a:lnTo>
                  <a:lnTo>
                    <a:pt x="3860" y="5550"/>
                  </a:lnTo>
                  <a:lnTo>
                    <a:pt x="3865" y="5547"/>
                  </a:lnTo>
                  <a:lnTo>
                    <a:pt x="3871" y="5546"/>
                  </a:lnTo>
                  <a:lnTo>
                    <a:pt x="3871" y="5546"/>
                  </a:lnTo>
                  <a:lnTo>
                    <a:pt x="3877" y="5545"/>
                  </a:lnTo>
                  <a:lnTo>
                    <a:pt x="3882" y="5546"/>
                  </a:lnTo>
                  <a:lnTo>
                    <a:pt x="3888" y="5548"/>
                  </a:lnTo>
                  <a:lnTo>
                    <a:pt x="3892" y="5552"/>
                  </a:lnTo>
                  <a:lnTo>
                    <a:pt x="3902" y="5561"/>
                  </a:lnTo>
                  <a:lnTo>
                    <a:pt x="3911" y="5571"/>
                  </a:lnTo>
                  <a:lnTo>
                    <a:pt x="3921" y="5581"/>
                  </a:lnTo>
                  <a:lnTo>
                    <a:pt x="3926" y="5586"/>
                  </a:lnTo>
                  <a:lnTo>
                    <a:pt x="3933" y="5590"/>
                  </a:lnTo>
                  <a:lnTo>
                    <a:pt x="3940" y="5594"/>
                  </a:lnTo>
                  <a:lnTo>
                    <a:pt x="3946" y="5597"/>
                  </a:lnTo>
                  <a:lnTo>
                    <a:pt x="3954" y="5598"/>
                  </a:lnTo>
                  <a:lnTo>
                    <a:pt x="3962" y="5599"/>
                  </a:lnTo>
                  <a:lnTo>
                    <a:pt x="3962" y="5599"/>
                  </a:lnTo>
                  <a:lnTo>
                    <a:pt x="3970" y="5598"/>
                  </a:lnTo>
                  <a:lnTo>
                    <a:pt x="3979" y="5595"/>
                  </a:lnTo>
                  <a:lnTo>
                    <a:pt x="3987" y="5592"/>
                  </a:lnTo>
                  <a:lnTo>
                    <a:pt x="3996" y="5588"/>
                  </a:lnTo>
                  <a:lnTo>
                    <a:pt x="4005" y="5582"/>
                  </a:lnTo>
                  <a:lnTo>
                    <a:pt x="4014" y="5576"/>
                  </a:lnTo>
                  <a:lnTo>
                    <a:pt x="4035" y="5559"/>
                  </a:lnTo>
                  <a:lnTo>
                    <a:pt x="4055" y="5542"/>
                  </a:lnTo>
                  <a:lnTo>
                    <a:pt x="4077" y="5522"/>
                  </a:lnTo>
                  <a:lnTo>
                    <a:pt x="4122" y="5479"/>
                  </a:lnTo>
                  <a:lnTo>
                    <a:pt x="4144" y="5457"/>
                  </a:lnTo>
                  <a:lnTo>
                    <a:pt x="4166" y="5437"/>
                  </a:lnTo>
                  <a:lnTo>
                    <a:pt x="4187" y="5417"/>
                  </a:lnTo>
                  <a:lnTo>
                    <a:pt x="4208" y="5402"/>
                  </a:lnTo>
                  <a:lnTo>
                    <a:pt x="4227" y="5389"/>
                  </a:lnTo>
                  <a:lnTo>
                    <a:pt x="4236" y="5384"/>
                  </a:lnTo>
                  <a:lnTo>
                    <a:pt x="4245" y="5380"/>
                  </a:lnTo>
                  <a:lnTo>
                    <a:pt x="4254" y="5376"/>
                  </a:lnTo>
                  <a:lnTo>
                    <a:pt x="4262" y="5374"/>
                  </a:lnTo>
                  <a:lnTo>
                    <a:pt x="4270" y="5374"/>
                  </a:lnTo>
                  <a:lnTo>
                    <a:pt x="4277" y="5375"/>
                  </a:lnTo>
                  <a:lnTo>
                    <a:pt x="4277" y="5375"/>
                  </a:lnTo>
                  <a:lnTo>
                    <a:pt x="4278" y="5376"/>
                  </a:lnTo>
                  <a:lnTo>
                    <a:pt x="4279" y="5379"/>
                  </a:lnTo>
                  <a:lnTo>
                    <a:pt x="4278" y="5382"/>
                  </a:lnTo>
                  <a:lnTo>
                    <a:pt x="4277" y="5384"/>
                  </a:lnTo>
                  <a:lnTo>
                    <a:pt x="4272" y="5391"/>
                  </a:lnTo>
                  <a:lnTo>
                    <a:pt x="4264" y="5399"/>
                  </a:lnTo>
                  <a:lnTo>
                    <a:pt x="4241" y="5420"/>
                  </a:lnTo>
                  <a:lnTo>
                    <a:pt x="4212" y="5447"/>
                  </a:lnTo>
                  <a:lnTo>
                    <a:pt x="4181" y="5477"/>
                  </a:lnTo>
                  <a:lnTo>
                    <a:pt x="4167" y="5492"/>
                  </a:lnTo>
                  <a:lnTo>
                    <a:pt x="4152" y="5508"/>
                  </a:lnTo>
                  <a:lnTo>
                    <a:pt x="4140" y="5525"/>
                  </a:lnTo>
                  <a:lnTo>
                    <a:pt x="4129" y="5542"/>
                  </a:lnTo>
                  <a:lnTo>
                    <a:pt x="4121" y="5558"/>
                  </a:lnTo>
                  <a:lnTo>
                    <a:pt x="4118" y="5567"/>
                  </a:lnTo>
                  <a:lnTo>
                    <a:pt x="4116" y="5576"/>
                  </a:lnTo>
                  <a:lnTo>
                    <a:pt x="4116" y="5576"/>
                  </a:lnTo>
                  <a:lnTo>
                    <a:pt x="4114" y="5588"/>
                  </a:lnTo>
                  <a:lnTo>
                    <a:pt x="4114" y="5599"/>
                  </a:lnTo>
                  <a:lnTo>
                    <a:pt x="4115" y="5611"/>
                  </a:lnTo>
                  <a:lnTo>
                    <a:pt x="4119" y="5620"/>
                  </a:lnTo>
                  <a:lnTo>
                    <a:pt x="4123" y="5628"/>
                  </a:lnTo>
                  <a:lnTo>
                    <a:pt x="4129" y="5636"/>
                  </a:lnTo>
                  <a:lnTo>
                    <a:pt x="4135" y="5643"/>
                  </a:lnTo>
                  <a:lnTo>
                    <a:pt x="4142" y="5649"/>
                  </a:lnTo>
                  <a:lnTo>
                    <a:pt x="4157" y="5663"/>
                  </a:lnTo>
                  <a:lnTo>
                    <a:pt x="4163" y="5669"/>
                  </a:lnTo>
                  <a:lnTo>
                    <a:pt x="4169" y="5676"/>
                  </a:lnTo>
                  <a:lnTo>
                    <a:pt x="4175" y="5683"/>
                  </a:lnTo>
                  <a:lnTo>
                    <a:pt x="4179" y="5690"/>
                  </a:lnTo>
                  <a:lnTo>
                    <a:pt x="4182" y="5699"/>
                  </a:lnTo>
                  <a:lnTo>
                    <a:pt x="4183" y="5708"/>
                  </a:lnTo>
                  <a:lnTo>
                    <a:pt x="4183" y="5708"/>
                  </a:lnTo>
                  <a:lnTo>
                    <a:pt x="4184" y="5718"/>
                  </a:lnTo>
                  <a:lnTo>
                    <a:pt x="4186" y="5729"/>
                  </a:lnTo>
                  <a:lnTo>
                    <a:pt x="4189" y="5738"/>
                  </a:lnTo>
                  <a:lnTo>
                    <a:pt x="4193" y="5749"/>
                  </a:lnTo>
                  <a:lnTo>
                    <a:pt x="4198" y="5758"/>
                  </a:lnTo>
                  <a:lnTo>
                    <a:pt x="4205" y="5767"/>
                  </a:lnTo>
                  <a:lnTo>
                    <a:pt x="4212" y="5775"/>
                  </a:lnTo>
                  <a:lnTo>
                    <a:pt x="4220" y="5783"/>
                  </a:lnTo>
                  <a:lnTo>
                    <a:pt x="4228" y="5792"/>
                  </a:lnTo>
                  <a:lnTo>
                    <a:pt x="4237" y="5799"/>
                  </a:lnTo>
                  <a:lnTo>
                    <a:pt x="4257" y="5812"/>
                  </a:lnTo>
                  <a:lnTo>
                    <a:pt x="4278" y="5824"/>
                  </a:lnTo>
                  <a:lnTo>
                    <a:pt x="4300" y="5835"/>
                  </a:lnTo>
                  <a:lnTo>
                    <a:pt x="4322" y="5844"/>
                  </a:lnTo>
                  <a:lnTo>
                    <a:pt x="4344" y="5852"/>
                  </a:lnTo>
                  <a:lnTo>
                    <a:pt x="4364" y="5857"/>
                  </a:lnTo>
                  <a:lnTo>
                    <a:pt x="4382" y="5862"/>
                  </a:lnTo>
                  <a:lnTo>
                    <a:pt x="4399" y="5864"/>
                  </a:lnTo>
                  <a:lnTo>
                    <a:pt x="4412" y="5865"/>
                  </a:lnTo>
                  <a:lnTo>
                    <a:pt x="4421" y="5865"/>
                  </a:lnTo>
                  <a:lnTo>
                    <a:pt x="4424" y="5864"/>
                  </a:lnTo>
                  <a:lnTo>
                    <a:pt x="4426" y="5863"/>
                  </a:lnTo>
                  <a:lnTo>
                    <a:pt x="4426" y="5863"/>
                  </a:lnTo>
                  <a:lnTo>
                    <a:pt x="4427" y="5861"/>
                  </a:lnTo>
                  <a:lnTo>
                    <a:pt x="4427" y="5859"/>
                  </a:lnTo>
                  <a:lnTo>
                    <a:pt x="4425" y="5853"/>
                  </a:lnTo>
                  <a:lnTo>
                    <a:pt x="4420" y="5846"/>
                  </a:lnTo>
                  <a:lnTo>
                    <a:pt x="4412" y="5836"/>
                  </a:lnTo>
                  <a:lnTo>
                    <a:pt x="4393" y="5813"/>
                  </a:lnTo>
                  <a:lnTo>
                    <a:pt x="4369" y="5786"/>
                  </a:lnTo>
                  <a:lnTo>
                    <a:pt x="4358" y="5773"/>
                  </a:lnTo>
                  <a:lnTo>
                    <a:pt x="4348" y="5759"/>
                  </a:lnTo>
                  <a:lnTo>
                    <a:pt x="4339" y="5745"/>
                  </a:lnTo>
                  <a:lnTo>
                    <a:pt x="4330" y="5731"/>
                  </a:lnTo>
                  <a:lnTo>
                    <a:pt x="4325" y="5718"/>
                  </a:lnTo>
                  <a:lnTo>
                    <a:pt x="4324" y="5712"/>
                  </a:lnTo>
                  <a:lnTo>
                    <a:pt x="4323" y="5706"/>
                  </a:lnTo>
                  <a:lnTo>
                    <a:pt x="4323" y="5700"/>
                  </a:lnTo>
                  <a:lnTo>
                    <a:pt x="4324" y="5694"/>
                  </a:lnTo>
                  <a:lnTo>
                    <a:pt x="4326" y="5689"/>
                  </a:lnTo>
                  <a:lnTo>
                    <a:pt x="4329" y="5684"/>
                  </a:lnTo>
                  <a:lnTo>
                    <a:pt x="4329" y="5684"/>
                  </a:lnTo>
                  <a:lnTo>
                    <a:pt x="4333" y="5680"/>
                  </a:lnTo>
                  <a:lnTo>
                    <a:pt x="4337" y="5677"/>
                  </a:lnTo>
                  <a:lnTo>
                    <a:pt x="4343" y="5676"/>
                  </a:lnTo>
                  <a:lnTo>
                    <a:pt x="4347" y="5675"/>
                  </a:lnTo>
                  <a:lnTo>
                    <a:pt x="4352" y="5675"/>
                  </a:lnTo>
                  <a:lnTo>
                    <a:pt x="4358" y="5676"/>
                  </a:lnTo>
                  <a:lnTo>
                    <a:pt x="4370" y="5678"/>
                  </a:lnTo>
                  <a:lnTo>
                    <a:pt x="4384" y="5681"/>
                  </a:lnTo>
                  <a:lnTo>
                    <a:pt x="4392" y="5682"/>
                  </a:lnTo>
                  <a:lnTo>
                    <a:pt x="4399" y="5682"/>
                  </a:lnTo>
                  <a:lnTo>
                    <a:pt x="4408" y="5682"/>
                  </a:lnTo>
                  <a:lnTo>
                    <a:pt x="4416" y="5681"/>
                  </a:lnTo>
                  <a:lnTo>
                    <a:pt x="4425" y="5679"/>
                  </a:lnTo>
                  <a:lnTo>
                    <a:pt x="4436" y="5675"/>
                  </a:lnTo>
                  <a:lnTo>
                    <a:pt x="4436" y="5675"/>
                  </a:lnTo>
                  <a:lnTo>
                    <a:pt x="4437" y="5673"/>
                  </a:lnTo>
                  <a:lnTo>
                    <a:pt x="4438" y="5670"/>
                  </a:lnTo>
                  <a:lnTo>
                    <a:pt x="4438" y="5663"/>
                  </a:lnTo>
                  <a:lnTo>
                    <a:pt x="4436" y="5652"/>
                  </a:lnTo>
                  <a:lnTo>
                    <a:pt x="4434" y="5637"/>
                  </a:lnTo>
                  <a:lnTo>
                    <a:pt x="4431" y="5621"/>
                  </a:lnTo>
                  <a:lnTo>
                    <a:pt x="4428" y="5602"/>
                  </a:lnTo>
                  <a:lnTo>
                    <a:pt x="4426" y="5581"/>
                  </a:lnTo>
                  <a:lnTo>
                    <a:pt x="4426" y="5557"/>
                  </a:lnTo>
                  <a:lnTo>
                    <a:pt x="4428" y="5533"/>
                  </a:lnTo>
                  <a:lnTo>
                    <a:pt x="4431" y="5520"/>
                  </a:lnTo>
                  <a:lnTo>
                    <a:pt x="4434" y="5505"/>
                  </a:lnTo>
                  <a:lnTo>
                    <a:pt x="4437" y="5492"/>
                  </a:lnTo>
                  <a:lnTo>
                    <a:pt x="4441" y="5477"/>
                  </a:lnTo>
                  <a:lnTo>
                    <a:pt x="4446" y="5462"/>
                  </a:lnTo>
                  <a:lnTo>
                    <a:pt x="4453" y="5447"/>
                  </a:lnTo>
                  <a:lnTo>
                    <a:pt x="4460" y="5432"/>
                  </a:lnTo>
                  <a:lnTo>
                    <a:pt x="4469" y="5416"/>
                  </a:lnTo>
                  <a:lnTo>
                    <a:pt x="4479" y="5400"/>
                  </a:lnTo>
                  <a:lnTo>
                    <a:pt x="4490" y="5384"/>
                  </a:lnTo>
                  <a:lnTo>
                    <a:pt x="4503" y="5367"/>
                  </a:lnTo>
                  <a:lnTo>
                    <a:pt x="4516" y="5351"/>
                  </a:lnTo>
                  <a:lnTo>
                    <a:pt x="4533" y="5334"/>
                  </a:lnTo>
                  <a:lnTo>
                    <a:pt x="4550" y="5317"/>
                  </a:lnTo>
                  <a:lnTo>
                    <a:pt x="4550" y="5317"/>
                  </a:lnTo>
                  <a:lnTo>
                    <a:pt x="4557" y="5328"/>
                  </a:lnTo>
                  <a:lnTo>
                    <a:pt x="4566" y="5340"/>
                  </a:lnTo>
                  <a:lnTo>
                    <a:pt x="4578" y="5353"/>
                  </a:lnTo>
                  <a:lnTo>
                    <a:pt x="4586" y="5360"/>
                  </a:lnTo>
                  <a:lnTo>
                    <a:pt x="4594" y="5367"/>
                  </a:lnTo>
                  <a:lnTo>
                    <a:pt x="4603" y="5373"/>
                  </a:lnTo>
                  <a:lnTo>
                    <a:pt x="4614" y="5381"/>
                  </a:lnTo>
                  <a:lnTo>
                    <a:pt x="4624" y="5386"/>
                  </a:lnTo>
                  <a:lnTo>
                    <a:pt x="4636" y="5390"/>
                  </a:lnTo>
                  <a:lnTo>
                    <a:pt x="4648" y="5394"/>
                  </a:lnTo>
                  <a:lnTo>
                    <a:pt x="4662" y="5396"/>
                  </a:lnTo>
                  <a:lnTo>
                    <a:pt x="4662" y="5396"/>
                  </a:lnTo>
                  <a:lnTo>
                    <a:pt x="4668" y="5397"/>
                  </a:lnTo>
                  <a:lnTo>
                    <a:pt x="4673" y="5399"/>
                  </a:lnTo>
                  <a:lnTo>
                    <a:pt x="4677" y="5402"/>
                  </a:lnTo>
                  <a:lnTo>
                    <a:pt x="4681" y="5405"/>
                  </a:lnTo>
                  <a:lnTo>
                    <a:pt x="4685" y="5409"/>
                  </a:lnTo>
                  <a:lnTo>
                    <a:pt x="4688" y="5413"/>
                  </a:lnTo>
                  <a:lnTo>
                    <a:pt x="4692" y="5425"/>
                  </a:lnTo>
                  <a:lnTo>
                    <a:pt x="4696" y="5437"/>
                  </a:lnTo>
                  <a:lnTo>
                    <a:pt x="4698" y="5450"/>
                  </a:lnTo>
                  <a:lnTo>
                    <a:pt x="4698" y="5463"/>
                  </a:lnTo>
                  <a:lnTo>
                    <a:pt x="4698" y="5478"/>
                  </a:lnTo>
                  <a:lnTo>
                    <a:pt x="4696" y="5506"/>
                  </a:lnTo>
                  <a:lnTo>
                    <a:pt x="4694" y="5531"/>
                  </a:lnTo>
                  <a:lnTo>
                    <a:pt x="4692" y="5548"/>
                  </a:lnTo>
                  <a:lnTo>
                    <a:pt x="4692" y="5553"/>
                  </a:lnTo>
                  <a:lnTo>
                    <a:pt x="4693" y="5554"/>
                  </a:lnTo>
                  <a:lnTo>
                    <a:pt x="4694" y="5554"/>
                  </a:lnTo>
                  <a:lnTo>
                    <a:pt x="4694" y="5554"/>
                  </a:lnTo>
                  <a:lnTo>
                    <a:pt x="4697" y="5553"/>
                  </a:lnTo>
                  <a:lnTo>
                    <a:pt x="4702" y="5550"/>
                  </a:lnTo>
                  <a:lnTo>
                    <a:pt x="4708" y="5545"/>
                  </a:lnTo>
                  <a:lnTo>
                    <a:pt x="4714" y="5538"/>
                  </a:lnTo>
                  <a:lnTo>
                    <a:pt x="4721" y="5529"/>
                  </a:lnTo>
                  <a:lnTo>
                    <a:pt x="4729" y="5519"/>
                  </a:lnTo>
                  <a:lnTo>
                    <a:pt x="4736" y="5505"/>
                  </a:lnTo>
                  <a:lnTo>
                    <a:pt x="4743" y="5492"/>
                  </a:lnTo>
                  <a:lnTo>
                    <a:pt x="4751" y="5477"/>
                  </a:lnTo>
                  <a:lnTo>
                    <a:pt x="4758" y="5459"/>
                  </a:lnTo>
                  <a:lnTo>
                    <a:pt x="4763" y="5442"/>
                  </a:lnTo>
                  <a:lnTo>
                    <a:pt x="4768" y="5422"/>
                  </a:lnTo>
                  <a:lnTo>
                    <a:pt x="4771" y="5402"/>
                  </a:lnTo>
                  <a:lnTo>
                    <a:pt x="4773" y="5382"/>
                  </a:lnTo>
                  <a:lnTo>
                    <a:pt x="4772" y="5360"/>
                  </a:lnTo>
                  <a:lnTo>
                    <a:pt x="4770" y="5338"/>
                  </a:lnTo>
                  <a:lnTo>
                    <a:pt x="4770" y="5338"/>
                  </a:lnTo>
                  <a:lnTo>
                    <a:pt x="4778" y="5330"/>
                  </a:lnTo>
                  <a:lnTo>
                    <a:pt x="4798" y="5313"/>
                  </a:lnTo>
                  <a:lnTo>
                    <a:pt x="4809" y="5302"/>
                  </a:lnTo>
                  <a:lnTo>
                    <a:pt x="4819" y="5290"/>
                  </a:lnTo>
                  <a:lnTo>
                    <a:pt x="4827" y="5276"/>
                  </a:lnTo>
                  <a:lnTo>
                    <a:pt x="4830" y="5270"/>
                  </a:lnTo>
                  <a:lnTo>
                    <a:pt x="4832" y="5264"/>
                  </a:lnTo>
                  <a:lnTo>
                    <a:pt x="4832" y="5264"/>
                  </a:lnTo>
                  <a:lnTo>
                    <a:pt x="4834" y="5255"/>
                  </a:lnTo>
                  <a:lnTo>
                    <a:pt x="4835" y="5246"/>
                  </a:lnTo>
                  <a:lnTo>
                    <a:pt x="4836" y="5237"/>
                  </a:lnTo>
                  <a:lnTo>
                    <a:pt x="4835" y="5230"/>
                  </a:lnTo>
                  <a:lnTo>
                    <a:pt x="4834" y="5224"/>
                  </a:lnTo>
                  <a:lnTo>
                    <a:pt x="4832" y="5218"/>
                  </a:lnTo>
                  <a:lnTo>
                    <a:pt x="4830" y="5213"/>
                  </a:lnTo>
                  <a:lnTo>
                    <a:pt x="4827" y="5208"/>
                  </a:lnTo>
                  <a:lnTo>
                    <a:pt x="4819" y="5199"/>
                  </a:lnTo>
                  <a:lnTo>
                    <a:pt x="4810" y="5189"/>
                  </a:lnTo>
                  <a:lnTo>
                    <a:pt x="4800" y="5180"/>
                  </a:lnTo>
                  <a:lnTo>
                    <a:pt x="4789" y="5169"/>
                  </a:lnTo>
                  <a:lnTo>
                    <a:pt x="4778" y="5156"/>
                  </a:lnTo>
                  <a:lnTo>
                    <a:pt x="4772" y="5148"/>
                  </a:lnTo>
                  <a:lnTo>
                    <a:pt x="4767" y="5139"/>
                  </a:lnTo>
                  <a:lnTo>
                    <a:pt x="4762" y="5130"/>
                  </a:lnTo>
                  <a:lnTo>
                    <a:pt x="4757" y="5120"/>
                  </a:lnTo>
                  <a:lnTo>
                    <a:pt x="4753" y="5108"/>
                  </a:lnTo>
                  <a:lnTo>
                    <a:pt x="4749" y="5095"/>
                  </a:lnTo>
                  <a:lnTo>
                    <a:pt x="4744" y="5081"/>
                  </a:lnTo>
                  <a:lnTo>
                    <a:pt x="4741" y="5065"/>
                  </a:lnTo>
                  <a:lnTo>
                    <a:pt x="4738" y="5048"/>
                  </a:lnTo>
                  <a:lnTo>
                    <a:pt x="4736" y="5029"/>
                  </a:lnTo>
                  <a:lnTo>
                    <a:pt x="4735" y="5008"/>
                  </a:lnTo>
                  <a:lnTo>
                    <a:pt x="4734" y="4986"/>
                  </a:lnTo>
                  <a:lnTo>
                    <a:pt x="4734" y="4961"/>
                  </a:lnTo>
                  <a:lnTo>
                    <a:pt x="4735" y="4935"/>
                  </a:lnTo>
                  <a:lnTo>
                    <a:pt x="4735" y="4935"/>
                  </a:lnTo>
                  <a:lnTo>
                    <a:pt x="4735" y="4917"/>
                  </a:lnTo>
                  <a:lnTo>
                    <a:pt x="4734" y="4911"/>
                  </a:lnTo>
                  <a:lnTo>
                    <a:pt x="4733" y="4906"/>
                  </a:lnTo>
                  <a:lnTo>
                    <a:pt x="4731" y="4901"/>
                  </a:lnTo>
                  <a:lnTo>
                    <a:pt x="4729" y="4897"/>
                  </a:lnTo>
                  <a:lnTo>
                    <a:pt x="4727" y="4894"/>
                  </a:lnTo>
                  <a:lnTo>
                    <a:pt x="4724" y="4891"/>
                  </a:lnTo>
                  <a:lnTo>
                    <a:pt x="4716" y="4885"/>
                  </a:lnTo>
                  <a:lnTo>
                    <a:pt x="4706" y="4878"/>
                  </a:lnTo>
                  <a:lnTo>
                    <a:pt x="4693" y="4868"/>
                  </a:lnTo>
                  <a:lnTo>
                    <a:pt x="4679" y="4856"/>
                  </a:lnTo>
                  <a:lnTo>
                    <a:pt x="4679" y="4856"/>
                  </a:lnTo>
                  <a:lnTo>
                    <a:pt x="4671" y="4846"/>
                  </a:lnTo>
                  <a:lnTo>
                    <a:pt x="4664" y="4836"/>
                  </a:lnTo>
                  <a:lnTo>
                    <a:pt x="4659" y="4825"/>
                  </a:lnTo>
                  <a:lnTo>
                    <a:pt x="4655" y="4815"/>
                  </a:lnTo>
                  <a:lnTo>
                    <a:pt x="4654" y="4807"/>
                  </a:lnTo>
                  <a:lnTo>
                    <a:pt x="4654" y="4804"/>
                  </a:lnTo>
                  <a:lnTo>
                    <a:pt x="4654" y="4802"/>
                  </a:lnTo>
                  <a:lnTo>
                    <a:pt x="4657" y="4800"/>
                  </a:lnTo>
                  <a:lnTo>
                    <a:pt x="4659" y="4799"/>
                  </a:lnTo>
                  <a:lnTo>
                    <a:pt x="4661" y="4799"/>
                  </a:lnTo>
                  <a:lnTo>
                    <a:pt x="4665" y="4800"/>
                  </a:lnTo>
                  <a:lnTo>
                    <a:pt x="4665" y="4800"/>
                  </a:lnTo>
                  <a:lnTo>
                    <a:pt x="4679" y="4806"/>
                  </a:lnTo>
                  <a:lnTo>
                    <a:pt x="4693" y="4810"/>
                  </a:lnTo>
                  <a:lnTo>
                    <a:pt x="4708" y="4813"/>
                  </a:lnTo>
                  <a:lnTo>
                    <a:pt x="4723" y="4814"/>
                  </a:lnTo>
                  <a:lnTo>
                    <a:pt x="4737" y="4815"/>
                  </a:lnTo>
                  <a:lnTo>
                    <a:pt x="4752" y="4816"/>
                  </a:lnTo>
                  <a:lnTo>
                    <a:pt x="4765" y="4815"/>
                  </a:lnTo>
                  <a:lnTo>
                    <a:pt x="4778" y="4814"/>
                  </a:lnTo>
                  <a:lnTo>
                    <a:pt x="4802" y="4811"/>
                  </a:lnTo>
                  <a:lnTo>
                    <a:pt x="4819" y="4807"/>
                  </a:lnTo>
                  <a:lnTo>
                    <a:pt x="4835" y="4803"/>
                  </a:lnTo>
                  <a:lnTo>
                    <a:pt x="4835" y="4803"/>
                  </a:lnTo>
                  <a:lnTo>
                    <a:pt x="4844" y="4707"/>
                  </a:lnTo>
                  <a:lnTo>
                    <a:pt x="4849" y="4632"/>
                  </a:lnTo>
                  <a:lnTo>
                    <a:pt x="4851" y="4577"/>
                  </a:lnTo>
                  <a:lnTo>
                    <a:pt x="4851" y="4539"/>
                  </a:lnTo>
                  <a:lnTo>
                    <a:pt x="4849" y="4514"/>
                  </a:lnTo>
                  <a:lnTo>
                    <a:pt x="4847" y="4499"/>
                  </a:lnTo>
                  <a:lnTo>
                    <a:pt x="4845" y="4493"/>
                  </a:lnTo>
                  <a:lnTo>
                    <a:pt x="4844" y="4491"/>
                  </a:lnTo>
                  <a:lnTo>
                    <a:pt x="4844" y="4491"/>
                  </a:lnTo>
                  <a:lnTo>
                    <a:pt x="4825" y="4492"/>
                  </a:lnTo>
                  <a:lnTo>
                    <a:pt x="4808" y="4491"/>
                  </a:lnTo>
                  <a:lnTo>
                    <a:pt x="4791" y="4490"/>
                  </a:lnTo>
                  <a:lnTo>
                    <a:pt x="4776" y="4489"/>
                  </a:lnTo>
                  <a:lnTo>
                    <a:pt x="4763" y="4487"/>
                  </a:lnTo>
                  <a:lnTo>
                    <a:pt x="4750" y="4484"/>
                  </a:lnTo>
                  <a:lnTo>
                    <a:pt x="4737" y="4481"/>
                  </a:lnTo>
                  <a:lnTo>
                    <a:pt x="4726" y="4477"/>
                  </a:lnTo>
                  <a:lnTo>
                    <a:pt x="4716" y="4473"/>
                  </a:lnTo>
                  <a:lnTo>
                    <a:pt x="4707" y="4469"/>
                  </a:lnTo>
                  <a:lnTo>
                    <a:pt x="4698" y="4463"/>
                  </a:lnTo>
                  <a:lnTo>
                    <a:pt x="4690" y="4458"/>
                  </a:lnTo>
                  <a:lnTo>
                    <a:pt x="4683" y="4452"/>
                  </a:lnTo>
                  <a:lnTo>
                    <a:pt x="4676" y="4447"/>
                  </a:lnTo>
                  <a:lnTo>
                    <a:pt x="4665" y="4434"/>
                  </a:lnTo>
                  <a:lnTo>
                    <a:pt x="4665" y="4434"/>
                  </a:lnTo>
                  <a:lnTo>
                    <a:pt x="4677" y="4437"/>
                  </a:lnTo>
                  <a:lnTo>
                    <a:pt x="4690" y="4439"/>
                  </a:lnTo>
                  <a:lnTo>
                    <a:pt x="4717" y="4441"/>
                  </a:lnTo>
                  <a:lnTo>
                    <a:pt x="4742" y="4441"/>
                  </a:lnTo>
                  <a:lnTo>
                    <a:pt x="4768" y="4439"/>
                  </a:lnTo>
                  <a:lnTo>
                    <a:pt x="4790" y="4435"/>
                  </a:lnTo>
                  <a:lnTo>
                    <a:pt x="4812" y="4429"/>
                  </a:lnTo>
                  <a:lnTo>
                    <a:pt x="4821" y="4426"/>
                  </a:lnTo>
                  <a:lnTo>
                    <a:pt x="4829" y="4422"/>
                  </a:lnTo>
                  <a:lnTo>
                    <a:pt x="4838" y="4416"/>
                  </a:lnTo>
                  <a:lnTo>
                    <a:pt x="4844" y="4412"/>
                  </a:lnTo>
                  <a:lnTo>
                    <a:pt x="4844" y="4412"/>
                  </a:lnTo>
                  <a:lnTo>
                    <a:pt x="4843" y="4364"/>
                  </a:lnTo>
                  <a:lnTo>
                    <a:pt x="4841" y="4316"/>
                  </a:lnTo>
                  <a:lnTo>
                    <a:pt x="4838" y="4261"/>
                  </a:lnTo>
                  <a:lnTo>
                    <a:pt x="4833" y="4206"/>
                  </a:lnTo>
                  <a:lnTo>
                    <a:pt x="4831" y="4181"/>
                  </a:lnTo>
                  <a:lnTo>
                    <a:pt x="4828" y="4159"/>
                  </a:lnTo>
                  <a:lnTo>
                    <a:pt x="4825" y="4140"/>
                  </a:lnTo>
                  <a:lnTo>
                    <a:pt x="4822" y="4126"/>
                  </a:lnTo>
                  <a:lnTo>
                    <a:pt x="4820" y="4121"/>
                  </a:lnTo>
                  <a:lnTo>
                    <a:pt x="4818" y="4118"/>
                  </a:lnTo>
                  <a:lnTo>
                    <a:pt x="4816" y="4116"/>
                  </a:lnTo>
                  <a:lnTo>
                    <a:pt x="4814" y="4116"/>
                  </a:lnTo>
                  <a:lnTo>
                    <a:pt x="4814" y="4116"/>
                  </a:lnTo>
                  <a:lnTo>
                    <a:pt x="4786" y="4123"/>
                  </a:lnTo>
                  <a:lnTo>
                    <a:pt x="4760" y="4128"/>
                  </a:lnTo>
                  <a:lnTo>
                    <a:pt x="4746" y="4129"/>
                  </a:lnTo>
                  <a:lnTo>
                    <a:pt x="4734" y="4130"/>
                  </a:lnTo>
                  <a:lnTo>
                    <a:pt x="4722" y="4130"/>
                  </a:lnTo>
                  <a:lnTo>
                    <a:pt x="4711" y="4129"/>
                  </a:lnTo>
                  <a:lnTo>
                    <a:pt x="4698" y="4127"/>
                  </a:lnTo>
                  <a:lnTo>
                    <a:pt x="4687" y="4125"/>
                  </a:lnTo>
                  <a:lnTo>
                    <a:pt x="4675" y="4122"/>
                  </a:lnTo>
                  <a:lnTo>
                    <a:pt x="4664" y="4118"/>
                  </a:lnTo>
                  <a:lnTo>
                    <a:pt x="4652" y="4113"/>
                  </a:lnTo>
                  <a:lnTo>
                    <a:pt x="4640" y="4108"/>
                  </a:lnTo>
                  <a:lnTo>
                    <a:pt x="4629" y="4100"/>
                  </a:lnTo>
                  <a:lnTo>
                    <a:pt x="4618" y="4093"/>
                  </a:lnTo>
                  <a:lnTo>
                    <a:pt x="4618" y="4093"/>
                  </a:lnTo>
                  <a:lnTo>
                    <a:pt x="4613" y="4090"/>
                  </a:lnTo>
                  <a:lnTo>
                    <a:pt x="4608" y="4086"/>
                  </a:lnTo>
                  <a:lnTo>
                    <a:pt x="4602" y="4078"/>
                  </a:lnTo>
                  <a:lnTo>
                    <a:pt x="4597" y="4069"/>
                  </a:lnTo>
                  <a:lnTo>
                    <a:pt x="4594" y="4059"/>
                  </a:lnTo>
                  <a:lnTo>
                    <a:pt x="4592" y="4047"/>
                  </a:lnTo>
                  <a:lnTo>
                    <a:pt x="4591" y="4037"/>
                  </a:lnTo>
                  <a:lnTo>
                    <a:pt x="4590" y="4015"/>
                  </a:lnTo>
                  <a:lnTo>
                    <a:pt x="4589" y="3993"/>
                  </a:lnTo>
                  <a:lnTo>
                    <a:pt x="4587" y="3984"/>
                  </a:lnTo>
                  <a:lnTo>
                    <a:pt x="4585" y="3976"/>
                  </a:lnTo>
                  <a:lnTo>
                    <a:pt x="4581" y="3969"/>
                  </a:lnTo>
                  <a:lnTo>
                    <a:pt x="4575" y="3962"/>
                  </a:lnTo>
                  <a:lnTo>
                    <a:pt x="4571" y="3959"/>
                  </a:lnTo>
                  <a:lnTo>
                    <a:pt x="4567" y="3957"/>
                  </a:lnTo>
                  <a:lnTo>
                    <a:pt x="4561" y="3956"/>
                  </a:lnTo>
                  <a:lnTo>
                    <a:pt x="4556" y="3955"/>
                  </a:lnTo>
                  <a:lnTo>
                    <a:pt x="4556" y="3955"/>
                  </a:lnTo>
                  <a:lnTo>
                    <a:pt x="4534" y="3948"/>
                  </a:lnTo>
                  <a:lnTo>
                    <a:pt x="4511" y="3941"/>
                  </a:lnTo>
                  <a:lnTo>
                    <a:pt x="4489" y="3933"/>
                  </a:lnTo>
                  <a:lnTo>
                    <a:pt x="4468" y="3923"/>
                  </a:lnTo>
                  <a:lnTo>
                    <a:pt x="4448" y="3913"/>
                  </a:lnTo>
                  <a:lnTo>
                    <a:pt x="4428" y="3902"/>
                  </a:lnTo>
                  <a:lnTo>
                    <a:pt x="4410" y="3892"/>
                  </a:lnTo>
                  <a:lnTo>
                    <a:pt x="4394" y="3881"/>
                  </a:lnTo>
                  <a:lnTo>
                    <a:pt x="4377" y="3869"/>
                  </a:lnTo>
                  <a:lnTo>
                    <a:pt x="4363" y="3859"/>
                  </a:lnTo>
                  <a:lnTo>
                    <a:pt x="4337" y="3839"/>
                  </a:lnTo>
                  <a:lnTo>
                    <a:pt x="4318" y="3820"/>
                  </a:lnTo>
                  <a:lnTo>
                    <a:pt x="4306" y="3805"/>
                  </a:lnTo>
                  <a:lnTo>
                    <a:pt x="4306" y="3805"/>
                  </a:lnTo>
                  <a:lnTo>
                    <a:pt x="4297" y="3793"/>
                  </a:lnTo>
                  <a:lnTo>
                    <a:pt x="4288" y="3780"/>
                  </a:lnTo>
                  <a:lnTo>
                    <a:pt x="4282" y="3769"/>
                  </a:lnTo>
                  <a:lnTo>
                    <a:pt x="4277" y="3758"/>
                  </a:lnTo>
                  <a:lnTo>
                    <a:pt x="4273" y="3748"/>
                  </a:lnTo>
                  <a:lnTo>
                    <a:pt x="4270" y="3739"/>
                  </a:lnTo>
                  <a:lnTo>
                    <a:pt x="4266" y="3722"/>
                  </a:lnTo>
                  <a:lnTo>
                    <a:pt x="4265" y="3709"/>
                  </a:lnTo>
                  <a:lnTo>
                    <a:pt x="4265" y="3699"/>
                  </a:lnTo>
                  <a:lnTo>
                    <a:pt x="4266" y="3690"/>
                  </a:lnTo>
                  <a:lnTo>
                    <a:pt x="4266" y="3690"/>
                  </a:lnTo>
                  <a:lnTo>
                    <a:pt x="4284" y="3700"/>
                  </a:lnTo>
                  <a:lnTo>
                    <a:pt x="4302" y="3706"/>
                  </a:lnTo>
                  <a:lnTo>
                    <a:pt x="4321" y="3711"/>
                  </a:lnTo>
                  <a:lnTo>
                    <a:pt x="4340" y="3714"/>
                  </a:lnTo>
                  <a:lnTo>
                    <a:pt x="4358" y="3716"/>
                  </a:lnTo>
                  <a:lnTo>
                    <a:pt x="4377" y="3715"/>
                  </a:lnTo>
                  <a:lnTo>
                    <a:pt x="4396" y="3712"/>
                  </a:lnTo>
                  <a:lnTo>
                    <a:pt x="4414" y="3708"/>
                  </a:lnTo>
                  <a:lnTo>
                    <a:pt x="4434" y="3468"/>
                  </a:lnTo>
                  <a:lnTo>
                    <a:pt x="4434" y="3468"/>
                  </a:lnTo>
                  <a:lnTo>
                    <a:pt x="4425" y="3467"/>
                  </a:lnTo>
                  <a:lnTo>
                    <a:pt x="4405" y="3464"/>
                  </a:lnTo>
                  <a:lnTo>
                    <a:pt x="4392" y="3461"/>
                  </a:lnTo>
                  <a:lnTo>
                    <a:pt x="4377" y="3457"/>
                  </a:lnTo>
                  <a:lnTo>
                    <a:pt x="4362" y="3453"/>
                  </a:lnTo>
                  <a:lnTo>
                    <a:pt x="4348" y="3447"/>
                  </a:lnTo>
                  <a:lnTo>
                    <a:pt x="4348" y="3447"/>
                  </a:lnTo>
                  <a:lnTo>
                    <a:pt x="4339" y="3443"/>
                  </a:lnTo>
                  <a:lnTo>
                    <a:pt x="4331" y="3438"/>
                  </a:lnTo>
                  <a:lnTo>
                    <a:pt x="4323" y="3432"/>
                  </a:lnTo>
                  <a:lnTo>
                    <a:pt x="4316" y="3426"/>
                  </a:lnTo>
                  <a:lnTo>
                    <a:pt x="4302" y="3412"/>
                  </a:lnTo>
                  <a:lnTo>
                    <a:pt x="4289" y="3399"/>
                  </a:lnTo>
                  <a:lnTo>
                    <a:pt x="4280" y="3386"/>
                  </a:lnTo>
                  <a:lnTo>
                    <a:pt x="4273" y="3376"/>
                  </a:lnTo>
                  <a:lnTo>
                    <a:pt x="4267" y="3366"/>
                  </a:lnTo>
                  <a:lnTo>
                    <a:pt x="4267" y="3366"/>
                  </a:lnTo>
                  <a:lnTo>
                    <a:pt x="4274" y="3369"/>
                  </a:lnTo>
                  <a:lnTo>
                    <a:pt x="4293" y="3377"/>
                  </a:lnTo>
                  <a:lnTo>
                    <a:pt x="4321" y="3385"/>
                  </a:lnTo>
                  <a:lnTo>
                    <a:pt x="4339" y="3389"/>
                  </a:lnTo>
                  <a:lnTo>
                    <a:pt x="4356" y="3392"/>
                  </a:lnTo>
                  <a:lnTo>
                    <a:pt x="4356" y="3392"/>
                  </a:lnTo>
                  <a:lnTo>
                    <a:pt x="4375" y="3394"/>
                  </a:lnTo>
                  <a:lnTo>
                    <a:pt x="4392" y="3395"/>
                  </a:lnTo>
                  <a:lnTo>
                    <a:pt x="4407" y="3393"/>
                  </a:lnTo>
                  <a:lnTo>
                    <a:pt x="4419" y="3391"/>
                  </a:lnTo>
                  <a:lnTo>
                    <a:pt x="4430" y="3389"/>
                  </a:lnTo>
                  <a:lnTo>
                    <a:pt x="4438" y="3387"/>
                  </a:lnTo>
                  <a:lnTo>
                    <a:pt x="4444" y="3384"/>
                  </a:lnTo>
                  <a:lnTo>
                    <a:pt x="4477" y="3113"/>
                  </a:lnTo>
                  <a:lnTo>
                    <a:pt x="4477" y="3113"/>
                  </a:lnTo>
                  <a:lnTo>
                    <a:pt x="4451" y="3114"/>
                  </a:lnTo>
                  <a:lnTo>
                    <a:pt x="4427" y="3113"/>
                  </a:lnTo>
                  <a:lnTo>
                    <a:pt x="4408" y="3111"/>
                  </a:lnTo>
                  <a:lnTo>
                    <a:pt x="4392" y="3106"/>
                  </a:lnTo>
                  <a:lnTo>
                    <a:pt x="4377" y="3100"/>
                  </a:lnTo>
                  <a:lnTo>
                    <a:pt x="4365" y="3093"/>
                  </a:lnTo>
                  <a:lnTo>
                    <a:pt x="4356" y="3085"/>
                  </a:lnTo>
                  <a:lnTo>
                    <a:pt x="4348" y="3077"/>
                  </a:lnTo>
                  <a:lnTo>
                    <a:pt x="4343" y="3069"/>
                  </a:lnTo>
                  <a:lnTo>
                    <a:pt x="4337" y="3060"/>
                  </a:lnTo>
                  <a:lnTo>
                    <a:pt x="4335" y="3051"/>
                  </a:lnTo>
                  <a:lnTo>
                    <a:pt x="4333" y="3043"/>
                  </a:lnTo>
                  <a:lnTo>
                    <a:pt x="4332" y="3035"/>
                  </a:lnTo>
                  <a:lnTo>
                    <a:pt x="4331" y="3029"/>
                  </a:lnTo>
                  <a:lnTo>
                    <a:pt x="4332" y="3020"/>
                  </a:lnTo>
                  <a:lnTo>
                    <a:pt x="4332" y="3020"/>
                  </a:lnTo>
                  <a:lnTo>
                    <a:pt x="4357" y="3015"/>
                  </a:lnTo>
                  <a:lnTo>
                    <a:pt x="4381" y="3009"/>
                  </a:lnTo>
                  <a:lnTo>
                    <a:pt x="4405" y="3001"/>
                  </a:lnTo>
                  <a:lnTo>
                    <a:pt x="4428" y="2994"/>
                  </a:lnTo>
                  <a:lnTo>
                    <a:pt x="4451" y="2985"/>
                  </a:lnTo>
                  <a:lnTo>
                    <a:pt x="4473" y="2975"/>
                  </a:lnTo>
                  <a:lnTo>
                    <a:pt x="4495" y="2964"/>
                  </a:lnTo>
                  <a:lnTo>
                    <a:pt x="4515" y="2951"/>
                  </a:lnTo>
                  <a:lnTo>
                    <a:pt x="4536" y="2939"/>
                  </a:lnTo>
                  <a:lnTo>
                    <a:pt x="4555" y="2926"/>
                  </a:lnTo>
                  <a:lnTo>
                    <a:pt x="4574" y="2911"/>
                  </a:lnTo>
                  <a:lnTo>
                    <a:pt x="4592" y="2896"/>
                  </a:lnTo>
                  <a:lnTo>
                    <a:pt x="4609" y="2881"/>
                  </a:lnTo>
                  <a:lnTo>
                    <a:pt x="4627" y="2864"/>
                  </a:lnTo>
                  <a:lnTo>
                    <a:pt x="4642" y="2848"/>
                  </a:lnTo>
                  <a:lnTo>
                    <a:pt x="4659" y="2831"/>
                  </a:lnTo>
                  <a:lnTo>
                    <a:pt x="4673" y="2812"/>
                  </a:lnTo>
                  <a:lnTo>
                    <a:pt x="4688" y="2794"/>
                  </a:lnTo>
                  <a:lnTo>
                    <a:pt x="4702" y="2775"/>
                  </a:lnTo>
                  <a:lnTo>
                    <a:pt x="4715" y="2756"/>
                  </a:lnTo>
                  <a:lnTo>
                    <a:pt x="4727" y="2737"/>
                  </a:lnTo>
                  <a:lnTo>
                    <a:pt x="4738" y="2717"/>
                  </a:lnTo>
                  <a:lnTo>
                    <a:pt x="4750" y="2698"/>
                  </a:lnTo>
                  <a:lnTo>
                    <a:pt x="4760" y="2677"/>
                  </a:lnTo>
                  <a:lnTo>
                    <a:pt x="4770" y="2657"/>
                  </a:lnTo>
                  <a:lnTo>
                    <a:pt x="4779" y="2636"/>
                  </a:lnTo>
                  <a:lnTo>
                    <a:pt x="4787" y="2616"/>
                  </a:lnTo>
                  <a:lnTo>
                    <a:pt x="4796" y="2595"/>
                  </a:lnTo>
                  <a:lnTo>
                    <a:pt x="4803" y="2575"/>
                  </a:lnTo>
                  <a:lnTo>
                    <a:pt x="4809" y="2555"/>
                  </a:lnTo>
                  <a:lnTo>
                    <a:pt x="4815" y="2534"/>
                  </a:lnTo>
                  <a:lnTo>
                    <a:pt x="4820" y="2515"/>
                  </a:lnTo>
                  <a:lnTo>
                    <a:pt x="4820" y="2515"/>
                  </a:lnTo>
                  <a:lnTo>
                    <a:pt x="4831" y="2521"/>
                  </a:lnTo>
                  <a:lnTo>
                    <a:pt x="4847" y="2527"/>
                  </a:lnTo>
                  <a:lnTo>
                    <a:pt x="4864" y="2533"/>
                  </a:lnTo>
                  <a:lnTo>
                    <a:pt x="4882" y="2538"/>
                  </a:lnTo>
                  <a:lnTo>
                    <a:pt x="4903" y="2541"/>
                  </a:lnTo>
                  <a:lnTo>
                    <a:pt x="4913" y="2542"/>
                  </a:lnTo>
                  <a:lnTo>
                    <a:pt x="4923" y="2543"/>
                  </a:lnTo>
                  <a:lnTo>
                    <a:pt x="4935" y="2542"/>
                  </a:lnTo>
                  <a:lnTo>
                    <a:pt x="4945" y="2541"/>
                  </a:lnTo>
                  <a:lnTo>
                    <a:pt x="4955" y="2539"/>
                  </a:lnTo>
                  <a:lnTo>
                    <a:pt x="4965" y="2536"/>
                  </a:lnTo>
                  <a:lnTo>
                    <a:pt x="4965" y="2536"/>
                  </a:lnTo>
                  <a:lnTo>
                    <a:pt x="4967" y="2508"/>
                  </a:lnTo>
                  <a:lnTo>
                    <a:pt x="4970" y="2441"/>
                  </a:lnTo>
                  <a:lnTo>
                    <a:pt x="4972" y="2405"/>
                  </a:lnTo>
                  <a:lnTo>
                    <a:pt x="4973" y="2371"/>
                  </a:lnTo>
                  <a:lnTo>
                    <a:pt x="4972" y="2343"/>
                  </a:lnTo>
                  <a:lnTo>
                    <a:pt x="4972" y="2333"/>
                  </a:lnTo>
                  <a:lnTo>
                    <a:pt x="4970" y="2327"/>
                  </a:lnTo>
                  <a:lnTo>
                    <a:pt x="4970" y="2327"/>
                  </a:lnTo>
                  <a:lnTo>
                    <a:pt x="4955" y="2325"/>
                  </a:lnTo>
                  <a:lnTo>
                    <a:pt x="4938" y="2322"/>
                  </a:lnTo>
                  <a:lnTo>
                    <a:pt x="4919" y="2317"/>
                  </a:lnTo>
                  <a:lnTo>
                    <a:pt x="4911" y="2314"/>
                  </a:lnTo>
                  <a:lnTo>
                    <a:pt x="4902" y="2311"/>
                  </a:lnTo>
                  <a:lnTo>
                    <a:pt x="4893" y="2306"/>
                  </a:lnTo>
                  <a:lnTo>
                    <a:pt x="4885" y="2302"/>
                  </a:lnTo>
                  <a:lnTo>
                    <a:pt x="4876" y="2296"/>
                  </a:lnTo>
                  <a:lnTo>
                    <a:pt x="4868" y="2289"/>
                  </a:lnTo>
                  <a:lnTo>
                    <a:pt x="4861" y="2282"/>
                  </a:lnTo>
                  <a:lnTo>
                    <a:pt x="4854" y="2273"/>
                  </a:lnTo>
                  <a:lnTo>
                    <a:pt x="4848" y="2264"/>
                  </a:lnTo>
                  <a:lnTo>
                    <a:pt x="4842" y="22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7331080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Lopetus V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" name="Group 104"/>
          <p:cNvGrpSpPr/>
          <p:nvPr userDrawn="1"/>
        </p:nvGrpSpPr>
        <p:grpSpPr>
          <a:xfrm>
            <a:off x="-1" y="1"/>
            <a:ext cx="12191999" cy="6858001"/>
            <a:chOff x="-1" y="0"/>
            <a:chExt cx="9143999" cy="5143501"/>
          </a:xfrm>
        </p:grpSpPr>
        <p:sp>
          <p:nvSpPr>
            <p:cNvPr id="9" name="AutoShape 3"/>
            <p:cNvSpPr>
              <a:spLocks noChangeAspect="1" noChangeArrowheads="1" noTextEdit="1"/>
            </p:cNvSpPr>
            <p:nvPr userDrawn="1"/>
          </p:nvSpPr>
          <p:spPr bwMode="auto">
            <a:xfrm flipH="1">
              <a:off x="-1" y="0"/>
              <a:ext cx="9143999" cy="5143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7" name="Freeform 5"/>
            <p:cNvSpPr>
              <a:spLocks/>
            </p:cNvSpPr>
            <p:nvPr userDrawn="1"/>
          </p:nvSpPr>
          <p:spPr bwMode="auto">
            <a:xfrm flipH="1">
              <a:off x="-1" y="3640138"/>
              <a:ext cx="2425959" cy="1503363"/>
            </a:xfrm>
            <a:custGeom>
              <a:avLst/>
              <a:gdLst>
                <a:gd name="T0" fmla="*/ 1534 w 1534"/>
                <a:gd name="T1" fmla="*/ 947 h 947"/>
                <a:gd name="T2" fmla="*/ 1534 w 1534"/>
                <a:gd name="T3" fmla="*/ 491 h 947"/>
                <a:gd name="T4" fmla="*/ 1534 w 1534"/>
                <a:gd name="T5" fmla="*/ 491 h 947"/>
                <a:gd name="T6" fmla="*/ 1297 w 1534"/>
                <a:gd name="T7" fmla="*/ 382 h 947"/>
                <a:gd name="T8" fmla="*/ 1181 w 1534"/>
                <a:gd name="T9" fmla="*/ 327 h 947"/>
                <a:gd name="T10" fmla="*/ 1123 w 1534"/>
                <a:gd name="T11" fmla="*/ 299 h 947"/>
                <a:gd name="T12" fmla="*/ 1065 w 1534"/>
                <a:gd name="T13" fmla="*/ 270 h 947"/>
                <a:gd name="T14" fmla="*/ 1008 w 1534"/>
                <a:gd name="T15" fmla="*/ 241 h 947"/>
                <a:gd name="T16" fmla="*/ 950 w 1534"/>
                <a:gd name="T17" fmla="*/ 210 h 947"/>
                <a:gd name="T18" fmla="*/ 894 w 1534"/>
                <a:gd name="T19" fmla="*/ 179 h 947"/>
                <a:gd name="T20" fmla="*/ 837 w 1534"/>
                <a:gd name="T21" fmla="*/ 146 h 947"/>
                <a:gd name="T22" fmla="*/ 781 w 1534"/>
                <a:gd name="T23" fmla="*/ 111 h 947"/>
                <a:gd name="T24" fmla="*/ 725 w 1534"/>
                <a:gd name="T25" fmla="*/ 76 h 947"/>
                <a:gd name="T26" fmla="*/ 670 w 1534"/>
                <a:gd name="T27" fmla="*/ 39 h 947"/>
                <a:gd name="T28" fmla="*/ 615 w 1534"/>
                <a:gd name="T29" fmla="*/ 0 h 947"/>
                <a:gd name="T30" fmla="*/ 615 w 1534"/>
                <a:gd name="T31" fmla="*/ 0 h 947"/>
                <a:gd name="T32" fmla="*/ 572 w 1534"/>
                <a:gd name="T33" fmla="*/ 70 h 947"/>
                <a:gd name="T34" fmla="*/ 530 w 1534"/>
                <a:gd name="T35" fmla="*/ 137 h 947"/>
                <a:gd name="T36" fmla="*/ 488 w 1534"/>
                <a:gd name="T37" fmla="*/ 202 h 947"/>
                <a:gd name="T38" fmla="*/ 446 w 1534"/>
                <a:gd name="T39" fmla="*/ 265 h 947"/>
                <a:gd name="T40" fmla="*/ 365 w 1534"/>
                <a:gd name="T41" fmla="*/ 386 h 947"/>
                <a:gd name="T42" fmla="*/ 285 w 1534"/>
                <a:gd name="T43" fmla="*/ 502 h 947"/>
                <a:gd name="T44" fmla="*/ 208 w 1534"/>
                <a:gd name="T45" fmla="*/ 614 h 947"/>
                <a:gd name="T46" fmla="*/ 171 w 1534"/>
                <a:gd name="T47" fmla="*/ 669 h 947"/>
                <a:gd name="T48" fmla="*/ 135 w 1534"/>
                <a:gd name="T49" fmla="*/ 724 h 947"/>
                <a:gd name="T50" fmla="*/ 100 w 1534"/>
                <a:gd name="T51" fmla="*/ 779 h 947"/>
                <a:gd name="T52" fmla="*/ 66 w 1534"/>
                <a:gd name="T53" fmla="*/ 835 h 947"/>
                <a:gd name="T54" fmla="*/ 32 w 1534"/>
                <a:gd name="T55" fmla="*/ 890 h 947"/>
                <a:gd name="T56" fmla="*/ 0 w 1534"/>
                <a:gd name="T57" fmla="*/ 947 h 947"/>
                <a:gd name="T58" fmla="*/ 1534 w 1534"/>
                <a:gd name="T59" fmla="*/ 947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34" h="947">
                  <a:moveTo>
                    <a:pt x="1534" y="947"/>
                  </a:moveTo>
                  <a:lnTo>
                    <a:pt x="1534" y="491"/>
                  </a:lnTo>
                  <a:lnTo>
                    <a:pt x="1534" y="491"/>
                  </a:lnTo>
                  <a:lnTo>
                    <a:pt x="1297" y="382"/>
                  </a:lnTo>
                  <a:lnTo>
                    <a:pt x="1181" y="327"/>
                  </a:lnTo>
                  <a:lnTo>
                    <a:pt x="1123" y="299"/>
                  </a:lnTo>
                  <a:lnTo>
                    <a:pt x="1065" y="270"/>
                  </a:lnTo>
                  <a:lnTo>
                    <a:pt x="1008" y="241"/>
                  </a:lnTo>
                  <a:lnTo>
                    <a:pt x="950" y="210"/>
                  </a:lnTo>
                  <a:lnTo>
                    <a:pt x="894" y="179"/>
                  </a:lnTo>
                  <a:lnTo>
                    <a:pt x="837" y="146"/>
                  </a:lnTo>
                  <a:lnTo>
                    <a:pt x="781" y="111"/>
                  </a:lnTo>
                  <a:lnTo>
                    <a:pt x="725" y="76"/>
                  </a:lnTo>
                  <a:lnTo>
                    <a:pt x="670" y="39"/>
                  </a:lnTo>
                  <a:lnTo>
                    <a:pt x="615" y="0"/>
                  </a:lnTo>
                  <a:lnTo>
                    <a:pt x="615" y="0"/>
                  </a:lnTo>
                  <a:lnTo>
                    <a:pt x="572" y="70"/>
                  </a:lnTo>
                  <a:lnTo>
                    <a:pt x="530" y="137"/>
                  </a:lnTo>
                  <a:lnTo>
                    <a:pt x="488" y="202"/>
                  </a:lnTo>
                  <a:lnTo>
                    <a:pt x="446" y="265"/>
                  </a:lnTo>
                  <a:lnTo>
                    <a:pt x="365" y="386"/>
                  </a:lnTo>
                  <a:lnTo>
                    <a:pt x="285" y="502"/>
                  </a:lnTo>
                  <a:lnTo>
                    <a:pt x="208" y="614"/>
                  </a:lnTo>
                  <a:lnTo>
                    <a:pt x="171" y="669"/>
                  </a:lnTo>
                  <a:lnTo>
                    <a:pt x="135" y="724"/>
                  </a:lnTo>
                  <a:lnTo>
                    <a:pt x="100" y="779"/>
                  </a:lnTo>
                  <a:lnTo>
                    <a:pt x="66" y="835"/>
                  </a:lnTo>
                  <a:lnTo>
                    <a:pt x="32" y="890"/>
                  </a:lnTo>
                  <a:lnTo>
                    <a:pt x="0" y="947"/>
                  </a:lnTo>
                  <a:lnTo>
                    <a:pt x="1534" y="947"/>
                  </a:lnTo>
                  <a:close/>
                </a:path>
              </a:pathLst>
            </a:custGeom>
            <a:solidFill>
              <a:srgbClr val="799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8" name="Freeform 6"/>
            <p:cNvSpPr>
              <a:spLocks/>
            </p:cNvSpPr>
            <p:nvPr userDrawn="1"/>
          </p:nvSpPr>
          <p:spPr bwMode="auto">
            <a:xfrm flipH="1">
              <a:off x="-1" y="2641600"/>
              <a:ext cx="1453361" cy="1671638"/>
            </a:xfrm>
            <a:custGeom>
              <a:avLst/>
              <a:gdLst>
                <a:gd name="T0" fmla="*/ 919 w 919"/>
                <a:gd name="T1" fmla="*/ 0 h 1053"/>
                <a:gd name="T2" fmla="*/ 919 w 919"/>
                <a:gd name="T3" fmla="*/ 0 h 1053"/>
                <a:gd name="T4" fmla="*/ 858 w 919"/>
                <a:gd name="T5" fmla="*/ 29 h 1053"/>
                <a:gd name="T6" fmla="*/ 798 w 919"/>
                <a:gd name="T7" fmla="*/ 62 h 1053"/>
                <a:gd name="T8" fmla="*/ 738 w 919"/>
                <a:gd name="T9" fmla="*/ 97 h 1053"/>
                <a:gd name="T10" fmla="*/ 678 w 919"/>
                <a:gd name="T11" fmla="*/ 133 h 1053"/>
                <a:gd name="T12" fmla="*/ 620 w 919"/>
                <a:gd name="T13" fmla="*/ 171 h 1053"/>
                <a:gd name="T14" fmla="*/ 561 w 919"/>
                <a:gd name="T15" fmla="*/ 210 h 1053"/>
                <a:gd name="T16" fmla="*/ 502 w 919"/>
                <a:gd name="T17" fmla="*/ 251 h 1053"/>
                <a:gd name="T18" fmla="*/ 445 w 919"/>
                <a:gd name="T19" fmla="*/ 294 h 1053"/>
                <a:gd name="T20" fmla="*/ 331 w 919"/>
                <a:gd name="T21" fmla="*/ 378 h 1053"/>
                <a:gd name="T22" fmla="*/ 219 w 919"/>
                <a:gd name="T23" fmla="*/ 465 h 1053"/>
                <a:gd name="T24" fmla="*/ 108 w 919"/>
                <a:gd name="T25" fmla="*/ 549 h 1053"/>
                <a:gd name="T26" fmla="*/ 53 w 919"/>
                <a:gd name="T27" fmla="*/ 589 h 1053"/>
                <a:gd name="T28" fmla="*/ 0 w 919"/>
                <a:gd name="T29" fmla="*/ 629 h 1053"/>
                <a:gd name="T30" fmla="*/ 0 w 919"/>
                <a:gd name="T31" fmla="*/ 629 h 1053"/>
                <a:gd name="T32" fmla="*/ 0 w 919"/>
                <a:gd name="T33" fmla="*/ 629 h 1053"/>
                <a:gd name="T34" fmla="*/ 53 w 919"/>
                <a:gd name="T35" fmla="*/ 667 h 1053"/>
                <a:gd name="T36" fmla="*/ 107 w 919"/>
                <a:gd name="T37" fmla="*/ 704 h 1053"/>
                <a:gd name="T38" fmla="*/ 161 w 919"/>
                <a:gd name="T39" fmla="*/ 739 h 1053"/>
                <a:gd name="T40" fmla="*/ 217 w 919"/>
                <a:gd name="T41" fmla="*/ 774 h 1053"/>
                <a:gd name="T42" fmla="*/ 273 w 919"/>
                <a:gd name="T43" fmla="*/ 808 h 1053"/>
                <a:gd name="T44" fmla="*/ 330 w 919"/>
                <a:gd name="T45" fmla="*/ 839 h 1053"/>
                <a:gd name="T46" fmla="*/ 386 w 919"/>
                <a:gd name="T47" fmla="*/ 870 h 1053"/>
                <a:gd name="T48" fmla="*/ 444 w 919"/>
                <a:gd name="T49" fmla="*/ 899 h 1053"/>
                <a:gd name="T50" fmla="*/ 502 w 919"/>
                <a:gd name="T51" fmla="*/ 926 h 1053"/>
                <a:gd name="T52" fmla="*/ 561 w 919"/>
                <a:gd name="T53" fmla="*/ 951 h 1053"/>
                <a:gd name="T54" fmla="*/ 620 w 919"/>
                <a:gd name="T55" fmla="*/ 973 h 1053"/>
                <a:gd name="T56" fmla="*/ 678 w 919"/>
                <a:gd name="T57" fmla="*/ 994 h 1053"/>
                <a:gd name="T58" fmla="*/ 738 w 919"/>
                <a:gd name="T59" fmla="*/ 1012 h 1053"/>
                <a:gd name="T60" fmla="*/ 798 w 919"/>
                <a:gd name="T61" fmla="*/ 1028 h 1053"/>
                <a:gd name="T62" fmla="*/ 858 w 919"/>
                <a:gd name="T63" fmla="*/ 1042 h 1053"/>
                <a:gd name="T64" fmla="*/ 889 w 919"/>
                <a:gd name="T65" fmla="*/ 1048 h 1053"/>
                <a:gd name="T66" fmla="*/ 919 w 919"/>
                <a:gd name="T67" fmla="*/ 1053 h 1053"/>
                <a:gd name="T68" fmla="*/ 919 w 919"/>
                <a:gd name="T69" fmla="*/ 0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19" h="1053">
                  <a:moveTo>
                    <a:pt x="919" y="0"/>
                  </a:moveTo>
                  <a:lnTo>
                    <a:pt x="919" y="0"/>
                  </a:lnTo>
                  <a:lnTo>
                    <a:pt x="858" y="29"/>
                  </a:lnTo>
                  <a:lnTo>
                    <a:pt x="798" y="62"/>
                  </a:lnTo>
                  <a:lnTo>
                    <a:pt x="738" y="97"/>
                  </a:lnTo>
                  <a:lnTo>
                    <a:pt x="678" y="133"/>
                  </a:lnTo>
                  <a:lnTo>
                    <a:pt x="620" y="171"/>
                  </a:lnTo>
                  <a:lnTo>
                    <a:pt x="561" y="210"/>
                  </a:lnTo>
                  <a:lnTo>
                    <a:pt x="502" y="251"/>
                  </a:lnTo>
                  <a:lnTo>
                    <a:pt x="445" y="294"/>
                  </a:lnTo>
                  <a:lnTo>
                    <a:pt x="331" y="378"/>
                  </a:lnTo>
                  <a:lnTo>
                    <a:pt x="219" y="465"/>
                  </a:lnTo>
                  <a:lnTo>
                    <a:pt x="108" y="549"/>
                  </a:lnTo>
                  <a:lnTo>
                    <a:pt x="53" y="589"/>
                  </a:lnTo>
                  <a:lnTo>
                    <a:pt x="0" y="629"/>
                  </a:lnTo>
                  <a:lnTo>
                    <a:pt x="0" y="629"/>
                  </a:lnTo>
                  <a:lnTo>
                    <a:pt x="0" y="629"/>
                  </a:lnTo>
                  <a:lnTo>
                    <a:pt x="53" y="667"/>
                  </a:lnTo>
                  <a:lnTo>
                    <a:pt x="107" y="704"/>
                  </a:lnTo>
                  <a:lnTo>
                    <a:pt x="161" y="739"/>
                  </a:lnTo>
                  <a:lnTo>
                    <a:pt x="217" y="774"/>
                  </a:lnTo>
                  <a:lnTo>
                    <a:pt x="273" y="808"/>
                  </a:lnTo>
                  <a:lnTo>
                    <a:pt x="330" y="839"/>
                  </a:lnTo>
                  <a:lnTo>
                    <a:pt x="386" y="870"/>
                  </a:lnTo>
                  <a:lnTo>
                    <a:pt x="444" y="899"/>
                  </a:lnTo>
                  <a:lnTo>
                    <a:pt x="502" y="926"/>
                  </a:lnTo>
                  <a:lnTo>
                    <a:pt x="561" y="951"/>
                  </a:lnTo>
                  <a:lnTo>
                    <a:pt x="620" y="973"/>
                  </a:lnTo>
                  <a:lnTo>
                    <a:pt x="678" y="994"/>
                  </a:lnTo>
                  <a:lnTo>
                    <a:pt x="738" y="1012"/>
                  </a:lnTo>
                  <a:lnTo>
                    <a:pt x="798" y="1028"/>
                  </a:lnTo>
                  <a:lnTo>
                    <a:pt x="858" y="1042"/>
                  </a:lnTo>
                  <a:lnTo>
                    <a:pt x="889" y="1048"/>
                  </a:lnTo>
                  <a:lnTo>
                    <a:pt x="919" y="1053"/>
                  </a:lnTo>
                  <a:lnTo>
                    <a:pt x="919" y="0"/>
                  </a:lnTo>
                  <a:close/>
                </a:path>
              </a:pathLst>
            </a:custGeom>
            <a:solidFill>
              <a:srgbClr val="9BAD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9" name="Freeform 7"/>
            <p:cNvSpPr>
              <a:spLocks/>
            </p:cNvSpPr>
            <p:nvPr userDrawn="1"/>
          </p:nvSpPr>
          <p:spPr bwMode="auto">
            <a:xfrm flipH="1">
              <a:off x="624676" y="0"/>
              <a:ext cx="2546150" cy="3640138"/>
            </a:xfrm>
            <a:custGeom>
              <a:avLst/>
              <a:gdLst>
                <a:gd name="T0" fmla="*/ 47 w 1610"/>
                <a:gd name="T1" fmla="*/ 0 h 2293"/>
                <a:gd name="T2" fmla="*/ 28 w 1610"/>
                <a:gd name="T3" fmla="*/ 79 h 2293"/>
                <a:gd name="T4" fmla="*/ 13 w 1610"/>
                <a:gd name="T5" fmla="*/ 158 h 2293"/>
                <a:gd name="T6" fmla="*/ 5 w 1610"/>
                <a:gd name="T7" fmla="*/ 236 h 2293"/>
                <a:gd name="T8" fmla="*/ 0 w 1610"/>
                <a:gd name="T9" fmla="*/ 315 h 2293"/>
                <a:gd name="T10" fmla="*/ 2 w 1610"/>
                <a:gd name="T11" fmla="*/ 394 h 2293"/>
                <a:gd name="T12" fmla="*/ 7 w 1610"/>
                <a:gd name="T13" fmla="*/ 473 h 2293"/>
                <a:gd name="T14" fmla="*/ 16 w 1610"/>
                <a:gd name="T15" fmla="*/ 551 h 2293"/>
                <a:gd name="T16" fmla="*/ 28 w 1610"/>
                <a:gd name="T17" fmla="*/ 630 h 2293"/>
                <a:gd name="T18" fmla="*/ 43 w 1610"/>
                <a:gd name="T19" fmla="*/ 708 h 2293"/>
                <a:gd name="T20" fmla="*/ 81 w 1610"/>
                <a:gd name="T21" fmla="*/ 862 h 2293"/>
                <a:gd name="T22" fmla="*/ 125 w 1610"/>
                <a:gd name="T23" fmla="*/ 1014 h 2293"/>
                <a:gd name="T24" fmla="*/ 196 w 1610"/>
                <a:gd name="T25" fmla="*/ 1236 h 2293"/>
                <a:gd name="T26" fmla="*/ 211 w 1610"/>
                <a:gd name="T27" fmla="*/ 1277 h 2293"/>
                <a:gd name="T28" fmla="*/ 243 w 1610"/>
                <a:gd name="T29" fmla="*/ 1358 h 2293"/>
                <a:gd name="T30" fmla="*/ 281 w 1610"/>
                <a:gd name="T31" fmla="*/ 1437 h 2293"/>
                <a:gd name="T32" fmla="*/ 323 w 1610"/>
                <a:gd name="T33" fmla="*/ 1514 h 2293"/>
                <a:gd name="T34" fmla="*/ 371 w 1610"/>
                <a:gd name="T35" fmla="*/ 1590 h 2293"/>
                <a:gd name="T36" fmla="*/ 422 w 1610"/>
                <a:gd name="T37" fmla="*/ 1662 h 2293"/>
                <a:gd name="T38" fmla="*/ 476 w 1610"/>
                <a:gd name="T39" fmla="*/ 1733 h 2293"/>
                <a:gd name="T40" fmla="*/ 534 w 1610"/>
                <a:gd name="T41" fmla="*/ 1801 h 2293"/>
                <a:gd name="T42" fmla="*/ 593 w 1610"/>
                <a:gd name="T43" fmla="*/ 1869 h 2293"/>
                <a:gd name="T44" fmla="*/ 655 w 1610"/>
                <a:gd name="T45" fmla="*/ 1933 h 2293"/>
                <a:gd name="T46" fmla="*/ 753 w 1610"/>
                <a:gd name="T47" fmla="*/ 2025 h 2293"/>
                <a:gd name="T48" fmla="*/ 885 w 1610"/>
                <a:gd name="T49" fmla="*/ 2139 h 2293"/>
                <a:gd name="T50" fmla="*/ 1019 w 1610"/>
                <a:gd name="T51" fmla="*/ 2244 h 2293"/>
                <a:gd name="T52" fmla="*/ 1086 w 1610"/>
                <a:gd name="T53" fmla="*/ 2293 h 2293"/>
                <a:gd name="T54" fmla="*/ 1112 w 1610"/>
                <a:gd name="T55" fmla="*/ 2266 h 2293"/>
                <a:gd name="T56" fmla="*/ 1163 w 1610"/>
                <a:gd name="T57" fmla="*/ 2210 h 2293"/>
                <a:gd name="T58" fmla="*/ 1211 w 1610"/>
                <a:gd name="T59" fmla="*/ 2151 h 2293"/>
                <a:gd name="T60" fmla="*/ 1255 w 1610"/>
                <a:gd name="T61" fmla="*/ 2090 h 2293"/>
                <a:gd name="T62" fmla="*/ 1296 w 1610"/>
                <a:gd name="T63" fmla="*/ 2027 h 2293"/>
                <a:gd name="T64" fmla="*/ 1334 w 1610"/>
                <a:gd name="T65" fmla="*/ 1963 h 2293"/>
                <a:gd name="T66" fmla="*/ 1369 w 1610"/>
                <a:gd name="T67" fmla="*/ 1898 h 2293"/>
                <a:gd name="T68" fmla="*/ 1402 w 1610"/>
                <a:gd name="T69" fmla="*/ 1830 h 2293"/>
                <a:gd name="T70" fmla="*/ 1431 w 1610"/>
                <a:gd name="T71" fmla="*/ 1762 h 2293"/>
                <a:gd name="T72" fmla="*/ 1458 w 1610"/>
                <a:gd name="T73" fmla="*/ 1692 h 2293"/>
                <a:gd name="T74" fmla="*/ 1482 w 1610"/>
                <a:gd name="T75" fmla="*/ 1620 h 2293"/>
                <a:gd name="T76" fmla="*/ 1515 w 1610"/>
                <a:gd name="T77" fmla="*/ 1511 h 2293"/>
                <a:gd name="T78" fmla="*/ 1549 w 1610"/>
                <a:gd name="T79" fmla="*/ 1362 h 2293"/>
                <a:gd name="T80" fmla="*/ 1575 w 1610"/>
                <a:gd name="T81" fmla="*/ 1211 h 2293"/>
                <a:gd name="T82" fmla="*/ 1593 w 1610"/>
                <a:gd name="T83" fmla="*/ 1058 h 2293"/>
                <a:gd name="T84" fmla="*/ 1604 w 1610"/>
                <a:gd name="T85" fmla="*/ 902 h 2293"/>
                <a:gd name="T86" fmla="*/ 1610 w 1610"/>
                <a:gd name="T87" fmla="*/ 747 h 2293"/>
                <a:gd name="T88" fmla="*/ 1609 w 1610"/>
                <a:gd name="T89" fmla="*/ 593 h 2293"/>
                <a:gd name="T90" fmla="*/ 1604 w 1610"/>
                <a:gd name="T91" fmla="*/ 440 h 2293"/>
                <a:gd name="T92" fmla="*/ 1595 w 1610"/>
                <a:gd name="T93" fmla="*/ 290 h 2293"/>
                <a:gd name="T94" fmla="*/ 1584 w 1610"/>
                <a:gd name="T95" fmla="*/ 143 h 2293"/>
                <a:gd name="T96" fmla="*/ 47 w 1610"/>
                <a:gd name="T97" fmla="*/ 0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10" h="2293">
                  <a:moveTo>
                    <a:pt x="47" y="0"/>
                  </a:moveTo>
                  <a:lnTo>
                    <a:pt x="47" y="0"/>
                  </a:lnTo>
                  <a:lnTo>
                    <a:pt x="37" y="39"/>
                  </a:lnTo>
                  <a:lnTo>
                    <a:pt x="28" y="79"/>
                  </a:lnTo>
                  <a:lnTo>
                    <a:pt x="20" y="118"/>
                  </a:lnTo>
                  <a:lnTo>
                    <a:pt x="13" y="158"/>
                  </a:lnTo>
                  <a:lnTo>
                    <a:pt x="8" y="197"/>
                  </a:lnTo>
                  <a:lnTo>
                    <a:pt x="5" y="236"/>
                  </a:lnTo>
                  <a:lnTo>
                    <a:pt x="3" y="276"/>
                  </a:lnTo>
                  <a:lnTo>
                    <a:pt x="0" y="315"/>
                  </a:lnTo>
                  <a:lnTo>
                    <a:pt x="0" y="354"/>
                  </a:lnTo>
                  <a:lnTo>
                    <a:pt x="2" y="394"/>
                  </a:lnTo>
                  <a:lnTo>
                    <a:pt x="4" y="433"/>
                  </a:lnTo>
                  <a:lnTo>
                    <a:pt x="7" y="473"/>
                  </a:lnTo>
                  <a:lnTo>
                    <a:pt x="11" y="512"/>
                  </a:lnTo>
                  <a:lnTo>
                    <a:pt x="16" y="551"/>
                  </a:lnTo>
                  <a:lnTo>
                    <a:pt x="22" y="591"/>
                  </a:lnTo>
                  <a:lnTo>
                    <a:pt x="28" y="630"/>
                  </a:lnTo>
                  <a:lnTo>
                    <a:pt x="36" y="668"/>
                  </a:lnTo>
                  <a:lnTo>
                    <a:pt x="43" y="708"/>
                  </a:lnTo>
                  <a:lnTo>
                    <a:pt x="60" y="785"/>
                  </a:lnTo>
                  <a:lnTo>
                    <a:pt x="81" y="862"/>
                  </a:lnTo>
                  <a:lnTo>
                    <a:pt x="102" y="938"/>
                  </a:lnTo>
                  <a:lnTo>
                    <a:pt x="125" y="1014"/>
                  </a:lnTo>
                  <a:lnTo>
                    <a:pt x="148" y="1089"/>
                  </a:lnTo>
                  <a:lnTo>
                    <a:pt x="196" y="1236"/>
                  </a:lnTo>
                  <a:lnTo>
                    <a:pt x="196" y="1236"/>
                  </a:lnTo>
                  <a:lnTo>
                    <a:pt x="211" y="1277"/>
                  </a:lnTo>
                  <a:lnTo>
                    <a:pt x="225" y="1319"/>
                  </a:lnTo>
                  <a:lnTo>
                    <a:pt x="243" y="1358"/>
                  </a:lnTo>
                  <a:lnTo>
                    <a:pt x="261" y="1398"/>
                  </a:lnTo>
                  <a:lnTo>
                    <a:pt x="281" y="1437"/>
                  </a:lnTo>
                  <a:lnTo>
                    <a:pt x="301" y="1476"/>
                  </a:lnTo>
                  <a:lnTo>
                    <a:pt x="323" y="1514"/>
                  </a:lnTo>
                  <a:lnTo>
                    <a:pt x="346" y="1551"/>
                  </a:lnTo>
                  <a:lnTo>
                    <a:pt x="371" y="1590"/>
                  </a:lnTo>
                  <a:lnTo>
                    <a:pt x="396" y="1626"/>
                  </a:lnTo>
                  <a:lnTo>
                    <a:pt x="422" y="1662"/>
                  </a:lnTo>
                  <a:lnTo>
                    <a:pt x="448" y="1698"/>
                  </a:lnTo>
                  <a:lnTo>
                    <a:pt x="476" y="1733"/>
                  </a:lnTo>
                  <a:lnTo>
                    <a:pt x="504" y="1767"/>
                  </a:lnTo>
                  <a:lnTo>
                    <a:pt x="534" y="1801"/>
                  </a:lnTo>
                  <a:lnTo>
                    <a:pt x="563" y="1835"/>
                  </a:lnTo>
                  <a:lnTo>
                    <a:pt x="593" y="1869"/>
                  </a:lnTo>
                  <a:lnTo>
                    <a:pt x="624" y="1900"/>
                  </a:lnTo>
                  <a:lnTo>
                    <a:pt x="655" y="1933"/>
                  </a:lnTo>
                  <a:lnTo>
                    <a:pt x="688" y="1963"/>
                  </a:lnTo>
                  <a:lnTo>
                    <a:pt x="753" y="2025"/>
                  </a:lnTo>
                  <a:lnTo>
                    <a:pt x="818" y="2084"/>
                  </a:lnTo>
                  <a:lnTo>
                    <a:pt x="885" y="2139"/>
                  </a:lnTo>
                  <a:lnTo>
                    <a:pt x="952" y="2193"/>
                  </a:lnTo>
                  <a:lnTo>
                    <a:pt x="1019" y="2244"/>
                  </a:lnTo>
                  <a:lnTo>
                    <a:pt x="1086" y="2293"/>
                  </a:lnTo>
                  <a:lnTo>
                    <a:pt x="1086" y="2293"/>
                  </a:lnTo>
                  <a:lnTo>
                    <a:pt x="1086" y="2293"/>
                  </a:lnTo>
                  <a:lnTo>
                    <a:pt x="1112" y="2266"/>
                  </a:lnTo>
                  <a:lnTo>
                    <a:pt x="1138" y="2238"/>
                  </a:lnTo>
                  <a:lnTo>
                    <a:pt x="1163" y="2210"/>
                  </a:lnTo>
                  <a:lnTo>
                    <a:pt x="1187" y="2180"/>
                  </a:lnTo>
                  <a:lnTo>
                    <a:pt x="1211" y="2151"/>
                  </a:lnTo>
                  <a:lnTo>
                    <a:pt x="1234" y="2121"/>
                  </a:lnTo>
                  <a:lnTo>
                    <a:pt x="1255" y="2090"/>
                  </a:lnTo>
                  <a:lnTo>
                    <a:pt x="1275" y="2059"/>
                  </a:lnTo>
                  <a:lnTo>
                    <a:pt x="1296" y="2027"/>
                  </a:lnTo>
                  <a:lnTo>
                    <a:pt x="1316" y="1996"/>
                  </a:lnTo>
                  <a:lnTo>
                    <a:pt x="1334" y="1963"/>
                  </a:lnTo>
                  <a:lnTo>
                    <a:pt x="1352" y="1931"/>
                  </a:lnTo>
                  <a:lnTo>
                    <a:pt x="1369" y="1898"/>
                  </a:lnTo>
                  <a:lnTo>
                    <a:pt x="1386" y="1864"/>
                  </a:lnTo>
                  <a:lnTo>
                    <a:pt x="1402" y="1830"/>
                  </a:lnTo>
                  <a:lnTo>
                    <a:pt x="1417" y="1797"/>
                  </a:lnTo>
                  <a:lnTo>
                    <a:pt x="1431" y="1762"/>
                  </a:lnTo>
                  <a:lnTo>
                    <a:pt x="1445" y="1727"/>
                  </a:lnTo>
                  <a:lnTo>
                    <a:pt x="1458" y="1692"/>
                  </a:lnTo>
                  <a:lnTo>
                    <a:pt x="1471" y="1656"/>
                  </a:lnTo>
                  <a:lnTo>
                    <a:pt x="1482" y="1620"/>
                  </a:lnTo>
                  <a:lnTo>
                    <a:pt x="1493" y="1584"/>
                  </a:lnTo>
                  <a:lnTo>
                    <a:pt x="1515" y="1511"/>
                  </a:lnTo>
                  <a:lnTo>
                    <a:pt x="1533" y="1438"/>
                  </a:lnTo>
                  <a:lnTo>
                    <a:pt x="1549" y="1362"/>
                  </a:lnTo>
                  <a:lnTo>
                    <a:pt x="1563" y="1287"/>
                  </a:lnTo>
                  <a:lnTo>
                    <a:pt x="1575" y="1211"/>
                  </a:lnTo>
                  <a:lnTo>
                    <a:pt x="1585" y="1134"/>
                  </a:lnTo>
                  <a:lnTo>
                    <a:pt x="1593" y="1058"/>
                  </a:lnTo>
                  <a:lnTo>
                    <a:pt x="1600" y="980"/>
                  </a:lnTo>
                  <a:lnTo>
                    <a:pt x="1604" y="902"/>
                  </a:lnTo>
                  <a:lnTo>
                    <a:pt x="1607" y="825"/>
                  </a:lnTo>
                  <a:lnTo>
                    <a:pt x="1610" y="747"/>
                  </a:lnTo>
                  <a:lnTo>
                    <a:pt x="1610" y="671"/>
                  </a:lnTo>
                  <a:lnTo>
                    <a:pt x="1609" y="593"/>
                  </a:lnTo>
                  <a:lnTo>
                    <a:pt x="1607" y="516"/>
                  </a:lnTo>
                  <a:lnTo>
                    <a:pt x="1604" y="440"/>
                  </a:lnTo>
                  <a:lnTo>
                    <a:pt x="1600" y="365"/>
                  </a:lnTo>
                  <a:lnTo>
                    <a:pt x="1595" y="290"/>
                  </a:lnTo>
                  <a:lnTo>
                    <a:pt x="1589" y="216"/>
                  </a:lnTo>
                  <a:lnTo>
                    <a:pt x="1584" y="143"/>
                  </a:lnTo>
                  <a:lnTo>
                    <a:pt x="1569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799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0" name="Freeform 8"/>
            <p:cNvSpPr>
              <a:spLocks/>
            </p:cNvSpPr>
            <p:nvPr userDrawn="1"/>
          </p:nvSpPr>
          <p:spPr bwMode="auto">
            <a:xfrm flipH="1">
              <a:off x="1453360" y="0"/>
              <a:ext cx="7690638" cy="5143500"/>
            </a:xfrm>
            <a:custGeom>
              <a:avLst/>
              <a:gdLst>
                <a:gd name="T0" fmla="*/ 3309 w 4863"/>
                <a:gd name="T1" fmla="*/ 0 h 3240"/>
                <a:gd name="T2" fmla="*/ 0 w 4863"/>
                <a:gd name="T3" fmla="*/ 0 h 3240"/>
                <a:gd name="T4" fmla="*/ 0 w 4863"/>
                <a:gd name="T5" fmla="*/ 3240 h 3240"/>
                <a:gd name="T6" fmla="*/ 4276 w 4863"/>
                <a:gd name="T7" fmla="*/ 3240 h 3240"/>
                <a:gd name="T8" fmla="*/ 4276 w 4863"/>
                <a:gd name="T9" fmla="*/ 3240 h 3240"/>
                <a:gd name="T10" fmla="*/ 4327 w 4863"/>
                <a:gd name="T11" fmla="*/ 3176 h 3240"/>
                <a:gd name="T12" fmla="*/ 4374 w 4863"/>
                <a:gd name="T13" fmla="*/ 3116 h 3240"/>
                <a:gd name="T14" fmla="*/ 4417 w 4863"/>
                <a:gd name="T15" fmla="*/ 3060 h 3240"/>
                <a:gd name="T16" fmla="*/ 4455 w 4863"/>
                <a:gd name="T17" fmla="*/ 3006 h 3240"/>
                <a:gd name="T18" fmla="*/ 4490 w 4863"/>
                <a:gd name="T19" fmla="*/ 2953 h 3240"/>
                <a:gd name="T20" fmla="*/ 4524 w 4863"/>
                <a:gd name="T21" fmla="*/ 2903 h 3240"/>
                <a:gd name="T22" fmla="*/ 4554 w 4863"/>
                <a:gd name="T23" fmla="*/ 2851 h 3240"/>
                <a:gd name="T24" fmla="*/ 4585 w 4863"/>
                <a:gd name="T25" fmla="*/ 2799 h 3240"/>
                <a:gd name="T26" fmla="*/ 4614 w 4863"/>
                <a:gd name="T27" fmla="*/ 2747 h 3240"/>
                <a:gd name="T28" fmla="*/ 4645 w 4863"/>
                <a:gd name="T29" fmla="*/ 2692 h 3240"/>
                <a:gd name="T30" fmla="*/ 4707 w 4863"/>
                <a:gd name="T31" fmla="*/ 2576 h 3240"/>
                <a:gd name="T32" fmla="*/ 4778 w 4863"/>
                <a:gd name="T33" fmla="*/ 2445 h 3240"/>
                <a:gd name="T34" fmla="*/ 4818 w 4863"/>
                <a:gd name="T35" fmla="*/ 2372 h 3240"/>
                <a:gd name="T36" fmla="*/ 4863 w 4863"/>
                <a:gd name="T37" fmla="*/ 2293 h 3240"/>
                <a:gd name="T38" fmla="*/ 4863 w 4863"/>
                <a:gd name="T39" fmla="*/ 2293 h 3240"/>
                <a:gd name="T40" fmla="*/ 4789 w 4863"/>
                <a:gd name="T41" fmla="*/ 2239 h 3240"/>
                <a:gd name="T42" fmla="*/ 4719 w 4863"/>
                <a:gd name="T43" fmla="*/ 2184 h 3240"/>
                <a:gd name="T44" fmla="*/ 4652 w 4863"/>
                <a:gd name="T45" fmla="*/ 2127 h 3240"/>
                <a:gd name="T46" fmla="*/ 4585 w 4863"/>
                <a:gd name="T47" fmla="*/ 2069 h 3240"/>
                <a:gd name="T48" fmla="*/ 4522 w 4863"/>
                <a:gd name="T49" fmla="*/ 2010 h 3240"/>
                <a:gd name="T50" fmla="*/ 4461 w 4863"/>
                <a:gd name="T51" fmla="*/ 1951 h 3240"/>
                <a:gd name="T52" fmla="*/ 4401 w 4863"/>
                <a:gd name="T53" fmla="*/ 1889 h 3240"/>
                <a:gd name="T54" fmla="*/ 4343 w 4863"/>
                <a:gd name="T55" fmla="*/ 1827 h 3240"/>
                <a:gd name="T56" fmla="*/ 4288 w 4863"/>
                <a:gd name="T57" fmla="*/ 1763 h 3240"/>
                <a:gd name="T58" fmla="*/ 4234 w 4863"/>
                <a:gd name="T59" fmla="*/ 1699 h 3240"/>
                <a:gd name="T60" fmla="*/ 4182 w 4863"/>
                <a:gd name="T61" fmla="*/ 1632 h 3240"/>
                <a:gd name="T62" fmla="*/ 4131 w 4863"/>
                <a:gd name="T63" fmla="*/ 1565 h 3240"/>
                <a:gd name="T64" fmla="*/ 4081 w 4863"/>
                <a:gd name="T65" fmla="*/ 1497 h 3240"/>
                <a:gd name="T66" fmla="*/ 4034 w 4863"/>
                <a:gd name="T67" fmla="*/ 1428 h 3240"/>
                <a:gd name="T68" fmla="*/ 3986 w 4863"/>
                <a:gd name="T69" fmla="*/ 1358 h 3240"/>
                <a:gd name="T70" fmla="*/ 3941 w 4863"/>
                <a:gd name="T71" fmla="*/ 1286 h 3240"/>
                <a:gd name="T72" fmla="*/ 3897 w 4863"/>
                <a:gd name="T73" fmla="*/ 1214 h 3240"/>
                <a:gd name="T74" fmla="*/ 3854 w 4863"/>
                <a:gd name="T75" fmla="*/ 1140 h 3240"/>
                <a:gd name="T76" fmla="*/ 3811 w 4863"/>
                <a:gd name="T77" fmla="*/ 1065 h 3240"/>
                <a:gd name="T78" fmla="*/ 3771 w 4863"/>
                <a:gd name="T79" fmla="*/ 989 h 3240"/>
                <a:gd name="T80" fmla="*/ 3730 w 4863"/>
                <a:gd name="T81" fmla="*/ 912 h 3240"/>
                <a:gd name="T82" fmla="*/ 3689 w 4863"/>
                <a:gd name="T83" fmla="*/ 835 h 3240"/>
                <a:gd name="T84" fmla="*/ 3650 w 4863"/>
                <a:gd name="T85" fmla="*/ 755 h 3240"/>
                <a:gd name="T86" fmla="*/ 3611 w 4863"/>
                <a:gd name="T87" fmla="*/ 675 h 3240"/>
                <a:gd name="T88" fmla="*/ 3573 w 4863"/>
                <a:gd name="T89" fmla="*/ 594 h 3240"/>
                <a:gd name="T90" fmla="*/ 3535 w 4863"/>
                <a:gd name="T91" fmla="*/ 512 h 3240"/>
                <a:gd name="T92" fmla="*/ 3460 w 4863"/>
                <a:gd name="T93" fmla="*/ 345 h 3240"/>
                <a:gd name="T94" fmla="*/ 3385 w 4863"/>
                <a:gd name="T95" fmla="*/ 174 h 3240"/>
                <a:gd name="T96" fmla="*/ 3309 w 4863"/>
                <a:gd name="T97" fmla="*/ 0 h 3240"/>
                <a:gd name="T98" fmla="*/ 3309 w 4863"/>
                <a:gd name="T99" fmla="*/ 0 h 3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863" h="3240">
                  <a:moveTo>
                    <a:pt x="3309" y="0"/>
                  </a:moveTo>
                  <a:lnTo>
                    <a:pt x="0" y="0"/>
                  </a:lnTo>
                  <a:lnTo>
                    <a:pt x="0" y="3240"/>
                  </a:lnTo>
                  <a:lnTo>
                    <a:pt x="4276" y="3240"/>
                  </a:lnTo>
                  <a:lnTo>
                    <a:pt x="4276" y="3240"/>
                  </a:lnTo>
                  <a:lnTo>
                    <a:pt x="4327" y="3176"/>
                  </a:lnTo>
                  <a:lnTo>
                    <a:pt x="4374" y="3116"/>
                  </a:lnTo>
                  <a:lnTo>
                    <a:pt x="4417" y="3060"/>
                  </a:lnTo>
                  <a:lnTo>
                    <a:pt x="4455" y="3006"/>
                  </a:lnTo>
                  <a:lnTo>
                    <a:pt x="4490" y="2953"/>
                  </a:lnTo>
                  <a:lnTo>
                    <a:pt x="4524" y="2903"/>
                  </a:lnTo>
                  <a:lnTo>
                    <a:pt x="4554" y="2851"/>
                  </a:lnTo>
                  <a:lnTo>
                    <a:pt x="4585" y="2799"/>
                  </a:lnTo>
                  <a:lnTo>
                    <a:pt x="4614" y="2747"/>
                  </a:lnTo>
                  <a:lnTo>
                    <a:pt x="4645" y="2692"/>
                  </a:lnTo>
                  <a:lnTo>
                    <a:pt x="4707" y="2576"/>
                  </a:lnTo>
                  <a:lnTo>
                    <a:pt x="4778" y="2445"/>
                  </a:lnTo>
                  <a:lnTo>
                    <a:pt x="4818" y="2372"/>
                  </a:lnTo>
                  <a:lnTo>
                    <a:pt x="4863" y="2293"/>
                  </a:lnTo>
                  <a:lnTo>
                    <a:pt x="4863" y="2293"/>
                  </a:lnTo>
                  <a:lnTo>
                    <a:pt x="4789" y="2239"/>
                  </a:lnTo>
                  <a:lnTo>
                    <a:pt x="4719" y="2184"/>
                  </a:lnTo>
                  <a:lnTo>
                    <a:pt x="4652" y="2127"/>
                  </a:lnTo>
                  <a:lnTo>
                    <a:pt x="4585" y="2069"/>
                  </a:lnTo>
                  <a:lnTo>
                    <a:pt x="4522" y="2010"/>
                  </a:lnTo>
                  <a:lnTo>
                    <a:pt x="4461" y="1951"/>
                  </a:lnTo>
                  <a:lnTo>
                    <a:pt x="4401" y="1889"/>
                  </a:lnTo>
                  <a:lnTo>
                    <a:pt x="4343" y="1827"/>
                  </a:lnTo>
                  <a:lnTo>
                    <a:pt x="4288" y="1763"/>
                  </a:lnTo>
                  <a:lnTo>
                    <a:pt x="4234" y="1699"/>
                  </a:lnTo>
                  <a:lnTo>
                    <a:pt x="4182" y="1632"/>
                  </a:lnTo>
                  <a:lnTo>
                    <a:pt x="4131" y="1565"/>
                  </a:lnTo>
                  <a:lnTo>
                    <a:pt x="4081" y="1497"/>
                  </a:lnTo>
                  <a:lnTo>
                    <a:pt x="4034" y="1428"/>
                  </a:lnTo>
                  <a:lnTo>
                    <a:pt x="3986" y="1358"/>
                  </a:lnTo>
                  <a:lnTo>
                    <a:pt x="3941" y="1286"/>
                  </a:lnTo>
                  <a:lnTo>
                    <a:pt x="3897" y="1214"/>
                  </a:lnTo>
                  <a:lnTo>
                    <a:pt x="3854" y="1140"/>
                  </a:lnTo>
                  <a:lnTo>
                    <a:pt x="3811" y="1065"/>
                  </a:lnTo>
                  <a:lnTo>
                    <a:pt x="3771" y="989"/>
                  </a:lnTo>
                  <a:lnTo>
                    <a:pt x="3730" y="912"/>
                  </a:lnTo>
                  <a:lnTo>
                    <a:pt x="3689" y="835"/>
                  </a:lnTo>
                  <a:lnTo>
                    <a:pt x="3650" y="755"/>
                  </a:lnTo>
                  <a:lnTo>
                    <a:pt x="3611" y="675"/>
                  </a:lnTo>
                  <a:lnTo>
                    <a:pt x="3573" y="594"/>
                  </a:lnTo>
                  <a:lnTo>
                    <a:pt x="3535" y="512"/>
                  </a:lnTo>
                  <a:lnTo>
                    <a:pt x="3460" y="345"/>
                  </a:lnTo>
                  <a:lnTo>
                    <a:pt x="3385" y="174"/>
                  </a:lnTo>
                  <a:lnTo>
                    <a:pt x="3309" y="0"/>
                  </a:lnTo>
                  <a:lnTo>
                    <a:pt x="3309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1" name="Freeform 9"/>
            <p:cNvSpPr>
              <a:spLocks/>
            </p:cNvSpPr>
            <p:nvPr userDrawn="1"/>
          </p:nvSpPr>
          <p:spPr bwMode="auto">
            <a:xfrm flipH="1">
              <a:off x="-1" y="0"/>
              <a:ext cx="1453361" cy="3640138"/>
            </a:xfrm>
            <a:custGeom>
              <a:avLst/>
              <a:gdLst>
                <a:gd name="T0" fmla="*/ 919 w 919"/>
                <a:gd name="T1" fmla="*/ 1753 h 2293"/>
                <a:gd name="T2" fmla="*/ 919 w 919"/>
                <a:gd name="T3" fmla="*/ 0 h 2293"/>
                <a:gd name="T4" fmla="*/ 241 w 919"/>
                <a:gd name="T5" fmla="*/ 0 h 2293"/>
                <a:gd name="T6" fmla="*/ 241 w 919"/>
                <a:gd name="T7" fmla="*/ 0 h 2293"/>
                <a:gd name="T8" fmla="*/ 248 w 919"/>
                <a:gd name="T9" fmla="*/ 70 h 2293"/>
                <a:gd name="T10" fmla="*/ 255 w 919"/>
                <a:gd name="T11" fmla="*/ 141 h 2293"/>
                <a:gd name="T12" fmla="*/ 261 w 919"/>
                <a:gd name="T13" fmla="*/ 212 h 2293"/>
                <a:gd name="T14" fmla="*/ 264 w 919"/>
                <a:gd name="T15" fmla="*/ 282 h 2293"/>
                <a:gd name="T16" fmla="*/ 267 w 919"/>
                <a:gd name="T17" fmla="*/ 353 h 2293"/>
                <a:gd name="T18" fmla="*/ 271 w 919"/>
                <a:gd name="T19" fmla="*/ 424 h 2293"/>
                <a:gd name="T20" fmla="*/ 272 w 919"/>
                <a:gd name="T21" fmla="*/ 496 h 2293"/>
                <a:gd name="T22" fmla="*/ 273 w 919"/>
                <a:gd name="T23" fmla="*/ 567 h 2293"/>
                <a:gd name="T24" fmla="*/ 272 w 919"/>
                <a:gd name="T25" fmla="*/ 639 h 2293"/>
                <a:gd name="T26" fmla="*/ 271 w 919"/>
                <a:gd name="T27" fmla="*/ 710 h 2293"/>
                <a:gd name="T28" fmla="*/ 270 w 919"/>
                <a:gd name="T29" fmla="*/ 782 h 2293"/>
                <a:gd name="T30" fmla="*/ 266 w 919"/>
                <a:gd name="T31" fmla="*/ 854 h 2293"/>
                <a:gd name="T32" fmla="*/ 262 w 919"/>
                <a:gd name="T33" fmla="*/ 925 h 2293"/>
                <a:gd name="T34" fmla="*/ 257 w 919"/>
                <a:gd name="T35" fmla="*/ 997 h 2293"/>
                <a:gd name="T36" fmla="*/ 252 w 919"/>
                <a:gd name="T37" fmla="*/ 1069 h 2293"/>
                <a:gd name="T38" fmla="*/ 244 w 919"/>
                <a:gd name="T39" fmla="*/ 1141 h 2293"/>
                <a:gd name="T40" fmla="*/ 236 w 919"/>
                <a:gd name="T41" fmla="*/ 1213 h 2293"/>
                <a:gd name="T42" fmla="*/ 228 w 919"/>
                <a:gd name="T43" fmla="*/ 1285 h 2293"/>
                <a:gd name="T44" fmla="*/ 218 w 919"/>
                <a:gd name="T45" fmla="*/ 1357 h 2293"/>
                <a:gd name="T46" fmla="*/ 206 w 919"/>
                <a:gd name="T47" fmla="*/ 1429 h 2293"/>
                <a:gd name="T48" fmla="*/ 195 w 919"/>
                <a:gd name="T49" fmla="*/ 1502 h 2293"/>
                <a:gd name="T50" fmla="*/ 183 w 919"/>
                <a:gd name="T51" fmla="*/ 1574 h 2293"/>
                <a:gd name="T52" fmla="*/ 168 w 919"/>
                <a:gd name="T53" fmla="*/ 1646 h 2293"/>
                <a:gd name="T54" fmla="*/ 153 w 919"/>
                <a:gd name="T55" fmla="*/ 1718 h 2293"/>
                <a:gd name="T56" fmla="*/ 138 w 919"/>
                <a:gd name="T57" fmla="*/ 1790 h 2293"/>
                <a:gd name="T58" fmla="*/ 122 w 919"/>
                <a:gd name="T59" fmla="*/ 1862 h 2293"/>
                <a:gd name="T60" fmla="*/ 104 w 919"/>
                <a:gd name="T61" fmla="*/ 1934 h 2293"/>
                <a:gd name="T62" fmla="*/ 84 w 919"/>
                <a:gd name="T63" fmla="*/ 2006 h 2293"/>
                <a:gd name="T64" fmla="*/ 65 w 919"/>
                <a:gd name="T65" fmla="*/ 2078 h 2293"/>
                <a:gd name="T66" fmla="*/ 44 w 919"/>
                <a:gd name="T67" fmla="*/ 2150 h 2293"/>
                <a:gd name="T68" fmla="*/ 22 w 919"/>
                <a:gd name="T69" fmla="*/ 2221 h 2293"/>
                <a:gd name="T70" fmla="*/ 0 w 919"/>
                <a:gd name="T71" fmla="*/ 2293 h 2293"/>
                <a:gd name="T72" fmla="*/ 0 w 919"/>
                <a:gd name="T73" fmla="*/ 2293 h 2293"/>
                <a:gd name="T74" fmla="*/ 53 w 919"/>
                <a:gd name="T75" fmla="*/ 2255 h 2293"/>
                <a:gd name="T76" fmla="*/ 108 w 919"/>
                <a:gd name="T77" fmla="*/ 2216 h 2293"/>
                <a:gd name="T78" fmla="*/ 162 w 919"/>
                <a:gd name="T79" fmla="*/ 2179 h 2293"/>
                <a:gd name="T80" fmla="*/ 219 w 919"/>
                <a:gd name="T81" fmla="*/ 2142 h 2293"/>
                <a:gd name="T82" fmla="*/ 274 w 919"/>
                <a:gd name="T83" fmla="*/ 2106 h 2293"/>
                <a:gd name="T84" fmla="*/ 331 w 919"/>
                <a:gd name="T85" fmla="*/ 2071 h 2293"/>
                <a:gd name="T86" fmla="*/ 387 w 919"/>
                <a:gd name="T87" fmla="*/ 2036 h 2293"/>
                <a:gd name="T88" fmla="*/ 445 w 919"/>
                <a:gd name="T89" fmla="*/ 2001 h 2293"/>
                <a:gd name="T90" fmla="*/ 502 w 919"/>
                <a:gd name="T91" fmla="*/ 1969 h 2293"/>
                <a:gd name="T92" fmla="*/ 561 w 919"/>
                <a:gd name="T93" fmla="*/ 1935 h 2293"/>
                <a:gd name="T94" fmla="*/ 620 w 919"/>
                <a:gd name="T95" fmla="*/ 1904 h 2293"/>
                <a:gd name="T96" fmla="*/ 678 w 919"/>
                <a:gd name="T97" fmla="*/ 1872 h 2293"/>
                <a:gd name="T98" fmla="*/ 738 w 919"/>
                <a:gd name="T99" fmla="*/ 1842 h 2293"/>
                <a:gd name="T100" fmla="*/ 798 w 919"/>
                <a:gd name="T101" fmla="*/ 1811 h 2293"/>
                <a:gd name="T102" fmla="*/ 858 w 919"/>
                <a:gd name="T103" fmla="*/ 1782 h 2293"/>
                <a:gd name="T104" fmla="*/ 919 w 919"/>
                <a:gd name="T105" fmla="*/ 1753 h 2293"/>
                <a:gd name="T106" fmla="*/ 919 w 919"/>
                <a:gd name="T107" fmla="*/ 1753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9" h="2293">
                  <a:moveTo>
                    <a:pt x="919" y="1753"/>
                  </a:moveTo>
                  <a:lnTo>
                    <a:pt x="919" y="0"/>
                  </a:lnTo>
                  <a:lnTo>
                    <a:pt x="241" y="0"/>
                  </a:lnTo>
                  <a:lnTo>
                    <a:pt x="241" y="0"/>
                  </a:lnTo>
                  <a:lnTo>
                    <a:pt x="248" y="70"/>
                  </a:lnTo>
                  <a:lnTo>
                    <a:pt x="255" y="141"/>
                  </a:lnTo>
                  <a:lnTo>
                    <a:pt x="261" y="212"/>
                  </a:lnTo>
                  <a:lnTo>
                    <a:pt x="264" y="282"/>
                  </a:lnTo>
                  <a:lnTo>
                    <a:pt x="267" y="353"/>
                  </a:lnTo>
                  <a:lnTo>
                    <a:pt x="271" y="424"/>
                  </a:lnTo>
                  <a:lnTo>
                    <a:pt x="272" y="496"/>
                  </a:lnTo>
                  <a:lnTo>
                    <a:pt x="273" y="567"/>
                  </a:lnTo>
                  <a:lnTo>
                    <a:pt x="272" y="639"/>
                  </a:lnTo>
                  <a:lnTo>
                    <a:pt x="271" y="710"/>
                  </a:lnTo>
                  <a:lnTo>
                    <a:pt x="270" y="782"/>
                  </a:lnTo>
                  <a:lnTo>
                    <a:pt x="266" y="854"/>
                  </a:lnTo>
                  <a:lnTo>
                    <a:pt x="262" y="925"/>
                  </a:lnTo>
                  <a:lnTo>
                    <a:pt x="257" y="997"/>
                  </a:lnTo>
                  <a:lnTo>
                    <a:pt x="252" y="1069"/>
                  </a:lnTo>
                  <a:lnTo>
                    <a:pt x="244" y="1141"/>
                  </a:lnTo>
                  <a:lnTo>
                    <a:pt x="236" y="1213"/>
                  </a:lnTo>
                  <a:lnTo>
                    <a:pt x="228" y="1285"/>
                  </a:lnTo>
                  <a:lnTo>
                    <a:pt x="218" y="1357"/>
                  </a:lnTo>
                  <a:lnTo>
                    <a:pt x="206" y="1429"/>
                  </a:lnTo>
                  <a:lnTo>
                    <a:pt x="195" y="1502"/>
                  </a:lnTo>
                  <a:lnTo>
                    <a:pt x="183" y="1574"/>
                  </a:lnTo>
                  <a:lnTo>
                    <a:pt x="168" y="1646"/>
                  </a:lnTo>
                  <a:lnTo>
                    <a:pt x="153" y="1718"/>
                  </a:lnTo>
                  <a:lnTo>
                    <a:pt x="138" y="1790"/>
                  </a:lnTo>
                  <a:lnTo>
                    <a:pt x="122" y="1862"/>
                  </a:lnTo>
                  <a:lnTo>
                    <a:pt x="104" y="1934"/>
                  </a:lnTo>
                  <a:lnTo>
                    <a:pt x="84" y="2006"/>
                  </a:lnTo>
                  <a:lnTo>
                    <a:pt x="65" y="2078"/>
                  </a:lnTo>
                  <a:lnTo>
                    <a:pt x="44" y="2150"/>
                  </a:lnTo>
                  <a:lnTo>
                    <a:pt x="22" y="2221"/>
                  </a:lnTo>
                  <a:lnTo>
                    <a:pt x="0" y="2293"/>
                  </a:lnTo>
                  <a:lnTo>
                    <a:pt x="0" y="2293"/>
                  </a:lnTo>
                  <a:lnTo>
                    <a:pt x="53" y="2255"/>
                  </a:lnTo>
                  <a:lnTo>
                    <a:pt x="108" y="2216"/>
                  </a:lnTo>
                  <a:lnTo>
                    <a:pt x="162" y="2179"/>
                  </a:lnTo>
                  <a:lnTo>
                    <a:pt x="219" y="2142"/>
                  </a:lnTo>
                  <a:lnTo>
                    <a:pt x="274" y="2106"/>
                  </a:lnTo>
                  <a:lnTo>
                    <a:pt x="331" y="2071"/>
                  </a:lnTo>
                  <a:lnTo>
                    <a:pt x="387" y="2036"/>
                  </a:lnTo>
                  <a:lnTo>
                    <a:pt x="445" y="2001"/>
                  </a:lnTo>
                  <a:lnTo>
                    <a:pt x="502" y="1969"/>
                  </a:lnTo>
                  <a:lnTo>
                    <a:pt x="561" y="1935"/>
                  </a:lnTo>
                  <a:lnTo>
                    <a:pt x="620" y="1904"/>
                  </a:lnTo>
                  <a:lnTo>
                    <a:pt x="678" y="1872"/>
                  </a:lnTo>
                  <a:lnTo>
                    <a:pt x="738" y="1842"/>
                  </a:lnTo>
                  <a:lnTo>
                    <a:pt x="798" y="1811"/>
                  </a:lnTo>
                  <a:lnTo>
                    <a:pt x="858" y="1782"/>
                  </a:lnTo>
                  <a:lnTo>
                    <a:pt x="919" y="1753"/>
                  </a:lnTo>
                  <a:lnTo>
                    <a:pt x="919" y="1753"/>
                  </a:lnTo>
                  <a:close/>
                </a:path>
              </a:pathLst>
            </a:custGeom>
            <a:solidFill>
              <a:srgbClr val="BCC8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2" name="Freeform 10"/>
            <p:cNvSpPr>
              <a:spLocks/>
            </p:cNvSpPr>
            <p:nvPr userDrawn="1"/>
          </p:nvSpPr>
          <p:spPr bwMode="auto">
            <a:xfrm flipH="1">
              <a:off x="-1" y="3640138"/>
              <a:ext cx="1453361" cy="857250"/>
            </a:xfrm>
            <a:custGeom>
              <a:avLst/>
              <a:gdLst>
                <a:gd name="T0" fmla="*/ 919 w 919"/>
                <a:gd name="T1" fmla="*/ 378 h 540"/>
                <a:gd name="T2" fmla="*/ 919 w 919"/>
                <a:gd name="T3" fmla="*/ 378 h 540"/>
                <a:gd name="T4" fmla="*/ 858 w 919"/>
                <a:gd name="T5" fmla="*/ 368 h 540"/>
                <a:gd name="T6" fmla="*/ 798 w 919"/>
                <a:gd name="T7" fmla="*/ 356 h 540"/>
                <a:gd name="T8" fmla="*/ 738 w 919"/>
                <a:gd name="T9" fmla="*/ 342 h 540"/>
                <a:gd name="T10" fmla="*/ 678 w 919"/>
                <a:gd name="T11" fmla="*/ 327 h 540"/>
                <a:gd name="T12" fmla="*/ 620 w 919"/>
                <a:gd name="T13" fmla="*/ 309 h 540"/>
                <a:gd name="T14" fmla="*/ 561 w 919"/>
                <a:gd name="T15" fmla="*/ 290 h 540"/>
                <a:gd name="T16" fmla="*/ 502 w 919"/>
                <a:gd name="T17" fmla="*/ 270 h 540"/>
                <a:gd name="T18" fmla="*/ 444 w 919"/>
                <a:gd name="T19" fmla="*/ 247 h 540"/>
                <a:gd name="T20" fmla="*/ 386 w 919"/>
                <a:gd name="T21" fmla="*/ 223 h 540"/>
                <a:gd name="T22" fmla="*/ 330 w 919"/>
                <a:gd name="T23" fmla="*/ 196 h 540"/>
                <a:gd name="T24" fmla="*/ 273 w 919"/>
                <a:gd name="T25" fmla="*/ 167 h 540"/>
                <a:gd name="T26" fmla="*/ 217 w 919"/>
                <a:gd name="T27" fmla="*/ 138 h 540"/>
                <a:gd name="T28" fmla="*/ 161 w 919"/>
                <a:gd name="T29" fmla="*/ 107 h 540"/>
                <a:gd name="T30" fmla="*/ 107 w 919"/>
                <a:gd name="T31" fmla="*/ 73 h 540"/>
                <a:gd name="T32" fmla="*/ 53 w 919"/>
                <a:gd name="T33" fmla="*/ 37 h 540"/>
                <a:gd name="T34" fmla="*/ 0 w 919"/>
                <a:gd name="T35" fmla="*/ 0 h 540"/>
                <a:gd name="T36" fmla="*/ 0 w 919"/>
                <a:gd name="T37" fmla="*/ 0 h 540"/>
                <a:gd name="T38" fmla="*/ 55 w 919"/>
                <a:gd name="T39" fmla="*/ 39 h 540"/>
                <a:gd name="T40" fmla="*/ 110 w 919"/>
                <a:gd name="T41" fmla="*/ 79 h 540"/>
                <a:gd name="T42" fmla="*/ 166 w 919"/>
                <a:gd name="T43" fmla="*/ 116 h 540"/>
                <a:gd name="T44" fmla="*/ 222 w 919"/>
                <a:gd name="T45" fmla="*/ 153 h 540"/>
                <a:gd name="T46" fmla="*/ 279 w 919"/>
                <a:gd name="T47" fmla="*/ 190 h 540"/>
                <a:gd name="T48" fmla="*/ 335 w 919"/>
                <a:gd name="T49" fmla="*/ 225 h 540"/>
                <a:gd name="T50" fmla="*/ 393 w 919"/>
                <a:gd name="T51" fmla="*/ 260 h 540"/>
                <a:gd name="T52" fmla="*/ 450 w 919"/>
                <a:gd name="T53" fmla="*/ 295 h 540"/>
                <a:gd name="T54" fmla="*/ 508 w 919"/>
                <a:gd name="T55" fmla="*/ 327 h 540"/>
                <a:gd name="T56" fmla="*/ 566 w 919"/>
                <a:gd name="T57" fmla="*/ 360 h 540"/>
                <a:gd name="T58" fmla="*/ 624 w 919"/>
                <a:gd name="T59" fmla="*/ 392 h 540"/>
                <a:gd name="T60" fmla="*/ 682 w 919"/>
                <a:gd name="T61" fmla="*/ 423 h 540"/>
                <a:gd name="T62" fmla="*/ 741 w 919"/>
                <a:gd name="T63" fmla="*/ 453 h 540"/>
                <a:gd name="T64" fmla="*/ 800 w 919"/>
                <a:gd name="T65" fmla="*/ 482 h 540"/>
                <a:gd name="T66" fmla="*/ 859 w 919"/>
                <a:gd name="T67" fmla="*/ 512 h 540"/>
                <a:gd name="T68" fmla="*/ 919 w 919"/>
                <a:gd name="T69" fmla="*/ 540 h 540"/>
                <a:gd name="T70" fmla="*/ 919 w 919"/>
                <a:gd name="T71" fmla="*/ 378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19" h="540">
                  <a:moveTo>
                    <a:pt x="919" y="378"/>
                  </a:moveTo>
                  <a:lnTo>
                    <a:pt x="919" y="378"/>
                  </a:lnTo>
                  <a:lnTo>
                    <a:pt x="858" y="368"/>
                  </a:lnTo>
                  <a:lnTo>
                    <a:pt x="798" y="356"/>
                  </a:lnTo>
                  <a:lnTo>
                    <a:pt x="738" y="342"/>
                  </a:lnTo>
                  <a:lnTo>
                    <a:pt x="678" y="327"/>
                  </a:lnTo>
                  <a:lnTo>
                    <a:pt x="620" y="309"/>
                  </a:lnTo>
                  <a:lnTo>
                    <a:pt x="561" y="290"/>
                  </a:lnTo>
                  <a:lnTo>
                    <a:pt x="502" y="270"/>
                  </a:lnTo>
                  <a:lnTo>
                    <a:pt x="444" y="247"/>
                  </a:lnTo>
                  <a:lnTo>
                    <a:pt x="386" y="223"/>
                  </a:lnTo>
                  <a:lnTo>
                    <a:pt x="330" y="196"/>
                  </a:lnTo>
                  <a:lnTo>
                    <a:pt x="273" y="167"/>
                  </a:lnTo>
                  <a:lnTo>
                    <a:pt x="217" y="138"/>
                  </a:lnTo>
                  <a:lnTo>
                    <a:pt x="161" y="107"/>
                  </a:lnTo>
                  <a:lnTo>
                    <a:pt x="107" y="73"/>
                  </a:lnTo>
                  <a:lnTo>
                    <a:pt x="53" y="37"/>
                  </a:lnTo>
                  <a:lnTo>
                    <a:pt x="0" y="0"/>
                  </a:lnTo>
                  <a:lnTo>
                    <a:pt x="0" y="0"/>
                  </a:lnTo>
                  <a:lnTo>
                    <a:pt x="55" y="39"/>
                  </a:lnTo>
                  <a:lnTo>
                    <a:pt x="110" y="79"/>
                  </a:lnTo>
                  <a:lnTo>
                    <a:pt x="166" y="116"/>
                  </a:lnTo>
                  <a:lnTo>
                    <a:pt x="222" y="153"/>
                  </a:lnTo>
                  <a:lnTo>
                    <a:pt x="279" y="190"/>
                  </a:lnTo>
                  <a:lnTo>
                    <a:pt x="335" y="225"/>
                  </a:lnTo>
                  <a:lnTo>
                    <a:pt x="393" y="260"/>
                  </a:lnTo>
                  <a:lnTo>
                    <a:pt x="450" y="295"/>
                  </a:lnTo>
                  <a:lnTo>
                    <a:pt x="508" y="327"/>
                  </a:lnTo>
                  <a:lnTo>
                    <a:pt x="566" y="360"/>
                  </a:lnTo>
                  <a:lnTo>
                    <a:pt x="624" y="392"/>
                  </a:lnTo>
                  <a:lnTo>
                    <a:pt x="682" y="423"/>
                  </a:lnTo>
                  <a:lnTo>
                    <a:pt x="741" y="453"/>
                  </a:lnTo>
                  <a:lnTo>
                    <a:pt x="800" y="482"/>
                  </a:lnTo>
                  <a:lnTo>
                    <a:pt x="859" y="512"/>
                  </a:lnTo>
                  <a:lnTo>
                    <a:pt x="919" y="540"/>
                  </a:lnTo>
                  <a:lnTo>
                    <a:pt x="919" y="378"/>
                  </a:lnTo>
                  <a:close/>
                </a:path>
              </a:pathLst>
            </a:custGeom>
            <a:solidFill>
              <a:srgbClr val="587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3" name="Freeform 11"/>
            <p:cNvSpPr>
              <a:spLocks/>
            </p:cNvSpPr>
            <p:nvPr userDrawn="1"/>
          </p:nvSpPr>
          <p:spPr bwMode="auto">
            <a:xfrm flipH="1">
              <a:off x="1453360" y="0"/>
              <a:ext cx="2913048" cy="3640138"/>
            </a:xfrm>
            <a:custGeom>
              <a:avLst/>
              <a:gdLst>
                <a:gd name="T0" fmla="*/ 1069 w 1842"/>
                <a:gd name="T1" fmla="*/ 1236 h 2293"/>
                <a:gd name="T2" fmla="*/ 1047 w 1842"/>
                <a:gd name="T3" fmla="*/ 1163 h 2293"/>
                <a:gd name="T4" fmla="*/ 1028 w 1842"/>
                <a:gd name="T5" fmla="*/ 1089 h 2293"/>
                <a:gd name="T6" fmla="*/ 1009 w 1842"/>
                <a:gd name="T7" fmla="*/ 1014 h 2293"/>
                <a:gd name="T8" fmla="*/ 996 w 1842"/>
                <a:gd name="T9" fmla="*/ 938 h 2293"/>
                <a:gd name="T10" fmla="*/ 983 w 1842"/>
                <a:gd name="T11" fmla="*/ 862 h 2293"/>
                <a:gd name="T12" fmla="*/ 974 w 1842"/>
                <a:gd name="T13" fmla="*/ 785 h 2293"/>
                <a:gd name="T14" fmla="*/ 969 w 1842"/>
                <a:gd name="T15" fmla="*/ 708 h 2293"/>
                <a:gd name="T16" fmla="*/ 965 w 1842"/>
                <a:gd name="T17" fmla="*/ 630 h 2293"/>
                <a:gd name="T18" fmla="*/ 965 w 1842"/>
                <a:gd name="T19" fmla="*/ 551 h 2293"/>
                <a:gd name="T20" fmla="*/ 968 w 1842"/>
                <a:gd name="T21" fmla="*/ 473 h 2293"/>
                <a:gd name="T22" fmla="*/ 973 w 1842"/>
                <a:gd name="T23" fmla="*/ 394 h 2293"/>
                <a:gd name="T24" fmla="*/ 982 w 1842"/>
                <a:gd name="T25" fmla="*/ 315 h 2293"/>
                <a:gd name="T26" fmla="*/ 995 w 1842"/>
                <a:gd name="T27" fmla="*/ 236 h 2293"/>
                <a:gd name="T28" fmla="*/ 1009 w 1842"/>
                <a:gd name="T29" fmla="*/ 158 h 2293"/>
                <a:gd name="T30" fmla="*/ 1028 w 1842"/>
                <a:gd name="T31" fmla="*/ 79 h 2293"/>
                <a:gd name="T32" fmla="*/ 1048 w 1842"/>
                <a:gd name="T33" fmla="*/ 0 h 2293"/>
                <a:gd name="T34" fmla="*/ 0 w 1842"/>
                <a:gd name="T35" fmla="*/ 0 h 2293"/>
                <a:gd name="T36" fmla="*/ 79 w 1842"/>
                <a:gd name="T37" fmla="*/ 174 h 2293"/>
                <a:gd name="T38" fmla="*/ 162 w 1842"/>
                <a:gd name="T39" fmla="*/ 345 h 2293"/>
                <a:gd name="T40" fmla="*/ 253 w 1842"/>
                <a:gd name="T41" fmla="*/ 512 h 2293"/>
                <a:gd name="T42" fmla="*/ 348 w 1842"/>
                <a:gd name="T43" fmla="*/ 675 h 2293"/>
                <a:gd name="T44" fmla="*/ 447 w 1842"/>
                <a:gd name="T45" fmla="*/ 835 h 2293"/>
                <a:gd name="T46" fmla="*/ 552 w 1842"/>
                <a:gd name="T47" fmla="*/ 989 h 2293"/>
                <a:gd name="T48" fmla="*/ 662 w 1842"/>
                <a:gd name="T49" fmla="*/ 1140 h 2293"/>
                <a:gd name="T50" fmla="*/ 777 w 1842"/>
                <a:gd name="T51" fmla="*/ 1286 h 2293"/>
                <a:gd name="T52" fmla="*/ 895 w 1842"/>
                <a:gd name="T53" fmla="*/ 1428 h 2293"/>
                <a:gd name="T54" fmla="*/ 1018 w 1842"/>
                <a:gd name="T55" fmla="*/ 1565 h 2293"/>
                <a:gd name="T56" fmla="*/ 1146 w 1842"/>
                <a:gd name="T57" fmla="*/ 1699 h 2293"/>
                <a:gd name="T58" fmla="*/ 1277 w 1842"/>
                <a:gd name="T59" fmla="*/ 1827 h 2293"/>
                <a:gd name="T60" fmla="*/ 1413 w 1842"/>
                <a:gd name="T61" fmla="*/ 1951 h 2293"/>
                <a:gd name="T62" fmla="*/ 1552 w 1842"/>
                <a:gd name="T63" fmla="*/ 2069 h 2293"/>
                <a:gd name="T64" fmla="*/ 1695 w 1842"/>
                <a:gd name="T65" fmla="*/ 2184 h 2293"/>
                <a:gd name="T66" fmla="*/ 1842 w 1842"/>
                <a:gd name="T67" fmla="*/ 2293 h 2293"/>
                <a:gd name="T68" fmla="*/ 1809 w 1842"/>
                <a:gd name="T69" fmla="*/ 2269 h 2293"/>
                <a:gd name="T70" fmla="*/ 1745 w 1842"/>
                <a:gd name="T71" fmla="*/ 2219 h 2293"/>
                <a:gd name="T72" fmla="*/ 1683 w 1842"/>
                <a:gd name="T73" fmla="*/ 2167 h 2293"/>
                <a:gd name="T74" fmla="*/ 1623 w 1842"/>
                <a:gd name="T75" fmla="*/ 2112 h 2293"/>
                <a:gd name="T76" fmla="*/ 1564 w 1842"/>
                <a:gd name="T77" fmla="*/ 2054 h 2293"/>
                <a:gd name="T78" fmla="*/ 1509 w 1842"/>
                <a:gd name="T79" fmla="*/ 1995 h 2293"/>
                <a:gd name="T80" fmla="*/ 1454 w 1842"/>
                <a:gd name="T81" fmla="*/ 1933 h 2293"/>
                <a:gd name="T82" fmla="*/ 1402 w 1842"/>
                <a:gd name="T83" fmla="*/ 1869 h 2293"/>
                <a:gd name="T84" fmla="*/ 1354 w 1842"/>
                <a:gd name="T85" fmla="*/ 1801 h 2293"/>
                <a:gd name="T86" fmla="*/ 1306 w 1842"/>
                <a:gd name="T87" fmla="*/ 1733 h 2293"/>
                <a:gd name="T88" fmla="*/ 1262 w 1842"/>
                <a:gd name="T89" fmla="*/ 1662 h 2293"/>
                <a:gd name="T90" fmla="*/ 1222 w 1842"/>
                <a:gd name="T91" fmla="*/ 1590 h 2293"/>
                <a:gd name="T92" fmla="*/ 1182 w 1842"/>
                <a:gd name="T93" fmla="*/ 1514 h 2293"/>
                <a:gd name="T94" fmla="*/ 1147 w 1842"/>
                <a:gd name="T95" fmla="*/ 1437 h 2293"/>
                <a:gd name="T96" fmla="*/ 1113 w 1842"/>
                <a:gd name="T97" fmla="*/ 1358 h 2293"/>
                <a:gd name="T98" fmla="*/ 1084 w 1842"/>
                <a:gd name="T99" fmla="*/ 1277 h 2293"/>
                <a:gd name="T100" fmla="*/ 1069 w 1842"/>
                <a:gd name="T101" fmla="*/ 1236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42" h="2293">
                  <a:moveTo>
                    <a:pt x="1069" y="1236"/>
                  </a:moveTo>
                  <a:lnTo>
                    <a:pt x="1069" y="1236"/>
                  </a:lnTo>
                  <a:lnTo>
                    <a:pt x="1058" y="1199"/>
                  </a:lnTo>
                  <a:lnTo>
                    <a:pt x="1047" y="1163"/>
                  </a:lnTo>
                  <a:lnTo>
                    <a:pt x="1037" y="1126"/>
                  </a:lnTo>
                  <a:lnTo>
                    <a:pt x="1028" y="1089"/>
                  </a:lnTo>
                  <a:lnTo>
                    <a:pt x="1018" y="1051"/>
                  </a:lnTo>
                  <a:lnTo>
                    <a:pt x="1009" y="1014"/>
                  </a:lnTo>
                  <a:lnTo>
                    <a:pt x="1003" y="975"/>
                  </a:lnTo>
                  <a:lnTo>
                    <a:pt x="996" y="938"/>
                  </a:lnTo>
                  <a:lnTo>
                    <a:pt x="989" y="900"/>
                  </a:lnTo>
                  <a:lnTo>
                    <a:pt x="983" y="862"/>
                  </a:lnTo>
                  <a:lnTo>
                    <a:pt x="979" y="824"/>
                  </a:lnTo>
                  <a:lnTo>
                    <a:pt x="974" y="785"/>
                  </a:lnTo>
                  <a:lnTo>
                    <a:pt x="971" y="746"/>
                  </a:lnTo>
                  <a:lnTo>
                    <a:pt x="969" y="708"/>
                  </a:lnTo>
                  <a:lnTo>
                    <a:pt x="967" y="668"/>
                  </a:lnTo>
                  <a:lnTo>
                    <a:pt x="965" y="630"/>
                  </a:lnTo>
                  <a:lnTo>
                    <a:pt x="965" y="591"/>
                  </a:lnTo>
                  <a:lnTo>
                    <a:pt x="965" y="551"/>
                  </a:lnTo>
                  <a:lnTo>
                    <a:pt x="967" y="512"/>
                  </a:lnTo>
                  <a:lnTo>
                    <a:pt x="968" y="473"/>
                  </a:lnTo>
                  <a:lnTo>
                    <a:pt x="971" y="433"/>
                  </a:lnTo>
                  <a:lnTo>
                    <a:pt x="973" y="394"/>
                  </a:lnTo>
                  <a:lnTo>
                    <a:pt x="978" y="354"/>
                  </a:lnTo>
                  <a:lnTo>
                    <a:pt x="982" y="315"/>
                  </a:lnTo>
                  <a:lnTo>
                    <a:pt x="988" y="276"/>
                  </a:lnTo>
                  <a:lnTo>
                    <a:pt x="995" y="236"/>
                  </a:lnTo>
                  <a:lnTo>
                    <a:pt x="1002" y="197"/>
                  </a:lnTo>
                  <a:lnTo>
                    <a:pt x="1009" y="158"/>
                  </a:lnTo>
                  <a:lnTo>
                    <a:pt x="1017" y="118"/>
                  </a:lnTo>
                  <a:lnTo>
                    <a:pt x="1028" y="79"/>
                  </a:lnTo>
                  <a:lnTo>
                    <a:pt x="1038" y="39"/>
                  </a:lnTo>
                  <a:lnTo>
                    <a:pt x="1048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8" y="88"/>
                  </a:lnTo>
                  <a:lnTo>
                    <a:pt x="79" y="174"/>
                  </a:lnTo>
                  <a:lnTo>
                    <a:pt x="121" y="260"/>
                  </a:lnTo>
                  <a:lnTo>
                    <a:pt x="162" y="345"/>
                  </a:lnTo>
                  <a:lnTo>
                    <a:pt x="208" y="430"/>
                  </a:lnTo>
                  <a:lnTo>
                    <a:pt x="253" y="512"/>
                  </a:lnTo>
                  <a:lnTo>
                    <a:pt x="299" y="594"/>
                  </a:lnTo>
                  <a:lnTo>
                    <a:pt x="348" y="675"/>
                  </a:lnTo>
                  <a:lnTo>
                    <a:pt x="397" y="755"/>
                  </a:lnTo>
                  <a:lnTo>
                    <a:pt x="447" y="835"/>
                  </a:lnTo>
                  <a:lnTo>
                    <a:pt x="499" y="912"/>
                  </a:lnTo>
                  <a:lnTo>
                    <a:pt x="552" y="989"/>
                  </a:lnTo>
                  <a:lnTo>
                    <a:pt x="606" y="1065"/>
                  </a:lnTo>
                  <a:lnTo>
                    <a:pt x="662" y="1140"/>
                  </a:lnTo>
                  <a:lnTo>
                    <a:pt x="719" y="1214"/>
                  </a:lnTo>
                  <a:lnTo>
                    <a:pt x="777" y="1286"/>
                  </a:lnTo>
                  <a:lnTo>
                    <a:pt x="836" y="1358"/>
                  </a:lnTo>
                  <a:lnTo>
                    <a:pt x="895" y="1428"/>
                  </a:lnTo>
                  <a:lnTo>
                    <a:pt x="956" y="1497"/>
                  </a:lnTo>
                  <a:lnTo>
                    <a:pt x="1018" y="1565"/>
                  </a:lnTo>
                  <a:lnTo>
                    <a:pt x="1082" y="1632"/>
                  </a:lnTo>
                  <a:lnTo>
                    <a:pt x="1146" y="1699"/>
                  </a:lnTo>
                  <a:lnTo>
                    <a:pt x="1212" y="1763"/>
                  </a:lnTo>
                  <a:lnTo>
                    <a:pt x="1277" y="1827"/>
                  </a:lnTo>
                  <a:lnTo>
                    <a:pt x="1345" y="1889"/>
                  </a:lnTo>
                  <a:lnTo>
                    <a:pt x="1413" y="1951"/>
                  </a:lnTo>
                  <a:lnTo>
                    <a:pt x="1482" y="2010"/>
                  </a:lnTo>
                  <a:lnTo>
                    <a:pt x="1552" y="2069"/>
                  </a:lnTo>
                  <a:lnTo>
                    <a:pt x="1623" y="2127"/>
                  </a:lnTo>
                  <a:lnTo>
                    <a:pt x="1695" y="2184"/>
                  </a:lnTo>
                  <a:lnTo>
                    <a:pt x="1767" y="2239"/>
                  </a:lnTo>
                  <a:lnTo>
                    <a:pt x="1842" y="2293"/>
                  </a:lnTo>
                  <a:lnTo>
                    <a:pt x="1842" y="2293"/>
                  </a:lnTo>
                  <a:lnTo>
                    <a:pt x="1809" y="2269"/>
                  </a:lnTo>
                  <a:lnTo>
                    <a:pt x="1776" y="2244"/>
                  </a:lnTo>
                  <a:lnTo>
                    <a:pt x="1745" y="2219"/>
                  </a:lnTo>
                  <a:lnTo>
                    <a:pt x="1713" y="2193"/>
                  </a:lnTo>
                  <a:lnTo>
                    <a:pt x="1683" y="2167"/>
                  </a:lnTo>
                  <a:lnTo>
                    <a:pt x="1652" y="2139"/>
                  </a:lnTo>
                  <a:lnTo>
                    <a:pt x="1623" y="2112"/>
                  </a:lnTo>
                  <a:lnTo>
                    <a:pt x="1593" y="2084"/>
                  </a:lnTo>
                  <a:lnTo>
                    <a:pt x="1564" y="2054"/>
                  </a:lnTo>
                  <a:lnTo>
                    <a:pt x="1536" y="2025"/>
                  </a:lnTo>
                  <a:lnTo>
                    <a:pt x="1509" y="1995"/>
                  </a:lnTo>
                  <a:lnTo>
                    <a:pt x="1482" y="1963"/>
                  </a:lnTo>
                  <a:lnTo>
                    <a:pt x="1454" y="1933"/>
                  </a:lnTo>
                  <a:lnTo>
                    <a:pt x="1428" y="1900"/>
                  </a:lnTo>
                  <a:lnTo>
                    <a:pt x="1402" y="1869"/>
                  </a:lnTo>
                  <a:lnTo>
                    <a:pt x="1378" y="1835"/>
                  </a:lnTo>
                  <a:lnTo>
                    <a:pt x="1354" y="1801"/>
                  </a:lnTo>
                  <a:lnTo>
                    <a:pt x="1330" y="1767"/>
                  </a:lnTo>
                  <a:lnTo>
                    <a:pt x="1306" y="1733"/>
                  </a:lnTo>
                  <a:lnTo>
                    <a:pt x="1285" y="1698"/>
                  </a:lnTo>
                  <a:lnTo>
                    <a:pt x="1262" y="1662"/>
                  </a:lnTo>
                  <a:lnTo>
                    <a:pt x="1242" y="1626"/>
                  </a:lnTo>
                  <a:lnTo>
                    <a:pt x="1222" y="1590"/>
                  </a:lnTo>
                  <a:lnTo>
                    <a:pt x="1201" y="1551"/>
                  </a:lnTo>
                  <a:lnTo>
                    <a:pt x="1182" y="1514"/>
                  </a:lnTo>
                  <a:lnTo>
                    <a:pt x="1164" y="1476"/>
                  </a:lnTo>
                  <a:lnTo>
                    <a:pt x="1147" y="1437"/>
                  </a:lnTo>
                  <a:lnTo>
                    <a:pt x="1130" y="1398"/>
                  </a:lnTo>
                  <a:lnTo>
                    <a:pt x="1113" y="1358"/>
                  </a:lnTo>
                  <a:lnTo>
                    <a:pt x="1099" y="1319"/>
                  </a:lnTo>
                  <a:lnTo>
                    <a:pt x="1084" y="1277"/>
                  </a:lnTo>
                  <a:lnTo>
                    <a:pt x="1069" y="1236"/>
                  </a:lnTo>
                  <a:lnTo>
                    <a:pt x="1069" y="1236"/>
                  </a:lnTo>
                  <a:close/>
                </a:path>
              </a:pathLst>
            </a:custGeom>
            <a:solidFill>
              <a:srgbClr val="587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4" name="Freeform 12"/>
            <p:cNvSpPr>
              <a:spLocks/>
            </p:cNvSpPr>
            <p:nvPr userDrawn="1"/>
          </p:nvSpPr>
          <p:spPr bwMode="auto">
            <a:xfrm flipH="1">
              <a:off x="1453360" y="3640138"/>
              <a:ext cx="1605181" cy="1503363"/>
            </a:xfrm>
            <a:custGeom>
              <a:avLst/>
              <a:gdLst>
                <a:gd name="T0" fmla="*/ 605 w 1015"/>
                <a:gd name="T1" fmla="*/ 947 h 947"/>
                <a:gd name="T2" fmla="*/ 605 w 1015"/>
                <a:gd name="T3" fmla="*/ 947 h 947"/>
                <a:gd name="T4" fmla="*/ 635 w 1015"/>
                <a:gd name="T5" fmla="*/ 890 h 947"/>
                <a:gd name="T6" fmla="*/ 666 w 1015"/>
                <a:gd name="T7" fmla="*/ 832 h 947"/>
                <a:gd name="T8" fmla="*/ 695 w 1015"/>
                <a:gd name="T9" fmla="*/ 775 h 947"/>
                <a:gd name="T10" fmla="*/ 725 w 1015"/>
                <a:gd name="T11" fmla="*/ 716 h 947"/>
                <a:gd name="T12" fmla="*/ 753 w 1015"/>
                <a:gd name="T13" fmla="*/ 658 h 947"/>
                <a:gd name="T14" fmla="*/ 780 w 1015"/>
                <a:gd name="T15" fmla="*/ 599 h 947"/>
                <a:gd name="T16" fmla="*/ 806 w 1015"/>
                <a:gd name="T17" fmla="*/ 541 h 947"/>
                <a:gd name="T18" fmla="*/ 832 w 1015"/>
                <a:gd name="T19" fmla="*/ 481 h 947"/>
                <a:gd name="T20" fmla="*/ 858 w 1015"/>
                <a:gd name="T21" fmla="*/ 423 h 947"/>
                <a:gd name="T22" fmla="*/ 881 w 1015"/>
                <a:gd name="T23" fmla="*/ 363 h 947"/>
                <a:gd name="T24" fmla="*/ 906 w 1015"/>
                <a:gd name="T25" fmla="*/ 302 h 947"/>
                <a:gd name="T26" fmla="*/ 929 w 1015"/>
                <a:gd name="T27" fmla="*/ 243 h 947"/>
                <a:gd name="T28" fmla="*/ 952 w 1015"/>
                <a:gd name="T29" fmla="*/ 182 h 947"/>
                <a:gd name="T30" fmla="*/ 973 w 1015"/>
                <a:gd name="T31" fmla="*/ 121 h 947"/>
                <a:gd name="T32" fmla="*/ 994 w 1015"/>
                <a:gd name="T33" fmla="*/ 61 h 947"/>
                <a:gd name="T34" fmla="*/ 1015 w 1015"/>
                <a:gd name="T35" fmla="*/ 0 h 947"/>
                <a:gd name="T36" fmla="*/ 1015 w 1015"/>
                <a:gd name="T37" fmla="*/ 0 h 947"/>
                <a:gd name="T38" fmla="*/ 1015 w 1015"/>
                <a:gd name="T39" fmla="*/ 0 h 947"/>
                <a:gd name="T40" fmla="*/ 942 w 1015"/>
                <a:gd name="T41" fmla="*/ 53 h 947"/>
                <a:gd name="T42" fmla="*/ 871 w 1015"/>
                <a:gd name="T43" fmla="*/ 107 h 947"/>
                <a:gd name="T44" fmla="*/ 802 w 1015"/>
                <a:gd name="T45" fmla="*/ 161 h 947"/>
                <a:gd name="T46" fmla="*/ 734 w 1015"/>
                <a:gd name="T47" fmla="*/ 217 h 947"/>
                <a:gd name="T48" fmla="*/ 667 w 1015"/>
                <a:gd name="T49" fmla="*/ 273 h 947"/>
                <a:gd name="T50" fmla="*/ 600 w 1015"/>
                <a:gd name="T51" fmla="*/ 329 h 947"/>
                <a:gd name="T52" fmla="*/ 535 w 1015"/>
                <a:gd name="T53" fmla="*/ 388 h 947"/>
                <a:gd name="T54" fmla="*/ 472 w 1015"/>
                <a:gd name="T55" fmla="*/ 446 h 947"/>
                <a:gd name="T56" fmla="*/ 408 w 1015"/>
                <a:gd name="T57" fmla="*/ 507 h 947"/>
                <a:gd name="T58" fmla="*/ 346 w 1015"/>
                <a:gd name="T59" fmla="*/ 567 h 947"/>
                <a:gd name="T60" fmla="*/ 285 w 1015"/>
                <a:gd name="T61" fmla="*/ 629 h 947"/>
                <a:gd name="T62" fmla="*/ 227 w 1015"/>
                <a:gd name="T63" fmla="*/ 691 h 947"/>
                <a:gd name="T64" fmla="*/ 168 w 1015"/>
                <a:gd name="T65" fmla="*/ 754 h 947"/>
                <a:gd name="T66" fmla="*/ 110 w 1015"/>
                <a:gd name="T67" fmla="*/ 818 h 947"/>
                <a:gd name="T68" fmla="*/ 54 w 1015"/>
                <a:gd name="T69" fmla="*/ 882 h 947"/>
                <a:gd name="T70" fmla="*/ 0 w 1015"/>
                <a:gd name="T71" fmla="*/ 947 h 947"/>
                <a:gd name="T72" fmla="*/ 605 w 1015"/>
                <a:gd name="T73" fmla="*/ 947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15" h="947">
                  <a:moveTo>
                    <a:pt x="605" y="947"/>
                  </a:moveTo>
                  <a:lnTo>
                    <a:pt x="605" y="947"/>
                  </a:lnTo>
                  <a:lnTo>
                    <a:pt x="635" y="890"/>
                  </a:lnTo>
                  <a:lnTo>
                    <a:pt x="666" y="832"/>
                  </a:lnTo>
                  <a:lnTo>
                    <a:pt x="695" y="775"/>
                  </a:lnTo>
                  <a:lnTo>
                    <a:pt x="725" y="716"/>
                  </a:lnTo>
                  <a:lnTo>
                    <a:pt x="753" y="658"/>
                  </a:lnTo>
                  <a:lnTo>
                    <a:pt x="780" y="599"/>
                  </a:lnTo>
                  <a:lnTo>
                    <a:pt x="806" y="541"/>
                  </a:lnTo>
                  <a:lnTo>
                    <a:pt x="832" y="481"/>
                  </a:lnTo>
                  <a:lnTo>
                    <a:pt x="858" y="423"/>
                  </a:lnTo>
                  <a:lnTo>
                    <a:pt x="881" y="363"/>
                  </a:lnTo>
                  <a:lnTo>
                    <a:pt x="906" y="302"/>
                  </a:lnTo>
                  <a:lnTo>
                    <a:pt x="929" y="243"/>
                  </a:lnTo>
                  <a:lnTo>
                    <a:pt x="952" y="182"/>
                  </a:lnTo>
                  <a:lnTo>
                    <a:pt x="973" y="121"/>
                  </a:lnTo>
                  <a:lnTo>
                    <a:pt x="994" y="61"/>
                  </a:lnTo>
                  <a:lnTo>
                    <a:pt x="1015" y="0"/>
                  </a:lnTo>
                  <a:lnTo>
                    <a:pt x="1015" y="0"/>
                  </a:lnTo>
                  <a:lnTo>
                    <a:pt x="1015" y="0"/>
                  </a:lnTo>
                  <a:lnTo>
                    <a:pt x="942" y="53"/>
                  </a:lnTo>
                  <a:lnTo>
                    <a:pt x="871" y="107"/>
                  </a:lnTo>
                  <a:lnTo>
                    <a:pt x="802" y="161"/>
                  </a:lnTo>
                  <a:lnTo>
                    <a:pt x="734" y="217"/>
                  </a:lnTo>
                  <a:lnTo>
                    <a:pt x="667" y="273"/>
                  </a:lnTo>
                  <a:lnTo>
                    <a:pt x="600" y="329"/>
                  </a:lnTo>
                  <a:lnTo>
                    <a:pt x="535" y="388"/>
                  </a:lnTo>
                  <a:lnTo>
                    <a:pt x="472" y="446"/>
                  </a:lnTo>
                  <a:lnTo>
                    <a:pt x="408" y="507"/>
                  </a:lnTo>
                  <a:lnTo>
                    <a:pt x="346" y="567"/>
                  </a:lnTo>
                  <a:lnTo>
                    <a:pt x="285" y="629"/>
                  </a:lnTo>
                  <a:lnTo>
                    <a:pt x="227" y="691"/>
                  </a:lnTo>
                  <a:lnTo>
                    <a:pt x="168" y="754"/>
                  </a:lnTo>
                  <a:lnTo>
                    <a:pt x="110" y="818"/>
                  </a:lnTo>
                  <a:lnTo>
                    <a:pt x="54" y="882"/>
                  </a:lnTo>
                  <a:lnTo>
                    <a:pt x="0" y="947"/>
                  </a:lnTo>
                  <a:lnTo>
                    <a:pt x="605" y="947"/>
                  </a:lnTo>
                  <a:close/>
                </a:path>
              </a:pathLst>
            </a:custGeom>
            <a:solidFill>
              <a:srgbClr val="587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</p:grpSp>
      <p:grpSp>
        <p:nvGrpSpPr>
          <p:cNvPr id="51" name="Group 50"/>
          <p:cNvGrpSpPr/>
          <p:nvPr userDrawn="1"/>
        </p:nvGrpSpPr>
        <p:grpSpPr>
          <a:xfrm>
            <a:off x="433680" y="5907923"/>
            <a:ext cx="2057288" cy="600839"/>
            <a:chOff x="5743823" y="366879"/>
            <a:chExt cx="3076575" cy="898525"/>
          </a:xfrm>
        </p:grpSpPr>
        <p:sp>
          <p:nvSpPr>
            <p:cNvPr id="52" name="Freeform 5"/>
            <p:cNvSpPr>
              <a:spLocks/>
            </p:cNvSpPr>
            <p:nvPr userDrawn="1"/>
          </p:nvSpPr>
          <p:spPr bwMode="auto">
            <a:xfrm>
              <a:off x="6569323" y="633579"/>
              <a:ext cx="160338" cy="141288"/>
            </a:xfrm>
            <a:custGeom>
              <a:avLst/>
              <a:gdLst>
                <a:gd name="T0" fmla="*/ 623 w 1210"/>
                <a:gd name="T1" fmla="*/ 1065 h 1065"/>
                <a:gd name="T2" fmla="*/ 211 w 1210"/>
                <a:gd name="T3" fmla="*/ 202 h 1065"/>
                <a:gd name="T4" fmla="*/ 194 w 1210"/>
                <a:gd name="T5" fmla="*/ 163 h 1065"/>
                <a:gd name="T6" fmla="*/ 177 w 1210"/>
                <a:gd name="T7" fmla="*/ 131 h 1065"/>
                <a:gd name="T8" fmla="*/ 160 w 1210"/>
                <a:gd name="T9" fmla="*/ 105 h 1065"/>
                <a:gd name="T10" fmla="*/ 139 w 1210"/>
                <a:gd name="T11" fmla="*/ 84 h 1065"/>
                <a:gd name="T12" fmla="*/ 115 w 1210"/>
                <a:gd name="T13" fmla="*/ 69 h 1065"/>
                <a:gd name="T14" fmla="*/ 84 w 1210"/>
                <a:gd name="T15" fmla="*/ 59 h 1065"/>
                <a:gd name="T16" fmla="*/ 47 w 1210"/>
                <a:gd name="T17" fmla="*/ 52 h 1065"/>
                <a:gd name="T18" fmla="*/ 0 w 1210"/>
                <a:gd name="T19" fmla="*/ 50 h 1065"/>
                <a:gd name="T20" fmla="*/ 566 w 1210"/>
                <a:gd name="T21" fmla="*/ 0 h 1065"/>
                <a:gd name="T22" fmla="*/ 566 w 1210"/>
                <a:gd name="T23" fmla="*/ 50 h 1065"/>
                <a:gd name="T24" fmla="*/ 516 w 1210"/>
                <a:gd name="T25" fmla="*/ 52 h 1065"/>
                <a:gd name="T26" fmla="*/ 477 w 1210"/>
                <a:gd name="T27" fmla="*/ 58 h 1065"/>
                <a:gd name="T28" fmla="*/ 448 w 1210"/>
                <a:gd name="T29" fmla="*/ 68 h 1065"/>
                <a:gd name="T30" fmla="*/ 430 w 1210"/>
                <a:gd name="T31" fmla="*/ 81 h 1065"/>
                <a:gd name="T32" fmla="*/ 421 w 1210"/>
                <a:gd name="T33" fmla="*/ 99 h 1065"/>
                <a:gd name="T34" fmla="*/ 419 w 1210"/>
                <a:gd name="T35" fmla="*/ 122 h 1065"/>
                <a:gd name="T36" fmla="*/ 425 w 1210"/>
                <a:gd name="T37" fmla="*/ 150 h 1065"/>
                <a:gd name="T38" fmla="*/ 437 w 1210"/>
                <a:gd name="T39" fmla="*/ 181 h 1065"/>
                <a:gd name="T40" fmla="*/ 922 w 1210"/>
                <a:gd name="T41" fmla="*/ 181 h 1065"/>
                <a:gd name="T42" fmla="*/ 928 w 1210"/>
                <a:gd name="T43" fmla="*/ 165 h 1065"/>
                <a:gd name="T44" fmla="*/ 937 w 1210"/>
                <a:gd name="T45" fmla="*/ 134 h 1065"/>
                <a:gd name="T46" fmla="*/ 938 w 1210"/>
                <a:gd name="T47" fmla="*/ 110 h 1065"/>
                <a:gd name="T48" fmla="*/ 932 w 1210"/>
                <a:gd name="T49" fmla="*/ 89 h 1065"/>
                <a:gd name="T50" fmla="*/ 918 w 1210"/>
                <a:gd name="T51" fmla="*/ 74 h 1065"/>
                <a:gd name="T52" fmla="*/ 894 w 1210"/>
                <a:gd name="T53" fmla="*/ 62 h 1065"/>
                <a:gd name="T54" fmla="*/ 860 w 1210"/>
                <a:gd name="T55" fmla="*/ 54 h 1065"/>
                <a:gd name="T56" fmla="*/ 817 w 1210"/>
                <a:gd name="T57" fmla="*/ 50 h 1065"/>
                <a:gd name="T58" fmla="*/ 792 w 1210"/>
                <a:gd name="T59" fmla="*/ 0 h 1065"/>
                <a:gd name="T60" fmla="*/ 1210 w 1210"/>
                <a:gd name="T61" fmla="*/ 50 h 1065"/>
                <a:gd name="T62" fmla="*/ 1189 w 1210"/>
                <a:gd name="T63" fmla="*/ 50 h 1065"/>
                <a:gd name="T64" fmla="*/ 1151 w 1210"/>
                <a:gd name="T65" fmla="*/ 53 h 1065"/>
                <a:gd name="T66" fmla="*/ 1119 w 1210"/>
                <a:gd name="T67" fmla="*/ 61 h 1065"/>
                <a:gd name="T68" fmla="*/ 1091 w 1210"/>
                <a:gd name="T69" fmla="*/ 73 h 1065"/>
                <a:gd name="T70" fmla="*/ 1068 w 1210"/>
                <a:gd name="T71" fmla="*/ 89 h 1065"/>
                <a:gd name="T72" fmla="*/ 1046 w 1210"/>
                <a:gd name="T73" fmla="*/ 113 h 1065"/>
                <a:gd name="T74" fmla="*/ 1027 w 1210"/>
                <a:gd name="T75" fmla="*/ 142 h 1065"/>
                <a:gd name="T76" fmla="*/ 1008 w 1210"/>
                <a:gd name="T77" fmla="*/ 180 h 1065"/>
                <a:gd name="T78" fmla="*/ 997 w 1210"/>
                <a:gd name="T79" fmla="*/ 20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0" h="1065">
                  <a:moveTo>
                    <a:pt x="997" y="202"/>
                  </a:moveTo>
                  <a:lnTo>
                    <a:pt x="623" y="1065"/>
                  </a:lnTo>
                  <a:lnTo>
                    <a:pt x="587" y="1065"/>
                  </a:lnTo>
                  <a:lnTo>
                    <a:pt x="211" y="202"/>
                  </a:lnTo>
                  <a:lnTo>
                    <a:pt x="211" y="202"/>
                  </a:lnTo>
                  <a:lnTo>
                    <a:pt x="194" y="163"/>
                  </a:lnTo>
                  <a:lnTo>
                    <a:pt x="185" y="146"/>
                  </a:lnTo>
                  <a:lnTo>
                    <a:pt x="177" y="131"/>
                  </a:lnTo>
                  <a:lnTo>
                    <a:pt x="168" y="117"/>
                  </a:lnTo>
                  <a:lnTo>
                    <a:pt x="160" y="105"/>
                  </a:lnTo>
                  <a:lnTo>
                    <a:pt x="150" y="93"/>
                  </a:lnTo>
                  <a:lnTo>
                    <a:pt x="139" y="84"/>
                  </a:lnTo>
                  <a:lnTo>
                    <a:pt x="128" y="76"/>
                  </a:lnTo>
                  <a:lnTo>
                    <a:pt x="115" y="69"/>
                  </a:lnTo>
                  <a:lnTo>
                    <a:pt x="101" y="63"/>
                  </a:lnTo>
                  <a:lnTo>
                    <a:pt x="84" y="59"/>
                  </a:lnTo>
                  <a:lnTo>
                    <a:pt x="67" y="54"/>
                  </a:lnTo>
                  <a:lnTo>
                    <a:pt x="47" y="52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66" y="0"/>
                  </a:lnTo>
                  <a:lnTo>
                    <a:pt x="566" y="50"/>
                  </a:lnTo>
                  <a:lnTo>
                    <a:pt x="566" y="50"/>
                  </a:lnTo>
                  <a:lnTo>
                    <a:pt x="539" y="50"/>
                  </a:lnTo>
                  <a:lnTo>
                    <a:pt x="516" y="52"/>
                  </a:lnTo>
                  <a:lnTo>
                    <a:pt x="494" y="54"/>
                  </a:lnTo>
                  <a:lnTo>
                    <a:pt x="477" y="58"/>
                  </a:lnTo>
                  <a:lnTo>
                    <a:pt x="460" y="63"/>
                  </a:lnTo>
                  <a:lnTo>
                    <a:pt x="448" y="68"/>
                  </a:lnTo>
                  <a:lnTo>
                    <a:pt x="438" y="74"/>
                  </a:lnTo>
                  <a:lnTo>
                    <a:pt x="430" y="81"/>
                  </a:lnTo>
                  <a:lnTo>
                    <a:pt x="424" y="90"/>
                  </a:lnTo>
                  <a:lnTo>
                    <a:pt x="421" y="99"/>
                  </a:lnTo>
                  <a:lnTo>
                    <a:pt x="419" y="111"/>
                  </a:lnTo>
                  <a:lnTo>
                    <a:pt x="419" y="122"/>
                  </a:lnTo>
                  <a:lnTo>
                    <a:pt x="421" y="135"/>
                  </a:lnTo>
                  <a:lnTo>
                    <a:pt x="425" y="150"/>
                  </a:lnTo>
                  <a:lnTo>
                    <a:pt x="430" y="165"/>
                  </a:lnTo>
                  <a:lnTo>
                    <a:pt x="437" y="181"/>
                  </a:lnTo>
                  <a:lnTo>
                    <a:pt x="678" y="742"/>
                  </a:lnTo>
                  <a:lnTo>
                    <a:pt x="922" y="181"/>
                  </a:lnTo>
                  <a:lnTo>
                    <a:pt x="922" y="181"/>
                  </a:lnTo>
                  <a:lnTo>
                    <a:pt x="928" y="165"/>
                  </a:lnTo>
                  <a:lnTo>
                    <a:pt x="933" y="149"/>
                  </a:lnTo>
                  <a:lnTo>
                    <a:pt x="937" y="134"/>
                  </a:lnTo>
                  <a:lnTo>
                    <a:pt x="938" y="122"/>
                  </a:lnTo>
                  <a:lnTo>
                    <a:pt x="938" y="110"/>
                  </a:lnTo>
                  <a:lnTo>
                    <a:pt x="936" y="98"/>
                  </a:lnTo>
                  <a:lnTo>
                    <a:pt x="932" y="89"/>
                  </a:lnTo>
                  <a:lnTo>
                    <a:pt x="926" y="81"/>
                  </a:lnTo>
                  <a:lnTo>
                    <a:pt x="918" y="74"/>
                  </a:lnTo>
                  <a:lnTo>
                    <a:pt x="906" y="67"/>
                  </a:lnTo>
                  <a:lnTo>
                    <a:pt x="894" y="62"/>
                  </a:lnTo>
                  <a:lnTo>
                    <a:pt x="879" y="58"/>
                  </a:lnTo>
                  <a:lnTo>
                    <a:pt x="860" y="54"/>
                  </a:lnTo>
                  <a:lnTo>
                    <a:pt x="841" y="52"/>
                  </a:lnTo>
                  <a:lnTo>
                    <a:pt x="817" y="50"/>
                  </a:lnTo>
                  <a:lnTo>
                    <a:pt x="792" y="50"/>
                  </a:lnTo>
                  <a:lnTo>
                    <a:pt x="792" y="0"/>
                  </a:lnTo>
                  <a:lnTo>
                    <a:pt x="1210" y="0"/>
                  </a:lnTo>
                  <a:lnTo>
                    <a:pt x="1210" y="50"/>
                  </a:lnTo>
                  <a:lnTo>
                    <a:pt x="1210" y="50"/>
                  </a:lnTo>
                  <a:lnTo>
                    <a:pt x="1189" y="50"/>
                  </a:lnTo>
                  <a:lnTo>
                    <a:pt x="1169" y="51"/>
                  </a:lnTo>
                  <a:lnTo>
                    <a:pt x="1151" y="53"/>
                  </a:lnTo>
                  <a:lnTo>
                    <a:pt x="1134" y="57"/>
                  </a:lnTo>
                  <a:lnTo>
                    <a:pt x="1119" y="61"/>
                  </a:lnTo>
                  <a:lnTo>
                    <a:pt x="1105" y="66"/>
                  </a:lnTo>
                  <a:lnTo>
                    <a:pt x="1091" y="73"/>
                  </a:lnTo>
                  <a:lnTo>
                    <a:pt x="1079" y="80"/>
                  </a:lnTo>
                  <a:lnTo>
                    <a:pt x="1068" y="89"/>
                  </a:lnTo>
                  <a:lnTo>
                    <a:pt x="1057" y="100"/>
                  </a:lnTo>
                  <a:lnTo>
                    <a:pt x="1046" y="113"/>
                  </a:lnTo>
                  <a:lnTo>
                    <a:pt x="1036" y="127"/>
                  </a:lnTo>
                  <a:lnTo>
                    <a:pt x="1027" y="142"/>
                  </a:lnTo>
                  <a:lnTo>
                    <a:pt x="1017" y="161"/>
                  </a:lnTo>
                  <a:lnTo>
                    <a:pt x="1008" y="180"/>
                  </a:lnTo>
                  <a:lnTo>
                    <a:pt x="997" y="202"/>
                  </a:lnTo>
                  <a:lnTo>
                    <a:pt x="997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3" name="Freeform 6"/>
            <p:cNvSpPr>
              <a:spLocks noEditPoints="1"/>
            </p:cNvSpPr>
            <p:nvPr userDrawn="1"/>
          </p:nvSpPr>
          <p:spPr bwMode="auto">
            <a:xfrm>
              <a:off x="6712198" y="630404"/>
              <a:ext cx="160338" cy="139700"/>
            </a:xfrm>
            <a:custGeom>
              <a:avLst/>
              <a:gdLst>
                <a:gd name="T0" fmla="*/ 289 w 1210"/>
                <a:gd name="T1" fmla="*/ 883 h 1064"/>
                <a:gd name="T2" fmla="*/ 276 w 1210"/>
                <a:gd name="T3" fmla="*/ 916 h 1064"/>
                <a:gd name="T4" fmla="*/ 271 w 1210"/>
                <a:gd name="T5" fmla="*/ 943 h 1064"/>
                <a:gd name="T6" fmla="*/ 274 w 1210"/>
                <a:gd name="T7" fmla="*/ 966 h 1064"/>
                <a:gd name="T8" fmla="*/ 284 w 1210"/>
                <a:gd name="T9" fmla="*/ 983 h 1064"/>
                <a:gd name="T10" fmla="*/ 303 w 1210"/>
                <a:gd name="T11" fmla="*/ 998 h 1064"/>
                <a:gd name="T12" fmla="*/ 331 w 1210"/>
                <a:gd name="T13" fmla="*/ 1007 h 1064"/>
                <a:gd name="T14" fmla="*/ 369 w 1210"/>
                <a:gd name="T15" fmla="*/ 1013 h 1064"/>
                <a:gd name="T16" fmla="*/ 417 w 1210"/>
                <a:gd name="T17" fmla="*/ 1014 h 1064"/>
                <a:gd name="T18" fmla="*/ 0 w 1210"/>
                <a:gd name="T19" fmla="*/ 1064 h 1064"/>
                <a:gd name="T20" fmla="*/ 0 w 1210"/>
                <a:gd name="T21" fmla="*/ 1014 h 1064"/>
                <a:gd name="T22" fmla="*/ 41 w 1210"/>
                <a:gd name="T23" fmla="*/ 1013 h 1064"/>
                <a:gd name="T24" fmla="*/ 76 w 1210"/>
                <a:gd name="T25" fmla="*/ 1008 h 1064"/>
                <a:gd name="T26" fmla="*/ 106 w 1210"/>
                <a:gd name="T27" fmla="*/ 999 h 1064"/>
                <a:gd name="T28" fmla="*/ 131 w 1210"/>
                <a:gd name="T29" fmla="*/ 984 h 1064"/>
                <a:gd name="T30" fmla="*/ 153 w 1210"/>
                <a:gd name="T31" fmla="*/ 964 h 1064"/>
                <a:gd name="T32" fmla="*/ 173 w 1210"/>
                <a:gd name="T33" fmla="*/ 938 h 1064"/>
                <a:gd name="T34" fmla="*/ 192 w 1210"/>
                <a:gd name="T35" fmla="*/ 904 h 1064"/>
                <a:gd name="T36" fmla="*/ 212 w 1210"/>
                <a:gd name="T37" fmla="*/ 863 h 1064"/>
                <a:gd name="T38" fmla="*/ 623 w 1210"/>
                <a:gd name="T39" fmla="*/ 0 h 1064"/>
                <a:gd name="T40" fmla="*/ 999 w 1210"/>
                <a:gd name="T41" fmla="*/ 863 h 1064"/>
                <a:gd name="T42" fmla="*/ 1025 w 1210"/>
                <a:gd name="T43" fmla="*/ 918 h 1064"/>
                <a:gd name="T44" fmla="*/ 1041 w 1210"/>
                <a:gd name="T45" fmla="*/ 946 h 1064"/>
                <a:gd name="T46" fmla="*/ 1060 w 1210"/>
                <a:gd name="T47" fmla="*/ 970 h 1064"/>
                <a:gd name="T48" fmla="*/ 1082 w 1210"/>
                <a:gd name="T49" fmla="*/ 988 h 1064"/>
                <a:gd name="T50" fmla="*/ 1110 w 1210"/>
                <a:gd name="T51" fmla="*/ 1002 h 1064"/>
                <a:gd name="T52" fmla="*/ 1142 w 1210"/>
                <a:gd name="T53" fmla="*/ 1010 h 1064"/>
                <a:gd name="T54" fmla="*/ 1185 w 1210"/>
                <a:gd name="T55" fmla="*/ 1014 h 1064"/>
                <a:gd name="T56" fmla="*/ 1210 w 1210"/>
                <a:gd name="T57" fmla="*/ 1064 h 1064"/>
                <a:gd name="T58" fmla="*/ 647 w 1210"/>
                <a:gd name="T59" fmla="*/ 1014 h 1064"/>
                <a:gd name="T60" fmla="*/ 674 w 1210"/>
                <a:gd name="T61" fmla="*/ 1014 h 1064"/>
                <a:gd name="T62" fmla="*/ 719 w 1210"/>
                <a:gd name="T63" fmla="*/ 1010 h 1064"/>
                <a:gd name="T64" fmla="*/ 752 w 1210"/>
                <a:gd name="T65" fmla="*/ 1003 h 1064"/>
                <a:gd name="T66" fmla="*/ 775 w 1210"/>
                <a:gd name="T67" fmla="*/ 990 h 1064"/>
                <a:gd name="T68" fmla="*/ 790 w 1210"/>
                <a:gd name="T69" fmla="*/ 974 h 1064"/>
                <a:gd name="T70" fmla="*/ 795 w 1210"/>
                <a:gd name="T71" fmla="*/ 954 h 1064"/>
                <a:gd name="T72" fmla="*/ 793 w 1210"/>
                <a:gd name="T73" fmla="*/ 929 h 1064"/>
                <a:gd name="T74" fmla="*/ 783 w 1210"/>
                <a:gd name="T75" fmla="*/ 899 h 1064"/>
                <a:gd name="T76" fmla="*/ 704 w 1210"/>
                <a:gd name="T77" fmla="*/ 719 h 1064"/>
                <a:gd name="T78" fmla="*/ 289 w 1210"/>
                <a:gd name="T79" fmla="*/ 883 h 1064"/>
                <a:gd name="T80" fmla="*/ 394 w 1210"/>
                <a:gd name="T81" fmla="*/ 642 h 1064"/>
                <a:gd name="T82" fmla="*/ 533 w 1210"/>
                <a:gd name="T83" fmla="*/ 318 h 1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0" h="1064">
                  <a:moveTo>
                    <a:pt x="289" y="883"/>
                  </a:moveTo>
                  <a:lnTo>
                    <a:pt x="289" y="883"/>
                  </a:lnTo>
                  <a:lnTo>
                    <a:pt x="281" y="900"/>
                  </a:lnTo>
                  <a:lnTo>
                    <a:pt x="276" y="916"/>
                  </a:lnTo>
                  <a:lnTo>
                    <a:pt x="273" y="930"/>
                  </a:lnTo>
                  <a:lnTo>
                    <a:pt x="271" y="943"/>
                  </a:lnTo>
                  <a:lnTo>
                    <a:pt x="272" y="955"/>
                  </a:lnTo>
                  <a:lnTo>
                    <a:pt x="274" y="966"/>
                  </a:lnTo>
                  <a:lnTo>
                    <a:pt x="278" y="975"/>
                  </a:lnTo>
                  <a:lnTo>
                    <a:pt x="284" y="983"/>
                  </a:lnTo>
                  <a:lnTo>
                    <a:pt x="293" y="991"/>
                  </a:lnTo>
                  <a:lnTo>
                    <a:pt x="303" y="998"/>
                  </a:lnTo>
                  <a:lnTo>
                    <a:pt x="316" y="1003"/>
                  </a:lnTo>
                  <a:lnTo>
                    <a:pt x="331" y="1007"/>
                  </a:lnTo>
                  <a:lnTo>
                    <a:pt x="349" y="1010"/>
                  </a:lnTo>
                  <a:lnTo>
                    <a:pt x="369" y="1013"/>
                  </a:lnTo>
                  <a:lnTo>
                    <a:pt x="392" y="1014"/>
                  </a:lnTo>
                  <a:lnTo>
                    <a:pt x="417" y="1014"/>
                  </a:lnTo>
                  <a:lnTo>
                    <a:pt x="417" y="1064"/>
                  </a:lnTo>
                  <a:lnTo>
                    <a:pt x="0" y="1064"/>
                  </a:lnTo>
                  <a:lnTo>
                    <a:pt x="0" y="1014"/>
                  </a:lnTo>
                  <a:lnTo>
                    <a:pt x="0" y="1014"/>
                  </a:lnTo>
                  <a:lnTo>
                    <a:pt x="22" y="1014"/>
                  </a:lnTo>
                  <a:lnTo>
                    <a:pt x="41" y="1013"/>
                  </a:lnTo>
                  <a:lnTo>
                    <a:pt x="59" y="1011"/>
                  </a:lnTo>
                  <a:lnTo>
                    <a:pt x="76" y="1008"/>
                  </a:lnTo>
                  <a:lnTo>
                    <a:pt x="91" y="1004"/>
                  </a:lnTo>
                  <a:lnTo>
                    <a:pt x="106" y="999"/>
                  </a:lnTo>
                  <a:lnTo>
                    <a:pt x="119" y="992"/>
                  </a:lnTo>
                  <a:lnTo>
                    <a:pt x="131" y="984"/>
                  </a:lnTo>
                  <a:lnTo>
                    <a:pt x="142" y="975"/>
                  </a:lnTo>
                  <a:lnTo>
                    <a:pt x="153" y="964"/>
                  </a:lnTo>
                  <a:lnTo>
                    <a:pt x="164" y="952"/>
                  </a:lnTo>
                  <a:lnTo>
                    <a:pt x="173" y="938"/>
                  </a:lnTo>
                  <a:lnTo>
                    <a:pt x="183" y="922"/>
                  </a:lnTo>
                  <a:lnTo>
                    <a:pt x="192" y="904"/>
                  </a:lnTo>
                  <a:lnTo>
                    <a:pt x="203" y="884"/>
                  </a:lnTo>
                  <a:lnTo>
                    <a:pt x="212" y="863"/>
                  </a:lnTo>
                  <a:lnTo>
                    <a:pt x="586" y="0"/>
                  </a:lnTo>
                  <a:lnTo>
                    <a:pt x="623" y="0"/>
                  </a:lnTo>
                  <a:lnTo>
                    <a:pt x="999" y="863"/>
                  </a:lnTo>
                  <a:lnTo>
                    <a:pt x="999" y="863"/>
                  </a:lnTo>
                  <a:lnTo>
                    <a:pt x="1017" y="900"/>
                  </a:lnTo>
                  <a:lnTo>
                    <a:pt x="1025" y="918"/>
                  </a:lnTo>
                  <a:lnTo>
                    <a:pt x="1033" y="933"/>
                  </a:lnTo>
                  <a:lnTo>
                    <a:pt x="1041" y="946"/>
                  </a:lnTo>
                  <a:lnTo>
                    <a:pt x="1050" y="959"/>
                  </a:lnTo>
                  <a:lnTo>
                    <a:pt x="1060" y="970"/>
                  </a:lnTo>
                  <a:lnTo>
                    <a:pt x="1071" y="980"/>
                  </a:lnTo>
                  <a:lnTo>
                    <a:pt x="1082" y="988"/>
                  </a:lnTo>
                  <a:lnTo>
                    <a:pt x="1095" y="995"/>
                  </a:lnTo>
                  <a:lnTo>
                    <a:pt x="1110" y="1002"/>
                  </a:lnTo>
                  <a:lnTo>
                    <a:pt x="1125" y="1006"/>
                  </a:lnTo>
                  <a:lnTo>
                    <a:pt x="1142" y="1010"/>
                  </a:lnTo>
                  <a:lnTo>
                    <a:pt x="1163" y="1012"/>
                  </a:lnTo>
                  <a:lnTo>
                    <a:pt x="1185" y="1014"/>
                  </a:lnTo>
                  <a:lnTo>
                    <a:pt x="1210" y="1014"/>
                  </a:lnTo>
                  <a:lnTo>
                    <a:pt x="1210" y="1064"/>
                  </a:lnTo>
                  <a:lnTo>
                    <a:pt x="647" y="1064"/>
                  </a:lnTo>
                  <a:lnTo>
                    <a:pt x="647" y="1014"/>
                  </a:lnTo>
                  <a:lnTo>
                    <a:pt x="647" y="1014"/>
                  </a:lnTo>
                  <a:lnTo>
                    <a:pt x="674" y="1014"/>
                  </a:lnTo>
                  <a:lnTo>
                    <a:pt x="698" y="1012"/>
                  </a:lnTo>
                  <a:lnTo>
                    <a:pt x="719" y="1010"/>
                  </a:lnTo>
                  <a:lnTo>
                    <a:pt x="736" y="1007"/>
                  </a:lnTo>
                  <a:lnTo>
                    <a:pt x="752" y="1003"/>
                  </a:lnTo>
                  <a:lnTo>
                    <a:pt x="765" y="996"/>
                  </a:lnTo>
                  <a:lnTo>
                    <a:pt x="775" y="990"/>
                  </a:lnTo>
                  <a:lnTo>
                    <a:pt x="783" y="983"/>
                  </a:lnTo>
                  <a:lnTo>
                    <a:pt x="790" y="974"/>
                  </a:lnTo>
                  <a:lnTo>
                    <a:pt x="793" y="965"/>
                  </a:lnTo>
                  <a:lnTo>
                    <a:pt x="795" y="954"/>
                  </a:lnTo>
                  <a:lnTo>
                    <a:pt x="795" y="942"/>
                  </a:lnTo>
                  <a:lnTo>
                    <a:pt x="793" y="929"/>
                  </a:lnTo>
                  <a:lnTo>
                    <a:pt x="789" y="915"/>
                  </a:lnTo>
                  <a:lnTo>
                    <a:pt x="783" y="899"/>
                  </a:lnTo>
                  <a:lnTo>
                    <a:pt x="776" y="883"/>
                  </a:lnTo>
                  <a:lnTo>
                    <a:pt x="704" y="719"/>
                  </a:lnTo>
                  <a:lnTo>
                    <a:pt x="359" y="719"/>
                  </a:lnTo>
                  <a:lnTo>
                    <a:pt x="289" y="883"/>
                  </a:lnTo>
                  <a:close/>
                  <a:moveTo>
                    <a:pt x="533" y="318"/>
                  </a:moveTo>
                  <a:lnTo>
                    <a:pt x="394" y="642"/>
                  </a:lnTo>
                  <a:lnTo>
                    <a:pt x="671" y="642"/>
                  </a:lnTo>
                  <a:lnTo>
                    <a:pt x="533" y="3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4" name="Freeform 7"/>
            <p:cNvSpPr>
              <a:spLocks/>
            </p:cNvSpPr>
            <p:nvPr userDrawn="1"/>
          </p:nvSpPr>
          <p:spPr bwMode="auto">
            <a:xfrm>
              <a:off x="6889998" y="633579"/>
              <a:ext cx="131763" cy="136525"/>
            </a:xfrm>
            <a:custGeom>
              <a:avLst/>
              <a:gdLst>
                <a:gd name="T0" fmla="*/ 0 w 1002"/>
                <a:gd name="T1" fmla="*/ 0 h 1035"/>
                <a:gd name="T2" fmla="*/ 545 w 1002"/>
                <a:gd name="T3" fmla="*/ 50 h 1035"/>
                <a:gd name="T4" fmla="*/ 519 w 1002"/>
                <a:gd name="T5" fmla="*/ 50 h 1035"/>
                <a:gd name="T6" fmla="*/ 476 w 1002"/>
                <a:gd name="T7" fmla="*/ 54 h 1035"/>
                <a:gd name="T8" fmla="*/ 443 w 1002"/>
                <a:gd name="T9" fmla="*/ 63 h 1035"/>
                <a:gd name="T10" fmla="*/ 424 w 1002"/>
                <a:gd name="T11" fmla="*/ 73 h 1035"/>
                <a:gd name="T12" fmla="*/ 413 w 1002"/>
                <a:gd name="T13" fmla="*/ 81 h 1035"/>
                <a:gd name="T14" fmla="*/ 405 w 1002"/>
                <a:gd name="T15" fmla="*/ 92 h 1035"/>
                <a:gd name="T16" fmla="*/ 394 w 1002"/>
                <a:gd name="T17" fmla="*/ 113 h 1035"/>
                <a:gd name="T18" fmla="*/ 385 w 1002"/>
                <a:gd name="T19" fmla="*/ 148 h 1035"/>
                <a:gd name="T20" fmla="*/ 380 w 1002"/>
                <a:gd name="T21" fmla="*/ 194 h 1035"/>
                <a:gd name="T22" fmla="*/ 379 w 1002"/>
                <a:gd name="T23" fmla="*/ 252 h 1035"/>
                <a:gd name="T24" fmla="*/ 379 w 1002"/>
                <a:gd name="T25" fmla="*/ 756 h 1035"/>
                <a:gd name="T26" fmla="*/ 380 w 1002"/>
                <a:gd name="T27" fmla="*/ 814 h 1035"/>
                <a:gd name="T28" fmla="*/ 385 w 1002"/>
                <a:gd name="T29" fmla="*/ 860 h 1035"/>
                <a:gd name="T30" fmla="*/ 394 w 1002"/>
                <a:gd name="T31" fmla="*/ 896 h 1035"/>
                <a:gd name="T32" fmla="*/ 405 w 1002"/>
                <a:gd name="T33" fmla="*/ 915 h 1035"/>
                <a:gd name="T34" fmla="*/ 413 w 1002"/>
                <a:gd name="T35" fmla="*/ 927 h 1035"/>
                <a:gd name="T36" fmla="*/ 424 w 1002"/>
                <a:gd name="T37" fmla="*/ 936 h 1035"/>
                <a:gd name="T38" fmla="*/ 443 w 1002"/>
                <a:gd name="T39" fmla="*/ 946 h 1035"/>
                <a:gd name="T40" fmla="*/ 476 w 1002"/>
                <a:gd name="T41" fmla="*/ 954 h 1035"/>
                <a:gd name="T42" fmla="*/ 519 w 1002"/>
                <a:gd name="T43" fmla="*/ 957 h 1035"/>
                <a:gd name="T44" fmla="*/ 743 w 1002"/>
                <a:gd name="T45" fmla="*/ 957 h 1035"/>
                <a:gd name="T46" fmla="*/ 772 w 1002"/>
                <a:gd name="T47" fmla="*/ 957 h 1035"/>
                <a:gd name="T48" fmla="*/ 819 w 1002"/>
                <a:gd name="T49" fmla="*/ 953 h 1035"/>
                <a:gd name="T50" fmla="*/ 855 w 1002"/>
                <a:gd name="T51" fmla="*/ 946 h 1035"/>
                <a:gd name="T52" fmla="*/ 883 w 1002"/>
                <a:gd name="T53" fmla="*/ 934 h 1035"/>
                <a:gd name="T54" fmla="*/ 904 w 1002"/>
                <a:gd name="T55" fmla="*/ 917 h 1035"/>
                <a:gd name="T56" fmla="*/ 919 w 1002"/>
                <a:gd name="T57" fmla="*/ 897 h 1035"/>
                <a:gd name="T58" fmla="*/ 930 w 1002"/>
                <a:gd name="T59" fmla="*/ 872 h 1035"/>
                <a:gd name="T60" fmla="*/ 943 w 1002"/>
                <a:gd name="T61" fmla="*/ 826 h 1035"/>
                <a:gd name="T62" fmla="*/ 1002 w 1002"/>
                <a:gd name="T63" fmla="*/ 792 h 1035"/>
                <a:gd name="T64" fmla="*/ 0 w 1002"/>
                <a:gd name="T65" fmla="*/ 1035 h 1035"/>
                <a:gd name="T66" fmla="*/ 0 w 1002"/>
                <a:gd name="T67" fmla="*/ 985 h 1035"/>
                <a:gd name="T68" fmla="*/ 48 w 1002"/>
                <a:gd name="T69" fmla="*/ 984 h 1035"/>
                <a:gd name="T70" fmla="*/ 86 w 1002"/>
                <a:gd name="T71" fmla="*/ 978 h 1035"/>
                <a:gd name="T72" fmla="*/ 114 w 1002"/>
                <a:gd name="T73" fmla="*/ 966 h 1035"/>
                <a:gd name="T74" fmla="*/ 125 w 1002"/>
                <a:gd name="T75" fmla="*/ 958 h 1035"/>
                <a:gd name="T76" fmla="*/ 136 w 1002"/>
                <a:gd name="T77" fmla="*/ 949 h 1035"/>
                <a:gd name="T78" fmla="*/ 143 w 1002"/>
                <a:gd name="T79" fmla="*/ 937 h 1035"/>
                <a:gd name="T80" fmla="*/ 154 w 1002"/>
                <a:gd name="T81" fmla="*/ 906 h 1035"/>
                <a:gd name="T82" fmla="*/ 161 w 1002"/>
                <a:gd name="T83" fmla="*/ 866 h 1035"/>
                <a:gd name="T84" fmla="*/ 163 w 1002"/>
                <a:gd name="T85" fmla="*/ 814 h 1035"/>
                <a:gd name="T86" fmla="*/ 163 w 1002"/>
                <a:gd name="T87" fmla="*/ 252 h 1035"/>
                <a:gd name="T88" fmla="*/ 163 w 1002"/>
                <a:gd name="T89" fmla="*/ 221 h 1035"/>
                <a:gd name="T90" fmla="*/ 161 w 1002"/>
                <a:gd name="T91" fmla="*/ 169 h 1035"/>
                <a:gd name="T92" fmla="*/ 154 w 1002"/>
                <a:gd name="T93" fmla="*/ 129 h 1035"/>
                <a:gd name="T94" fmla="*/ 143 w 1002"/>
                <a:gd name="T95" fmla="*/ 98 h 1035"/>
                <a:gd name="T96" fmla="*/ 136 w 1002"/>
                <a:gd name="T97" fmla="*/ 86 h 1035"/>
                <a:gd name="T98" fmla="*/ 125 w 1002"/>
                <a:gd name="T99" fmla="*/ 77 h 1035"/>
                <a:gd name="T100" fmla="*/ 114 w 1002"/>
                <a:gd name="T101" fmla="*/ 69 h 1035"/>
                <a:gd name="T102" fmla="*/ 86 w 1002"/>
                <a:gd name="T103" fmla="*/ 58 h 1035"/>
                <a:gd name="T104" fmla="*/ 48 w 1002"/>
                <a:gd name="T105" fmla="*/ 51 h 1035"/>
                <a:gd name="T106" fmla="*/ 0 w 1002"/>
                <a:gd name="T107" fmla="*/ 5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02" h="1035">
                  <a:moveTo>
                    <a:pt x="0" y="50"/>
                  </a:moveTo>
                  <a:lnTo>
                    <a:pt x="0" y="0"/>
                  </a:lnTo>
                  <a:lnTo>
                    <a:pt x="545" y="0"/>
                  </a:lnTo>
                  <a:lnTo>
                    <a:pt x="545" y="50"/>
                  </a:lnTo>
                  <a:lnTo>
                    <a:pt x="545" y="50"/>
                  </a:lnTo>
                  <a:lnTo>
                    <a:pt x="519" y="50"/>
                  </a:lnTo>
                  <a:lnTo>
                    <a:pt x="497" y="51"/>
                  </a:lnTo>
                  <a:lnTo>
                    <a:pt x="476" y="54"/>
                  </a:lnTo>
                  <a:lnTo>
                    <a:pt x="459" y="58"/>
                  </a:lnTo>
                  <a:lnTo>
                    <a:pt x="443" y="63"/>
                  </a:lnTo>
                  <a:lnTo>
                    <a:pt x="429" y="69"/>
                  </a:lnTo>
                  <a:lnTo>
                    <a:pt x="424" y="73"/>
                  </a:lnTo>
                  <a:lnTo>
                    <a:pt x="418" y="77"/>
                  </a:lnTo>
                  <a:lnTo>
                    <a:pt x="413" y="81"/>
                  </a:lnTo>
                  <a:lnTo>
                    <a:pt x="409" y="86"/>
                  </a:lnTo>
                  <a:lnTo>
                    <a:pt x="405" y="92"/>
                  </a:lnTo>
                  <a:lnTo>
                    <a:pt x="400" y="98"/>
                  </a:lnTo>
                  <a:lnTo>
                    <a:pt x="394" y="113"/>
                  </a:lnTo>
                  <a:lnTo>
                    <a:pt x="389" y="129"/>
                  </a:lnTo>
                  <a:lnTo>
                    <a:pt x="385" y="148"/>
                  </a:lnTo>
                  <a:lnTo>
                    <a:pt x="382" y="169"/>
                  </a:lnTo>
                  <a:lnTo>
                    <a:pt x="380" y="194"/>
                  </a:lnTo>
                  <a:lnTo>
                    <a:pt x="379" y="221"/>
                  </a:lnTo>
                  <a:lnTo>
                    <a:pt x="379" y="252"/>
                  </a:lnTo>
                  <a:lnTo>
                    <a:pt x="379" y="756"/>
                  </a:lnTo>
                  <a:lnTo>
                    <a:pt x="379" y="756"/>
                  </a:lnTo>
                  <a:lnTo>
                    <a:pt x="379" y="787"/>
                  </a:lnTo>
                  <a:lnTo>
                    <a:pt x="380" y="814"/>
                  </a:lnTo>
                  <a:lnTo>
                    <a:pt x="382" y="839"/>
                  </a:lnTo>
                  <a:lnTo>
                    <a:pt x="385" y="860"/>
                  </a:lnTo>
                  <a:lnTo>
                    <a:pt x="389" y="879"/>
                  </a:lnTo>
                  <a:lnTo>
                    <a:pt x="394" y="896"/>
                  </a:lnTo>
                  <a:lnTo>
                    <a:pt x="400" y="909"/>
                  </a:lnTo>
                  <a:lnTo>
                    <a:pt x="405" y="915"/>
                  </a:lnTo>
                  <a:lnTo>
                    <a:pt x="409" y="921"/>
                  </a:lnTo>
                  <a:lnTo>
                    <a:pt x="413" y="927"/>
                  </a:lnTo>
                  <a:lnTo>
                    <a:pt x="418" y="932"/>
                  </a:lnTo>
                  <a:lnTo>
                    <a:pt x="424" y="936"/>
                  </a:lnTo>
                  <a:lnTo>
                    <a:pt x="429" y="939"/>
                  </a:lnTo>
                  <a:lnTo>
                    <a:pt x="443" y="946"/>
                  </a:lnTo>
                  <a:lnTo>
                    <a:pt x="459" y="950"/>
                  </a:lnTo>
                  <a:lnTo>
                    <a:pt x="476" y="954"/>
                  </a:lnTo>
                  <a:lnTo>
                    <a:pt x="497" y="956"/>
                  </a:lnTo>
                  <a:lnTo>
                    <a:pt x="519" y="957"/>
                  </a:lnTo>
                  <a:lnTo>
                    <a:pt x="545" y="957"/>
                  </a:lnTo>
                  <a:lnTo>
                    <a:pt x="743" y="957"/>
                  </a:lnTo>
                  <a:lnTo>
                    <a:pt x="743" y="957"/>
                  </a:lnTo>
                  <a:lnTo>
                    <a:pt x="772" y="957"/>
                  </a:lnTo>
                  <a:lnTo>
                    <a:pt x="796" y="955"/>
                  </a:lnTo>
                  <a:lnTo>
                    <a:pt x="819" y="953"/>
                  </a:lnTo>
                  <a:lnTo>
                    <a:pt x="838" y="950"/>
                  </a:lnTo>
                  <a:lnTo>
                    <a:pt x="855" y="946"/>
                  </a:lnTo>
                  <a:lnTo>
                    <a:pt x="871" y="940"/>
                  </a:lnTo>
                  <a:lnTo>
                    <a:pt x="883" y="934"/>
                  </a:lnTo>
                  <a:lnTo>
                    <a:pt x="894" y="927"/>
                  </a:lnTo>
                  <a:lnTo>
                    <a:pt x="904" y="917"/>
                  </a:lnTo>
                  <a:lnTo>
                    <a:pt x="912" y="908"/>
                  </a:lnTo>
                  <a:lnTo>
                    <a:pt x="919" y="897"/>
                  </a:lnTo>
                  <a:lnTo>
                    <a:pt x="925" y="886"/>
                  </a:lnTo>
                  <a:lnTo>
                    <a:pt x="930" y="872"/>
                  </a:lnTo>
                  <a:lnTo>
                    <a:pt x="935" y="858"/>
                  </a:lnTo>
                  <a:lnTo>
                    <a:pt x="943" y="826"/>
                  </a:lnTo>
                  <a:lnTo>
                    <a:pt x="952" y="792"/>
                  </a:lnTo>
                  <a:lnTo>
                    <a:pt x="1002" y="792"/>
                  </a:lnTo>
                  <a:lnTo>
                    <a:pt x="988" y="1035"/>
                  </a:lnTo>
                  <a:lnTo>
                    <a:pt x="0" y="1035"/>
                  </a:lnTo>
                  <a:lnTo>
                    <a:pt x="0" y="985"/>
                  </a:lnTo>
                  <a:lnTo>
                    <a:pt x="0" y="985"/>
                  </a:lnTo>
                  <a:lnTo>
                    <a:pt x="25" y="985"/>
                  </a:lnTo>
                  <a:lnTo>
                    <a:pt x="48" y="984"/>
                  </a:lnTo>
                  <a:lnTo>
                    <a:pt x="68" y="982"/>
                  </a:lnTo>
                  <a:lnTo>
                    <a:pt x="86" y="978"/>
                  </a:lnTo>
                  <a:lnTo>
                    <a:pt x="101" y="973"/>
                  </a:lnTo>
                  <a:lnTo>
                    <a:pt x="114" y="966"/>
                  </a:lnTo>
                  <a:lnTo>
                    <a:pt x="120" y="963"/>
                  </a:lnTo>
                  <a:lnTo>
                    <a:pt x="125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0" y="923"/>
                  </a:lnTo>
                  <a:lnTo>
                    <a:pt x="154" y="906"/>
                  </a:lnTo>
                  <a:lnTo>
                    <a:pt x="158" y="888"/>
                  </a:lnTo>
                  <a:lnTo>
                    <a:pt x="161" y="866"/>
                  </a:lnTo>
                  <a:lnTo>
                    <a:pt x="162" y="842"/>
                  </a:lnTo>
                  <a:lnTo>
                    <a:pt x="163" y="814"/>
                  </a:lnTo>
                  <a:lnTo>
                    <a:pt x="163" y="783"/>
                  </a:lnTo>
                  <a:lnTo>
                    <a:pt x="163" y="252"/>
                  </a:lnTo>
                  <a:lnTo>
                    <a:pt x="163" y="252"/>
                  </a:lnTo>
                  <a:lnTo>
                    <a:pt x="163" y="221"/>
                  </a:lnTo>
                  <a:lnTo>
                    <a:pt x="162" y="194"/>
                  </a:lnTo>
                  <a:lnTo>
                    <a:pt x="161" y="169"/>
                  </a:lnTo>
                  <a:lnTo>
                    <a:pt x="158" y="148"/>
                  </a:lnTo>
                  <a:lnTo>
                    <a:pt x="154" y="129"/>
                  </a:lnTo>
                  <a:lnTo>
                    <a:pt x="150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5" y="77"/>
                  </a:lnTo>
                  <a:lnTo>
                    <a:pt x="120" y="73"/>
                  </a:lnTo>
                  <a:lnTo>
                    <a:pt x="114" y="69"/>
                  </a:lnTo>
                  <a:lnTo>
                    <a:pt x="101" y="63"/>
                  </a:lnTo>
                  <a:lnTo>
                    <a:pt x="86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5" name="Freeform 8"/>
            <p:cNvSpPr>
              <a:spLocks/>
            </p:cNvSpPr>
            <p:nvPr userDrawn="1"/>
          </p:nvSpPr>
          <p:spPr bwMode="auto">
            <a:xfrm>
              <a:off x="7023348" y="633579"/>
              <a:ext cx="142875" cy="136525"/>
            </a:xfrm>
            <a:custGeom>
              <a:avLst/>
              <a:gdLst>
                <a:gd name="T0" fmla="*/ 1028 w 1078"/>
                <a:gd name="T1" fmla="*/ 244 h 1035"/>
                <a:gd name="T2" fmla="*/ 1019 w 1078"/>
                <a:gd name="T3" fmla="*/ 209 h 1035"/>
                <a:gd name="T4" fmla="*/ 1006 w 1078"/>
                <a:gd name="T5" fmla="*/ 163 h 1035"/>
                <a:gd name="T6" fmla="*/ 995 w 1078"/>
                <a:gd name="T7" fmla="*/ 138 h 1035"/>
                <a:gd name="T8" fmla="*/ 979 w 1078"/>
                <a:gd name="T9" fmla="*/ 118 h 1035"/>
                <a:gd name="T10" fmla="*/ 959 w 1078"/>
                <a:gd name="T11" fmla="*/ 101 h 1035"/>
                <a:gd name="T12" fmla="*/ 931 w 1078"/>
                <a:gd name="T13" fmla="*/ 90 h 1035"/>
                <a:gd name="T14" fmla="*/ 895 w 1078"/>
                <a:gd name="T15" fmla="*/ 82 h 1035"/>
                <a:gd name="T16" fmla="*/ 848 w 1078"/>
                <a:gd name="T17" fmla="*/ 78 h 1035"/>
                <a:gd name="T18" fmla="*/ 646 w 1078"/>
                <a:gd name="T19" fmla="*/ 78 h 1035"/>
                <a:gd name="T20" fmla="*/ 646 w 1078"/>
                <a:gd name="T21" fmla="*/ 783 h 1035"/>
                <a:gd name="T22" fmla="*/ 648 w 1078"/>
                <a:gd name="T23" fmla="*/ 842 h 1035"/>
                <a:gd name="T24" fmla="*/ 652 w 1078"/>
                <a:gd name="T25" fmla="*/ 888 h 1035"/>
                <a:gd name="T26" fmla="*/ 661 w 1078"/>
                <a:gd name="T27" fmla="*/ 923 h 1035"/>
                <a:gd name="T28" fmla="*/ 672 w 1078"/>
                <a:gd name="T29" fmla="*/ 943 h 1035"/>
                <a:gd name="T30" fmla="*/ 680 w 1078"/>
                <a:gd name="T31" fmla="*/ 954 h 1035"/>
                <a:gd name="T32" fmla="*/ 691 w 1078"/>
                <a:gd name="T33" fmla="*/ 963 h 1035"/>
                <a:gd name="T34" fmla="*/ 711 w 1078"/>
                <a:gd name="T35" fmla="*/ 973 h 1035"/>
                <a:gd name="T36" fmla="*/ 743 w 1078"/>
                <a:gd name="T37" fmla="*/ 982 h 1035"/>
                <a:gd name="T38" fmla="*/ 786 w 1078"/>
                <a:gd name="T39" fmla="*/ 985 h 1035"/>
                <a:gd name="T40" fmla="*/ 812 w 1078"/>
                <a:gd name="T41" fmla="*/ 1035 h 1035"/>
                <a:gd name="T42" fmla="*/ 267 w 1078"/>
                <a:gd name="T43" fmla="*/ 985 h 1035"/>
                <a:gd name="T44" fmla="*/ 292 w 1078"/>
                <a:gd name="T45" fmla="*/ 985 h 1035"/>
                <a:gd name="T46" fmla="*/ 335 w 1078"/>
                <a:gd name="T47" fmla="*/ 982 h 1035"/>
                <a:gd name="T48" fmla="*/ 368 w 1078"/>
                <a:gd name="T49" fmla="*/ 973 h 1035"/>
                <a:gd name="T50" fmla="*/ 387 w 1078"/>
                <a:gd name="T51" fmla="*/ 963 h 1035"/>
                <a:gd name="T52" fmla="*/ 398 w 1078"/>
                <a:gd name="T53" fmla="*/ 954 h 1035"/>
                <a:gd name="T54" fmla="*/ 407 w 1078"/>
                <a:gd name="T55" fmla="*/ 943 h 1035"/>
                <a:gd name="T56" fmla="*/ 417 w 1078"/>
                <a:gd name="T57" fmla="*/ 923 h 1035"/>
                <a:gd name="T58" fmla="*/ 425 w 1078"/>
                <a:gd name="T59" fmla="*/ 888 h 1035"/>
                <a:gd name="T60" fmla="*/ 429 w 1078"/>
                <a:gd name="T61" fmla="*/ 842 h 1035"/>
                <a:gd name="T62" fmla="*/ 431 w 1078"/>
                <a:gd name="T63" fmla="*/ 783 h 1035"/>
                <a:gd name="T64" fmla="*/ 259 w 1078"/>
                <a:gd name="T65" fmla="*/ 78 h 1035"/>
                <a:gd name="T66" fmla="*/ 231 w 1078"/>
                <a:gd name="T67" fmla="*/ 78 h 1035"/>
                <a:gd name="T68" fmla="*/ 184 w 1078"/>
                <a:gd name="T69" fmla="*/ 82 h 1035"/>
                <a:gd name="T70" fmla="*/ 147 w 1078"/>
                <a:gd name="T71" fmla="*/ 90 h 1035"/>
                <a:gd name="T72" fmla="*/ 120 w 1078"/>
                <a:gd name="T73" fmla="*/ 101 h 1035"/>
                <a:gd name="T74" fmla="*/ 99 w 1078"/>
                <a:gd name="T75" fmla="*/ 118 h 1035"/>
                <a:gd name="T76" fmla="*/ 85 w 1078"/>
                <a:gd name="T77" fmla="*/ 138 h 1035"/>
                <a:gd name="T78" fmla="*/ 74 w 1078"/>
                <a:gd name="T79" fmla="*/ 163 h 1035"/>
                <a:gd name="T80" fmla="*/ 60 w 1078"/>
                <a:gd name="T81" fmla="*/ 209 h 1035"/>
                <a:gd name="T82" fmla="*/ 0 w 1078"/>
                <a:gd name="T83" fmla="*/ 244 h 1035"/>
                <a:gd name="T84" fmla="*/ 1064 w 1078"/>
                <a:gd name="T85" fmla="*/ 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8" h="1035">
                  <a:moveTo>
                    <a:pt x="1078" y="244"/>
                  </a:moveTo>
                  <a:lnTo>
                    <a:pt x="1028" y="244"/>
                  </a:lnTo>
                  <a:lnTo>
                    <a:pt x="1019" y="209"/>
                  </a:lnTo>
                  <a:lnTo>
                    <a:pt x="1019" y="209"/>
                  </a:lnTo>
                  <a:lnTo>
                    <a:pt x="1011" y="177"/>
                  </a:lnTo>
                  <a:lnTo>
                    <a:pt x="1006" y="163"/>
                  </a:lnTo>
                  <a:lnTo>
                    <a:pt x="1001" y="150"/>
                  </a:lnTo>
                  <a:lnTo>
                    <a:pt x="995" y="138"/>
                  </a:lnTo>
                  <a:lnTo>
                    <a:pt x="988" y="127"/>
                  </a:lnTo>
                  <a:lnTo>
                    <a:pt x="979" y="118"/>
                  </a:lnTo>
                  <a:lnTo>
                    <a:pt x="970" y="109"/>
                  </a:lnTo>
                  <a:lnTo>
                    <a:pt x="959" y="101"/>
                  </a:lnTo>
                  <a:lnTo>
                    <a:pt x="946" y="95"/>
                  </a:lnTo>
                  <a:lnTo>
                    <a:pt x="931" y="90"/>
                  </a:lnTo>
                  <a:lnTo>
                    <a:pt x="914" y="85"/>
                  </a:lnTo>
                  <a:lnTo>
                    <a:pt x="895" y="82"/>
                  </a:lnTo>
                  <a:lnTo>
                    <a:pt x="872" y="80"/>
                  </a:lnTo>
                  <a:lnTo>
                    <a:pt x="848" y="78"/>
                  </a:lnTo>
                  <a:lnTo>
                    <a:pt x="819" y="78"/>
                  </a:lnTo>
                  <a:lnTo>
                    <a:pt x="646" y="78"/>
                  </a:lnTo>
                  <a:lnTo>
                    <a:pt x="646" y="783"/>
                  </a:lnTo>
                  <a:lnTo>
                    <a:pt x="646" y="783"/>
                  </a:lnTo>
                  <a:lnTo>
                    <a:pt x="647" y="814"/>
                  </a:lnTo>
                  <a:lnTo>
                    <a:pt x="648" y="842"/>
                  </a:lnTo>
                  <a:lnTo>
                    <a:pt x="649" y="866"/>
                  </a:lnTo>
                  <a:lnTo>
                    <a:pt x="652" y="888"/>
                  </a:lnTo>
                  <a:lnTo>
                    <a:pt x="656" y="906"/>
                  </a:lnTo>
                  <a:lnTo>
                    <a:pt x="661" y="923"/>
                  </a:lnTo>
                  <a:lnTo>
                    <a:pt x="668" y="937"/>
                  </a:lnTo>
                  <a:lnTo>
                    <a:pt x="672" y="943"/>
                  </a:lnTo>
                  <a:lnTo>
                    <a:pt x="676" y="949"/>
                  </a:lnTo>
                  <a:lnTo>
                    <a:pt x="680" y="954"/>
                  </a:lnTo>
                  <a:lnTo>
                    <a:pt x="685" y="958"/>
                  </a:lnTo>
                  <a:lnTo>
                    <a:pt x="691" y="963"/>
                  </a:lnTo>
                  <a:lnTo>
                    <a:pt x="697" y="966"/>
                  </a:lnTo>
                  <a:lnTo>
                    <a:pt x="711" y="973"/>
                  </a:lnTo>
                  <a:lnTo>
                    <a:pt x="726" y="978"/>
                  </a:lnTo>
                  <a:lnTo>
                    <a:pt x="743" y="982"/>
                  </a:lnTo>
                  <a:lnTo>
                    <a:pt x="764" y="984"/>
                  </a:lnTo>
                  <a:lnTo>
                    <a:pt x="786" y="985"/>
                  </a:lnTo>
                  <a:lnTo>
                    <a:pt x="812" y="985"/>
                  </a:lnTo>
                  <a:lnTo>
                    <a:pt x="812" y="1035"/>
                  </a:lnTo>
                  <a:lnTo>
                    <a:pt x="267" y="1035"/>
                  </a:lnTo>
                  <a:lnTo>
                    <a:pt x="267" y="985"/>
                  </a:lnTo>
                  <a:lnTo>
                    <a:pt x="267" y="985"/>
                  </a:lnTo>
                  <a:lnTo>
                    <a:pt x="292" y="985"/>
                  </a:lnTo>
                  <a:lnTo>
                    <a:pt x="315" y="984"/>
                  </a:lnTo>
                  <a:lnTo>
                    <a:pt x="335" y="982"/>
                  </a:lnTo>
                  <a:lnTo>
                    <a:pt x="353" y="978"/>
                  </a:lnTo>
                  <a:lnTo>
                    <a:pt x="368" y="973"/>
                  </a:lnTo>
                  <a:lnTo>
                    <a:pt x="381" y="966"/>
                  </a:lnTo>
                  <a:lnTo>
                    <a:pt x="387" y="963"/>
                  </a:lnTo>
                  <a:lnTo>
                    <a:pt x="394" y="958"/>
                  </a:lnTo>
                  <a:lnTo>
                    <a:pt x="398" y="954"/>
                  </a:lnTo>
                  <a:lnTo>
                    <a:pt x="403" y="949"/>
                  </a:lnTo>
                  <a:lnTo>
                    <a:pt x="407" y="943"/>
                  </a:lnTo>
                  <a:lnTo>
                    <a:pt x="411" y="937"/>
                  </a:lnTo>
                  <a:lnTo>
                    <a:pt x="417" y="923"/>
                  </a:lnTo>
                  <a:lnTo>
                    <a:pt x="422" y="906"/>
                  </a:lnTo>
                  <a:lnTo>
                    <a:pt x="425" y="888"/>
                  </a:lnTo>
                  <a:lnTo>
                    <a:pt x="428" y="866"/>
                  </a:lnTo>
                  <a:lnTo>
                    <a:pt x="429" y="842"/>
                  </a:lnTo>
                  <a:lnTo>
                    <a:pt x="430" y="814"/>
                  </a:lnTo>
                  <a:lnTo>
                    <a:pt x="431" y="783"/>
                  </a:lnTo>
                  <a:lnTo>
                    <a:pt x="431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31" y="78"/>
                  </a:lnTo>
                  <a:lnTo>
                    <a:pt x="205" y="80"/>
                  </a:lnTo>
                  <a:lnTo>
                    <a:pt x="184" y="82"/>
                  </a:lnTo>
                  <a:lnTo>
                    <a:pt x="165" y="85"/>
                  </a:lnTo>
                  <a:lnTo>
                    <a:pt x="147" y="90"/>
                  </a:lnTo>
                  <a:lnTo>
                    <a:pt x="133" y="95"/>
                  </a:lnTo>
                  <a:lnTo>
                    <a:pt x="120" y="101"/>
                  </a:lnTo>
                  <a:lnTo>
                    <a:pt x="108" y="109"/>
                  </a:lnTo>
                  <a:lnTo>
                    <a:pt x="99" y="118"/>
                  </a:lnTo>
                  <a:lnTo>
                    <a:pt x="91" y="127"/>
                  </a:lnTo>
                  <a:lnTo>
                    <a:pt x="85" y="138"/>
                  </a:lnTo>
                  <a:lnTo>
                    <a:pt x="79" y="150"/>
                  </a:lnTo>
                  <a:lnTo>
                    <a:pt x="74" y="163"/>
                  </a:lnTo>
                  <a:lnTo>
                    <a:pt x="68" y="177"/>
                  </a:lnTo>
                  <a:lnTo>
                    <a:pt x="60" y="209"/>
                  </a:lnTo>
                  <a:lnTo>
                    <a:pt x="51" y="244"/>
                  </a:lnTo>
                  <a:lnTo>
                    <a:pt x="0" y="244"/>
                  </a:lnTo>
                  <a:lnTo>
                    <a:pt x="15" y="0"/>
                  </a:lnTo>
                  <a:lnTo>
                    <a:pt x="1064" y="0"/>
                  </a:lnTo>
                  <a:lnTo>
                    <a:pt x="1078" y="2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6" name="Freeform 9"/>
            <p:cNvSpPr>
              <a:spLocks/>
            </p:cNvSpPr>
            <p:nvPr userDrawn="1"/>
          </p:nvSpPr>
          <p:spPr bwMode="auto">
            <a:xfrm>
              <a:off x="7193211" y="633579"/>
              <a:ext cx="73025" cy="136525"/>
            </a:xfrm>
            <a:custGeom>
              <a:avLst/>
              <a:gdLst>
                <a:gd name="T0" fmla="*/ 0 w 545"/>
                <a:gd name="T1" fmla="*/ 985 h 1035"/>
                <a:gd name="T2" fmla="*/ 26 w 545"/>
                <a:gd name="T3" fmla="*/ 985 h 1035"/>
                <a:gd name="T4" fmla="*/ 69 w 545"/>
                <a:gd name="T5" fmla="*/ 982 h 1035"/>
                <a:gd name="T6" fmla="*/ 102 w 545"/>
                <a:gd name="T7" fmla="*/ 973 h 1035"/>
                <a:gd name="T8" fmla="*/ 121 w 545"/>
                <a:gd name="T9" fmla="*/ 963 h 1035"/>
                <a:gd name="T10" fmla="*/ 131 w 545"/>
                <a:gd name="T11" fmla="*/ 954 h 1035"/>
                <a:gd name="T12" fmla="*/ 140 w 545"/>
                <a:gd name="T13" fmla="*/ 943 h 1035"/>
                <a:gd name="T14" fmla="*/ 151 w 545"/>
                <a:gd name="T15" fmla="*/ 923 h 1035"/>
                <a:gd name="T16" fmla="*/ 159 w 545"/>
                <a:gd name="T17" fmla="*/ 888 h 1035"/>
                <a:gd name="T18" fmla="*/ 163 w 545"/>
                <a:gd name="T19" fmla="*/ 842 h 1035"/>
                <a:gd name="T20" fmla="*/ 164 w 545"/>
                <a:gd name="T21" fmla="*/ 783 h 1035"/>
                <a:gd name="T22" fmla="*/ 164 w 545"/>
                <a:gd name="T23" fmla="*/ 252 h 1035"/>
                <a:gd name="T24" fmla="*/ 163 w 545"/>
                <a:gd name="T25" fmla="*/ 194 h 1035"/>
                <a:gd name="T26" fmla="*/ 159 w 545"/>
                <a:gd name="T27" fmla="*/ 148 h 1035"/>
                <a:gd name="T28" fmla="*/ 151 w 545"/>
                <a:gd name="T29" fmla="*/ 113 h 1035"/>
                <a:gd name="T30" fmla="*/ 140 w 545"/>
                <a:gd name="T31" fmla="*/ 92 h 1035"/>
                <a:gd name="T32" fmla="*/ 131 w 545"/>
                <a:gd name="T33" fmla="*/ 81 h 1035"/>
                <a:gd name="T34" fmla="*/ 121 w 545"/>
                <a:gd name="T35" fmla="*/ 73 h 1035"/>
                <a:gd name="T36" fmla="*/ 102 w 545"/>
                <a:gd name="T37" fmla="*/ 63 h 1035"/>
                <a:gd name="T38" fmla="*/ 69 w 545"/>
                <a:gd name="T39" fmla="*/ 54 h 1035"/>
                <a:gd name="T40" fmla="*/ 26 w 545"/>
                <a:gd name="T41" fmla="*/ 50 h 1035"/>
                <a:gd name="T42" fmla="*/ 0 w 545"/>
                <a:gd name="T43" fmla="*/ 0 h 1035"/>
                <a:gd name="T44" fmla="*/ 545 w 545"/>
                <a:gd name="T45" fmla="*/ 50 h 1035"/>
                <a:gd name="T46" fmla="*/ 520 w 545"/>
                <a:gd name="T47" fmla="*/ 50 h 1035"/>
                <a:gd name="T48" fmla="*/ 477 w 545"/>
                <a:gd name="T49" fmla="*/ 54 h 1035"/>
                <a:gd name="T50" fmla="*/ 444 w 545"/>
                <a:gd name="T51" fmla="*/ 63 h 1035"/>
                <a:gd name="T52" fmla="*/ 425 w 545"/>
                <a:gd name="T53" fmla="*/ 73 h 1035"/>
                <a:gd name="T54" fmla="*/ 413 w 545"/>
                <a:gd name="T55" fmla="*/ 81 h 1035"/>
                <a:gd name="T56" fmla="*/ 405 w 545"/>
                <a:gd name="T57" fmla="*/ 92 h 1035"/>
                <a:gd name="T58" fmla="*/ 395 w 545"/>
                <a:gd name="T59" fmla="*/ 113 h 1035"/>
                <a:gd name="T60" fmla="*/ 386 w 545"/>
                <a:gd name="T61" fmla="*/ 148 h 1035"/>
                <a:gd name="T62" fmla="*/ 381 w 545"/>
                <a:gd name="T63" fmla="*/ 194 h 1035"/>
                <a:gd name="T64" fmla="*/ 380 w 545"/>
                <a:gd name="T65" fmla="*/ 252 h 1035"/>
                <a:gd name="T66" fmla="*/ 380 w 545"/>
                <a:gd name="T67" fmla="*/ 783 h 1035"/>
                <a:gd name="T68" fmla="*/ 381 w 545"/>
                <a:gd name="T69" fmla="*/ 842 h 1035"/>
                <a:gd name="T70" fmla="*/ 386 w 545"/>
                <a:gd name="T71" fmla="*/ 888 h 1035"/>
                <a:gd name="T72" fmla="*/ 395 w 545"/>
                <a:gd name="T73" fmla="*/ 923 h 1035"/>
                <a:gd name="T74" fmla="*/ 405 w 545"/>
                <a:gd name="T75" fmla="*/ 943 h 1035"/>
                <a:gd name="T76" fmla="*/ 413 w 545"/>
                <a:gd name="T77" fmla="*/ 954 h 1035"/>
                <a:gd name="T78" fmla="*/ 425 w 545"/>
                <a:gd name="T79" fmla="*/ 963 h 1035"/>
                <a:gd name="T80" fmla="*/ 444 w 545"/>
                <a:gd name="T81" fmla="*/ 973 h 1035"/>
                <a:gd name="T82" fmla="*/ 477 w 545"/>
                <a:gd name="T83" fmla="*/ 982 h 1035"/>
                <a:gd name="T84" fmla="*/ 520 w 545"/>
                <a:gd name="T85" fmla="*/ 985 h 1035"/>
                <a:gd name="T86" fmla="*/ 545 w 545"/>
                <a:gd name="T87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5" h="1035">
                  <a:moveTo>
                    <a:pt x="0" y="1035"/>
                  </a:moveTo>
                  <a:lnTo>
                    <a:pt x="0" y="985"/>
                  </a:lnTo>
                  <a:lnTo>
                    <a:pt x="0" y="985"/>
                  </a:lnTo>
                  <a:lnTo>
                    <a:pt x="26" y="985"/>
                  </a:lnTo>
                  <a:lnTo>
                    <a:pt x="48" y="984"/>
                  </a:lnTo>
                  <a:lnTo>
                    <a:pt x="69" y="982"/>
                  </a:lnTo>
                  <a:lnTo>
                    <a:pt x="86" y="978"/>
                  </a:lnTo>
                  <a:lnTo>
                    <a:pt x="102" y="973"/>
                  </a:lnTo>
                  <a:lnTo>
                    <a:pt x="115" y="966"/>
                  </a:lnTo>
                  <a:lnTo>
                    <a:pt x="121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1" y="923"/>
                  </a:lnTo>
                  <a:lnTo>
                    <a:pt x="155" y="906"/>
                  </a:lnTo>
                  <a:lnTo>
                    <a:pt x="159" y="888"/>
                  </a:lnTo>
                  <a:lnTo>
                    <a:pt x="162" y="866"/>
                  </a:lnTo>
                  <a:lnTo>
                    <a:pt x="163" y="842"/>
                  </a:lnTo>
                  <a:lnTo>
                    <a:pt x="164" y="814"/>
                  </a:lnTo>
                  <a:lnTo>
                    <a:pt x="164" y="783"/>
                  </a:lnTo>
                  <a:lnTo>
                    <a:pt x="164" y="252"/>
                  </a:lnTo>
                  <a:lnTo>
                    <a:pt x="164" y="252"/>
                  </a:lnTo>
                  <a:lnTo>
                    <a:pt x="164" y="221"/>
                  </a:lnTo>
                  <a:lnTo>
                    <a:pt x="163" y="194"/>
                  </a:lnTo>
                  <a:lnTo>
                    <a:pt x="162" y="169"/>
                  </a:lnTo>
                  <a:lnTo>
                    <a:pt x="159" y="148"/>
                  </a:lnTo>
                  <a:lnTo>
                    <a:pt x="155" y="129"/>
                  </a:lnTo>
                  <a:lnTo>
                    <a:pt x="151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6" y="58"/>
                  </a:lnTo>
                  <a:lnTo>
                    <a:pt x="69" y="54"/>
                  </a:lnTo>
                  <a:lnTo>
                    <a:pt x="48" y="51"/>
                  </a:lnTo>
                  <a:lnTo>
                    <a:pt x="26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45" y="0"/>
                  </a:lnTo>
                  <a:lnTo>
                    <a:pt x="545" y="50"/>
                  </a:lnTo>
                  <a:lnTo>
                    <a:pt x="545" y="50"/>
                  </a:lnTo>
                  <a:lnTo>
                    <a:pt x="520" y="50"/>
                  </a:lnTo>
                  <a:lnTo>
                    <a:pt x="497" y="51"/>
                  </a:lnTo>
                  <a:lnTo>
                    <a:pt x="477" y="54"/>
                  </a:lnTo>
                  <a:lnTo>
                    <a:pt x="459" y="58"/>
                  </a:lnTo>
                  <a:lnTo>
                    <a:pt x="444" y="63"/>
                  </a:lnTo>
                  <a:lnTo>
                    <a:pt x="430" y="69"/>
                  </a:lnTo>
                  <a:lnTo>
                    <a:pt x="425" y="73"/>
                  </a:lnTo>
                  <a:lnTo>
                    <a:pt x="418" y="77"/>
                  </a:lnTo>
                  <a:lnTo>
                    <a:pt x="413" y="81"/>
                  </a:lnTo>
                  <a:lnTo>
                    <a:pt x="409" y="86"/>
                  </a:lnTo>
                  <a:lnTo>
                    <a:pt x="405" y="92"/>
                  </a:lnTo>
                  <a:lnTo>
                    <a:pt x="401" y="98"/>
                  </a:lnTo>
                  <a:lnTo>
                    <a:pt x="395" y="113"/>
                  </a:lnTo>
                  <a:lnTo>
                    <a:pt x="390" y="129"/>
                  </a:lnTo>
                  <a:lnTo>
                    <a:pt x="386" y="148"/>
                  </a:lnTo>
                  <a:lnTo>
                    <a:pt x="383" y="169"/>
                  </a:lnTo>
                  <a:lnTo>
                    <a:pt x="381" y="194"/>
                  </a:lnTo>
                  <a:lnTo>
                    <a:pt x="380" y="221"/>
                  </a:lnTo>
                  <a:lnTo>
                    <a:pt x="380" y="252"/>
                  </a:lnTo>
                  <a:lnTo>
                    <a:pt x="380" y="783"/>
                  </a:lnTo>
                  <a:lnTo>
                    <a:pt x="380" y="783"/>
                  </a:lnTo>
                  <a:lnTo>
                    <a:pt x="380" y="814"/>
                  </a:lnTo>
                  <a:lnTo>
                    <a:pt x="381" y="842"/>
                  </a:lnTo>
                  <a:lnTo>
                    <a:pt x="383" y="866"/>
                  </a:lnTo>
                  <a:lnTo>
                    <a:pt x="386" y="888"/>
                  </a:lnTo>
                  <a:lnTo>
                    <a:pt x="390" y="906"/>
                  </a:lnTo>
                  <a:lnTo>
                    <a:pt x="395" y="923"/>
                  </a:lnTo>
                  <a:lnTo>
                    <a:pt x="401" y="937"/>
                  </a:lnTo>
                  <a:lnTo>
                    <a:pt x="405" y="943"/>
                  </a:lnTo>
                  <a:lnTo>
                    <a:pt x="409" y="949"/>
                  </a:lnTo>
                  <a:lnTo>
                    <a:pt x="413" y="954"/>
                  </a:lnTo>
                  <a:lnTo>
                    <a:pt x="418" y="958"/>
                  </a:lnTo>
                  <a:lnTo>
                    <a:pt x="425" y="963"/>
                  </a:lnTo>
                  <a:lnTo>
                    <a:pt x="430" y="966"/>
                  </a:lnTo>
                  <a:lnTo>
                    <a:pt x="444" y="973"/>
                  </a:lnTo>
                  <a:lnTo>
                    <a:pt x="459" y="978"/>
                  </a:lnTo>
                  <a:lnTo>
                    <a:pt x="477" y="982"/>
                  </a:lnTo>
                  <a:lnTo>
                    <a:pt x="497" y="984"/>
                  </a:lnTo>
                  <a:lnTo>
                    <a:pt x="520" y="985"/>
                  </a:lnTo>
                  <a:lnTo>
                    <a:pt x="545" y="985"/>
                  </a:lnTo>
                  <a:lnTo>
                    <a:pt x="545" y="1035"/>
                  </a:lnTo>
                  <a:lnTo>
                    <a:pt x="0" y="10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7" name="Freeform 10"/>
            <p:cNvSpPr>
              <a:spLocks noEditPoints="1"/>
            </p:cNvSpPr>
            <p:nvPr userDrawn="1"/>
          </p:nvSpPr>
          <p:spPr bwMode="auto">
            <a:xfrm>
              <a:off x="7301161" y="630404"/>
              <a:ext cx="152400" cy="144463"/>
            </a:xfrm>
            <a:custGeom>
              <a:avLst/>
              <a:gdLst>
                <a:gd name="T0" fmla="*/ 489 w 1152"/>
                <a:gd name="T1" fmla="*/ 1087 h 1094"/>
                <a:gd name="T2" fmla="*/ 353 w 1152"/>
                <a:gd name="T3" fmla="*/ 1051 h 1094"/>
                <a:gd name="T4" fmla="*/ 232 w 1152"/>
                <a:gd name="T5" fmla="*/ 984 h 1094"/>
                <a:gd name="T6" fmla="*/ 132 w 1152"/>
                <a:gd name="T7" fmla="*/ 894 h 1094"/>
                <a:gd name="T8" fmla="*/ 57 w 1152"/>
                <a:gd name="T9" fmla="*/ 783 h 1094"/>
                <a:gd name="T10" fmla="*/ 12 w 1152"/>
                <a:gd name="T11" fmla="*/ 656 h 1094"/>
                <a:gd name="T12" fmla="*/ 0 w 1152"/>
                <a:gd name="T13" fmla="*/ 547 h 1094"/>
                <a:gd name="T14" fmla="*/ 19 w 1152"/>
                <a:gd name="T15" fmla="*/ 411 h 1094"/>
                <a:gd name="T16" fmla="*/ 70 w 1152"/>
                <a:gd name="T17" fmla="*/ 287 h 1094"/>
                <a:gd name="T18" fmla="*/ 151 w 1152"/>
                <a:gd name="T19" fmla="*/ 180 h 1094"/>
                <a:gd name="T20" fmla="*/ 255 w 1152"/>
                <a:gd name="T21" fmla="*/ 94 h 1094"/>
                <a:gd name="T22" fmla="*/ 379 w 1152"/>
                <a:gd name="T23" fmla="*/ 33 h 1094"/>
                <a:gd name="T24" fmla="*/ 518 w 1152"/>
                <a:gd name="T25" fmla="*/ 3 h 1094"/>
                <a:gd name="T26" fmla="*/ 635 w 1152"/>
                <a:gd name="T27" fmla="*/ 3 h 1094"/>
                <a:gd name="T28" fmla="*/ 773 w 1152"/>
                <a:gd name="T29" fmla="*/ 33 h 1094"/>
                <a:gd name="T30" fmla="*/ 897 w 1152"/>
                <a:gd name="T31" fmla="*/ 94 h 1094"/>
                <a:gd name="T32" fmla="*/ 1001 w 1152"/>
                <a:gd name="T33" fmla="*/ 180 h 1094"/>
                <a:gd name="T34" fmla="*/ 1082 w 1152"/>
                <a:gd name="T35" fmla="*/ 287 h 1094"/>
                <a:gd name="T36" fmla="*/ 1133 w 1152"/>
                <a:gd name="T37" fmla="*/ 411 h 1094"/>
                <a:gd name="T38" fmla="*/ 1152 w 1152"/>
                <a:gd name="T39" fmla="*/ 547 h 1094"/>
                <a:gd name="T40" fmla="*/ 1139 w 1152"/>
                <a:gd name="T41" fmla="*/ 656 h 1094"/>
                <a:gd name="T42" fmla="*/ 1094 w 1152"/>
                <a:gd name="T43" fmla="*/ 783 h 1094"/>
                <a:gd name="T44" fmla="*/ 1020 w 1152"/>
                <a:gd name="T45" fmla="*/ 894 h 1094"/>
                <a:gd name="T46" fmla="*/ 919 w 1152"/>
                <a:gd name="T47" fmla="*/ 984 h 1094"/>
                <a:gd name="T48" fmla="*/ 800 w 1152"/>
                <a:gd name="T49" fmla="*/ 1051 h 1094"/>
                <a:gd name="T50" fmla="*/ 664 w 1152"/>
                <a:gd name="T51" fmla="*/ 1087 h 1094"/>
                <a:gd name="T52" fmla="*/ 577 w 1152"/>
                <a:gd name="T53" fmla="*/ 82 h 1094"/>
                <a:gd name="T54" fmla="*/ 492 w 1152"/>
                <a:gd name="T55" fmla="*/ 94 h 1094"/>
                <a:gd name="T56" fmla="*/ 404 w 1152"/>
                <a:gd name="T57" fmla="*/ 137 h 1094"/>
                <a:gd name="T58" fmla="*/ 336 w 1152"/>
                <a:gd name="T59" fmla="*/ 204 h 1094"/>
                <a:gd name="T60" fmla="*/ 285 w 1152"/>
                <a:gd name="T61" fmla="*/ 290 h 1094"/>
                <a:gd name="T62" fmla="*/ 253 w 1152"/>
                <a:gd name="T63" fmla="*/ 386 h 1094"/>
                <a:gd name="T64" fmla="*/ 234 w 1152"/>
                <a:gd name="T65" fmla="*/ 507 h 1094"/>
                <a:gd name="T66" fmla="*/ 240 w 1152"/>
                <a:gd name="T67" fmla="*/ 647 h 1094"/>
                <a:gd name="T68" fmla="*/ 264 w 1152"/>
                <a:gd name="T69" fmla="*/ 747 h 1094"/>
                <a:gd name="T70" fmla="*/ 303 w 1152"/>
                <a:gd name="T71" fmla="*/ 840 h 1094"/>
                <a:gd name="T72" fmla="*/ 360 w 1152"/>
                <a:gd name="T73" fmla="*/ 919 h 1094"/>
                <a:gd name="T74" fmla="*/ 437 w 1152"/>
                <a:gd name="T75" fmla="*/ 977 h 1094"/>
                <a:gd name="T76" fmla="*/ 533 w 1152"/>
                <a:gd name="T77" fmla="*/ 1008 h 1094"/>
                <a:gd name="T78" fmla="*/ 621 w 1152"/>
                <a:gd name="T79" fmla="*/ 1008 h 1094"/>
                <a:gd name="T80" fmla="*/ 716 w 1152"/>
                <a:gd name="T81" fmla="*/ 977 h 1094"/>
                <a:gd name="T82" fmla="*/ 793 w 1152"/>
                <a:gd name="T83" fmla="*/ 919 h 1094"/>
                <a:gd name="T84" fmla="*/ 850 w 1152"/>
                <a:gd name="T85" fmla="*/ 840 h 1094"/>
                <a:gd name="T86" fmla="*/ 890 w 1152"/>
                <a:gd name="T87" fmla="*/ 747 h 1094"/>
                <a:gd name="T88" fmla="*/ 912 w 1152"/>
                <a:gd name="T89" fmla="*/ 647 h 1094"/>
                <a:gd name="T90" fmla="*/ 918 w 1152"/>
                <a:gd name="T91" fmla="*/ 507 h 1094"/>
                <a:gd name="T92" fmla="*/ 901 w 1152"/>
                <a:gd name="T93" fmla="*/ 386 h 1094"/>
                <a:gd name="T94" fmla="*/ 867 w 1152"/>
                <a:gd name="T95" fmla="*/ 290 h 1094"/>
                <a:gd name="T96" fmla="*/ 817 w 1152"/>
                <a:gd name="T97" fmla="*/ 204 h 1094"/>
                <a:gd name="T98" fmla="*/ 749 w 1152"/>
                <a:gd name="T99" fmla="*/ 137 h 1094"/>
                <a:gd name="T100" fmla="*/ 662 w 1152"/>
                <a:gd name="T101" fmla="*/ 94 h 1094"/>
                <a:gd name="T102" fmla="*/ 577 w 1152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2" h="1094">
                  <a:moveTo>
                    <a:pt x="577" y="1094"/>
                  </a:moveTo>
                  <a:lnTo>
                    <a:pt x="577" y="1094"/>
                  </a:lnTo>
                  <a:lnTo>
                    <a:pt x="547" y="1093"/>
                  </a:lnTo>
                  <a:lnTo>
                    <a:pt x="518" y="1091"/>
                  </a:lnTo>
                  <a:lnTo>
                    <a:pt x="489" y="1087"/>
                  </a:lnTo>
                  <a:lnTo>
                    <a:pt x="460" y="1082"/>
                  </a:lnTo>
                  <a:lnTo>
                    <a:pt x="433" y="1076"/>
                  </a:lnTo>
                  <a:lnTo>
                    <a:pt x="406" y="1069"/>
                  </a:lnTo>
                  <a:lnTo>
                    <a:pt x="379" y="1060"/>
                  </a:lnTo>
                  <a:lnTo>
                    <a:pt x="353" y="1051"/>
                  </a:lnTo>
                  <a:lnTo>
                    <a:pt x="327" y="1039"/>
                  </a:lnTo>
                  <a:lnTo>
                    <a:pt x="303" y="1027"/>
                  </a:lnTo>
                  <a:lnTo>
                    <a:pt x="278" y="1014"/>
                  </a:lnTo>
                  <a:lnTo>
                    <a:pt x="255" y="1000"/>
                  </a:lnTo>
                  <a:lnTo>
                    <a:pt x="232" y="984"/>
                  </a:lnTo>
                  <a:lnTo>
                    <a:pt x="211" y="968"/>
                  </a:lnTo>
                  <a:lnTo>
                    <a:pt x="189" y="950"/>
                  </a:lnTo>
                  <a:lnTo>
                    <a:pt x="170" y="933"/>
                  </a:lnTo>
                  <a:lnTo>
                    <a:pt x="151" y="914"/>
                  </a:lnTo>
                  <a:lnTo>
                    <a:pt x="132" y="894"/>
                  </a:lnTo>
                  <a:lnTo>
                    <a:pt x="115" y="873"/>
                  </a:lnTo>
                  <a:lnTo>
                    <a:pt x="99" y="851"/>
                  </a:lnTo>
                  <a:lnTo>
                    <a:pt x="84" y="830"/>
                  </a:lnTo>
                  <a:lnTo>
                    <a:pt x="70" y="806"/>
                  </a:lnTo>
                  <a:lnTo>
                    <a:pt x="57" y="783"/>
                  </a:lnTo>
                  <a:lnTo>
                    <a:pt x="46" y="758"/>
                  </a:lnTo>
                  <a:lnTo>
                    <a:pt x="36" y="734"/>
                  </a:lnTo>
                  <a:lnTo>
                    <a:pt x="27" y="708"/>
                  </a:lnTo>
                  <a:lnTo>
                    <a:pt x="19" y="683"/>
                  </a:lnTo>
                  <a:lnTo>
                    <a:pt x="12" y="656"/>
                  </a:lnTo>
                  <a:lnTo>
                    <a:pt x="7" y="629"/>
                  </a:lnTo>
                  <a:lnTo>
                    <a:pt x="3" y="602"/>
                  </a:lnTo>
                  <a:lnTo>
                    <a:pt x="1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1" y="519"/>
                  </a:lnTo>
                  <a:lnTo>
                    <a:pt x="3" y="491"/>
                  </a:lnTo>
                  <a:lnTo>
                    <a:pt x="7" y="464"/>
                  </a:lnTo>
                  <a:lnTo>
                    <a:pt x="12" y="437"/>
                  </a:lnTo>
                  <a:lnTo>
                    <a:pt x="19" y="411"/>
                  </a:lnTo>
                  <a:lnTo>
                    <a:pt x="27" y="385"/>
                  </a:lnTo>
                  <a:lnTo>
                    <a:pt x="36" y="360"/>
                  </a:lnTo>
                  <a:lnTo>
                    <a:pt x="46" y="335"/>
                  </a:lnTo>
                  <a:lnTo>
                    <a:pt x="57" y="310"/>
                  </a:lnTo>
                  <a:lnTo>
                    <a:pt x="70" y="287"/>
                  </a:lnTo>
                  <a:lnTo>
                    <a:pt x="84" y="264"/>
                  </a:lnTo>
                  <a:lnTo>
                    <a:pt x="99" y="242"/>
                  </a:lnTo>
                  <a:lnTo>
                    <a:pt x="115" y="220"/>
                  </a:lnTo>
                  <a:lnTo>
                    <a:pt x="132" y="200"/>
                  </a:lnTo>
                  <a:lnTo>
                    <a:pt x="151" y="180"/>
                  </a:lnTo>
                  <a:lnTo>
                    <a:pt x="170" y="161"/>
                  </a:lnTo>
                  <a:lnTo>
                    <a:pt x="189" y="143"/>
                  </a:lnTo>
                  <a:lnTo>
                    <a:pt x="211" y="125"/>
                  </a:lnTo>
                  <a:lnTo>
                    <a:pt x="232" y="109"/>
                  </a:lnTo>
                  <a:lnTo>
                    <a:pt x="255" y="94"/>
                  </a:lnTo>
                  <a:lnTo>
                    <a:pt x="278" y="79"/>
                  </a:lnTo>
                  <a:lnTo>
                    <a:pt x="303" y="66"/>
                  </a:lnTo>
                  <a:lnTo>
                    <a:pt x="327" y="54"/>
                  </a:lnTo>
                  <a:lnTo>
                    <a:pt x="353" y="44"/>
                  </a:lnTo>
                  <a:lnTo>
                    <a:pt x="379" y="33"/>
                  </a:lnTo>
                  <a:lnTo>
                    <a:pt x="406" y="24"/>
                  </a:lnTo>
                  <a:lnTo>
                    <a:pt x="433" y="17"/>
                  </a:lnTo>
                  <a:lnTo>
                    <a:pt x="460" y="11"/>
                  </a:lnTo>
                  <a:lnTo>
                    <a:pt x="489" y="6"/>
                  </a:lnTo>
                  <a:lnTo>
                    <a:pt x="518" y="3"/>
                  </a:lnTo>
                  <a:lnTo>
                    <a:pt x="547" y="1"/>
                  </a:lnTo>
                  <a:lnTo>
                    <a:pt x="577" y="0"/>
                  </a:lnTo>
                  <a:lnTo>
                    <a:pt x="577" y="0"/>
                  </a:lnTo>
                  <a:lnTo>
                    <a:pt x="607" y="1"/>
                  </a:lnTo>
                  <a:lnTo>
                    <a:pt x="635" y="3"/>
                  </a:lnTo>
                  <a:lnTo>
                    <a:pt x="664" y="6"/>
                  </a:lnTo>
                  <a:lnTo>
                    <a:pt x="692" y="11"/>
                  </a:lnTo>
                  <a:lnTo>
                    <a:pt x="720" y="17"/>
                  </a:lnTo>
                  <a:lnTo>
                    <a:pt x="747" y="24"/>
                  </a:lnTo>
                  <a:lnTo>
                    <a:pt x="773" y="33"/>
                  </a:lnTo>
                  <a:lnTo>
                    <a:pt x="800" y="44"/>
                  </a:lnTo>
                  <a:lnTo>
                    <a:pt x="825" y="54"/>
                  </a:lnTo>
                  <a:lnTo>
                    <a:pt x="850" y="66"/>
                  </a:lnTo>
                  <a:lnTo>
                    <a:pt x="873" y="79"/>
                  </a:lnTo>
                  <a:lnTo>
                    <a:pt x="897" y="94"/>
                  </a:lnTo>
                  <a:lnTo>
                    <a:pt x="919" y="109"/>
                  </a:lnTo>
                  <a:lnTo>
                    <a:pt x="942" y="125"/>
                  </a:lnTo>
                  <a:lnTo>
                    <a:pt x="962" y="143"/>
                  </a:lnTo>
                  <a:lnTo>
                    <a:pt x="983" y="161"/>
                  </a:lnTo>
                  <a:lnTo>
                    <a:pt x="1001" y="180"/>
                  </a:lnTo>
                  <a:lnTo>
                    <a:pt x="1020" y="200"/>
                  </a:lnTo>
                  <a:lnTo>
                    <a:pt x="1037" y="220"/>
                  </a:lnTo>
                  <a:lnTo>
                    <a:pt x="1052" y="242"/>
                  </a:lnTo>
                  <a:lnTo>
                    <a:pt x="1068" y="264"/>
                  </a:lnTo>
                  <a:lnTo>
                    <a:pt x="1082" y="287"/>
                  </a:lnTo>
                  <a:lnTo>
                    <a:pt x="1094" y="310"/>
                  </a:lnTo>
                  <a:lnTo>
                    <a:pt x="1106" y="335"/>
                  </a:lnTo>
                  <a:lnTo>
                    <a:pt x="1116" y="360"/>
                  </a:lnTo>
                  <a:lnTo>
                    <a:pt x="1125" y="385"/>
                  </a:lnTo>
                  <a:lnTo>
                    <a:pt x="1133" y="411"/>
                  </a:lnTo>
                  <a:lnTo>
                    <a:pt x="1139" y="437"/>
                  </a:lnTo>
                  <a:lnTo>
                    <a:pt x="1144" y="464"/>
                  </a:lnTo>
                  <a:lnTo>
                    <a:pt x="1148" y="491"/>
                  </a:lnTo>
                  <a:lnTo>
                    <a:pt x="1151" y="519"/>
                  </a:lnTo>
                  <a:lnTo>
                    <a:pt x="1152" y="547"/>
                  </a:lnTo>
                  <a:lnTo>
                    <a:pt x="1152" y="547"/>
                  </a:lnTo>
                  <a:lnTo>
                    <a:pt x="1151" y="574"/>
                  </a:lnTo>
                  <a:lnTo>
                    <a:pt x="1148" y="602"/>
                  </a:lnTo>
                  <a:lnTo>
                    <a:pt x="1144" y="629"/>
                  </a:lnTo>
                  <a:lnTo>
                    <a:pt x="1139" y="656"/>
                  </a:lnTo>
                  <a:lnTo>
                    <a:pt x="1133" y="683"/>
                  </a:lnTo>
                  <a:lnTo>
                    <a:pt x="1125" y="708"/>
                  </a:lnTo>
                  <a:lnTo>
                    <a:pt x="1116" y="734"/>
                  </a:lnTo>
                  <a:lnTo>
                    <a:pt x="1106" y="758"/>
                  </a:lnTo>
                  <a:lnTo>
                    <a:pt x="1094" y="783"/>
                  </a:lnTo>
                  <a:lnTo>
                    <a:pt x="1082" y="806"/>
                  </a:lnTo>
                  <a:lnTo>
                    <a:pt x="1068" y="830"/>
                  </a:lnTo>
                  <a:lnTo>
                    <a:pt x="1052" y="851"/>
                  </a:lnTo>
                  <a:lnTo>
                    <a:pt x="1037" y="873"/>
                  </a:lnTo>
                  <a:lnTo>
                    <a:pt x="1020" y="894"/>
                  </a:lnTo>
                  <a:lnTo>
                    <a:pt x="1001" y="914"/>
                  </a:lnTo>
                  <a:lnTo>
                    <a:pt x="983" y="933"/>
                  </a:lnTo>
                  <a:lnTo>
                    <a:pt x="962" y="950"/>
                  </a:lnTo>
                  <a:lnTo>
                    <a:pt x="942" y="968"/>
                  </a:lnTo>
                  <a:lnTo>
                    <a:pt x="919" y="984"/>
                  </a:lnTo>
                  <a:lnTo>
                    <a:pt x="897" y="1000"/>
                  </a:lnTo>
                  <a:lnTo>
                    <a:pt x="873" y="1014"/>
                  </a:lnTo>
                  <a:lnTo>
                    <a:pt x="850" y="1027"/>
                  </a:lnTo>
                  <a:lnTo>
                    <a:pt x="825" y="1039"/>
                  </a:lnTo>
                  <a:lnTo>
                    <a:pt x="800" y="1051"/>
                  </a:lnTo>
                  <a:lnTo>
                    <a:pt x="773" y="1060"/>
                  </a:lnTo>
                  <a:lnTo>
                    <a:pt x="747" y="1069"/>
                  </a:lnTo>
                  <a:lnTo>
                    <a:pt x="720" y="1076"/>
                  </a:lnTo>
                  <a:lnTo>
                    <a:pt x="692" y="1082"/>
                  </a:lnTo>
                  <a:lnTo>
                    <a:pt x="664" y="1087"/>
                  </a:lnTo>
                  <a:lnTo>
                    <a:pt x="635" y="1091"/>
                  </a:lnTo>
                  <a:lnTo>
                    <a:pt x="607" y="1093"/>
                  </a:lnTo>
                  <a:lnTo>
                    <a:pt x="577" y="1094"/>
                  </a:lnTo>
                  <a:lnTo>
                    <a:pt x="577" y="1094"/>
                  </a:lnTo>
                  <a:close/>
                  <a:moveTo>
                    <a:pt x="577" y="82"/>
                  </a:moveTo>
                  <a:lnTo>
                    <a:pt x="577" y="82"/>
                  </a:lnTo>
                  <a:lnTo>
                    <a:pt x="554" y="83"/>
                  </a:lnTo>
                  <a:lnTo>
                    <a:pt x="533" y="86"/>
                  </a:lnTo>
                  <a:lnTo>
                    <a:pt x="511" y="90"/>
                  </a:lnTo>
                  <a:lnTo>
                    <a:pt x="492" y="94"/>
                  </a:lnTo>
                  <a:lnTo>
                    <a:pt x="473" y="100"/>
                  </a:lnTo>
                  <a:lnTo>
                    <a:pt x="454" y="108"/>
                  </a:lnTo>
                  <a:lnTo>
                    <a:pt x="437" y="116"/>
                  </a:lnTo>
                  <a:lnTo>
                    <a:pt x="419" y="125"/>
                  </a:lnTo>
                  <a:lnTo>
                    <a:pt x="404" y="137"/>
                  </a:lnTo>
                  <a:lnTo>
                    <a:pt x="389" y="148"/>
                  </a:lnTo>
                  <a:lnTo>
                    <a:pt x="374" y="161"/>
                  </a:lnTo>
                  <a:lnTo>
                    <a:pt x="360" y="174"/>
                  </a:lnTo>
                  <a:lnTo>
                    <a:pt x="348" y="189"/>
                  </a:lnTo>
                  <a:lnTo>
                    <a:pt x="336" y="204"/>
                  </a:lnTo>
                  <a:lnTo>
                    <a:pt x="324" y="219"/>
                  </a:lnTo>
                  <a:lnTo>
                    <a:pt x="313" y="237"/>
                  </a:lnTo>
                  <a:lnTo>
                    <a:pt x="303" y="253"/>
                  </a:lnTo>
                  <a:lnTo>
                    <a:pt x="294" y="272"/>
                  </a:lnTo>
                  <a:lnTo>
                    <a:pt x="285" y="290"/>
                  </a:lnTo>
                  <a:lnTo>
                    <a:pt x="277" y="308"/>
                  </a:lnTo>
                  <a:lnTo>
                    <a:pt x="270" y="327"/>
                  </a:lnTo>
                  <a:lnTo>
                    <a:pt x="264" y="346"/>
                  </a:lnTo>
                  <a:lnTo>
                    <a:pt x="258" y="367"/>
                  </a:lnTo>
                  <a:lnTo>
                    <a:pt x="253" y="386"/>
                  </a:lnTo>
                  <a:lnTo>
                    <a:pt x="248" y="407"/>
                  </a:lnTo>
                  <a:lnTo>
                    <a:pt x="245" y="426"/>
                  </a:lnTo>
                  <a:lnTo>
                    <a:pt x="240" y="446"/>
                  </a:lnTo>
                  <a:lnTo>
                    <a:pt x="238" y="467"/>
                  </a:lnTo>
                  <a:lnTo>
                    <a:pt x="234" y="507"/>
                  </a:lnTo>
                  <a:lnTo>
                    <a:pt x="233" y="547"/>
                  </a:lnTo>
                  <a:lnTo>
                    <a:pt x="233" y="547"/>
                  </a:lnTo>
                  <a:lnTo>
                    <a:pt x="234" y="587"/>
                  </a:lnTo>
                  <a:lnTo>
                    <a:pt x="238" y="626"/>
                  </a:lnTo>
                  <a:lnTo>
                    <a:pt x="240" y="647"/>
                  </a:lnTo>
                  <a:lnTo>
                    <a:pt x="245" y="667"/>
                  </a:lnTo>
                  <a:lnTo>
                    <a:pt x="248" y="687"/>
                  </a:lnTo>
                  <a:lnTo>
                    <a:pt x="253" y="707"/>
                  </a:lnTo>
                  <a:lnTo>
                    <a:pt x="258" y="728"/>
                  </a:lnTo>
                  <a:lnTo>
                    <a:pt x="264" y="747"/>
                  </a:lnTo>
                  <a:lnTo>
                    <a:pt x="270" y="766"/>
                  </a:lnTo>
                  <a:lnTo>
                    <a:pt x="277" y="785"/>
                  </a:lnTo>
                  <a:lnTo>
                    <a:pt x="285" y="804"/>
                  </a:lnTo>
                  <a:lnTo>
                    <a:pt x="294" y="822"/>
                  </a:lnTo>
                  <a:lnTo>
                    <a:pt x="303" y="840"/>
                  </a:lnTo>
                  <a:lnTo>
                    <a:pt x="313" y="857"/>
                  </a:lnTo>
                  <a:lnTo>
                    <a:pt x="324" y="874"/>
                  </a:lnTo>
                  <a:lnTo>
                    <a:pt x="336" y="889"/>
                  </a:lnTo>
                  <a:lnTo>
                    <a:pt x="348" y="904"/>
                  </a:lnTo>
                  <a:lnTo>
                    <a:pt x="360" y="919"/>
                  </a:lnTo>
                  <a:lnTo>
                    <a:pt x="374" y="932"/>
                  </a:lnTo>
                  <a:lnTo>
                    <a:pt x="389" y="945"/>
                  </a:lnTo>
                  <a:lnTo>
                    <a:pt x="404" y="957"/>
                  </a:lnTo>
                  <a:lnTo>
                    <a:pt x="419" y="968"/>
                  </a:lnTo>
                  <a:lnTo>
                    <a:pt x="437" y="977"/>
                  </a:lnTo>
                  <a:lnTo>
                    <a:pt x="454" y="986"/>
                  </a:lnTo>
                  <a:lnTo>
                    <a:pt x="473" y="993"/>
                  </a:lnTo>
                  <a:lnTo>
                    <a:pt x="492" y="1000"/>
                  </a:lnTo>
                  <a:lnTo>
                    <a:pt x="511" y="1005"/>
                  </a:lnTo>
                  <a:lnTo>
                    <a:pt x="533" y="1008"/>
                  </a:lnTo>
                  <a:lnTo>
                    <a:pt x="554" y="1010"/>
                  </a:lnTo>
                  <a:lnTo>
                    <a:pt x="577" y="1011"/>
                  </a:lnTo>
                  <a:lnTo>
                    <a:pt x="577" y="1011"/>
                  </a:lnTo>
                  <a:lnTo>
                    <a:pt x="599" y="1010"/>
                  </a:lnTo>
                  <a:lnTo>
                    <a:pt x="621" y="1008"/>
                  </a:lnTo>
                  <a:lnTo>
                    <a:pt x="641" y="1005"/>
                  </a:lnTo>
                  <a:lnTo>
                    <a:pt x="662" y="1000"/>
                  </a:lnTo>
                  <a:lnTo>
                    <a:pt x="680" y="993"/>
                  </a:lnTo>
                  <a:lnTo>
                    <a:pt x="699" y="986"/>
                  </a:lnTo>
                  <a:lnTo>
                    <a:pt x="716" y="977"/>
                  </a:lnTo>
                  <a:lnTo>
                    <a:pt x="733" y="968"/>
                  </a:lnTo>
                  <a:lnTo>
                    <a:pt x="749" y="957"/>
                  </a:lnTo>
                  <a:lnTo>
                    <a:pt x="764" y="945"/>
                  </a:lnTo>
                  <a:lnTo>
                    <a:pt x="778" y="932"/>
                  </a:lnTo>
                  <a:lnTo>
                    <a:pt x="793" y="919"/>
                  </a:lnTo>
                  <a:lnTo>
                    <a:pt x="805" y="904"/>
                  </a:lnTo>
                  <a:lnTo>
                    <a:pt x="817" y="889"/>
                  </a:lnTo>
                  <a:lnTo>
                    <a:pt x="828" y="874"/>
                  </a:lnTo>
                  <a:lnTo>
                    <a:pt x="840" y="857"/>
                  </a:lnTo>
                  <a:lnTo>
                    <a:pt x="850" y="840"/>
                  </a:lnTo>
                  <a:lnTo>
                    <a:pt x="859" y="822"/>
                  </a:lnTo>
                  <a:lnTo>
                    <a:pt x="867" y="804"/>
                  </a:lnTo>
                  <a:lnTo>
                    <a:pt x="875" y="785"/>
                  </a:lnTo>
                  <a:lnTo>
                    <a:pt x="883" y="766"/>
                  </a:lnTo>
                  <a:lnTo>
                    <a:pt x="890" y="747"/>
                  </a:lnTo>
                  <a:lnTo>
                    <a:pt x="895" y="728"/>
                  </a:lnTo>
                  <a:lnTo>
                    <a:pt x="901" y="707"/>
                  </a:lnTo>
                  <a:lnTo>
                    <a:pt x="905" y="687"/>
                  </a:lnTo>
                  <a:lnTo>
                    <a:pt x="909" y="667"/>
                  </a:lnTo>
                  <a:lnTo>
                    <a:pt x="912" y="647"/>
                  </a:lnTo>
                  <a:lnTo>
                    <a:pt x="915" y="626"/>
                  </a:lnTo>
                  <a:lnTo>
                    <a:pt x="918" y="587"/>
                  </a:lnTo>
                  <a:lnTo>
                    <a:pt x="920" y="547"/>
                  </a:lnTo>
                  <a:lnTo>
                    <a:pt x="920" y="547"/>
                  </a:lnTo>
                  <a:lnTo>
                    <a:pt x="918" y="507"/>
                  </a:lnTo>
                  <a:lnTo>
                    <a:pt x="915" y="467"/>
                  </a:lnTo>
                  <a:lnTo>
                    <a:pt x="912" y="446"/>
                  </a:lnTo>
                  <a:lnTo>
                    <a:pt x="909" y="426"/>
                  </a:lnTo>
                  <a:lnTo>
                    <a:pt x="905" y="407"/>
                  </a:lnTo>
                  <a:lnTo>
                    <a:pt x="901" y="386"/>
                  </a:lnTo>
                  <a:lnTo>
                    <a:pt x="895" y="367"/>
                  </a:lnTo>
                  <a:lnTo>
                    <a:pt x="890" y="346"/>
                  </a:lnTo>
                  <a:lnTo>
                    <a:pt x="883" y="327"/>
                  </a:lnTo>
                  <a:lnTo>
                    <a:pt x="875" y="308"/>
                  </a:lnTo>
                  <a:lnTo>
                    <a:pt x="867" y="290"/>
                  </a:lnTo>
                  <a:lnTo>
                    <a:pt x="859" y="272"/>
                  </a:lnTo>
                  <a:lnTo>
                    <a:pt x="850" y="253"/>
                  </a:lnTo>
                  <a:lnTo>
                    <a:pt x="840" y="237"/>
                  </a:lnTo>
                  <a:lnTo>
                    <a:pt x="828" y="219"/>
                  </a:lnTo>
                  <a:lnTo>
                    <a:pt x="817" y="204"/>
                  </a:lnTo>
                  <a:lnTo>
                    <a:pt x="805" y="189"/>
                  </a:lnTo>
                  <a:lnTo>
                    <a:pt x="793" y="174"/>
                  </a:lnTo>
                  <a:lnTo>
                    <a:pt x="778" y="161"/>
                  </a:lnTo>
                  <a:lnTo>
                    <a:pt x="764" y="148"/>
                  </a:lnTo>
                  <a:lnTo>
                    <a:pt x="749" y="137"/>
                  </a:lnTo>
                  <a:lnTo>
                    <a:pt x="733" y="125"/>
                  </a:lnTo>
                  <a:lnTo>
                    <a:pt x="716" y="116"/>
                  </a:lnTo>
                  <a:lnTo>
                    <a:pt x="699" y="108"/>
                  </a:lnTo>
                  <a:lnTo>
                    <a:pt x="680" y="100"/>
                  </a:lnTo>
                  <a:lnTo>
                    <a:pt x="662" y="94"/>
                  </a:lnTo>
                  <a:lnTo>
                    <a:pt x="641" y="90"/>
                  </a:lnTo>
                  <a:lnTo>
                    <a:pt x="621" y="86"/>
                  </a:lnTo>
                  <a:lnTo>
                    <a:pt x="599" y="83"/>
                  </a:lnTo>
                  <a:lnTo>
                    <a:pt x="577" y="82"/>
                  </a:lnTo>
                  <a:lnTo>
                    <a:pt x="577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8" name="Freeform 11"/>
            <p:cNvSpPr>
              <a:spLocks/>
            </p:cNvSpPr>
            <p:nvPr userDrawn="1"/>
          </p:nvSpPr>
          <p:spPr bwMode="auto">
            <a:xfrm>
              <a:off x="7488486" y="633579"/>
              <a:ext cx="155575" cy="141288"/>
            </a:xfrm>
            <a:custGeom>
              <a:avLst/>
              <a:gdLst>
                <a:gd name="T0" fmla="*/ 922 w 1165"/>
                <a:gd name="T1" fmla="*/ 252 h 1065"/>
                <a:gd name="T2" fmla="*/ 921 w 1165"/>
                <a:gd name="T3" fmla="*/ 194 h 1065"/>
                <a:gd name="T4" fmla="*/ 916 w 1165"/>
                <a:gd name="T5" fmla="*/ 148 h 1065"/>
                <a:gd name="T6" fmla="*/ 906 w 1165"/>
                <a:gd name="T7" fmla="*/ 113 h 1065"/>
                <a:gd name="T8" fmla="*/ 896 w 1165"/>
                <a:gd name="T9" fmla="*/ 92 h 1065"/>
                <a:gd name="T10" fmla="*/ 888 w 1165"/>
                <a:gd name="T11" fmla="*/ 81 h 1065"/>
                <a:gd name="T12" fmla="*/ 877 w 1165"/>
                <a:gd name="T13" fmla="*/ 73 h 1065"/>
                <a:gd name="T14" fmla="*/ 857 w 1165"/>
                <a:gd name="T15" fmla="*/ 63 h 1065"/>
                <a:gd name="T16" fmla="*/ 825 w 1165"/>
                <a:gd name="T17" fmla="*/ 54 h 1065"/>
                <a:gd name="T18" fmla="*/ 782 w 1165"/>
                <a:gd name="T19" fmla="*/ 50 h 1065"/>
                <a:gd name="T20" fmla="*/ 756 w 1165"/>
                <a:gd name="T21" fmla="*/ 0 h 1065"/>
                <a:gd name="T22" fmla="*/ 1165 w 1165"/>
                <a:gd name="T23" fmla="*/ 50 h 1065"/>
                <a:gd name="T24" fmla="*/ 1139 w 1165"/>
                <a:gd name="T25" fmla="*/ 50 h 1065"/>
                <a:gd name="T26" fmla="*/ 1096 w 1165"/>
                <a:gd name="T27" fmla="*/ 54 h 1065"/>
                <a:gd name="T28" fmla="*/ 1062 w 1165"/>
                <a:gd name="T29" fmla="*/ 63 h 1065"/>
                <a:gd name="T30" fmla="*/ 1042 w 1165"/>
                <a:gd name="T31" fmla="*/ 73 h 1065"/>
                <a:gd name="T32" fmla="*/ 1032 w 1165"/>
                <a:gd name="T33" fmla="*/ 81 h 1065"/>
                <a:gd name="T34" fmla="*/ 1023 w 1165"/>
                <a:gd name="T35" fmla="*/ 92 h 1065"/>
                <a:gd name="T36" fmla="*/ 1014 w 1165"/>
                <a:gd name="T37" fmla="*/ 113 h 1065"/>
                <a:gd name="T38" fmla="*/ 1005 w 1165"/>
                <a:gd name="T39" fmla="*/ 148 h 1065"/>
                <a:gd name="T40" fmla="*/ 1000 w 1165"/>
                <a:gd name="T41" fmla="*/ 194 h 1065"/>
                <a:gd name="T42" fmla="*/ 999 w 1165"/>
                <a:gd name="T43" fmla="*/ 252 h 1065"/>
                <a:gd name="T44" fmla="*/ 955 w 1165"/>
                <a:gd name="T45" fmla="*/ 1065 h 1065"/>
                <a:gd name="T46" fmla="*/ 242 w 1165"/>
                <a:gd name="T47" fmla="*/ 783 h 1065"/>
                <a:gd name="T48" fmla="*/ 242 w 1165"/>
                <a:gd name="T49" fmla="*/ 814 h 1065"/>
                <a:gd name="T50" fmla="*/ 245 w 1165"/>
                <a:gd name="T51" fmla="*/ 866 h 1065"/>
                <a:gd name="T52" fmla="*/ 251 w 1165"/>
                <a:gd name="T53" fmla="*/ 906 h 1065"/>
                <a:gd name="T54" fmla="*/ 263 w 1165"/>
                <a:gd name="T55" fmla="*/ 937 h 1065"/>
                <a:gd name="T56" fmla="*/ 271 w 1165"/>
                <a:gd name="T57" fmla="*/ 949 h 1065"/>
                <a:gd name="T58" fmla="*/ 281 w 1165"/>
                <a:gd name="T59" fmla="*/ 958 h 1065"/>
                <a:gd name="T60" fmla="*/ 292 w 1165"/>
                <a:gd name="T61" fmla="*/ 966 h 1065"/>
                <a:gd name="T62" fmla="*/ 322 w 1165"/>
                <a:gd name="T63" fmla="*/ 978 h 1065"/>
                <a:gd name="T64" fmla="*/ 359 w 1165"/>
                <a:gd name="T65" fmla="*/ 984 h 1065"/>
                <a:gd name="T66" fmla="*/ 407 w 1165"/>
                <a:gd name="T67" fmla="*/ 985 h 1065"/>
                <a:gd name="T68" fmla="*/ 0 w 1165"/>
                <a:gd name="T69" fmla="*/ 1035 h 1065"/>
                <a:gd name="T70" fmla="*/ 0 w 1165"/>
                <a:gd name="T71" fmla="*/ 985 h 1065"/>
                <a:gd name="T72" fmla="*/ 49 w 1165"/>
                <a:gd name="T73" fmla="*/ 984 h 1065"/>
                <a:gd name="T74" fmla="*/ 86 w 1165"/>
                <a:gd name="T75" fmla="*/ 978 h 1065"/>
                <a:gd name="T76" fmla="*/ 115 w 1165"/>
                <a:gd name="T77" fmla="*/ 966 h 1065"/>
                <a:gd name="T78" fmla="*/ 126 w 1165"/>
                <a:gd name="T79" fmla="*/ 958 h 1065"/>
                <a:gd name="T80" fmla="*/ 135 w 1165"/>
                <a:gd name="T81" fmla="*/ 949 h 1065"/>
                <a:gd name="T82" fmla="*/ 144 w 1165"/>
                <a:gd name="T83" fmla="*/ 937 h 1065"/>
                <a:gd name="T84" fmla="*/ 155 w 1165"/>
                <a:gd name="T85" fmla="*/ 906 h 1065"/>
                <a:gd name="T86" fmla="*/ 161 w 1165"/>
                <a:gd name="T87" fmla="*/ 866 h 1065"/>
                <a:gd name="T88" fmla="*/ 164 w 1165"/>
                <a:gd name="T89" fmla="*/ 814 h 1065"/>
                <a:gd name="T90" fmla="*/ 164 w 1165"/>
                <a:gd name="T91" fmla="*/ 252 h 1065"/>
                <a:gd name="T92" fmla="*/ 164 w 1165"/>
                <a:gd name="T93" fmla="*/ 221 h 1065"/>
                <a:gd name="T94" fmla="*/ 161 w 1165"/>
                <a:gd name="T95" fmla="*/ 169 h 1065"/>
                <a:gd name="T96" fmla="*/ 155 w 1165"/>
                <a:gd name="T97" fmla="*/ 129 h 1065"/>
                <a:gd name="T98" fmla="*/ 144 w 1165"/>
                <a:gd name="T99" fmla="*/ 98 h 1065"/>
                <a:gd name="T100" fmla="*/ 135 w 1165"/>
                <a:gd name="T101" fmla="*/ 86 h 1065"/>
                <a:gd name="T102" fmla="*/ 126 w 1165"/>
                <a:gd name="T103" fmla="*/ 77 h 1065"/>
                <a:gd name="T104" fmla="*/ 115 w 1165"/>
                <a:gd name="T105" fmla="*/ 69 h 1065"/>
                <a:gd name="T106" fmla="*/ 86 w 1165"/>
                <a:gd name="T107" fmla="*/ 58 h 1065"/>
                <a:gd name="T108" fmla="*/ 49 w 1165"/>
                <a:gd name="T109" fmla="*/ 51 h 1065"/>
                <a:gd name="T110" fmla="*/ 0 w 1165"/>
                <a:gd name="T111" fmla="*/ 50 h 1065"/>
                <a:gd name="T112" fmla="*/ 345 w 1165"/>
                <a:gd name="T113" fmla="*/ 0 h 1065"/>
                <a:gd name="T114" fmla="*/ 922 w 1165"/>
                <a:gd name="T115" fmla="*/ 25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65" h="1065">
                  <a:moveTo>
                    <a:pt x="922" y="252"/>
                  </a:moveTo>
                  <a:lnTo>
                    <a:pt x="922" y="252"/>
                  </a:lnTo>
                  <a:lnTo>
                    <a:pt x="921" y="221"/>
                  </a:lnTo>
                  <a:lnTo>
                    <a:pt x="921" y="194"/>
                  </a:lnTo>
                  <a:lnTo>
                    <a:pt x="919" y="169"/>
                  </a:lnTo>
                  <a:lnTo>
                    <a:pt x="916" y="148"/>
                  </a:lnTo>
                  <a:lnTo>
                    <a:pt x="912" y="129"/>
                  </a:lnTo>
                  <a:lnTo>
                    <a:pt x="906" y="113"/>
                  </a:lnTo>
                  <a:lnTo>
                    <a:pt x="900" y="98"/>
                  </a:lnTo>
                  <a:lnTo>
                    <a:pt x="896" y="92"/>
                  </a:lnTo>
                  <a:lnTo>
                    <a:pt x="892" y="86"/>
                  </a:lnTo>
                  <a:lnTo>
                    <a:pt x="888" y="81"/>
                  </a:lnTo>
                  <a:lnTo>
                    <a:pt x="883" y="77"/>
                  </a:lnTo>
                  <a:lnTo>
                    <a:pt x="877" y="73"/>
                  </a:lnTo>
                  <a:lnTo>
                    <a:pt x="872" y="69"/>
                  </a:lnTo>
                  <a:lnTo>
                    <a:pt x="857" y="63"/>
                  </a:lnTo>
                  <a:lnTo>
                    <a:pt x="842" y="58"/>
                  </a:lnTo>
                  <a:lnTo>
                    <a:pt x="825" y="54"/>
                  </a:lnTo>
                  <a:lnTo>
                    <a:pt x="804" y="51"/>
                  </a:lnTo>
                  <a:lnTo>
                    <a:pt x="782" y="50"/>
                  </a:lnTo>
                  <a:lnTo>
                    <a:pt x="756" y="50"/>
                  </a:lnTo>
                  <a:lnTo>
                    <a:pt x="756" y="0"/>
                  </a:lnTo>
                  <a:lnTo>
                    <a:pt x="1165" y="0"/>
                  </a:lnTo>
                  <a:lnTo>
                    <a:pt x="1165" y="50"/>
                  </a:lnTo>
                  <a:lnTo>
                    <a:pt x="1165" y="50"/>
                  </a:lnTo>
                  <a:lnTo>
                    <a:pt x="1139" y="50"/>
                  </a:lnTo>
                  <a:lnTo>
                    <a:pt x="1116" y="51"/>
                  </a:lnTo>
                  <a:lnTo>
                    <a:pt x="1096" y="54"/>
                  </a:lnTo>
                  <a:lnTo>
                    <a:pt x="1078" y="58"/>
                  </a:lnTo>
                  <a:lnTo>
                    <a:pt x="1062" y="63"/>
                  </a:lnTo>
                  <a:lnTo>
                    <a:pt x="1049" y="69"/>
                  </a:lnTo>
                  <a:lnTo>
                    <a:pt x="1042" y="73"/>
                  </a:lnTo>
                  <a:lnTo>
                    <a:pt x="1037" y="77"/>
                  </a:lnTo>
                  <a:lnTo>
                    <a:pt x="1032" y="81"/>
                  </a:lnTo>
                  <a:lnTo>
                    <a:pt x="1028" y="86"/>
                  </a:lnTo>
                  <a:lnTo>
                    <a:pt x="1023" y="92"/>
                  </a:lnTo>
                  <a:lnTo>
                    <a:pt x="1020" y="98"/>
                  </a:lnTo>
                  <a:lnTo>
                    <a:pt x="1014" y="113"/>
                  </a:lnTo>
                  <a:lnTo>
                    <a:pt x="1009" y="129"/>
                  </a:lnTo>
                  <a:lnTo>
                    <a:pt x="1005" y="148"/>
                  </a:lnTo>
                  <a:lnTo>
                    <a:pt x="1002" y="169"/>
                  </a:lnTo>
                  <a:lnTo>
                    <a:pt x="1000" y="194"/>
                  </a:lnTo>
                  <a:lnTo>
                    <a:pt x="999" y="221"/>
                  </a:lnTo>
                  <a:lnTo>
                    <a:pt x="999" y="252"/>
                  </a:lnTo>
                  <a:lnTo>
                    <a:pt x="999" y="1065"/>
                  </a:lnTo>
                  <a:lnTo>
                    <a:pt x="955" y="1065"/>
                  </a:lnTo>
                  <a:lnTo>
                    <a:pt x="242" y="212"/>
                  </a:lnTo>
                  <a:lnTo>
                    <a:pt x="242" y="783"/>
                  </a:lnTo>
                  <a:lnTo>
                    <a:pt x="242" y="783"/>
                  </a:lnTo>
                  <a:lnTo>
                    <a:pt x="242" y="814"/>
                  </a:lnTo>
                  <a:lnTo>
                    <a:pt x="243" y="842"/>
                  </a:lnTo>
                  <a:lnTo>
                    <a:pt x="245" y="866"/>
                  </a:lnTo>
                  <a:lnTo>
                    <a:pt x="248" y="888"/>
                  </a:lnTo>
                  <a:lnTo>
                    <a:pt x="251" y="906"/>
                  </a:lnTo>
                  <a:lnTo>
                    <a:pt x="256" y="923"/>
                  </a:lnTo>
                  <a:lnTo>
                    <a:pt x="263" y="937"/>
                  </a:lnTo>
                  <a:lnTo>
                    <a:pt x="266" y="943"/>
                  </a:lnTo>
                  <a:lnTo>
                    <a:pt x="271" y="949"/>
                  </a:lnTo>
                  <a:lnTo>
                    <a:pt x="276" y="954"/>
                  </a:lnTo>
                  <a:lnTo>
                    <a:pt x="281" y="958"/>
                  </a:lnTo>
                  <a:lnTo>
                    <a:pt x="286" y="963"/>
                  </a:lnTo>
                  <a:lnTo>
                    <a:pt x="292" y="966"/>
                  </a:lnTo>
                  <a:lnTo>
                    <a:pt x="305" y="973"/>
                  </a:lnTo>
                  <a:lnTo>
                    <a:pt x="322" y="978"/>
                  </a:lnTo>
                  <a:lnTo>
                    <a:pt x="339" y="982"/>
                  </a:lnTo>
                  <a:lnTo>
                    <a:pt x="359" y="984"/>
                  </a:lnTo>
                  <a:lnTo>
                    <a:pt x="382" y="985"/>
                  </a:lnTo>
                  <a:lnTo>
                    <a:pt x="407" y="985"/>
                  </a:lnTo>
                  <a:lnTo>
                    <a:pt x="407" y="1035"/>
                  </a:lnTo>
                  <a:lnTo>
                    <a:pt x="0" y="1035"/>
                  </a:lnTo>
                  <a:lnTo>
                    <a:pt x="0" y="985"/>
                  </a:lnTo>
                  <a:lnTo>
                    <a:pt x="0" y="985"/>
                  </a:lnTo>
                  <a:lnTo>
                    <a:pt x="26" y="985"/>
                  </a:lnTo>
                  <a:lnTo>
                    <a:pt x="49" y="984"/>
                  </a:lnTo>
                  <a:lnTo>
                    <a:pt x="69" y="982"/>
                  </a:lnTo>
                  <a:lnTo>
                    <a:pt x="86" y="978"/>
                  </a:lnTo>
                  <a:lnTo>
                    <a:pt x="102" y="973"/>
                  </a:lnTo>
                  <a:lnTo>
                    <a:pt x="115" y="966"/>
                  </a:lnTo>
                  <a:lnTo>
                    <a:pt x="121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5" y="949"/>
                  </a:lnTo>
                  <a:lnTo>
                    <a:pt x="141" y="943"/>
                  </a:lnTo>
                  <a:lnTo>
                    <a:pt x="144" y="937"/>
                  </a:lnTo>
                  <a:lnTo>
                    <a:pt x="150" y="923"/>
                  </a:lnTo>
                  <a:lnTo>
                    <a:pt x="155" y="906"/>
                  </a:lnTo>
                  <a:lnTo>
                    <a:pt x="159" y="888"/>
                  </a:lnTo>
                  <a:lnTo>
                    <a:pt x="161" y="866"/>
                  </a:lnTo>
                  <a:lnTo>
                    <a:pt x="163" y="842"/>
                  </a:lnTo>
                  <a:lnTo>
                    <a:pt x="164" y="814"/>
                  </a:lnTo>
                  <a:lnTo>
                    <a:pt x="164" y="783"/>
                  </a:lnTo>
                  <a:lnTo>
                    <a:pt x="164" y="252"/>
                  </a:lnTo>
                  <a:lnTo>
                    <a:pt x="164" y="252"/>
                  </a:lnTo>
                  <a:lnTo>
                    <a:pt x="164" y="221"/>
                  </a:lnTo>
                  <a:lnTo>
                    <a:pt x="163" y="194"/>
                  </a:lnTo>
                  <a:lnTo>
                    <a:pt x="161" y="169"/>
                  </a:lnTo>
                  <a:lnTo>
                    <a:pt x="159" y="148"/>
                  </a:lnTo>
                  <a:lnTo>
                    <a:pt x="155" y="129"/>
                  </a:lnTo>
                  <a:lnTo>
                    <a:pt x="150" y="113"/>
                  </a:lnTo>
                  <a:lnTo>
                    <a:pt x="144" y="98"/>
                  </a:lnTo>
                  <a:lnTo>
                    <a:pt x="141" y="92"/>
                  </a:lnTo>
                  <a:lnTo>
                    <a:pt x="135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6" y="58"/>
                  </a:lnTo>
                  <a:lnTo>
                    <a:pt x="69" y="54"/>
                  </a:lnTo>
                  <a:lnTo>
                    <a:pt x="49" y="51"/>
                  </a:lnTo>
                  <a:lnTo>
                    <a:pt x="26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345" y="0"/>
                  </a:lnTo>
                  <a:lnTo>
                    <a:pt x="922" y="686"/>
                  </a:lnTo>
                  <a:lnTo>
                    <a:pt x="922" y="2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9" name="Freeform 12"/>
            <p:cNvSpPr>
              <a:spLocks/>
            </p:cNvSpPr>
            <p:nvPr userDrawn="1"/>
          </p:nvSpPr>
          <p:spPr bwMode="auto">
            <a:xfrm>
              <a:off x="7677398" y="633579"/>
              <a:ext cx="127000" cy="136525"/>
            </a:xfrm>
            <a:custGeom>
              <a:avLst/>
              <a:gdLst>
                <a:gd name="T0" fmla="*/ 25 w 959"/>
                <a:gd name="T1" fmla="*/ 985 h 1035"/>
                <a:gd name="T2" fmla="*/ 86 w 959"/>
                <a:gd name="T3" fmla="*/ 978 h 1035"/>
                <a:gd name="T4" fmla="*/ 120 w 959"/>
                <a:gd name="T5" fmla="*/ 963 h 1035"/>
                <a:gd name="T6" fmla="*/ 136 w 959"/>
                <a:gd name="T7" fmla="*/ 949 h 1035"/>
                <a:gd name="T8" fmla="*/ 150 w 959"/>
                <a:gd name="T9" fmla="*/ 923 h 1035"/>
                <a:gd name="T10" fmla="*/ 161 w 959"/>
                <a:gd name="T11" fmla="*/ 866 h 1035"/>
                <a:gd name="T12" fmla="*/ 163 w 959"/>
                <a:gd name="T13" fmla="*/ 783 h 1035"/>
                <a:gd name="T14" fmla="*/ 163 w 959"/>
                <a:gd name="T15" fmla="*/ 221 h 1035"/>
                <a:gd name="T16" fmla="*/ 158 w 959"/>
                <a:gd name="T17" fmla="*/ 148 h 1035"/>
                <a:gd name="T18" fmla="*/ 143 w 959"/>
                <a:gd name="T19" fmla="*/ 98 h 1035"/>
                <a:gd name="T20" fmla="*/ 131 w 959"/>
                <a:gd name="T21" fmla="*/ 81 h 1035"/>
                <a:gd name="T22" fmla="*/ 114 w 959"/>
                <a:gd name="T23" fmla="*/ 69 h 1035"/>
                <a:gd name="T24" fmla="*/ 68 w 959"/>
                <a:gd name="T25" fmla="*/ 54 h 1035"/>
                <a:gd name="T26" fmla="*/ 0 w 959"/>
                <a:gd name="T27" fmla="*/ 50 h 1035"/>
                <a:gd name="T28" fmla="*/ 902 w 959"/>
                <a:gd name="T29" fmla="*/ 244 h 1035"/>
                <a:gd name="T30" fmla="*/ 843 w 959"/>
                <a:gd name="T31" fmla="*/ 209 h 1035"/>
                <a:gd name="T32" fmla="*/ 824 w 959"/>
                <a:gd name="T33" fmla="*/ 150 h 1035"/>
                <a:gd name="T34" fmla="*/ 803 w 959"/>
                <a:gd name="T35" fmla="*/ 118 h 1035"/>
                <a:gd name="T36" fmla="*/ 770 w 959"/>
                <a:gd name="T37" fmla="*/ 95 h 1035"/>
                <a:gd name="T38" fmla="*/ 719 w 959"/>
                <a:gd name="T39" fmla="*/ 82 h 1035"/>
                <a:gd name="T40" fmla="*/ 643 w 959"/>
                <a:gd name="T41" fmla="*/ 78 h 1035"/>
                <a:gd name="T42" fmla="*/ 474 w 959"/>
                <a:gd name="T43" fmla="*/ 449 h 1035"/>
                <a:gd name="T44" fmla="*/ 532 w 959"/>
                <a:gd name="T45" fmla="*/ 447 h 1035"/>
                <a:gd name="T46" fmla="*/ 597 w 959"/>
                <a:gd name="T47" fmla="*/ 439 h 1035"/>
                <a:gd name="T48" fmla="*/ 634 w 959"/>
                <a:gd name="T49" fmla="*/ 424 h 1035"/>
                <a:gd name="T50" fmla="*/ 649 w 959"/>
                <a:gd name="T51" fmla="*/ 410 h 1035"/>
                <a:gd name="T52" fmla="*/ 662 w 959"/>
                <a:gd name="T53" fmla="*/ 385 h 1035"/>
                <a:gd name="T54" fmla="*/ 673 w 959"/>
                <a:gd name="T55" fmla="*/ 332 h 1035"/>
                <a:gd name="T56" fmla="*/ 725 w 959"/>
                <a:gd name="T57" fmla="*/ 283 h 1035"/>
                <a:gd name="T58" fmla="*/ 675 w 959"/>
                <a:gd name="T59" fmla="*/ 691 h 1035"/>
                <a:gd name="T60" fmla="*/ 671 w 959"/>
                <a:gd name="T61" fmla="*/ 623 h 1035"/>
                <a:gd name="T62" fmla="*/ 656 w 959"/>
                <a:gd name="T63" fmla="*/ 576 h 1035"/>
                <a:gd name="T64" fmla="*/ 644 w 959"/>
                <a:gd name="T65" fmla="*/ 560 h 1035"/>
                <a:gd name="T66" fmla="*/ 628 w 959"/>
                <a:gd name="T67" fmla="*/ 547 h 1035"/>
                <a:gd name="T68" fmla="*/ 578 w 959"/>
                <a:gd name="T69" fmla="*/ 532 h 1035"/>
                <a:gd name="T70" fmla="*/ 505 w 959"/>
                <a:gd name="T71" fmla="*/ 527 h 1035"/>
                <a:gd name="T72" fmla="*/ 379 w 959"/>
                <a:gd name="T73" fmla="*/ 756 h 1035"/>
                <a:gd name="T74" fmla="*/ 380 w 959"/>
                <a:gd name="T75" fmla="*/ 814 h 1035"/>
                <a:gd name="T76" fmla="*/ 389 w 959"/>
                <a:gd name="T77" fmla="*/ 879 h 1035"/>
                <a:gd name="T78" fmla="*/ 405 w 959"/>
                <a:gd name="T79" fmla="*/ 915 h 1035"/>
                <a:gd name="T80" fmla="*/ 418 w 959"/>
                <a:gd name="T81" fmla="*/ 932 h 1035"/>
                <a:gd name="T82" fmla="*/ 444 w 959"/>
                <a:gd name="T83" fmla="*/ 946 h 1035"/>
                <a:gd name="T84" fmla="*/ 497 w 959"/>
                <a:gd name="T85" fmla="*/ 956 h 1035"/>
                <a:gd name="T86" fmla="*/ 700 w 959"/>
                <a:gd name="T87" fmla="*/ 957 h 1035"/>
                <a:gd name="T88" fmla="*/ 753 w 959"/>
                <a:gd name="T89" fmla="*/ 955 h 1035"/>
                <a:gd name="T90" fmla="*/ 813 w 959"/>
                <a:gd name="T91" fmla="*/ 946 h 1035"/>
                <a:gd name="T92" fmla="*/ 852 w 959"/>
                <a:gd name="T93" fmla="*/ 927 h 1035"/>
                <a:gd name="T94" fmla="*/ 876 w 959"/>
                <a:gd name="T95" fmla="*/ 897 h 1035"/>
                <a:gd name="T96" fmla="*/ 891 w 959"/>
                <a:gd name="T97" fmla="*/ 858 h 1035"/>
                <a:gd name="T98" fmla="*/ 959 w 959"/>
                <a:gd name="T99" fmla="*/ 792 h 1035"/>
                <a:gd name="T100" fmla="*/ 0 w 959"/>
                <a:gd name="T101" fmla="*/ 98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9" h="1035">
                  <a:moveTo>
                    <a:pt x="0" y="985"/>
                  </a:moveTo>
                  <a:lnTo>
                    <a:pt x="0" y="985"/>
                  </a:lnTo>
                  <a:lnTo>
                    <a:pt x="25" y="985"/>
                  </a:lnTo>
                  <a:lnTo>
                    <a:pt x="48" y="984"/>
                  </a:lnTo>
                  <a:lnTo>
                    <a:pt x="68" y="982"/>
                  </a:lnTo>
                  <a:lnTo>
                    <a:pt x="86" y="978"/>
                  </a:lnTo>
                  <a:lnTo>
                    <a:pt x="101" y="973"/>
                  </a:lnTo>
                  <a:lnTo>
                    <a:pt x="114" y="966"/>
                  </a:lnTo>
                  <a:lnTo>
                    <a:pt x="120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0" y="923"/>
                  </a:lnTo>
                  <a:lnTo>
                    <a:pt x="154" y="906"/>
                  </a:lnTo>
                  <a:lnTo>
                    <a:pt x="158" y="888"/>
                  </a:lnTo>
                  <a:lnTo>
                    <a:pt x="161" y="866"/>
                  </a:lnTo>
                  <a:lnTo>
                    <a:pt x="162" y="842"/>
                  </a:lnTo>
                  <a:lnTo>
                    <a:pt x="163" y="814"/>
                  </a:lnTo>
                  <a:lnTo>
                    <a:pt x="163" y="783"/>
                  </a:lnTo>
                  <a:lnTo>
                    <a:pt x="163" y="252"/>
                  </a:lnTo>
                  <a:lnTo>
                    <a:pt x="163" y="252"/>
                  </a:lnTo>
                  <a:lnTo>
                    <a:pt x="163" y="221"/>
                  </a:lnTo>
                  <a:lnTo>
                    <a:pt x="162" y="194"/>
                  </a:lnTo>
                  <a:lnTo>
                    <a:pt x="161" y="169"/>
                  </a:lnTo>
                  <a:lnTo>
                    <a:pt x="158" y="148"/>
                  </a:lnTo>
                  <a:lnTo>
                    <a:pt x="154" y="129"/>
                  </a:lnTo>
                  <a:lnTo>
                    <a:pt x="150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0" y="73"/>
                  </a:lnTo>
                  <a:lnTo>
                    <a:pt x="114" y="69"/>
                  </a:lnTo>
                  <a:lnTo>
                    <a:pt x="101" y="63"/>
                  </a:lnTo>
                  <a:lnTo>
                    <a:pt x="86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888" y="0"/>
                  </a:lnTo>
                  <a:lnTo>
                    <a:pt x="902" y="244"/>
                  </a:lnTo>
                  <a:lnTo>
                    <a:pt x="852" y="244"/>
                  </a:lnTo>
                  <a:lnTo>
                    <a:pt x="843" y="209"/>
                  </a:lnTo>
                  <a:lnTo>
                    <a:pt x="843" y="209"/>
                  </a:lnTo>
                  <a:lnTo>
                    <a:pt x="834" y="177"/>
                  </a:lnTo>
                  <a:lnTo>
                    <a:pt x="830" y="163"/>
                  </a:lnTo>
                  <a:lnTo>
                    <a:pt x="824" y="150"/>
                  </a:lnTo>
                  <a:lnTo>
                    <a:pt x="818" y="138"/>
                  </a:lnTo>
                  <a:lnTo>
                    <a:pt x="812" y="127"/>
                  </a:lnTo>
                  <a:lnTo>
                    <a:pt x="803" y="118"/>
                  </a:lnTo>
                  <a:lnTo>
                    <a:pt x="794" y="109"/>
                  </a:lnTo>
                  <a:lnTo>
                    <a:pt x="783" y="101"/>
                  </a:lnTo>
                  <a:lnTo>
                    <a:pt x="770" y="95"/>
                  </a:lnTo>
                  <a:lnTo>
                    <a:pt x="755" y="90"/>
                  </a:lnTo>
                  <a:lnTo>
                    <a:pt x="738" y="85"/>
                  </a:lnTo>
                  <a:lnTo>
                    <a:pt x="719" y="82"/>
                  </a:lnTo>
                  <a:lnTo>
                    <a:pt x="696" y="80"/>
                  </a:lnTo>
                  <a:lnTo>
                    <a:pt x="672" y="78"/>
                  </a:lnTo>
                  <a:lnTo>
                    <a:pt x="643" y="78"/>
                  </a:lnTo>
                  <a:lnTo>
                    <a:pt x="379" y="78"/>
                  </a:lnTo>
                  <a:lnTo>
                    <a:pt x="379" y="449"/>
                  </a:lnTo>
                  <a:lnTo>
                    <a:pt x="474" y="449"/>
                  </a:lnTo>
                  <a:lnTo>
                    <a:pt x="474" y="449"/>
                  </a:lnTo>
                  <a:lnTo>
                    <a:pt x="505" y="448"/>
                  </a:lnTo>
                  <a:lnTo>
                    <a:pt x="532" y="447"/>
                  </a:lnTo>
                  <a:lnTo>
                    <a:pt x="557" y="446"/>
                  </a:lnTo>
                  <a:lnTo>
                    <a:pt x="578" y="443"/>
                  </a:lnTo>
                  <a:lnTo>
                    <a:pt x="597" y="439"/>
                  </a:lnTo>
                  <a:lnTo>
                    <a:pt x="613" y="434"/>
                  </a:lnTo>
                  <a:lnTo>
                    <a:pt x="628" y="428"/>
                  </a:lnTo>
                  <a:lnTo>
                    <a:pt x="634" y="424"/>
                  </a:lnTo>
                  <a:lnTo>
                    <a:pt x="639" y="419"/>
                  </a:lnTo>
                  <a:lnTo>
                    <a:pt x="644" y="415"/>
                  </a:lnTo>
                  <a:lnTo>
                    <a:pt x="649" y="410"/>
                  </a:lnTo>
                  <a:lnTo>
                    <a:pt x="653" y="404"/>
                  </a:lnTo>
                  <a:lnTo>
                    <a:pt x="656" y="398"/>
                  </a:lnTo>
                  <a:lnTo>
                    <a:pt x="662" y="385"/>
                  </a:lnTo>
                  <a:lnTo>
                    <a:pt x="667" y="369"/>
                  </a:lnTo>
                  <a:lnTo>
                    <a:pt x="671" y="352"/>
                  </a:lnTo>
                  <a:lnTo>
                    <a:pt x="673" y="332"/>
                  </a:lnTo>
                  <a:lnTo>
                    <a:pt x="674" y="309"/>
                  </a:lnTo>
                  <a:lnTo>
                    <a:pt x="675" y="283"/>
                  </a:lnTo>
                  <a:lnTo>
                    <a:pt x="725" y="283"/>
                  </a:lnTo>
                  <a:lnTo>
                    <a:pt x="725" y="691"/>
                  </a:lnTo>
                  <a:lnTo>
                    <a:pt x="675" y="691"/>
                  </a:lnTo>
                  <a:lnTo>
                    <a:pt x="675" y="691"/>
                  </a:lnTo>
                  <a:lnTo>
                    <a:pt x="674" y="666"/>
                  </a:lnTo>
                  <a:lnTo>
                    <a:pt x="673" y="643"/>
                  </a:lnTo>
                  <a:lnTo>
                    <a:pt x="671" y="623"/>
                  </a:lnTo>
                  <a:lnTo>
                    <a:pt x="667" y="605"/>
                  </a:lnTo>
                  <a:lnTo>
                    <a:pt x="662" y="589"/>
                  </a:lnTo>
                  <a:lnTo>
                    <a:pt x="656" y="576"/>
                  </a:lnTo>
                  <a:lnTo>
                    <a:pt x="653" y="570"/>
                  </a:lnTo>
                  <a:lnTo>
                    <a:pt x="649" y="565"/>
                  </a:lnTo>
                  <a:lnTo>
                    <a:pt x="644" y="560"/>
                  </a:lnTo>
                  <a:lnTo>
                    <a:pt x="639" y="554"/>
                  </a:lnTo>
                  <a:lnTo>
                    <a:pt x="634" y="550"/>
                  </a:lnTo>
                  <a:lnTo>
                    <a:pt x="628" y="547"/>
                  </a:lnTo>
                  <a:lnTo>
                    <a:pt x="613" y="540"/>
                  </a:lnTo>
                  <a:lnTo>
                    <a:pt x="597" y="536"/>
                  </a:lnTo>
                  <a:lnTo>
                    <a:pt x="578" y="532"/>
                  </a:lnTo>
                  <a:lnTo>
                    <a:pt x="557" y="529"/>
                  </a:lnTo>
                  <a:lnTo>
                    <a:pt x="532" y="528"/>
                  </a:lnTo>
                  <a:lnTo>
                    <a:pt x="505" y="527"/>
                  </a:lnTo>
                  <a:lnTo>
                    <a:pt x="474" y="527"/>
                  </a:lnTo>
                  <a:lnTo>
                    <a:pt x="379" y="527"/>
                  </a:lnTo>
                  <a:lnTo>
                    <a:pt x="379" y="756"/>
                  </a:lnTo>
                  <a:lnTo>
                    <a:pt x="379" y="756"/>
                  </a:lnTo>
                  <a:lnTo>
                    <a:pt x="379" y="787"/>
                  </a:lnTo>
                  <a:lnTo>
                    <a:pt x="380" y="814"/>
                  </a:lnTo>
                  <a:lnTo>
                    <a:pt x="382" y="839"/>
                  </a:lnTo>
                  <a:lnTo>
                    <a:pt x="385" y="860"/>
                  </a:lnTo>
                  <a:lnTo>
                    <a:pt x="389" y="879"/>
                  </a:lnTo>
                  <a:lnTo>
                    <a:pt x="394" y="896"/>
                  </a:lnTo>
                  <a:lnTo>
                    <a:pt x="401" y="909"/>
                  </a:lnTo>
                  <a:lnTo>
                    <a:pt x="405" y="915"/>
                  </a:lnTo>
                  <a:lnTo>
                    <a:pt x="409" y="921"/>
                  </a:lnTo>
                  <a:lnTo>
                    <a:pt x="413" y="927"/>
                  </a:lnTo>
                  <a:lnTo>
                    <a:pt x="418" y="932"/>
                  </a:lnTo>
                  <a:lnTo>
                    <a:pt x="424" y="936"/>
                  </a:lnTo>
                  <a:lnTo>
                    <a:pt x="429" y="939"/>
                  </a:lnTo>
                  <a:lnTo>
                    <a:pt x="444" y="946"/>
                  </a:lnTo>
                  <a:lnTo>
                    <a:pt x="459" y="950"/>
                  </a:lnTo>
                  <a:lnTo>
                    <a:pt x="476" y="954"/>
                  </a:lnTo>
                  <a:lnTo>
                    <a:pt x="497" y="956"/>
                  </a:lnTo>
                  <a:lnTo>
                    <a:pt x="519" y="957"/>
                  </a:lnTo>
                  <a:lnTo>
                    <a:pt x="545" y="957"/>
                  </a:lnTo>
                  <a:lnTo>
                    <a:pt x="700" y="957"/>
                  </a:lnTo>
                  <a:lnTo>
                    <a:pt x="700" y="957"/>
                  </a:lnTo>
                  <a:lnTo>
                    <a:pt x="729" y="957"/>
                  </a:lnTo>
                  <a:lnTo>
                    <a:pt x="753" y="955"/>
                  </a:lnTo>
                  <a:lnTo>
                    <a:pt x="776" y="953"/>
                  </a:lnTo>
                  <a:lnTo>
                    <a:pt x="795" y="950"/>
                  </a:lnTo>
                  <a:lnTo>
                    <a:pt x="813" y="946"/>
                  </a:lnTo>
                  <a:lnTo>
                    <a:pt x="827" y="940"/>
                  </a:lnTo>
                  <a:lnTo>
                    <a:pt x="840" y="934"/>
                  </a:lnTo>
                  <a:lnTo>
                    <a:pt x="852" y="927"/>
                  </a:lnTo>
                  <a:lnTo>
                    <a:pt x="861" y="917"/>
                  </a:lnTo>
                  <a:lnTo>
                    <a:pt x="869" y="908"/>
                  </a:lnTo>
                  <a:lnTo>
                    <a:pt x="876" y="897"/>
                  </a:lnTo>
                  <a:lnTo>
                    <a:pt x="882" y="886"/>
                  </a:lnTo>
                  <a:lnTo>
                    <a:pt x="887" y="872"/>
                  </a:lnTo>
                  <a:lnTo>
                    <a:pt x="891" y="858"/>
                  </a:lnTo>
                  <a:lnTo>
                    <a:pt x="901" y="826"/>
                  </a:lnTo>
                  <a:lnTo>
                    <a:pt x="909" y="792"/>
                  </a:lnTo>
                  <a:lnTo>
                    <a:pt x="959" y="792"/>
                  </a:lnTo>
                  <a:lnTo>
                    <a:pt x="946" y="1035"/>
                  </a:lnTo>
                  <a:lnTo>
                    <a:pt x="0" y="1035"/>
                  </a:lnTo>
                  <a:lnTo>
                    <a:pt x="0" y="9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0" name="Freeform 13"/>
            <p:cNvSpPr>
              <a:spLocks/>
            </p:cNvSpPr>
            <p:nvPr userDrawn="1"/>
          </p:nvSpPr>
          <p:spPr bwMode="auto">
            <a:xfrm>
              <a:off x="7839323" y="633579"/>
              <a:ext cx="152400" cy="141288"/>
            </a:xfrm>
            <a:custGeom>
              <a:avLst/>
              <a:gdLst>
                <a:gd name="T0" fmla="*/ 1159 w 1159"/>
                <a:gd name="T1" fmla="*/ 50 h 1065"/>
                <a:gd name="T2" fmla="*/ 1091 w 1159"/>
                <a:gd name="T3" fmla="*/ 54 h 1065"/>
                <a:gd name="T4" fmla="*/ 1039 w 1159"/>
                <a:gd name="T5" fmla="*/ 73 h 1065"/>
                <a:gd name="T6" fmla="*/ 1019 w 1159"/>
                <a:gd name="T7" fmla="*/ 92 h 1065"/>
                <a:gd name="T8" fmla="*/ 1001 w 1159"/>
                <a:gd name="T9" fmla="*/ 148 h 1065"/>
                <a:gd name="T10" fmla="*/ 996 w 1159"/>
                <a:gd name="T11" fmla="*/ 252 h 1065"/>
                <a:gd name="T12" fmla="*/ 994 w 1159"/>
                <a:gd name="T13" fmla="*/ 700 h 1065"/>
                <a:gd name="T14" fmla="*/ 976 w 1159"/>
                <a:gd name="T15" fmla="*/ 790 h 1065"/>
                <a:gd name="T16" fmla="*/ 944 w 1159"/>
                <a:gd name="T17" fmla="*/ 866 h 1065"/>
                <a:gd name="T18" fmla="*/ 899 w 1159"/>
                <a:gd name="T19" fmla="*/ 932 h 1065"/>
                <a:gd name="T20" fmla="*/ 843 w 1159"/>
                <a:gd name="T21" fmla="*/ 984 h 1065"/>
                <a:gd name="T22" fmla="*/ 777 w 1159"/>
                <a:gd name="T23" fmla="*/ 1023 h 1065"/>
                <a:gd name="T24" fmla="*/ 702 w 1159"/>
                <a:gd name="T25" fmla="*/ 1049 h 1065"/>
                <a:gd name="T26" fmla="*/ 621 w 1159"/>
                <a:gd name="T27" fmla="*/ 1063 h 1065"/>
                <a:gd name="T28" fmla="*/ 558 w 1159"/>
                <a:gd name="T29" fmla="*/ 1065 h 1065"/>
                <a:gd name="T30" fmla="*/ 476 w 1159"/>
                <a:gd name="T31" fmla="*/ 1054 h 1065"/>
                <a:gd name="T32" fmla="*/ 399 w 1159"/>
                <a:gd name="T33" fmla="*/ 1031 h 1065"/>
                <a:gd name="T34" fmla="*/ 331 w 1159"/>
                <a:gd name="T35" fmla="*/ 995 h 1065"/>
                <a:gd name="T36" fmla="*/ 273 w 1159"/>
                <a:gd name="T37" fmla="*/ 946 h 1065"/>
                <a:gd name="T38" fmla="*/ 226 w 1159"/>
                <a:gd name="T39" fmla="*/ 884 h 1065"/>
                <a:gd name="T40" fmla="*/ 191 w 1159"/>
                <a:gd name="T41" fmla="*/ 810 h 1065"/>
                <a:gd name="T42" fmla="*/ 170 w 1159"/>
                <a:gd name="T43" fmla="*/ 723 h 1065"/>
                <a:gd name="T44" fmla="*/ 165 w 1159"/>
                <a:gd name="T45" fmla="*/ 252 h 1065"/>
                <a:gd name="T46" fmla="*/ 162 w 1159"/>
                <a:gd name="T47" fmla="*/ 169 h 1065"/>
                <a:gd name="T48" fmla="*/ 145 w 1159"/>
                <a:gd name="T49" fmla="*/ 98 h 1065"/>
                <a:gd name="T50" fmla="*/ 126 w 1159"/>
                <a:gd name="T51" fmla="*/ 77 h 1065"/>
                <a:gd name="T52" fmla="*/ 87 w 1159"/>
                <a:gd name="T53" fmla="*/ 58 h 1065"/>
                <a:gd name="T54" fmla="*/ 0 w 1159"/>
                <a:gd name="T55" fmla="*/ 50 h 1065"/>
                <a:gd name="T56" fmla="*/ 547 w 1159"/>
                <a:gd name="T57" fmla="*/ 50 h 1065"/>
                <a:gd name="T58" fmla="*/ 460 w 1159"/>
                <a:gd name="T59" fmla="*/ 58 h 1065"/>
                <a:gd name="T60" fmla="*/ 419 w 1159"/>
                <a:gd name="T61" fmla="*/ 77 h 1065"/>
                <a:gd name="T62" fmla="*/ 402 w 1159"/>
                <a:gd name="T63" fmla="*/ 98 h 1065"/>
                <a:gd name="T64" fmla="*/ 384 w 1159"/>
                <a:gd name="T65" fmla="*/ 169 h 1065"/>
                <a:gd name="T66" fmla="*/ 381 w 1159"/>
                <a:gd name="T67" fmla="*/ 631 h 1065"/>
                <a:gd name="T68" fmla="*/ 384 w 1159"/>
                <a:gd name="T69" fmla="*/ 691 h 1065"/>
                <a:gd name="T70" fmla="*/ 397 w 1159"/>
                <a:gd name="T71" fmla="*/ 761 h 1065"/>
                <a:gd name="T72" fmla="*/ 420 w 1159"/>
                <a:gd name="T73" fmla="*/ 819 h 1065"/>
                <a:gd name="T74" fmla="*/ 451 w 1159"/>
                <a:gd name="T75" fmla="*/ 867 h 1065"/>
                <a:gd name="T76" fmla="*/ 488 w 1159"/>
                <a:gd name="T77" fmla="*/ 905 h 1065"/>
                <a:gd name="T78" fmla="*/ 532 w 1159"/>
                <a:gd name="T79" fmla="*/ 933 h 1065"/>
                <a:gd name="T80" fmla="*/ 581 w 1159"/>
                <a:gd name="T81" fmla="*/ 950 h 1065"/>
                <a:gd name="T82" fmla="*/ 635 w 1159"/>
                <a:gd name="T83" fmla="*/ 957 h 1065"/>
                <a:gd name="T84" fmla="*/ 676 w 1159"/>
                <a:gd name="T85" fmla="*/ 956 h 1065"/>
                <a:gd name="T86" fmla="*/ 727 w 1159"/>
                <a:gd name="T87" fmla="*/ 947 h 1065"/>
                <a:gd name="T88" fmla="*/ 773 w 1159"/>
                <a:gd name="T89" fmla="*/ 927 h 1065"/>
                <a:gd name="T90" fmla="*/ 814 w 1159"/>
                <a:gd name="T91" fmla="*/ 897 h 1065"/>
                <a:gd name="T92" fmla="*/ 847 w 1159"/>
                <a:gd name="T93" fmla="*/ 857 h 1065"/>
                <a:gd name="T94" fmla="*/ 873 w 1159"/>
                <a:gd name="T95" fmla="*/ 806 h 1065"/>
                <a:gd name="T96" fmla="*/ 891 w 1159"/>
                <a:gd name="T97" fmla="*/ 745 h 1065"/>
                <a:gd name="T98" fmla="*/ 901 w 1159"/>
                <a:gd name="T99" fmla="*/ 672 h 1065"/>
                <a:gd name="T100" fmla="*/ 903 w 1159"/>
                <a:gd name="T101" fmla="*/ 252 h 1065"/>
                <a:gd name="T102" fmla="*/ 896 w 1159"/>
                <a:gd name="T103" fmla="*/ 148 h 1065"/>
                <a:gd name="T104" fmla="*/ 878 w 1159"/>
                <a:gd name="T105" fmla="*/ 92 h 1065"/>
                <a:gd name="T106" fmla="*/ 859 w 1159"/>
                <a:gd name="T107" fmla="*/ 73 h 1065"/>
                <a:gd name="T108" fmla="*/ 805 w 1159"/>
                <a:gd name="T109" fmla="*/ 54 h 1065"/>
                <a:gd name="T110" fmla="*/ 737 w 1159"/>
                <a:gd name="T111" fmla="*/ 5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59" h="1065">
                  <a:moveTo>
                    <a:pt x="737" y="50"/>
                  </a:moveTo>
                  <a:lnTo>
                    <a:pt x="737" y="0"/>
                  </a:lnTo>
                  <a:lnTo>
                    <a:pt x="1159" y="0"/>
                  </a:lnTo>
                  <a:lnTo>
                    <a:pt x="1159" y="50"/>
                  </a:lnTo>
                  <a:lnTo>
                    <a:pt x="1159" y="50"/>
                  </a:lnTo>
                  <a:lnTo>
                    <a:pt x="1134" y="50"/>
                  </a:lnTo>
                  <a:lnTo>
                    <a:pt x="1111" y="51"/>
                  </a:lnTo>
                  <a:lnTo>
                    <a:pt x="1091" y="54"/>
                  </a:lnTo>
                  <a:lnTo>
                    <a:pt x="1073" y="58"/>
                  </a:lnTo>
                  <a:lnTo>
                    <a:pt x="1058" y="63"/>
                  </a:lnTo>
                  <a:lnTo>
                    <a:pt x="1045" y="69"/>
                  </a:lnTo>
                  <a:lnTo>
                    <a:pt x="1039" y="73"/>
                  </a:lnTo>
                  <a:lnTo>
                    <a:pt x="1033" y="77"/>
                  </a:lnTo>
                  <a:lnTo>
                    <a:pt x="1028" y="81"/>
                  </a:lnTo>
                  <a:lnTo>
                    <a:pt x="1023" y="86"/>
                  </a:lnTo>
                  <a:lnTo>
                    <a:pt x="1019" y="92"/>
                  </a:lnTo>
                  <a:lnTo>
                    <a:pt x="1016" y="98"/>
                  </a:lnTo>
                  <a:lnTo>
                    <a:pt x="1009" y="113"/>
                  </a:lnTo>
                  <a:lnTo>
                    <a:pt x="1005" y="129"/>
                  </a:lnTo>
                  <a:lnTo>
                    <a:pt x="1001" y="148"/>
                  </a:lnTo>
                  <a:lnTo>
                    <a:pt x="998" y="169"/>
                  </a:lnTo>
                  <a:lnTo>
                    <a:pt x="997" y="194"/>
                  </a:lnTo>
                  <a:lnTo>
                    <a:pt x="996" y="221"/>
                  </a:lnTo>
                  <a:lnTo>
                    <a:pt x="996" y="252"/>
                  </a:lnTo>
                  <a:lnTo>
                    <a:pt x="996" y="651"/>
                  </a:lnTo>
                  <a:lnTo>
                    <a:pt x="996" y="651"/>
                  </a:lnTo>
                  <a:lnTo>
                    <a:pt x="995" y="675"/>
                  </a:lnTo>
                  <a:lnTo>
                    <a:pt x="994" y="700"/>
                  </a:lnTo>
                  <a:lnTo>
                    <a:pt x="990" y="723"/>
                  </a:lnTo>
                  <a:lnTo>
                    <a:pt x="986" y="746"/>
                  </a:lnTo>
                  <a:lnTo>
                    <a:pt x="982" y="768"/>
                  </a:lnTo>
                  <a:lnTo>
                    <a:pt x="976" y="790"/>
                  </a:lnTo>
                  <a:lnTo>
                    <a:pt x="970" y="810"/>
                  </a:lnTo>
                  <a:lnTo>
                    <a:pt x="962" y="829"/>
                  </a:lnTo>
                  <a:lnTo>
                    <a:pt x="954" y="849"/>
                  </a:lnTo>
                  <a:lnTo>
                    <a:pt x="944" y="866"/>
                  </a:lnTo>
                  <a:lnTo>
                    <a:pt x="934" y="884"/>
                  </a:lnTo>
                  <a:lnTo>
                    <a:pt x="924" y="901"/>
                  </a:lnTo>
                  <a:lnTo>
                    <a:pt x="912" y="916"/>
                  </a:lnTo>
                  <a:lnTo>
                    <a:pt x="899" y="932"/>
                  </a:lnTo>
                  <a:lnTo>
                    <a:pt x="886" y="946"/>
                  </a:lnTo>
                  <a:lnTo>
                    <a:pt x="873" y="959"/>
                  </a:lnTo>
                  <a:lnTo>
                    <a:pt x="859" y="972"/>
                  </a:lnTo>
                  <a:lnTo>
                    <a:pt x="843" y="984"/>
                  </a:lnTo>
                  <a:lnTo>
                    <a:pt x="828" y="995"/>
                  </a:lnTo>
                  <a:lnTo>
                    <a:pt x="812" y="1005"/>
                  </a:lnTo>
                  <a:lnTo>
                    <a:pt x="794" y="1015"/>
                  </a:lnTo>
                  <a:lnTo>
                    <a:pt x="777" y="1023"/>
                  </a:lnTo>
                  <a:lnTo>
                    <a:pt x="759" y="1031"/>
                  </a:lnTo>
                  <a:lnTo>
                    <a:pt x="741" y="1038"/>
                  </a:lnTo>
                  <a:lnTo>
                    <a:pt x="722" y="1044"/>
                  </a:lnTo>
                  <a:lnTo>
                    <a:pt x="702" y="1049"/>
                  </a:lnTo>
                  <a:lnTo>
                    <a:pt x="683" y="1054"/>
                  </a:lnTo>
                  <a:lnTo>
                    <a:pt x="662" y="1057"/>
                  </a:lnTo>
                  <a:lnTo>
                    <a:pt x="643" y="1061"/>
                  </a:lnTo>
                  <a:lnTo>
                    <a:pt x="621" y="1063"/>
                  </a:lnTo>
                  <a:lnTo>
                    <a:pt x="601" y="1065"/>
                  </a:lnTo>
                  <a:lnTo>
                    <a:pt x="579" y="1065"/>
                  </a:lnTo>
                  <a:lnTo>
                    <a:pt x="579" y="1065"/>
                  </a:lnTo>
                  <a:lnTo>
                    <a:pt x="558" y="1065"/>
                  </a:lnTo>
                  <a:lnTo>
                    <a:pt x="538" y="1063"/>
                  </a:lnTo>
                  <a:lnTo>
                    <a:pt x="516" y="1061"/>
                  </a:lnTo>
                  <a:lnTo>
                    <a:pt x="496" y="1057"/>
                  </a:lnTo>
                  <a:lnTo>
                    <a:pt x="476" y="1054"/>
                  </a:lnTo>
                  <a:lnTo>
                    <a:pt x="456" y="1049"/>
                  </a:lnTo>
                  <a:lnTo>
                    <a:pt x="437" y="1044"/>
                  </a:lnTo>
                  <a:lnTo>
                    <a:pt x="418" y="1038"/>
                  </a:lnTo>
                  <a:lnTo>
                    <a:pt x="399" y="1031"/>
                  </a:lnTo>
                  <a:lnTo>
                    <a:pt x="382" y="1023"/>
                  </a:lnTo>
                  <a:lnTo>
                    <a:pt x="365" y="1015"/>
                  </a:lnTo>
                  <a:lnTo>
                    <a:pt x="347" y="1005"/>
                  </a:lnTo>
                  <a:lnTo>
                    <a:pt x="331" y="995"/>
                  </a:lnTo>
                  <a:lnTo>
                    <a:pt x="316" y="984"/>
                  </a:lnTo>
                  <a:lnTo>
                    <a:pt x="301" y="972"/>
                  </a:lnTo>
                  <a:lnTo>
                    <a:pt x="286" y="959"/>
                  </a:lnTo>
                  <a:lnTo>
                    <a:pt x="273" y="946"/>
                  </a:lnTo>
                  <a:lnTo>
                    <a:pt x="259" y="932"/>
                  </a:lnTo>
                  <a:lnTo>
                    <a:pt x="247" y="916"/>
                  </a:lnTo>
                  <a:lnTo>
                    <a:pt x="236" y="901"/>
                  </a:lnTo>
                  <a:lnTo>
                    <a:pt x="226" y="884"/>
                  </a:lnTo>
                  <a:lnTo>
                    <a:pt x="215" y="866"/>
                  </a:lnTo>
                  <a:lnTo>
                    <a:pt x="206" y="849"/>
                  </a:lnTo>
                  <a:lnTo>
                    <a:pt x="198" y="829"/>
                  </a:lnTo>
                  <a:lnTo>
                    <a:pt x="191" y="810"/>
                  </a:lnTo>
                  <a:lnTo>
                    <a:pt x="184" y="790"/>
                  </a:lnTo>
                  <a:lnTo>
                    <a:pt x="179" y="768"/>
                  </a:lnTo>
                  <a:lnTo>
                    <a:pt x="174" y="746"/>
                  </a:lnTo>
                  <a:lnTo>
                    <a:pt x="170" y="723"/>
                  </a:lnTo>
                  <a:lnTo>
                    <a:pt x="167" y="700"/>
                  </a:lnTo>
                  <a:lnTo>
                    <a:pt x="166" y="675"/>
                  </a:lnTo>
                  <a:lnTo>
                    <a:pt x="165" y="651"/>
                  </a:lnTo>
                  <a:lnTo>
                    <a:pt x="165" y="252"/>
                  </a:lnTo>
                  <a:lnTo>
                    <a:pt x="165" y="252"/>
                  </a:lnTo>
                  <a:lnTo>
                    <a:pt x="165" y="221"/>
                  </a:lnTo>
                  <a:lnTo>
                    <a:pt x="164" y="194"/>
                  </a:lnTo>
                  <a:lnTo>
                    <a:pt x="162" y="169"/>
                  </a:lnTo>
                  <a:lnTo>
                    <a:pt x="160" y="148"/>
                  </a:lnTo>
                  <a:lnTo>
                    <a:pt x="156" y="129"/>
                  </a:lnTo>
                  <a:lnTo>
                    <a:pt x="151" y="113"/>
                  </a:lnTo>
                  <a:lnTo>
                    <a:pt x="145" y="98"/>
                  </a:lnTo>
                  <a:lnTo>
                    <a:pt x="141" y="92"/>
                  </a:lnTo>
                  <a:lnTo>
                    <a:pt x="137" y="86"/>
                  </a:lnTo>
                  <a:lnTo>
                    <a:pt x="132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7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47" y="0"/>
                  </a:lnTo>
                  <a:lnTo>
                    <a:pt x="547" y="50"/>
                  </a:lnTo>
                  <a:lnTo>
                    <a:pt x="547" y="50"/>
                  </a:lnTo>
                  <a:lnTo>
                    <a:pt x="521" y="50"/>
                  </a:lnTo>
                  <a:lnTo>
                    <a:pt x="498" y="51"/>
                  </a:lnTo>
                  <a:lnTo>
                    <a:pt x="477" y="54"/>
                  </a:lnTo>
                  <a:lnTo>
                    <a:pt x="460" y="58"/>
                  </a:lnTo>
                  <a:lnTo>
                    <a:pt x="444" y="63"/>
                  </a:lnTo>
                  <a:lnTo>
                    <a:pt x="430" y="69"/>
                  </a:lnTo>
                  <a:lnTo>
                    <a:pt x="425" y="73"/>
                  </a:lnTo>
                  <a:lnTo>
                    <a:pt x="419" y="77"/>
                  </a:lnTo>
                  <a:lnTo>
                    <a:pt x="414" y="81"/>
                  </a:lnTo>
                  <a:lnTo>
                    <a:pt x="410" y="86"/>
                  </a:lnTo>
                  <a:lnTo>
                    <a:pt x="406" y="92"/>
                  </a:lnTo>
                  <a:lnTo>
                    <a:pt x="402" y="98"/>
                  </a:lnTo>
                  <a:lnTo>
                    <a:pt x="395" y="113"/>
                  </a:lnTo>
                  <a:lnTo>
                    <a:pt x="390" y="129"/>
                  </a:lnTo>
                  <a:lnTo>
                    <a:pt x="386" y="148"/>
                  </a:lnTo>
                  <a:lnTo>
                    <a:pt x="384" y="169"/>
                  </a:lnTo>
                  <a:lnTo>
                    <a:pt x="382" y="194"/>
                  </a:lnTo>
                  <a:lnTo>
                    <a:pt x="381" y="221"/>
                  </a:lnTo>
                  <a:lnTo>
                    <a:pt x="381" y="252"/>
                  </a:lnTo>
                  <a:lnTo>
                    <a:pt x="381" y="631"/>
                  </a:lnTo>
                  <a:lnTo>
                    <a:pt x="381" y="631"/>
                  </a:lnTo>
                  <a:lnTo>
                    <a:pt x="381" y="652"/>
                  </a:lnTo>
                  <a:lnTo>
                    <a:pt x="382" y="672"/>
                  </a:lnTo>
                  <a:lnTo>
                    <a:pt x="384" y="691"/>
                  </a:lnTo>
                  <a:lnTo>
                    <a:pt x="386" y="710"/>
                  </a:lnTo>
                  <a:lnTo>
                    <a:pt x="389" y="727"/>
                  </a:lnTo>
                  <a:lnTo>
                    <a:pt x="393" y="745"/>
                  </a:lnTo>
                  <a:lnTo>
                    <a:pt x="397" y="761"/>
                  </a:lnTo>
                  <a:lnTo>
                    <a:pt x="403" y="776"/>
                  </a:lnTo>
                  <a:lnTo>
                    <a:pt x="408" y="792"/>
                  </a:lnTo>
                  <a:lnTo>
                    <a:pt x="413" y="806"/>
                  </a:lnTo>
                  <a:lnTo>
                    <a:pt x="420" y="819"/>
                  </a:lnTo>
                  <a:lnTo>
                    <a:pt x="427" y="833"/>
                  </a:lnTo>
                  <a:lnTo>
                    <a:pt x="434" y="845"/>
                  </a:lnTo>
                  <a:lnTo>
                    <a:pt x="442" y="857"/>
                  </a:lnTo>
                  <a:lnTo>
                    <a:pt x="451" y="867"/>
                  </a:lnTo>
                  <a:lnTo>
                    <a:pt x="459" y="878"/>
                  </a:lnTo>
                  <a:lnTo>
                    <a:pt x="468" y="888"/>
                  </a:lnTo>
                  <a:lnTo>
                    <a:pt x="478" y="897"/>
                  </a:lnTo>
                  <a:lnTo>
                    <a:pt x="488" y="905"/>
                  </a:lnTo>
                  <a:lnTo>
                    <a:pt x="499" y="913"/>
                  </a:lnTo>
                  <a:lnTo>
                    <a:pt x="510" y="920"/>
                  </a:lnTo>
                  <a:lnTo>
                    <a:pt x="521" y="927"/>
                  </a:lnTo>
                  <a:lnTo>
                    <a:pt x="532" y="933"/>
                  </a:lnTo>
                  <a:lnTo>
                    <a:pt x="544" y="938"/>
                  </a:lnTo>
                  <a:lnTo>
                    <a:pt x="556" y="943"/>
                  </a:lnTo>
                  <a:lnTo>
                    <a:pt x="569" y="947"/>
                  </a:lnTo>
                  <a:lnTo>
                    <a:pt x="581" y="950"/>
                  </a:lnTo>
                  <a:lnTo>
                    <a:pt x="595" y="953"/>
                  </a:lnTo>
                  <a:lnTo>
                    <a:pt x="608" y="955"/>
                  </a:lnTo>
                  <a:lnTo>
                    <a:pt x="621" y="956"/>
                  </a:lnTo>
                  <a:lnTo>
                    <a:pt x="635" y="957"/>
                  </a:lnTo>
                  <a:lnTo>
                    <a:pt x="649" y="957"/>
                  </a:lnTo>
                  <a:lnTo>
                    <a:pt x="649" y="957"/>
                  </a:lnTo>
                  <a:lnTo>
                    <a:pt x="662" y="957"/>
                  </a:lnTo>
                  <a:lnTo>
                    <a:pt x="676" y="956"/>
                  </a:lnTo>
                  <a:lnTo>
                    <a:pt x="689" y="955"/>
                  </a:lnTo>
                  <a:lnTo>
                    <a:pt x="702" y="953"/>
                  </a:lnTo>
                  <a:lnTo>
                    <a:pt x="714" y="950"/>
                  </a:lnTo>
                  <a:lnTo>
                    <a:pt x="727" y="947"/>
                  </a:lnTo>
                  <a:lnTo>
                    <a:pt x="739" y="943"/>
                  </a:lnTo>
                  <a:lnTo>
                    <a:pt x="751" y="938"/>
                  </a:lnTo>
                  <a:lnTo>
                    <a:pt x="762" y="933"/>
                  </a:lnTo>
                  <a:lnTo>
                    <a:pt x="773" y="927"/>
                  </a:lnTo>
                  <a:lnTo>
                    <a:pt x="784" y="920"/>
                  </a:lnTo>
                  <a:lnTo>
                    <a:pt x="794" y="913"/>
                  </a:lnTo>
                  <a:lnTo>
                    <a:pt x="803" y="905"/>
                  </a:lnTo>
                  <a:lnTo>
                    <a:pt x="814" y="897"/>
                  </a:lnTo>
                  <a:lnTo>
                    <a:pt x="823" y="888"/>
                  </a:lnTo>
                  <a:lnTo>
                    <a:pt x="831" y="878"/>
                  </a:lnTo>
                  <a:lnTo>
                    <a:pt x="839" y="867"/>
                  </a:lnTo>
                  <a:lnTo>
                    <a:pt x="847" y="857"/>
                  </a:lnTo>
                  <a:lnTo>
                    <a:pt x="854" y="845"/>
                  </a:lnTo>
                  <a:lnTo>
                    <a:pt x="861" y="833"/>
                  </a:lnTo>
                  <a:lnTo>
                    <a:pt x="868" y="819"/>
                  </a:lnTo>
                  <a:lnTo>
                    <a:pt x="873" y="806"/>
                  </a:lnTo>
                  <a:lnTo>
                    <a:pt x="879" y="792"/>
                  </a:lnTo>
                  <a:lnTo>
                    <a:pt x="883" y="776"/>
                  </a:lnTo>
                  <a:lnTo>
                    <a:pt x="887" y="761"/>
                  </a:lnTo>
                  <a:lnTo>
                    <a:pt x="891" y="745"/>
                  </a:lnTo>
                  <a:lnTo>
                    <a:pt x="894" y="727"/>
                  </a:lnTo>
                  <a:lnTo>
                    <a:pt x="897" y="710"/>
                  </a:lnTo>
                  <a:lnTo>
                    <a:pt x="899" y="691"/>
                  </a:lnTo>
                  <a:lnTo>
                    <a:pt x="901" y="672"/>
                  </a:lnTo>
                  <a:lnTo>
                    <a:pt x="902" y="652"/>
                  </a:lnTo>
                  <a:lnTo>
                    <a:pt x="903" y="631"/>
                  </a:lnTo>
                  <a:lnTo>
                    <a:pt x="903" y="252"/>
                  </a:lnTo>
                  <a:lnTo>
                    <a:pt x="903" y="252"/>
                  </a:lnTo>
                  <a:lnTo>
                    <a:pt x="902" y="221"/>
                  </a:lnTo>
                  <a:lnTo>
                    <a:pt x="901" y="194"/>
                  </a:lnTo>
                  <a:lnTo>
                    <a:pt x="899" y="169"/>
                  </a:lnTo>
                  <a:lnTo>
                    <a:pt x="896" y="148"/>
                  </a:lnTo>
                  <a:lnTo>
                    <a:pt x="893" y="129"/>
                  </a:lnTo>
                  <a:lnTo>
                    <a:pt x="888" y="113"/>
                  </a:lnTo>
                  <a:lnTo>
                    <a:pt x="881" y="98"/>
                  </a:lnTo>
                  <a:lnTo>
                    <a:pt x="878" y="92"/>
                  </a:lnTo>
                  <a:lnTo>
                    <a:pt x="874" y="86"/>
                  </a:lnTo>
                  <a:lnTo>
                    <a:pt x="869" y="81"/>
                  </a:lnTo>
                  <a:lnTo>
                    <a:pt x="864" y="77"/>
                  </a:lnTo>
                  <a:lnTo>
                    <a:pt x="859" y="73"/>
                  </a:lnTo>
                  <a:lnTo>
                    <a:pt x="852" y="69"/>
                  </a:lnTo>
                  <a:lnTo>
                    <a:pt x="839" y="63"/>
                  </a:lnTo>
                  <a:lnTo>
                    <a:pt x="824" y="58"/>
                  </a:lnTo>
                  <a:lnTo>
                    <a:pt x="805" y="54"/>
                  </a:lnTo>
                  <a:lnTo>
                    <a:pt x="785" y="51"/>
                  </a:lnTo>
                  <a:lnTo>
                    <a:pt x="762" y="50"/>
                  </a:lnTo>
                  <a:lnTo>
                    <a:pt x="737" y="50"/>
                  </a:lnTo>
                  <a:lnTo>
                    <a:pt x="737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1" name="Freeform 14"/>
            <p:cNvSpPr>
              <a:spLocks/>
            </p:cNvSpPr>
            <p:nvPr userDrawn="1"/>
          </p:nvSpPr>
          <p:spPr bwMode="auto">
            <a:xfrm>
              <a:off x="8002836" y="633579"/>
              <a:ext cx="160338" cy="141288"/>
            </a:xfrm>
            <a:custGeom>
              <a:avLst/>
              <a:gdLst>
                <a:gd name="T0" fmla="*/ 623 w 1210"/>
                <a:gd name="T1" fmla="*/ 1065 h 1065"/>
                <a:gd name="T2" fmla="*/ 211 w 1210"/>
                <a:gd name="T3" fmla="*/ 202 h 1065"/>
                <a:gd name="T4" fmla="*/ 193 w 1210"/>
                <a:gd name="T5" fmla="*/ 163 h 1065"/>
                <a:gd name="T6" fmla="*/ 177 w 1210"/>
                <a:gd name="T7" fmla="*/ 131 h 1065"/>
                <a:gd name="T8" fmla="*/ 159 w 1210"/>
                <a:gd name="T9" fmla="*/ 105 h 1065"/>
                <a:gd name="T10" fmla="*/ 139 w 1210"/>
                <a:gd name="T11" fmla="*/ 84 h 1065"/>
                <a:gd name="T12" fmla="*/ 114 w 1210"/>
                <a:gd name="T13" fmla="*/ 69 h 1065"/>
                <a:gd name="T14" fmla="*/ 85 w 1210"/>
                <a:gd name="T15" fmla="*/ 59 h 1065"/>
                <a:gd name="T16" fmla="*/ 47 w 1210"/>
                <a:gd name="T17" fmla="*/ 52 h 1065"/>
                <a:gd name="T18" fmla="*/ 0 w 1210"/>
                <a:gd name="T19" fmla="*/ 50 h 1065"/>
                <a:gd name="T20" fmla="*/ 566 w 1210"/>
                <a:gd name="T21" fmla="*/ 0 h 1065"/>
                <a:gd name="T22" fmla="*/ 566 w 1210"/>
                <a:gd name="T23" fmla="*/ 50 h 1065"/>
                <a:gd name="T24" fmla="*/ 515 w 1210"/>
                <a:gd name="T25" fmla="*/ 52 h 1065"/>
                <a:gd name="T26" fmla="*/ 476 w 1210"/>
                <a:gd name="T27" fmla="*/ 58 h 1065"/>
                <a:gd name="T28" fmla="*/ 448 w 1210"/>
                <a:gd name="T29" fmla="*/ 68 h 1065"/>
                <a:gd name="T30" fmla="*/ 429 w 1210"/>
                <a:gd name="T31" fmla="*/ 81 h 1065"/>
                <a:gd name="T32" fmla="*/ 420 w 1210"/>
                <a:gd name="T33" fmla="*/ 99 h 1065"/>
                <a:gd name="T34" fmla="*/ 419 w 1210"/>
                <a:gd name="T35" fmla="*/ 122 h 1065"/>
                <a:gd name="T36" fmla="*/ 424 w 1210"/>
                <a:gd name="T37" fmla="*/ 150 h 1065"/>
                <a:gd name="T38" fmla="*/ 436 w 1210"/>
                <a:gd name="T39" fmla="*/ 181 h 1065"/>
                <a:gd name="T40" fmla="*/ 921 w 1210"/>
                <a:gd name="T41" fmla="*/ 181 h 1065"/>
                <a:gd name="T42" fmla="*/ 928 w 1210"/>
                <a:gd name="T43" fmla="*/ 165 h 1065"/>
                <a:gd name="T44" fmla="*/ 936 w 1210"/>
                <a:gd name="T45" fmla="*/ 134 h 1065"/>
                <a:gd name="T46" fmla="*/ 938 w 1210"/>
                <a:gd name="T47" fmla="*/ 110 h 1065"/>
                <a:gd name="T48" fmla="*/ 931 w 1210"/>
                <a:gd name="T49" fmla="*/ 89 h 1065"/>
                <a:gd name="T50" fmla="*/ 917 w 1210"/>
                <a:gd name="T51" fmla="*/ 74 h 1065"/>
                <a:gd name="T52" fmla="*/ 894 w 1210"/>
                <a:gd name="T53" fmla="*/ 62 h 1065"/>
                <a:gd name="T54" fmla="*/ 861 w 1210"/>
                <a:gd name="T55" fmla="*/ 54 h 1065"/>
                <a:gd name="T56" fmla="*/ 817 w 1210"/>
                <a:gd name="T57" fmla="*/ 50 h 1065"/>
                <a:gd name="T58" fmla="*/ 792 w 1210"/>
                <a:gd name="T59" fmla="*/ 0 h 1065"/>
                <a:gd name="T60" fmla="*/ 1210 w 1210"/>
                <a:gd name="T61" fmla="*/ 50 h 1065"/>
                <a:gd name="T62" fmla="*/ 1188 w 1210"/>
                <a:gd name="T63" fmla="*/ 50 h 1065"/>
                <a:gd name="T64" fmla="*/ 1150 w 1210"/>
                <a:gd name="T65" fmla="*/ 53 h 1065"/>
                <a:gd name="T66" fmla="*/ 1119 w 1210"/>
                <a:gd name="T67" fmla="*/ 61 h 1065"/>
                <a:gd name="T68" fmla="*/ 1091 w 1210"/>
                <a:gd name="T69" fmla="*/ 73 h 1065"/>
                <a:gd name="T70" fmla="*/ 1067 w 1210"/>
                <a:gd name="T71" fmla="*/ 89 h 1065"/>
                <a:gd name="T72" fmla="*/ 1046 w 1210"/>
                <a:gd name="T73" fmla="*/ 113 h 1065"/>
                <a:gd name="T74" fmla="*/ 1026 w 1210"/>
                <a:gd name="T75" fmla="*/ 142 h 1065"/>
                <a:gd name="T76" fmla="*/ 1007 w 1210"/>
                <a:gd name="T77" fmla="*/ 180 h 1065"/>
                <a:gd name="T78" fmla="*/ 997 w 1210"/>
                <a:gd name="T79" fmla="*/ 20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0" h="1065">
                  <a:moveTo>
                    <a:pt x="997" y="202"/>
                  </a:moveTo>
                  <a:lnTo>
                    <a:pt x="623" y="1065"/>
                  </a:lnTo>
                  <a:lnTo>
                    <a:pt x="587" y="1065"/>
                  </a:lnTo>
                  <a:lnTo>
                    <a:pt x="211" y="202"/>
                  </a:lnTo>
                  <a:lnTo>
                    <a:pt x="211" y="202"/>
                  </a:lnTo>
                  <a:lnTo>
                    <a:pt x="193" y="163"/>
                  </a:lnTo>
                  <a:lnTo>
                    <a:pt x="185" y="146"/>
                  </a:lnTo>
                  <a:lnTo>
                    <a:pt x="177" y="131"/>
                  </a:lnTo>
                  <a:lnTo>
                    <a:pt x="169" y="117"/>
                  </a:lnTo>
                  <a:lnTo>
                    <a:pt x="159" y="105"/>
                  </a:lnTo>
                  <a:lnTo>
                    <a:pt x="149" y="93"/>
                  </a:lnTo>
                  <a:lnTo>
                    <a:pt x="139" y="84"/>
                  </a:lnTo>
                  <a:lnTo>
                    <a:pt x="128" y="76"/>
                  </a:lnTo>
                  <a:lnTo>
                    <a:pt x="114" y="69"/>
                  </a:lnTo>
                  <a:lnTo>
                    <a:pt x="100" y="63"/>
                  </a:lnTo>
                  <a:lnTo>
                    <a:pt x="85" y="59"/>
                  </a:lnTo>
                  <a:lnTo>
                    <a:pt x="66" y="54"/>
                  </a:lnTo>
                  <a:lnTo>
                    <a:pt x="47" y="52"/>
                  </a:lnTo>
                  <a:lnTo>
                    <a:pt x="24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66" y="0"/>
                  </a:lnTo>
                  <a:lnTo>
                    <a:pt x="566" y="50"/>
                  </a:lnTo>
                  <a:lnTo>
                    <a:pt x="566" y="50"/>
                  </a:lnTo>
                  <a:lnTo>
                    <a:pt x="539" y="50"/>
                  </a:lnTo>
                  <a:lnTo>
                    <a:pt x="515" y="52"/>
                  </a:lnTo>
                  <a:lnTo>
                    <a:pt x="494" y="54"/>
                  </a:lnTo>
                  <a:lnTo>
                    <a:pt x="476" y="58"/>
                  </a:lnTo>
                  <a:lnTo>
                    <a:pt x="461" y="63"/>
                  </a:lnTo>
                  <a:lnTo>
                    <a:pt x="448" y="68"/>
                  </a:lnTo>
                  <a:lnTo>
                    <a:pt x="438" y="74"/>
                  </a:lnTo>
                  <a:lnTo>
                    <a:pt x="429" y="81"/>
                  </a:lnTo>
                  <a:lnTo>
                    <a:pt x="423" y="90"/>
                  </a:lnTo>
                  <a:lnTo>
                    <a:pt x="420" y="99"/>
                  </a:lnTo>
                  <a:lnTo>
                    <a:pt x="418" y="111"/>
                  </a:lnTo>
                  <a:lnTo>
                    <a:pt x="419" y="122"/>
                  </a:lnTo>
                  <a:lnTo>
                    <a:pt x="421" y="135"/>
                  </a:lnTo>
                  <a:lnTo>
                    <a:pt x="424" y="150"/>
                  </a:lnTo>
                  <a:lnTo>
                    <a:pt x="429" y="165"/>
                  </a:lnTo>
                  <a:lnTo>
                    <a:pt x="436" y="181"/>
                  </a:lnTo>
                  <a:lnTo>
                    <a:pt x="678" y="742"/>
                  </a:lnTo>
                  <a:lnTo>
                    <a:pt x="921" y="181"/>
                  </a:lnTo>
                  <a:lnTo>
                    <a:pt x="921" y="181"/>
                  </a:lnTo>
                  <a:lnTo>
                    <a:pt x="928" y="165"/>
                  </a:lnTo>
                  <a:lnTo>
                    <a:pt x="933" y="149"/>
                  </a:lnTo>
                  <a:lnTo>
                    <a:pt x="936" y="134"/>
                  </a:lnTo>
                  <a:lnTo>
                    <a:pt x="938" y="122"/>
                  </a:lnTo>
                  <a:lnTo>
                    <a:pt x="938" y="110"/>
                  </a:lnTo>
                  <a:lnTo>
                    <a:pt x="935" y="98"/>
                  </a:lnTo>
                  <a:lnTo>
                    <a:pt x="931" y="89"/>
                  </a:lnTo>
                  <a:lnTo>
                    <a:pt x="925" y="81"/>
                  </a:lnTo>
                  <a:lnTo>
                    <a:pt x="917" y="74"/>
                  </a:lnTo>
                  <a:lnTo>
                    <a:pt x="906" y="67"/>
                  </a:lnTo>
                  <a:lnTo>
                    <a:pt x="894" y="62"/>
                  </a:lnTo>
                  <a:lnTo>
                    <a:pt x="878" y="58"/>
                  </a:lnTo>
                  <a:lnTo>
                    <a:pt x="861" y="54"/>
                  </a:lnTo>
                  <a:lnTo>
                    <a:pt x="840" y="52"/>
                  </a:lnTo>
                  <a:lnTo>
                    <a:pt x="817" y="50"/>
                  </a:lnTo>
                  <a:lnTo>
                    <a:pt x="792" y="50"/>
                  </a:lnTo>
                  <a:lnTo>
                    <a:pt x="792" y="0"/>
                  </a:lnTo>
                  <a:lnTo>
                    <a:pt x="1210" y="0"/>
                  </a:lnTo>
                  <a:lnTo>
                    <a:pt x="1210" y="50"/>
                  </a:lnTo>
                  <a:lnTo>
                    <a:pt x="1210" y="50"/>
                  </a:lnTo>
                  <a:lnTo>
                    <a:pt x="1188" y="50"/>
                  </a:lnTo>
                  <a:lnTo>
                    <a:pt x="1169" y="51"/>
                  </a:lnTo>
                  <a:lnTo>
                    <a:pt x="1150" y="53"/>
                  </a:lnTo>
                  <a:lnTo>
                    <a:pt x="1134" y="57"/>
                  </a:lnTo>
                  <a:lnTo>
                    <a:pt x="1119" y="61"/>
                  </a:lnTo>
                  <a:lnTo>
                    <a:pt x="1104" y="66"/>
                  </a:lnTo>
                  <a:lnTo>
                    <a:pt x="1091" y="73"/>
                  </a:lnTo>
                  <a:lnTo>
                    <a:pt x="1079" y="80"/>
                  </a:lnTo>
                  <a:lnTo>
                    <a:pt x="1067" y="89"/>
                  </a:lnTo>
                  <a:lnTo>
                    <a:pt x="1056" y="100"/>
                  </a:lnTo>
                  <a:lnTo>
                    <a:pt x="1046" y="113"/>
                  </a:lnTo>
                  <a:lnTo>
                    <a:pt x="1036" y="127"/>
                  </a:lnTo>
                  <a:lnTo>
                    <a:pt x="1026" y="142"/>
                  </a:lnTo>
                  <a:lnTo>
                    <a:pt x="1016" y="161"/>
                  </a:lnTo>
                  <a:lnTo>
                    <a:pt x="1007" y="180"/>
                  </a:lnTo>
                  <a:lnTo>
                    <a:pt x="997" y="202"/>
                  </a:lnTo>
                  <a:lnTo>
                    <a:pt x="997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2" name="Freeform 15"/>
            <p:cNvSpPr>
              <a:spLocks noEditPoints="1"/>
            </p:cNvSpPr>
            <p:nvPr userDrawn="1"/>
          </p:nvSpPr>
          <p:spPr bwMode="auto">
            <a:xfrm>
              <a:off x="8175873" y="630404"/>
              <a:ext cx="152400" cy="144463"/>
            </a:xfrm>
            <a:custGeom>
              <a:avLst/>
              <a:gdLst>
                <a:gd name="T0" fmla="*/ 489 w 1151"/>
                <a:gd name="T1" fmla="*/ 1087 h 1094"/>
                <a:gd name="T2" fmla="*/ 353 w 1151"/>
                <a:gd name="T3" fmla="*/ 1051 h 1094"/>
                <a:gd name="T4" fmla="*/ 232 w 1151"/>
                <a:gd name="T5" fmla="*/ 984 h 1094"/>
                <a:gd name="T6" fmla="*/ 132 w 1151"/>
                <a:gd name="T7" fmla="*/ 894 h 1094"/>
                <a:gd name="T8" fmla="*/ 57 w 1151"/>
                <a:gd name="T9" fmla="*/ 783 h 1094"/>
                <a:gd name="T10" fmla="*/ 12 w 1151"/>
                <a:gd name="T11" fmla="*/ 656 h 1094"/>
                <a:gd name="T12" fmla="*/ 0 w 1151"/>
                <a:gd name="T13" fmla="*/ 547 h 1094"/>
                <a:gd name="T14" fmla="*/ 18 w 1151"/>
                <a:gd name="T15" fmla="*/ 411 h 1094"/>
                <a:gd name="T16" fmla="*/ 70 w 1151"/>
                <a:gd name="T17" fmla="*/ 287 h 1094"/>
                <a:gd name="T18" fmla="*/ 150 w 1151"/>
                <a:gd name="T19" fmla="*/ 180 h 1094"/>
                <a:gd name="T20" fmla="*/ 254 w 1151"/>
                <a:gd name="T21" fmla="*/ 94 h 1094"/>
                <a:gd name="T22" fmla="*/ 379 w 1151"/>
                <a:gd name="T23" fmla="*/ 33 h 1094"/>
                <a:gd name="T24" fmla="*/ 517 w 1151"/>
                <a:gd name="T25" fmla="*/ 3 h 1094"/>
                <a:gd name="T26" fmla="*/ 635 w 1151"/>
                <a:gd name="T27" fmla="*/ 3 h 1094"/>
                <a:gd name="T28" fmla="*/ 774 w 1151"/>
                <a:gd name="T29" fmla="*/ 33 h 1094"/>
                <a:gd name="T30" fmla="*/ 897 w 1151"/>
                <a:gd name="T31" fmla="*/ 94 h 1094"/>
                <a:gd name="T32" fmla="*/ 1001 w 1151"/>
                <a:gd name="T33" fmla="*/ 180 h 1094"/>
                <a:gd name="T34" fmla="*/ 1082 w 1151"/>
                <a:gd name="T35" fmla="*/ 287 h 1094"/>
                <a:gd name="T36" fmla="*/ 1133 w 1151"/>
                <a:gd name="T37" fmla="*/ 411 h 1094"/>
                <a:gd name="T38" fmla="*/ 1151 w 1151"/>
                <a:gd name="T39" fmla="*/ 547 h 1094"/>
                <a:gd name="T40" fmla="*/ 1139 w 1151"/>
                <a:gd name="T41" fmla="*/ 656 h 1094"/>
                <a:gd name="T42" fmla="*/ 1094 w 1151"/>
                <a:gd name="T43" fmla="*/ 783 h 1094"/>
                <a:gd name="T44" fmla="*/ 1019 w 1151"/>
                <a:gd name="T45" fmla="*/ 894 h 1094"/>
                <a:gd name="T46" fmla="*/ 919 w 1151"/>
                <a:gd name="T47" fmla="*/ 984 h 1094"/>
                <a:gd name="T48" fmla="*/ 799 w 1151"/>
                <a:gd name="T49" fmla="*/ 1051 h 1094"/>
                <a:gd name="T50" fmla="*/ 663 w 1151"/>
                <a:gd name="T51" fmla="*/ 1087 h 1094"/>
                <a:gd name="T52" fmla="*/ 577 w 1151"/>
                <a:gd name="T53" fmla="*/ 82 h 1094"/>
                <a:gd name="T54" fmla="*/ 492 w 1151"/>
                <a:gd name="T55" fmla="*/ 94 h 1094"/>
                <a:gd name="T56" fmla="*/ 404 w 1151"/>
                <a:gd name="T57" fmla="*/ 137 h 1094"/>
                <a:gd name="T58" fmla="*/ 335 w 1151"/>
                <a:gd name="T59" fmla="*/ 204 h 1094"/>
                <a:gd name="T60" fmla="*/ 285 w 1151"/>
                <a:gd name="T61" fmla="*/ 290 h 1094"/>
                <a:gd name="T62" fmla="*/ 252 w 1151"/>
                <a:gd name="T63" fmla="*/ 386 h 1094"/>
                <a:gd name="T64" fmla="*/ 234 w 1151"/>
                <a:gd name="T65" fmla="*/ 507 h 1094"/>
                <a:gd name="T66" fmla="*/ 240 w 1151"/>
                <a:gd name="T67" fmla="*/ 647 h 1094"/>
                <a:gd name="T68" fmla="*/ 264 w 1151"/>
                <a:gd name="T69" fmla="*/ 747 h 1094"/>
                <a:gd name="T70" fmla="*/ 303 w 1151"/>
                <a:gd name="T71" fmla="*/ 840 h 1094"/>
                <a:gd name="T72" fmla="*/ 360 w 1151"/>
                <a:gd name="T73" fmla="*/ 919 h 1094"/>
                <a:gd name="T74" fmla="*/ 436 w 1151"/>
                <a:gd name="T75" fmla="*/ 977 h 1094"/>
                <a:gd name="T76" fmla="*/ 533 w 1151"/>
                <a:gd name="T77" fmla="*/ 1008 h 1094"/>
                <a:gd name="T78" fmla="*/ 621 w 1151"/>
                <a:gd name="T79" fmla="*/ 1008 h 1094"/>
                <a:gd name="T80" fmla="*/ 716 w 1151"/>
                <a:gd name="T81" fmla="*/ 977 h 1094"/>
                <a:gd name="T82" fmla="*/ 792 w 1151"/>
                <a:gd name="T83" fmla="*/ 919 h 1094"/>
                <a:gd name="T84" fmla="*/ 850 w 1151"/>
                <a:gd name="T85" fmla="*/ 840 h 1094"/>
                <a:gd name="T86" fmla="*/ 889 w 1151"/>
                <a:gd name="T87" fmla="*/ 747 h 1094"/>
                <a:gd name="T88" fmla="*/ 912 w 1151"/>
                <a:gd name="T89" fmla="*/ 647 h 1094"/>
                <a:gd name="T90" fmla="*/ 919 w 1151"/>
                <a:gd name="T91" fmla="*/ 507 h 1094"/>
                <a:gd name="T92" fmla="*/ 901 w 1151"/>
                <a:gd name="T93" fmla="*/ 386 h 1094"/>
                <a:gd name="T94" fmla="*/ 867 w 1151"/>
                <a:gd name="T95" fmla="*/ 290 h 1094"/>
                <a:gd name="T96" fmla="*/ 817 w 1151"/>
                <a:gd name="T97" fmla="*/ 204 h 1094"/>
                <a:gd name="T98" fmla="*/ 748 w 1151"/>
                <a:gd name="T99" fmla="*/ 137 h 1094"/>
                <a:gd name="T100" fmla="*/ 661 w 1151"/>
                <a:gd name="T101" fmla="*/ 94 h 1094"/>
                <a:gd name="T102" fmla="*/ 577 w 1151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1" h="1094">
                  <a:moveTo>
                    <a:pt x="577" y="1094"/>
                  </a:moveTo>
                  <a:lnTo>
                    <a:pt x="577" y="1094"/>
                  </a:lnTo>
                  <a:lnTo>
                    <a:pt x="547" y="1093"/>
                  </a:lnTo>
                  <a:lnTo>
                    <a:pt x="517" y="1091"/>
                  </a:lnTo>
                  <a:lnTo>
                    <a:pt x="489" y="1087"/>
                  </a:lnTo>
                  <a:lnTo>
                    <a:pt x="461" y="1082"/>
                  </a:lnTo>
                  <a:lnTo>
                    <a:pt x="432" y="1076"/>
                  </a:lnTo>
                  <a:lnTo>
                    <a:pt x="406" y="1069"/>
                  </a:lnTo>
                  <a:lnTo>
                    <a:pt x="379" y="1060"/>
                  </a:lnTo>
                  <a:lnTo>
                    <a:pt x="353" y="1051"/>
                  </a:lnTo>
                  <a:lnTo>
                    <a:pt x="327" y="1039"/>
                  </a:lnTo>
                  <a:lnTo>
                    <a:pt x="303" y="1027"/>
                  </a:lnTo>
                  <a:lnTo>
                    <a:pt x="278" y="1014"/>
                  </a:lnTo>
                  <a:lnTo>
                    <a:pt x="254" y="1000"/>
                  </a:lnTo>
                  <a:lnTo>
                    <a:pt x="232" y="984"/>
                  </a:lnTo>
                  <a:lnTo>
                    <a:pt x="210" y="968"/>
                  </a:lnTo>
                  <a:lnTo>
                    <a:pt x="189" y="950"/>
                  </a:lnTo>
                  <a:lnTo>
                    <a:pt x="170" y="933"/>
                  </a:lnTo>
                  <a:lnTo>
                    <a:pt x="150" y="914"/>
                  </a:lnTo>
                  <a:lnTo>
                    <a:pt x="132" y="894"/>
                  </a:lnTo>
                  <a:lnTo>
                    <a:pt x="115" y="873"/>
                  </a:lnTo>
                  <a:lnTo>
                    <a:pt x="99" y="851"/>
                  </a:lnTo>
                  <a:lnTo>
                    <a:pt x="84" y="830"/>
                  </a:lnTo>
                  <a:lnTo>
                    <a:pt x="70" y="806"/>
                  </a:lnTo>
                  <a:lnTo>
                    <a:pt x="57" y="783"/>
                  </a:lnTo>
                  <a:lnTo>
                    <a:pt x="46" y="758"/>
                  </a:lnTo>
                  <a:lnTo>
                    <a:pt x="36" y="734"/>
                  </a:lnTo>
                  <a:lnTo>
                    <a:pt x="26" y="708"/>
                  </a:lnTo>
                  <a:lnTo>
                    <a:pt x="18" y="683"/>
                  </a:lnTo>
                  <a:lnTo>
                    <a:pt x="12" y="656"/>
                  </a:lnTo>
                  <a:lnTo>
                    <a:pt x="7" y="629"/>
                  </a:lnTo>
                  <a:lnTo>
                    <a:pt x="3" y="602"/>
                  </a:lnTo>
                  <a:lnTo>
                    <a:pt x="1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1" y="519"/>
                  </a:lnTo>
                  <a:lnTo>
                    <a:pt x="3" y="491"/>
                  </a:lnTo>
                  <a:lnTo>
                    <a:pt x="7" y="464"/>
                  </a:lnTo>
                  <a:lnTo>
                    <a:pt x="12" y="437"/>
                  </a:lnTo>
                  <a:lnTo>
                    <a:pt x="18" y="411"/>
                  </a:lnTo>
                  <a:lnTo>
                    <a:pt x="26" y="385"/>
                  </a:lnTo>
                  <a:lnTo>
                    <a:pt x="36" y="360"/>
                  </a:lnTo>
                  <a:lnTo>
                    <a:pt x="46" y="335"/>
                  </a:lnTo>
                  <a:lnTo>
                    <a:pt x="57" y="310"/>
                  </a:lnTo>
                  <a:lnTo>
                    <a:pt x="70" y="287"/>
                  </a:lnTo>
                  <a:lnTo>
                    <a:pt x="84" y="264"/>
                  </a:lnTo>
                  <a:lnTo>
                    <a:pt x="99" y="242"/>
                  </a:lnTo>
                  <a:lnTo>
                    <a:pt x="115" y="220"/>
                  </a:lnTo>
                  <a:lnTo>
                    <a:pt x="132" y="200"/>
                  </a:lnTo>
                  <a:lnTo>
                    <a:pt x="150" y="180"/>
                  </a:lnTo>
                  <a:lnTo>
                    <a:pt x="170" y="161"/>
                  </a:lnTo>
                  <a:lnTo>
                    <a:pt x="189" y="143"/>
                  </a:lnTo>
                  <a:lnTo>
                    <a:pt x="210" y="125"/>
                  </a:lnTo>
                  <a:lnTo>
                    <a:pt x="232" y="109"/>
                  </a:lnTo>
                  <a:lnTo>
                    <a:pt x="254" y="94"/>
                  </a:lnTo>
                  <a:lnTo>
                    <a:pt x="278" y="79"/>
                  </a:lnTo>
                  <a:lnTo>
                    <a:pt x="303" y="66"/>
                  </a:lnTo>
                  <a:lnTo>
                    <a:pt x="327" y="54"/>
                  </a:lnTo>
                  <a:lnTo>
                    <a:pt x="353" y="44"/>
                  </a:lnTo>
                  <a:lnTo>
                    <a:pt x="379" y="33"/>
                  </a:lnTo>
                  <a:lnTo>
                    <a:pt x="406" y="24"/>
                  </a:lnTo>
                  <a:lnTo>
                    <a:pt x="432" y="17"/>
                  </a:lnTo>
                  <a:lnTo>
                    <a:pt x="461" y="11"/>
                  </a:lnTo>
                  <a:lnTo>
                    <a:pt x="489" y="6"/>
                  </a:lnTo>
                  <a:lnTo>
                    <a:pt x="517" y="3"/>
                  </a:lnTo>
                  <a:lnTo>
                    <a:pt x="547" y="1"/>
                  </a:lnTo>
                  <a:lnTo>
                    <a:pt x="577" y="0"/>
                  </a:lnTo>
                  <a:lnTo>
                    <a:pt x="577" y="0"/>
                  </a:lnTo>
                  <a:lnTo>
                    <a:pt x="606" y="1"/>
                  </a:lnTo>
                  <a:lnTo>
                    <a:pt x="635" y="3"/>
                  </a:lnTo>
                  <a:lnTo>
                    <a:pt x="663" y="6"/>
                  </a:lnTo>
                  <a:lnTo>
                    <a:pt x="692" y="11"/>
                  </a:lnTo>
                  <a:lnTo>
                    <a:pt x="720" y="17"/>
                  </a:lnTo>
                  <a:lnTo>
                    <a:pt x="746" y="24"/>
                  </a:lnTo>
                  <a:lnTo>
                    <a:pt x="774" y="33"/>
                  </a:lnTo>
                  <a:lnTo>
                    <a:pt x="799" y="44"/>
                  </a:lnTo>
                  <a:lnTo>
                    <a:pt x="825" y="54"/>
                  </a:lnTo>
                  <a:lnTo>
                    <a:pt x="850" y="66"/>
                  </a:lnTo>
                  <a:lnTo>
                    <a:pt x="874" y="79"/>
                  </a:lnTo>
                  <a:lnTo>
                    <a:pt x="897" y="94"/>
                  </a:lnTo>
                  <a:lnTo>
                    <a:pt x="919" y="109"/>
                  </a:lnTo>
                  <a:lnTo>
                    <a:pt x="942" y="125"/>
                  </a:lnTo>
                  <a:lnTo>
                    <a:pt x="962" y="143"/>
                  </a:lnTo>
                  <a:lnTo>
                    <a:pt x="982" y="161"/>
                  </a:lnTo>
                  <a:lnTo>
                    <a:pt x="1001" y="180"/>
                  </a:lnTo>
                  <a:lnTo>
                    <a:pt x="1019" y="200"/>
                  </a:lnTo>
                  <a:lnTo>
                    <a:pt x="1037" y="220"/>
                  </a:lnTo>
                  <a:lnTo>
                    <a:pt x="1052" y="242"/>
                  </a:lnTo>
                  <a:lnTo>
                    <a:pt x="1067" y="264"/>
                  </a:lnTo>
                  <a:lnTo>
                    <a:pt x="1082" y="287"/>
                  </a:lnTo>
                  <a:lnTo>
                    <a:pt x="1094" y="310"/>
                  </a:lnTo>
                  <a:lnTo>
                    <a:pt x="1105" y="335"/>
                  </a:lnTo>
                  <a:lnTo>
                    <a:pt x="1116" y="360"/>
                  </a:lnTo>
                  <a:lnTo>
                    <a:pt x="1125" y="385"/>
                  </a:lnTo>
                  <a:lnTo>
                    <a:pt x="1133" y="411"/>
                  </a:lnTo>
                  <a:lnTo>
                    <a:pt x="1139" y="437"/>
                  </a:lnTo>
                  <a:lnTo>
                    <a:pt x="1144" y="464"/>
                  </a:lnTo>
                  <a:lnTo>
                    <a:pt x="1148" y="491"/>
                  </a:lnTo>
                  <a:lnTo>
                    <a:pt x="1150" y="519"/>
                  </a:lnTo>
                  <a:lnTo>
                    <a:pt x="1151" y="547"/>
                  </a:lnTo>
                  <a:lnTo>
                    <a:pt x="1151" y="547"/>
                  </a:lnTo>
                  <a:lnTo>
                    <a:pt x="1150" y="574"/>
                  </a:lnTo>
                  <a:lnTo>
                    <a:pt x="1148" y="602"/>
                  </a:lnTo>
                  <a:lnTo>
                    <a:pt x="1144" y="629"/>
                  </a:lnTo>
                  <a:lnTo>
                    <a:pt x="1139" y="656"/>
                  </a:lnTo>
                  <a:lnTo>
                    <a:pt x="1133" y="683"/>
                  </a:lnTo>
                  <a:lnTo>
                    <a:pt x="1125" y="708"/>
                  </a:lnTo>
                  <a:lnTo>
                    <a:pt x="1116" y="734"/>
                  </a:lnTo>
                  <a:lnTo>
                    <a:pt x="1105" y="758"/>
                  </a:lnTo>
                  <a:lnTo>
                    <a:pt x="1094" y="783"/>
                  </a:lnTo>
                  <a:lnTo>
                    <a:pt x="1082" y="806"/>
                  </a:lnTo>
                  <a:lnTo>
                    <a:pt x="1067" y="830"/>
                  </a:lnTo>
                  <a:lnTo>
                    <a:pt x="1052" y="851"/>
                  </a:lnTo>
                  <a:lnTo>
                    <a:pt x="1037" y="873"/>
                  </a:lnTo>
                  <a:lnTo>
                    <a:pt x="1019" y="894"/>
                  </a:lnTo>
                  <a:lnTo>
                    <a:pt x="1001" y="914"/>
                  </a:lnTo>
                  <a:lnTo>
                    <a:pt x="982" y="933"/>
                  </a:lnTo>
                  <a:lnTo>
                    <a:pt x="962" y="950"/>
                  </a:lnTo>
                  <a:lnTo>
                    <a:pt x="942" y="968"/>
                  </a:lnTo>
                  <a:lnTo>
                    <a:pt x="919" y="984"/>
                  </a:lnTo>
                  <a:lnTo>
                    <a:pt x="897" y="1000"/>
                  </a:lnTo>
                  <a:lnTo>
                    <a:pt x="874" y="1014"/>
                  </a:lnTo>
                  <a:lnTo>
                    <a:pt x="850" y="1027"/>
                  </a:lnTo>
                  <a:lnTo>
                    <a:pt x="825" y="1039"/>
                  </a:lnTo>
                  <a:lnTo>
                    <a:pt x="799" y="1051"/>
                  </a:lnTo>
                  <a:lnTo>
                    <a:pt x="774" y="1060"/>
                  </a:lnTo>
                  <a:lnTo>
                    <a:pt x="746" y="1069"/>
                  </a:lnTo>
                  <a:lnTo>
                    <a:pt x="720" y="1076"/>
                  </a:lnTo>
                  <a:lnTo>
                    <a:pt x="692" y="1082"/>
                  </a:lnTo>
                  <a:lnTo>
                    <a:pt x="663" y="1087"/>
                  </a:lnTo>
                  <a:lnTo>
                    <a:pt x="635" y="1091"/>
                  </a:lnTo>
                  <a:lnTo>
                    <a:pt x="606" y="1093"/>
                  </a:lnTo>
                  <a:lnTo>
                    <a:pt x="577" y="1094"/>
                  </a:lnTo>
                  <a:lnTo>
                    <a:pt x="577" y="1094"/>
                  </a:lnTo>
                  <a:close/>
                  <a:moveTo>
                    <a:pt x="577" y="82"/>
                  </a:moveTo>
                  <a:lnTo>
                    <a:pt x="577" y="82"/>
                  </a:lnTo>
                  <a:lnTo>
                    <a:pt x="554" y="83"/>
                  </a:lnTo>
                  <a:lnTo>
                    <a:pt x="533" y="86"/>
                  </a:lnTo>
                  <a:lnTo>
                    <a:pt x="511" y="90"/>
                  </a:lnTo>
                  <a:lnTo>
                    <a:pt x="492" y="94"/>
                  </a:lnTo>
                  <a:lnTo>
                    <a:pt x="472" y="100"/>
                  </a:lnTo>
                  <a:lnTo>
                    <a:pt x="454" y="108"/>
                  </a:lnTo>
                  <a:lnTo>
                    <a:pt x="436" y="116"/>
                  </a:lnTo>
                  <a:lnTo>
                    <a:pt x="419" y="125"/>
                  </a:lnTo>
                  <a:lnTo>
                    <a:pt x="404" y="137"/>
                  </a:lnTo>
                  <a:lnTo>
                    <a:pt x="388" y="148"/>
                  </a:lnTo>
                  <a:lnTo>
                    <a:pt x="374" y="161"/>
                  </a:lnTo>
                  <a:lnTo>
                    <a:pt x="360" y="174"/>
                  </a:lnTo>
                  <a:lnTo>
                    <a:pt x="347" y="189"/>
                  </a:lnTo>
                  <a:lnTo>
                    <a:pt x="335" y="204"/>
                  </a:lnTo>
                  <a:lnTo>
                    <a:pt x="324" y="219"/>
                  </a:lnTo>
                  <a:lnTo>
                    <a:pt x="313" y="237"/>
                  </a:lnTo>
                  <a:lnTo>
                    <a:pt x="303" y="253"/>
                  </a:lnTo>
                  <a:lnTo>
                    <a:pt x="293" y="272"/>
                  </a:lnTo>
                  <a:lnTo>
                    <a:pt x="285" y="290"/>
                  </a:lnTo>
                  <a:lnTo>
                    <a:pt x="277" y="308"/>
                  </a:lnTo>
                  <a:lnTo>
                    <a:pt x="270" y="327"/>
                  </a:lnTo>
                  <a:lnTo>
                    <a:pt x="264" y="346"/>
                  </a:lnTo>
                  <a:lnTo>
                    <a:pt x="258" y="367"/>
                  </a:lnTo>
                  <a:lnTo>
                    <a:pt x="252" y="386"/>
                  </a:lnTo>
                  <a:lnTo>
                    <a:pt x="248" y="407"/>
                  </a:lnTo>
                  <a:lnTo>
                    <a:pt x="244" y="426"/>
                  </a:lnTo>
                  <a:lnTo>
                    <a:pt x="240" y="446"/>
                  </a:lnTo>
                  <a:lnTo>
                    <a:pt x="238" y="467"/>
                  </a:lnTo>
                  <a:lnTo>
                    <a:pt x="234" y="507"/>
                  </a:lnTo>
                  <a:lnTo>
                    <a:pt x="233" y="547"/>
                  </a:lnTo>
                  <a:lnTo>
                    <a:pt x="233" y="547"/>
                  </a:lnTo>
                  <a:lnTo>
                    <a:pt x="234" y="587"/>
                  </a:lnTo>
                  <a:lnTo>
                    <a:pt x="238" y="626"/>
                  </a:lnTo>
                  <a:lnTo>
                    <a:pt x="240" y="647"/>
                  </a:lnTo>
                  <a:lnTo>
                    <a:pt x="244" y="667"/>
                  </a:lnTo>
                  <a:lnTo>
                    <a:pt x="248" y="687"/>
                  </a:lnTo>
                  <a:lnTo>
                    <a:pt x="252" y="707"/>
                  </a:lnTo>
                  <a:lnTo>
                    <a:pt x="258" y="728"/>
                  </a:lnTo>
                  <a:lnTo>
                    <a:pt x="264" y="747"/>
                  </a:lnTo>
                  <a:lnTo>
                    <a:pt x="270" y="766"/>
                  </a:lnTo>
                  <a:lnTo>
                    <a:pt x="277" y="785"/>
                  </a:lnTo>
                  <a:lnTo>
                    <a:pt x="285" y="804"/>
                  </a:lnTo>
                  <a:lnTo>
                    <a:pt x="293" y="822"/>
                  </a:lnTo>
                  <a:lnTo>
                    <a:pt x="303" y="840"/>
                  </a:lnTo>
                  <a:lnTo>
                    <a:pt x="313" y="857"/>
                  </a:lnTo>
                  <a:lnTo>
                    <a:pt x="324" y="874"/>
                  </a:lnTo>
                  <a:lnTo>
                    <a:pt x="335" y="889"/>
                  </a:lnTo>
                  <a:lnTo>
                    <a:pt x="347" y="904"/>
                  </a:lnTo>
                  <a:lnTo>
                    <a:pt x="360" y="919"/>
                  </a:lnTo>
                  <a:lnTo>
                    <a:pt x="374" y="932"/>
                  </a:lnTo>
                  <a:lnTo>
                    <a:pt x="388" y="945"/>
                  </a:lnTo>
                  <a:lnTo>
                    <a:pt x="404" y="957"/>
                  </a:lnTo>
                  <a:lnTo>
                    <a:pt x="419" y="968"/>
                  </a:lnTo>
                  <a:lnTo>
                    <a:pt x="436" y="977"/>
                  </a:lnTo>
                  <a:lnTo>
                    <a:pt x="454" y="986"/>
                  </a:lnTo>
                  <a:lnTo>
                    <a:pt x="472" y="993"/>
                  </a:lnTo>
                  <a:lnTo>
                    <a:pt x="492" y="1000"/>
                  </a:lnTo>
                  <a:lnTo>
                    <a:pt x="511" y="1005"/>
                  </a:lnTo>
                  <a:lnTo>
                    <a:pt x="533" y="1008"/>
                  </a:lnTo>
                  <a:lnTo>
                    <a:pt x="554" y="1010"/>
                  </a:lnTo>
                  <a:lnTo>
                    <a:pt x="577" y="1011"/>
                  </a:lnTo>
                  <a:lnTo>
                    <a:pt x="577" y="1011"/>
                  </a:lnTo>
                  <a:lnTo>
                    <a:pt x="599" y="1010"/>
                  </a:lnTo>
                  <a:lnTo>
                    <a:pt x="621" y="1008"/>
                  </a:lnTo>
                  <a:lnTo>
                    <a:pt x="641" y="1005"/>
                  </a:lnTo>
                  <a:lnTo>
                    <a:pt x="661" y="1000"/>
                  </a:lnTo>
                  <a:lnTo>
                    <a:pt x="680" y="993"/>
                  </a:lnTo>
                  <a:lnTo>
                    <a:pt x="698" y="986"/>
                  </a:lnTo>
                  <a:lnTo>
                    <a:pt x="716" y="977"/>
                  </a:lnTo>
                  <a:lnTo>
                    <a:pt x="733" y="968"/>
                  </a:lnTo>
                  <a:lnTo>
                    <a:pt x="748" y="957"/>
                  </a:lnTo>
                  <a:lnTo>
                    <a:pt x="764" y="945"/>
                  </a:lnTo>
                  <a:lnTo>
                    <a:pt x="778" y="932"/>
                  </a:lnTo>
                  <a:lnTo>
                    <a:pt x="792" y="919"/>
                  </a:lnTo>
                  <a:lnTo>
                    <a:pt x="805" y="904"/>
                  </a:lnTo>
                  <a:lnTo>
                    <a:pt x="817" y="889"/>
                  </a:lnTo>
                  <a:lnTo>
                    <a:pt x="829" y="874"/>
                  </a:lnTo>
                  <a:lnTo>
                    <a:pt x="839" y="857"/>
                  </a:lnTo>
                  <a:lnTo>
                    <a:pt x="850" y="840"/>
                  </a:lnTo>
                  <a:lnTo>
                    <a:pt x="859" y="822"/>
                  </a:lnTo>
                  <a:lnTo>
                    <a:pt x="867" y="804"/>
                  </a:lnTo>
                  <a:lnTo>
                    <a:pt x="875" y="785"/>
                  </a:lnTo>
                  <a:lnTo>
                    <a:pt x="882" y="766"/>
                  </a:lnTo>
                  <a:lnTo>
                    <a:pt x="889" y="747"/>
                  </a:lnTo>
                  <a:lnTo>
                    <a:pt x="896" y="728"/>
                  </a:lnTo>
                  <a:lnTo>
                    <a:pt x="901" y="707"/>
                  </a:lnTo>
                  <a:lnTo>
                    <a:pt x="905" y="687"/>
                  </a:lnTo>
                  <a:lnTo>
                    <a:pt x="909" y="667"/>
                  </a:lnTo>
                  <a:lnTo>
                    <a:pt x="912" y="647"/>
                  </a:lnTo>
                  <a:lnTo>
                    <a:pt x="915" y="626"/>
                  </a:lnTo>
                  <a:lnTo>
                    <a:pt x="919" y="587"/>
                  </a:lnTo>
                  <a:lnTo>
                    <a:pt x="920" y="547"/>
                  </a:lnTo>
                  <a:lnTo>
                    <a:pt x="920" y="547"/>
                  </a:lnTo>
                  <a:lnTo>
                    <a:pt x="919" y="507"/>
                  </a:lnTo>
                  <a:lnTo>
                    <a:pt x="915" y="467"/>
                  </a:lnTo>
                  <a:lnTo>
                    <a:pt x="912" y="446"/>
                  </a:lnTo>
                  <a:lnTo>
                    <a:pt x="909" y="426"/>
                  </a:lnTo>
                  <a:lnTo>
                    <a:pt x="905" y="407"/>
                  </a:lnTo>
                  <a:lnTo>
                    <a:pt x="901" y="386"/>
                  </a:lnTo>
                  <a:lnTo>
                    <a:pt x="896" y="367"/>
                  </a:lnTo>
                  <a:lnTo>
                    <a:pt x="889" y="346"/>
                  </a:lnTo>
                  <a:lnTo>
                    <a:pt x="882" y="327"/>
                  </a:lnTo>
                  <a:lnTo>
                    <a:pt x="875" y="308"/>
                  </a:lnTo>
                  <a:lnTo>
                    <a:pt x="867" y="290"/>
                  </a:lnTo>
                  <a:lnTo>
                    <a:pt x="859" y="272"/>
                  </a:lnTo>
                  <a:lnTo>
                    <a:pt x="850" y="253"/>
                  </a:lnTo>
                  <a:lnTo>
                    <a:pt x="839" y="237"/>
                  </a:lnTo>
                  <a:lnTo>
                    <a:pt x="829" y="219"/>
                  </a:lnTo>
                  <a:lnTo>
                    <a:pt x="817" y="204"/>
                  </a:lnTo>
                  <a:lnTo>
                    <a:pt x="805" y="189"/>
                  </a:lnTo>
                  <a:lnTo>
                    <a:pt x="792" y="174"/>
                  </a:lnTo>
                  <a:lnTo>
                    <a:pt x="778" y="161"/>
                  </a:lnTo>
                  <a:lnTo>
                    <a:pt x="764" y="148"/>
                  </a:lnTo>
                  <a:lnTo>
                    <a:pt x="748" y="137"/>
                  </a:lnTo>
                  <a:lnTo>
                    <a:pt x="733" y="125"/>
                  </a:lnTo>
                  <a:lnTo>
                    <a:pt x="716" y="116"/>
                  </a:lnTo>
                  <a:lnTo>
                    <a:pt x="698" y="108"/>
                  </a:lnTo>
                  <a:lnTo>
                    <a:pt x="680" y="100"/>
                  </a:lnTo>
                  <a:lnTo>
                    <a:pt x="661" y="94"/>
                  </a:lnTo>
                  <a:lnTo>
                    <a:pt x="641" y="90"/>
                  </a:lnTo>
                  <a:lnTo>
                    <a:pt x="621" y="86"/>
                  </a:lnTo>
                  <a:lnTo>
                    <a:pt x="599" y="83"/>
                  </a:lnTo>
                  <a:lnTo>
                    <a:pt x="577" y="82"/>
                  </a:lnTo>
                  <a:lnTo>
                    <a:pt x="577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3" name="Freeform 16"/>
            <p:cNvSpPr>
              <a:spLocks/>
            </p:cNvSpPr>
            <p:nvPr userDrawn="1"/>
          </p:nvSpPr>
          <p:spPr bwMode="auto">
            <a:xfrm>
              <a:off x="8372723" y="628817"/>
              <a:ext cx="93663" cy="146050"/>
            </a:xfrm>
            <a:custGeom>
              <a:avLst/>
              <a:gdLst>
                <a:gd name="T0" fmla="*/ 52 w 712"/>
                <a:gd name="T1" fmla="*/ 723 h 1103"/>
                <a:gd name="T2" fmla="*/ 75 w 712"/>
                <a:gd name="T3" fmla="*/ 804 h 1103"/>
                <a:gd name="T4" fmla="*/ 112 w 712"/>
                <a:gd name="T5" fmla="*/ 875 h 1103"/>
                <a:gd name="T6" fmla="*/ 159 w 712"/>
                <a:gd name="T7" fmla="*/ 933 h 1103"/>
                <a:gd name="T8" fmla="*/ 215 w 712"/>
                <a:gd name="T9" fmla="*/ 978 h 1103"/>
                <a:gd name="T10" fmla="*/ 278 w 712"/>
                <a:gd name="T11" fmla="*/ 1009 h 1103"/>
                <a:gd name="T12" fmla="*/ 343 w 712"/>
                <a:gd name="T13" fmla="*/ 1024 h 1103"/>
                <a:gd name="T14" fmla="*/ 405 w 712"/>
                <a:gd name="T15" fmla="*/ 1022 h 1103"/>
                <a:gd name="T16" fmla="*/ 481 w 712"/>
                <a:gd name="T17" fmla="*/ 992 h 1103"/>
                <a:gd name="T18" fmla="*/ 529 w 712"/>
                <a:gd name="T19" fmla="*/ 929 h 1103"/>
                <a:gd name="T20" fmla="*/ 541 w 712"/>
                <a:gd name="T21" fmla="*/ 854 h 1103"/>
                <a:gd name="T22" fmla="*/ 528 w 712"/>
                <a:gd name="T23" fmla="*/ 795 h 1103"/>
                <a:gd name="T24" fmla="*/ 490 w 712"/>
                <a:gd name="T25" fmla="*/ 737 h 1103"/>
                <a:gd name="T26" fmla="*/ 429 w 712"/>
                <a:gd name="T27" fmla="*/ 688 h 1103"/>
                <a:gd name="T28" fmla="*/ 198 w 712"/>
                <a:gd name="T29" fmla="*/ 566 h 1103"/>
                <a:gd name="T30" fmla="*/ 94 w 712"/>
                <a:gd name="T31" fmla="*/ 485 h 1103"/>
                <a:gd name="T32" fmla="*/ 32 w 712"/>
                <a:gd name="T33" fmla="*/ 380 h 1103"/>
                <a:gd name="T34" fmla="*/ 16 w 712"/>
                <a:gd name="T35" fmla="*/ 267 h 1103"/>
                <a:gd name="T36" fmla="*/ 25 w 712"/>
                <a:gd name="T37" fmla="*/ 204 h 1103"/>
                <a:gd name="T38" fmla="*/ 52 w 712"/>
                <a:gd name="T39" fmla="*/ 145 h 1103"/>
                <a:gd name="T40" fmla="*/ 94 w 712"/>
                <a:gd name="T41" fmla="*/ 95 h 1103"/>
                <a:gd name="T42" fmla="*/ 148 w 712"/>
                <a:gd name="T43" fmla="*/ 54 h 1103"/>
                <a:gd name="T44" fmla="*/ 212 w 712"/>
                <a:gd name="T45" fmla="*/ 25 h 1103"/>
                <a:gd name="T46" fmla="*/ 285 w 712"/>
                <a:gd name="T47" fmla="*/ 11 h 1103"/>
                <a:gd name="T48" fmla="*/ 352 w 712"/>
                <a:gd name="T49" fmla="*/ 11 h 1103"/>
                <a:gd name="T50" fmla="*/ 427 w 712"/>
                <a:gd name="T51" fmla="*/ 25 h 1103"/>
                <a:gd name="T52" fmla="*/ 526 w 712"/>
                <a:gd name="T53" fmla="*/ 79 h 1103"/>
                <a:gd name="T54" fmla="*/ 556 w 712"/>
                <a:gd name="T55" fmla="*/ 47 h 1103"/>
                <a:gd name="T56" fmla="*/ 624 w 712"/>
                <a:gd name="T57" fmla="*/ 0 h 1103"/>
                <a:gd name="T58" fmla="*/ 568 w 712"/>
                <a:gd name="T59" fmla="*/ 328 h 1103"/>
                <a:gd name="T60" fmla="*/ 527 w 712"/>
                <a:gd name="T61" fmla="*/ 203 h 1103"/>
                <a:gd name="T62" fmla="*/ 481 w 712"/>
                <a:gd name="T63" fmla="*/ 142 h 1103"/>
                <a:gd name="T64" fmla="*/ 428 w 712"/>
                <a:gd name="T65" fmla="*/ 106 h 1103"/>
                <a:gd name="T66" fmla="*/ 358 w 712"/>
                <a:gd name="T67" fmla="*/ 86 h 1103"/>
                <a:gd name="T68" fmla="*/ 300 w 712"/>
                <a:gd name="T69" fmla="*/ 87 h 1103"/>
                <a:gd name="T70" fmla="*/ 240 w 712"/>
                <a:gd name="T71" fmla="*/ 113 h 1103"/>
                <a:gd name="T72" fmla="*/ 199 w 712"/>
                <a:gd name="T73" fmla="*/ 165 h 1103"/>
                <a:gd name="T74" fmla="*/ 187 w 712"/>
                <a:gd name="T75" fmla="*/ 222 h 1103"/>
                <a:gd name="T76" fmla="*/ 200 w 712"/>
                <a:gd name="T77" fmla="*/ 278 h 1103"/>
                <a:gd name="T78" fmla="*/ 241 w 712"/>
                <a:gd name="T79" fmla="*/ 336 h 1103"/>
                <a:gd name="T80" fmla="*/ 308 w 712"/>
                <a:gd name="T81" fmla="*/ 390 h 1103"/>
                <a:gd name="T82" fmla="*/ 535 w 712"/>
                <a:gd name="T83" fmla="*/ 510 h 1103"/>
                <a:gd name="T84" fmla="*/ 631 w 712"/>
                <a:gd name="T85" fmla="*/ 590 h 1103"/>
                <a:gd name="T86" fmla="*/ 695 w 712"/>
                <a:gd name="T87" fmla="*/ 693 h 1103"/>
                <a:gd name="T88" fmla="*/ 712 w 712"/>
                <a:gd name="T89" fmla="*/ 789 h 1103"/>
                <a:gd name="T90" fmla="*/ 701 w 712"/>
                <a:gd name="T91" fmla="*/ 872 h 1103"/>
                <a:gd name="T92" fmla="*/ 669 w 712"/>
                <a:gd name="T93" fmla="*/ 945 h 1103"/>
                <a:gd name="T94" fmla="*/ 619 w 712"/>
                <a:gd name="T95" fmla="*/ 1005 h 1103"/>
                <a:gd name="T96" fmla="*/ 556 w 712"/>
                <a:gd name="T97" fmla="*/ 1053 h 1103"/>
                <a:gd name="T98" fmla="*/ 483 w 712"/>
                <a:gd name="T99" fmla="*/ 1085 h 1103"/>
                <a:gd name="T100" fmla="*/ 402 w 712"/>
                <a:gd name="T101" fmla="*/ 1101 h 1103"/>
                <a:gd name="T102" fmla="*/ 323 w 712"/>
                <a:gd name="T103" fmla="*/ 1100 h 1103"/>
                <a:gd name="T104" fmla="*/ 223 w 712"/>
                <a:gd name="T105" fmla="*/ 1073 h 1103"/>
                <a:gd name="T106" fmla="*/ 111 w 712"/>
                <a:gd name="T107" fmla="*/ 1024 h 1103"/>
                <a:gd name="T108" fmla="*/ 77 w 712"/>
                <a:gd name="T109" fmla="*/ 1044 h 1103"/>
                <a:gd name="T110" fmla="*/ 51 w 712"/>
                <a:gd name="T111" fmla="*/ 1103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2" h="1103">
                  <a:moveTo>
                    <a:pt x="51" y="1103"/>
                  </a:moveTo>
                  <a:lnTo>
                    <a:pt x="0" y="1103"/>
                  </a:lnTo>
                  <a:lnTo>
                    <a:pt x="0" y="723"/>
                  </a:lnTo>
                  <a:lnTo>
                    <a:pt x="52" y="723"/>
                  </a:lnTo>
                  <a:lnTo>
                    <a:pt x="52" y="723"/>
                  </a:lnTo>
                  <a:lnTo>
                    <a:pt x="56" y="740"/>
                  </a:lnTo>
                  <a:lnTo>
                    <a:pt x="60" y="757"/>
                  </a:lnTo>
                  <a:lnTo>
                    <a:pt x="64" y="773"/>
                  </a:lnTo>
                  <a:lnTo>
                    <a:pt x="69" y="789"/>
                  </a:lnTo>
                  <a:lnTo>
                    <a:pt x="75" y="804"/>
                  </a:lnTo>
                  <a:lnTo>
                    <a:pt x="81" y="819"/>
                  </a:lnTo>
                  <a:lnTo>
                    <a:pt x="88" y="834"/>
                  </a:lnTo>
                  <a:lnTo>
                    <a:pt x="96" y="848"/>
                  </a:lnTo>
                  <a:lnTo>
                    <a:pt x="104" y="861"/>
                  </a:lnTo>
                  <a:lnTo>
                    <a:pt x="112" y="875"/>
                  </a:lnTo>
                  <a:lnTo>
                    <a:pt x="120" y="888"/>
                  </a:lnTo>
                  <a:lnTo>
                    <a:pt x="129" y="899"/>
                  </a:lnTo>
                  <a:lnTo>
                    <a:pt x="139" y="911"/>
                  </a:lnTo>
                  <a:lnTo>
                    <a:pt x="149" y="923"/>
                  </a:lnTo>
                  <a:lnTo>
                    <a:pt x="159" y="933"/>
                  </a:lnTo>
                  <a:lnTo>
                    <a:pt x="170" y="943"/>
                  </a:lnTo>
                  <a:lnTo>
                    <a:pt x="180" y="952"/>
                  </a:lnTo>
                  <a:lnTo>
                    <a:pt x="192" y="962"/>
                  </a:lnTo>
                  <a:lnTo>
                    <a:pt x="204" y="970"/>
                  </a:lnTo>
                  <a:lnTo>
                    <a:pt x="215" y="978"/>
                  </a:lnTo>
                  <a:lnTo>
                    <a:pt x="227" y="985"/>
                  </a:lnTo>
                  <a:lnTo>
                    <a:pt x="240" y="992"/>
                  </a:lnTo>
                  <a:lnTo>
                    <a:pt x="252" y="998"/>
                  </a:lnTo>
                  <a:lnTo>
                    <a:pt x="264" y="1003"/>
                  </a:lnTo>
                  <a:lnTo>
                    <a:pt x="278" y="1009"/>
                  </a:lnTo>
                  <a:lnTo>
                    <a:pt x="290" y="1013"/>
                  </a:lnTo>
                  <a:lnTo>
                    <a:pt x="303" y="1017"/>
                  </a:lnTo>
                  <a:lnTo>
                    <a:pt x="316" y="1020"/>
                  </a:lnTo>
                  <a:lnTo>
                    <a:pt x="330" y="1022"/>
                  </a:lnTo>
                  <a:lnTo>
                    <a:pt x="343" y="1024"/>
                  </a:lnTo>
                  <a:lnTo>
                    <a:pt x="356" y="1025"/>
                  </a:lnTo>
                  <a:lnTo>
                    <a:pt x="370" y="1025"/>
                  </a:lnTo>
                  <a:lnTo>
                    <a:pt x="370" y="1025"/>
                  </a:lnTo>
                  <a:lnTo>
                    <a:pt x="388" y="1024"/>
                  </a:lnTo>
                  <a:lnTo>
                    <a:pt x="405" y="1022"/>
                  </a:lnTo>
                  <a:lnTo>
                    <a:pt x="423" y="1019"/>
                  </a:lnTo>
                  <a:lnTo>
                    <a:pt x="438" y="1015"/>
                  </a:lnTo>
                  <a:lnTo>
                    <a:pt x="453" y="1009"/>
                  </a:lnTo>
                  <a:lnTo>
                    <a:pt x="468" y="1000"/>
                  </a:lnTo>
                  <a:lnTo>
                    <a:pt x="481" y="992"/>
                  </a:lnTo>
                  <a:lnTo>
                    <a:pt x="493" y="982"/>
                  </a:lnTo>
                  <a:lnTo>
                    <a:pt x="504" y="971"/>
                  </a:lnTo>
                  <a:lnTo>
                    <a:pt x="514" y="958"/>
                  </a:lnTo>
                  <a:lnTo>
                    <a:pt x="522" y="944"/>
                  </a:lnTo>
                  <a:lnTo>
                    <a:pt x="529" y="929"/>
                  </a:lnTo>
                  <a:lnTo>
                    <a:pt x="534" y="912"/>
                  </a:lnTo>
                  <a:lnTo>
                    <a:pt x="538" y="894"/>
                  </a:lnTo>
                  <a:lnTo>
                    <a:pt x="541" y="875"/>
                  </a:lnTo>
                  <a:lnTo>
                    <a:pt x="541" y="854"/>
                  </a:lnTo>
                  <a:lnTo>
                    <a:pt x="541" y="854"/>
                  </a:lnTo>
                  <a:lnTo>
                    <a:pt x="541" y="842"/>
                  </a:lnTo>
                  <a:lnTo>
                    <a:pt x="539" y="831"/>
                  </a:lnTo>
                  <a:lnTo>
                    <a:pt x="537" y="818"/>
                  </a:lnTo>
                  <a:lnTo>
                    <a:pt x="533" y="806"/>
                  </a:lnTo>
                  <a:lnTo>
                    <a:pt x="528" y="795"/>
                  </a:lnTo>
                  <a:lnTo>
                    <a:pt x="523" y="783"/>
                  </a:lnTo>
                  <a:lnTo>
                    <a:pt x="516" y="771"/>
                  </a:lnTo>
                  <a:lnTo>
                    <a:pt x="509" y="759"/>
                  </a:lnTo>
                  <a:lnTo>
                    <a:pt x="499" y="748"/>
                  </a:lnTo>
                  <a:lnTo>
                    <a:pt x="490" y="737"/>
                  </a:lnTo>
                  <a:lnTo>
                    <a:pt x="480" y="726"/>
                  </a:lnTo>
                  <a:lnTo>
                    <a:pt x="469" y="716"/>
                  </a:lnTo>
                  <a:lnTo>
                    <a:pt x="457" y="706"/>
                  </a:lnTo>
                  <a:lnTo>
                    <a:pt x="443" y="697"/>
                  </a:lnTo>
                  <a:lnTo>
                    <a:pt x="429" y="688"/>
                  </a:lnTo>
                  <a:lnTo>
                    <a:pt x="415" y="680"/>
                  </a:lnTo>
                  <a:lnTo>
                    <a:pt x="250" y="593"/>
                  </a:lnTo>
                  <a:lnTo>
                    <a:pt x="250" y="593"/>
                  </a:lnTo>
                  <a:lnTo>
                    <a:pt x="223" y="580"/>
                  </a:lnTo>
                  <a:lnTo>
                    <a:pt x="198" y="566"/>
                  </a:lnTo>
                  <a:lnTo>
                    <a:pt x="174" y="551"/>
                  </a:lnTo>
                  <a:lnTo>
                    <a:pt x="152" y="535"/>
                  </a:lnTo>
                  <a:lnTo>
                    <a:pt x="131" y="520"/>
                  </a:lnTo>
                  <a:lnTo>
                    <a:pt x="112" y="502"/>
                  </a:lnTo>
                  <a:lnTo>
                    <a:pt x="94" y="485"/>
                  </a:lnTo>
                  <a:lnTo>
                    <a:pt x="78" y="467"/>
                  </a:lnTo>
                  <a:lnTo>
                    <a:pt x="64" y="447"/>
                  </a:lnTo>
                  <a:lnTo>
                    <a:pt x="52" y="426"/>
                  </a:lnTo>
                  <a:lnTo>
                    <a:pt x="40" y="404"/>
                  </a:lnTo>
                  <a:lnTo>
                    <a:pt x="32" y="380"/>
                  </a:lnTo>
                  <a:lnTo>
                    <a:pt x="25" y="355"/>
                  </a:lnTo>
                  <a:lnTo>
                    <a:pt x="20" y="328"/>
                  </a:lnTo>
                  <a:lnTo>
                    <a:pt x="17" y="299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54"/>
                  </a:lnTo>
                  <a:lnTo>
                    <a:pt x="17" y="242"/>
                  </a:lnTo>
                  <a:lnTo>
                    <a:pt x="19" y="228"/>
                  </a:lnTo>
                  <a:lnTo>
                    <a:pt x="22" y="216"/>
                  </a:lnTo>
                  <a:lnTo>
                    <a:pt x="25" y="204"/>
                  </a:lnTo>
                  <a:lnTo>
                    <a:pt x="29" y="192"/>
                  </a:lnTo>
                  <a:lnTo>
                    <a:pt x="34" y="179"/>
                  </a:lnTo>
                  <a:lnTo>
                    <a:pt x="39" y="167"/>
                  </a:lnTo>
                  <a:lnTo>
                    <a:pt x="45" y="156"/>
                  </a:lnTo>
                  <a:lnTo>
                    <a:pt x="52" y="145"/>
                  </a:lnTo>
                  <a:lnTo>
                    <a:pt x="59" y="134"/>
                  </a:lnTo>
                  <a:lnTo>
                    <a:pt x="67" y="123"/>
                  </a:lnTo>
                  <a:lnTo>
                    <a:pt x="75" y="114"/>
                  </a:lnTo>
                  <a:lnTo>
                    <a:pt x="83" y="104"/>
                  </a:lnTo>
                  <a:lnTo>
                    <a:pt x="94" y="95"/>
                  </a:lnTo>
                  <a:lnTo>
                    <a:pt x="103" y="85"/>
                  </a:lnTo>
                  <a:lnTo>
                    <a:pt x="113" y="76"/>
                  </a:lnTo>
                  <a:lnTo>
                    <a:pt x="124" y="69"/>
                  </a:lnTo>
                  <a:lnTo>
                    <a:pt x="135" y="61"/>
                  </a:lnTo>
                  <a:lnTo>
                    <a:pt x="148" y="54"/>
                  </a:lnTo>
                  <a:lnTo>
                    <a:pt x="160" y="46"/>
                  </a:lnTo>
                  <a:lnTo>
                    <a:pt x="172" y="40"/>
                  </a:lnTo>
                  <a:lnTo>
                    <a:pt x="186" y="34"/>
                  </a:lnTo>
                  <a:lnTo>
                    <a:pt x="199" y="29"/>
                  </a:lnTo>
                  <a:lnTo>
                    <a:pt x="212" y="25"/>
                  </a:lnTo>
                  <a:lnTo>
                    <a:pt x="226" y="21"/>
                  </a:lnTo>
                  <a:lnTo>
                    <a:pt x="241" y="17"/>
                  </a:lnTo>
                  <a:lnTo>
                    <a:pt x="255" y="14"/>
                  </a:lnTo>
                  <a:lnTo>
                    <a:pt x="269" y="12"/>
                  </a:lnTo>
                  <a:lnTo>
                    <a:pt x="285" y="11"/>
                  </a:lnTo>
                  <a:lnTo>
                    <a:pt x="300" y="10"/>
                  </a:lnTo>
                  <a:lnTo>
                    <a:pt x="315" y="9"/>
                  </a:lnTo>
                  <a:lnTo>
                    <a:pt x="315" y="9"/>
                  </a:lnTo>
                  <a:lnTo>
                    <a:pt x="335" y="10"/>
                  </a:lnTo>
                  <a:lnTo>
                    <a:pt x="352" y="11"/>
                  </a:lnTo>
                  <a:lnTo>
                    <a:pt x="369" y="12"/>
                  </a:lnTo>
                  <a:lnTo>
                    <a:pt x="384" y="15"/>
                  </a:lnTo>
                  <a:lnTo>
                    <a:pt x="399" y="18"/>
                  </a:lnTo>
                  <a:lnTo>
                    <a:pt x="414" y="21"/>
                  </a:lnTo>
                  <a:lnTo>
                    <a:pt x="427" y="25"/>
                  </a:lnTo>
                  <a:lnTo>
                    <a:pt x="440" y="30"/>
                  </a:lnTo>
                  <a:lnTo>
                    <a:pt x="464" y="40"/>
                  </a:lnTo>
                  <a:lnTo>
                    <a:pt x="486" y="53"/>
                  </a:lnTo>
                  <a:lnTo>
                    <a:pt x="507" y="66"/>
                  </a:lnTo>
                  <a:lnTo>
                    <a:pt x="526" y="79"/>
                  </a:lnTo>
                  <a:lnTo>
                    <a:pt x="526" y="79"/>
                  </a:lnTo>
                  <a:lnTo>
                    <a:pt x="534" y="73"/>
                  </a:lnTo>
                  <a:lnTo>
                    <a:pt x="541" y="65"/>
                  </a:lnTo>
                  <a:lnTo>
                    <a:pt x="549" y="57"/>
                  </a:lnTo>
                  <a:lnTo>
                    <a:pt x="556" y="47"/>
                  </a:lnTo>
                  <a:lnTo>
                    <a:pt x="562" y="36"/>
                  </a:lnTo>
                  <a:lnTo>
                    <a:pt x="568" y="26"/>
                  </a:lnTo>
                  <a:lnTo>
                    <a:pt x="572" y="14"/>
                  </a:lnTo>
                  <a:lnTo>
                    <a:pt x="576" y="0"/>
                  </a:lnTo>
                  <a:lnTo>
                    <a:pt x="624" y="0"/>
                  </a:lnTo>
                  <a:lnTo>
                    <a:pt x="624" y="380"/>
                  </a:lnTo>
                  <a:lnTo>
                    <a:pt x="575" y="380"/>
                  </a:lnTo>
                  <a:lnTo>
                    <a:pt x="575" y="380"/>
                  </a:lnTo>
                  <a:lnTo>
                    <a:pt x="572" y="354"/>
                  </a:lnTo>
                  <a:lnTo>
                    <a:pt x="568" y="328"/>
                  </a:lnTo>
                  <a:lnTo>
                    <a:pt x="563" y="301"/>
                  </a:lnTo>
                  <a:lnTo>
                    <a:pt x="556" y="275"/>
                  </a:lnTo>
                  <a:lnTo>
                    <a:pt x="549" y="250"/>
                  </a:lnTo>
                  <a:lnTo>
                    <a:pt x="538" y="225"/>
                  </a:lnTo>
                  <a:lnTo>
                    <a:pt x="527" y="203"/>
                  </a:lnTo>
                  <a:lnTo>
                    <a:pt x="514" y="180"/>
                  </a:lnTo>
                  <a:lnTo>
                    <a:pt x="507" y="170"/>
                  </a:lnTo>
                  <a:lnTo>
                    <a:pt x="498" y="160"/>
                  </a:lnTo>
                  <a:lnTo>
                    <a:pt x="490" y="151"/>
                  </a:lnTo>
                  <a:lnTo>
                    <a:pt x="481" y="142"/>
                  </a:lnTo>
                  <a:lnTo>
                    <a:pt x="472" y="133"/>
                  </a:lnTo>
                  <a:lnTo>
                    <a:pt x="462" y="125"/>
                  </a:lnTo>
                  <a:lnTo>
                    <a:pt x="451" y="118"/>
                  </a:lnTo>
                  <a:lnTo>
                    <a:pt x="440" y="112"/>
                  </a:lnTo>
                  <a:lnTo>
                    <a:pt x="428" y="106"/>
                  </a:lnTo>
                  <a:lnTo>
                    <a:pt x="416" y="101"/>
                  </a:lnTo>
                  <a:lnTo>
                    <a:pt x="402" y="96"/>
                  </a:lnTo>
                  <a:lnTo>
                    <a:pt x="388" y="91"/>
                  </a:lnTo>
                  <a:lnTo>
                    <a:pt x="374" y="88"/>
                  </a:lnTo>
                  <a:lnTo>
                    <a:pt x="358" y="86"/>
                  </a:lnTo>
                  <a:lnTo>
                    <a:pt x="343" y="85"/>
                  </a:lnTo>
                  <a:lnTo>
                    <a:pt x="327" y="84"/>
                  </a:lnTo>
                  <a:lnTo>
                    <a:pt x="327" y="84"/>
                  </a:lnTo>
                  <a:lnTo>
                    <a:pt x="313" y="85"/>
                  </a:lnTo>
                  <a:lnTo>
                    <a:pt x="300" y="87"/>
                  </a:lnTo>
                  <a:lnTo>
                    <a:pt x="287" y="90"/>
                  </a:lnTo>
                  <a:lnTo>
                    <a:pt x="275" y="95"/>
                  </a:lnTo>
                  <a:lnTo>
                    <a:pt x="262" y="100"/>
                  </a:lnTo>
                  <a:lnTo>
                    <a:pt x="251" y="106"/>
                  </a:lnTo>
                  <a:lnTo>
                    <a:pt x="240" y="113"/>
                  </a:lnTo>
                  <a:lnTo>
                    <a:pt x="230" y="121"/>
                  </a:lnTo>
                  <a:lnTo>
                    <a:pt x="220" y="131"/>
                  </a:lnTo>
                  <a:lnTo>
                    <a:pt x="212" y="142"/>
                  </a:lnTo>
                  <a:lnTo>
                    <a:pt x="205" y="153"/>
                  </a:lnTo>
                  <a:lnTo>
                    <a:pt x="199" y="165"/>
                  </a:lnTo>
                  <a:lnTo>
                    <a:pt x="194" y="178"/>
                  </a:lnTo>
                  <a:lnTo>
                    <a:pt x="190" y="192"/>
                  </a:lnTo>
                  <a:lnTo>
                    <a:pt x="188" y="207"/>
                  </a:lnTo>
                  <a:lnTo>
                    <a:pt x="187" y="222"/>
                  </a:lnTo>
                  <a:lnTo>
                    <a:pt x="187" y="222"/>
                  </a:lnTo>
                  <a:lnTo>
                    <a:pt x="187" y="233"/>
                  </a:lnTo>
                  <a:lnTo>
                    <a:pt x="189" y="244"/>
                  </a:lnTo>
                  <a:lnTo>
                    <a:pt x="192" y="254"/>
                  </a:lnTo>
                  <a:lnTo>
                    <a:pt x="195" y="265"/>
                  </a:lnTo>
                  <a:lnTo>
                    <a:pt x="200" y="278"/>
                  </a:lnTo>
                  <a:lnTo>
                    <a:pt x="206" y="289"/>
                  </a:lnTo>
                  <a:lnTo>
                    <a:pt x="213" y="301"/>
                  </a:lnTo>
                  <a:lnTo>
                    <a:pt x="221" y="312"/>
                  </a:lnTo>
                  <a:lnTo>
                    <a:pt x="231" y="325"/>
                  </a:lnTo>
                  <a:lnTo>
                    <a:pt x="241" y="336"/>
                  </a:lnTo>
                  <a:lnTo>
                    <a:pt x="252" y="348"/>
                  </a:lnTo>
                  <a:lnTo>
                    <a:pt x="264" y="359"/>
                  </a:lnTo>
                  <a:lnTo>
                    <a:pt x="278" y="370"/>
                  </a:lnTo>
                  <a:lnTo>
                    <a:pt x="292" y="380"/>
                  </a:lnTo>
                  <a:lnTo>
                    <a:pt x="308" y="390"/>
                  </a:lnTo>
                  <a:lnTo>
                    <a:pt x="325" y="399"/>
                  </a:lnTo>
                  <a:lnTo>
                    <a:pt x="490" y="483"/>
                  </a:lnTo>
                  <a:lnTo>
                    <a:pt x="490" y="483"/>
                  </a:lnTo>
                  <a:lnTo>
                    <a:pt x="513" y="495"/>
                  </a:lnTo>
                  <a:lnTo>
                    <a:pt x="535" y="510"/>
                  </a:lnTo>
                  <a:lnTo>
                    <a:pt x="556" y="524"/>
                  </a:lnTo>
                  <a:lnTo>
                    <a:pt x="576" y="538"/>
                  </a:lnTo>
                  <a:lnTo>
                    <a:pt x="596" y="555"/>
                  </a:lnTo>
                  <a:lnTo>
                    <a:pt x="614" y="572"/>
                  </a:lnTo>
                  <a:lnTo>
                    <a:pt x="631" y="590"/>
                  </a:lnTo>
                  <a:lnTo>
                    <a:pt x="648" y="609"/>
                  </a:lnTo>
                  <a:lnTo>
                    <a:pt x="662" y="628"/>
                  </a:lnTo>
                  <a:lnTo>
                    <a:pt x="674" y="649"/>
                  </a:lnTo>
                  <a:lnTo>
                    <a:pt x="686" y="670"/>
                  </a:lnTo>
                  <a:lnTo>
                    <a:pt x="695" y="693"/>
                  </a:lnTo>
                  <a:lnTo>
                    <a:pt x="703" y="715"/>
                  </a:lnTo>
                  <a:lnTo>
                    <a:pt x="708" y="739"/>
                  </a:lnTo>
                  <a:lnTo>
                    <a:pt x="711" y="763"/>
                  </a:lnTo>
                  <a:lnTo>
                    <a:pt x="712" y="789"/>
                  </a:lnTo>
                  <a:lnTo>
                    <a:pt x="712" y="789"/>
                  </a:lnTo>
                  <a:lnTo>
                    <a:pt x="712" y="806"/>
                  </a:lnTo>
                  <a:lnTo>
                    <a:pt x="711" y="824"/>
                  </a:lnTo>
                  <a:lnTo>
                    <a:pt x="708" y="840"/>
                  </a:lnTo>
                  <a:lnTo>
                    <a:pt x="705" y="856"/>
                  </a:lnTo>
                  <a:lnTo>
                    <a:pt x="701" y="872"/>
                  </a:lnTo>
                  <a:lnTo>
                    <a:pt x="696" y="887"/>
                  </a:lnTo>
                  <a:lnTo>
                    <a:pt x="691" y="902"/>
                  </a:lnTo>
                  <a:lnTo>
                    <a:pt x="684" y="917"/>
                  </a:lnTo>
                  <a:lnTo>
                    <a:pt x="676" y="931"/>
                  </a:lnTo>
                  <a:lnTo>
                    <a:pt x="669" y="945"/>
                  </a:lnTo>
                  <a:lnTo>
                    <a:pt x="660" y="957"/>
                  </a:lnTo>
                  <a:lnTo>
                    <a:pt x="651" y="971"/>
                  </a:lnTo>
                  <a:lnTo>
                    <a:pt x="641" y="983"/>
                  </a:lnTo>
                  <a:lnTo>
                    <a:pt x="630" y="994"/>
                  </a:lnTo>
                  <a:lnTo>
                    <a:pt x="619" y="1005"/>
                  </a:lnTo>
                  <a:lnTo>
                    <a:pt x="608" y="1016"/>
                  </a:lnTo>
                  <a:lnTo>
                    <a:pt x="596" y="1026"/>
                  </a:lnTo>
                  <a:lnTo>
                    <a:pt x="582" y="1035"/>
                  </a:lnTo>
                  <a:lnTo>
                    <a:pt x="570" y="1044"/>
                  </a:lnTo>
                  <a:lnTo>
                    <a:pt x="556" y="1053"/>
                  </a:lnTo>
                  <a:lnTo>
                    <a:pt x="542" y="1061"/>
                  </a:lnTo>
                  <a:lnTo>
                    <a:pt x="528" y="1068"/>
                  </a:lnTo>
                  <a:lnTo>
                    <a:pt x="513" y="1074"/>
                  </a:lnTo>
                  <a:lnTo>
                    <a:pt x="498" y="1080"/>
                  </a:lnTo>
                  <a:lnTo>
                    <a:pt x="483" y="1085"/>
                  </a:lnTo>
                  <a:lnTo>
                    <a:pt x="467" y="1089"/>
                  </a:lnTo>
                  <a:lnTo>
                    <a:pt x="451" y="1093"/>
                  </a:lnTo>
                  <a:lnTo>
                    <a:pt x="435" y="1096"/>
                  </a:lnTo>
                  <a:lnTo>
                    <a:pt x="419" y="1100"/>
                  </a:lnTo>
                  <a:lnTo>
                    <a:pt x="402" y="1101"/>
                  </a:lnTo>
                  <a:lnTo>
                    <a:pt x="386" y="1103"/>
                  </a:lnTo>
                  <a:lnTo>
                    <a:pt x="370" y="1103"/>
                  </a:lnTo>
                  <a:lnTo>
                    <a:pt x="370" y="1103"/>
                  </a:lnTo>
                  <a:lnTo>
                    <a:pt x="345" y="1102"/>
                  </a:lnTo>
                  <a:lnTo>
                    <a:pt x="323" y="1100"/>
                  </a:lnTo>
                  <a:lnTo>
                    <a:pt x="300" y="1096"/>
                  </a:lnTo>
                  <a:lnTo>
                    <a:pt x="280" y="1091"/>
                  </a:lnTo>
                  <a:lnTo>
                    <a:pt x="260" y="1086"/>
                  </a:lnTo>
                  <a:lnTo>
                    <a:pt x="241" y="1080"/>
                  </a:lnTo>
                  <a:lnTo>
                    <a:pt x="223" y="1073"/>
                  </a:lnTo>
                  <a:lnTo>
                    <a:pt x="206" y="1067"/>
                  </a:lnTo>
                  <a:lnTo>
                    <a:pt x="175" y="1053"/>
                  </a:lnTo>
                  <a:lnTo>
                    <a:pt x="147" y="1039"/>
                  </a:lnTo>
                  <a:lnTo>
                    <a:pt x="122" y="1028"/>
                  </a:lnTo>
                  <a:lnTo>
                    <a:pt x="111" y="1024"/>
                  </a:lnTo>
                  <a:lnTo>
                    <a:pt x="101" y="1022"/>
                  </a:lnTo>
                  <a:lnTo>
                    <a:pt x="101" y="1022"/>
                  </a:lnTo>
                  <a:lnTo>
                    <a:pt x="93" y="1028"/>
                  </a:lnTo>
                  <a:lnTo>
                    <a:pt x="85" y="1036"/>
                  </a:lnTo>
                  <a:lnTo>
                    <a:pt x="77" y="1044"/>
                  </a:lnTo>
                  <a:lnTo>
                    <a:pt x="71" y="1055"/>
                  </a:lnTo>
                  <a:lnTo>
                    <a:pt x="64" y="1065"/>
                  </a:lnTo>
                  <a:lnTo>
                    <a:pt x="59" y="1076"/>
                  </a:lnTo>
                  <a:lnTo>
                    <a:pt x="54" y="1089"/>
                  </a:lnTo>
                  <a:lnTo>
                    <a:pt x="51" y="1103"/>
                  </a:lnTo>
                  <a:lnTo>
                    <a:pt x="51" y="1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4" name="Freeform 17"/>
            <p:cNvSpPr>
              <a:spLocks/>
            </p:cNvSpPr>
            <p:nvPr userDrawn="1"/>
          </p:nvSpPr>
          <p:spPr bwMode="auto">
            <a:xfrm>
              <a:off x="8496548" y="633579"/>
              <a:ext cx="142875" cy="136525"/>
            </a:xfrm>
            <a:custGeom>
              <a:avLst/>
              <a:gdLst>
                <a:gd name="T0" fmla="*/ 1028 w 1078"/>
                <a:gd name="T1" fmla="*/ 244 h 1035"/>
                <a:gd name="T2" fmla="*/ 1020 w 1078"/>
                <a:gd name="T3" fmla="*/ 209 h 1035"/>
                <a:gd name="T4" fmla="*/ 1006 w 1078"/>
                <a:gd name="T5" fmla="*/ 163 h 1035"/>
                <a:gd name="T6" fmla="*/ 995 w 1078"/>
                <a:gd name="T7" fmla="*/ 138 h 1035"/>
                <a:gd name="T8" fmla="*/ 980 w 1078"/>
                <a:gd name="T9" fmla="*/ 118 h 1035"/>
                <a:gd name="T10" fmla="*/ 959 w 1078"/>
                <a:gd name="T11" fmla="*/ 101 h 1035"/>
                <a:gd name="T12" fmla="*/ 932 w 1078"/>
                <a:gd name="T13" fmla="*/ 90 h 1035"/>
                <a:gd name="T14" fmla="*/ 895 w 1078"/>
                <a:gd name="T15" fmla="*/ 82 h 1035"/>
                <a:gd name="T16" fmla="*/ 848 w 1078"/>
                <a:gd name="T17" fmla="*/ 78 h 1035"/>
                <a:gd name="T18" fmla="*/ 646 w 1078"/>
                <a:gd name="T19" fmla="*/ 78 h 1035"/>
                <a:gd name="T20" fmla="*/ 646 w 1078"/>
                <a:gd name="T21" fmla="*/ 783 h 1035"/>
                <a:gd name="T22" fmla="*/ 648 w 1078"/>
                <a:gd name="T23" fmla="*/ 842 h 1035"/>
                <a:gd name="T24" fmla="*/ 652 w 1078"/>
                <a:gd name="T25" fmla="*/ 888 h 1035"/>
                <a:gd name="T26" fmla="*/ 662 w 1078"/>
                <a:gd name="T27" fmla="*/ 923 h 1035"/>
                <a:gd name="T28" fmla="*/ 672 w 1078"/>
                <a:gd name="T29" fmla="*/ 943 h 1035"/>
                <a:gd name="T30" fmla="*/ 680 w 1078"/>
                <a:gd name="T31" fmla="*/ 954 h 1035"/>
                <a:gd name="T32" fmla="*/ 691 w 1078"/>
                <a:gd name="T33" fmla="*/ 963 h 1035"/>
                <a:gd name="T34" fmla="*/ 711 w 1078"/>
                <a:gd name="T35" fmla="*/ 973 h 1035"/>
                <a:gd name="T36" fmla="*/ 743 w 1078"/>
                <a:gd name="T37" fmla="*/ 982 h 1035"/>
                <a:gd name="T38" fmla="*/ 787 w 1078"/>
                <a:gd name="T39" fmla="*/ 985 h 1035"/>
                <a:gd name="T40" fmla="*/ 812 w 1078"/>
                <a:gd name="T41" fmla="*/ 1035 h 1035"/>
                <a:gd name="T42" fmla="*/ 267 w 1078"/>
                <a:gd name="T43" fmla="*/ 985 h 1035"/>
                <a:gd name="T44" fmla="*/ 293 w 1078"/>
                <a:gd name="T45" fmla="*/ 985 h 1035"/>
                <a:gd name="T46" fmla="*/ 335 w 1078"/>
                <a:gd name="T47" fmla="*/ 982 h 1035"/>
                <a:gd name="T48" fmla="*/ 369 w 1078"/>
                <a:gd name="T49" fmla="*/ 973 h 1035"/>
                <a:gd name="T50" fmla="*/ 388 w 1078"/>
                <a:gd name="T51" fmla="*/ 963 h 1035"/>
                <a:gd name="T52" fmla="*/ 399 w 1078"/>
                <a:gd name="T53" fmla="*/ 954 h 1035"/>
                <a:gd name="T54" fmla="*/ 407 w 1078"/>
                <a:gd name="T55" fmla="*/ 943 h 1035"/>
                <a:gd name="T56" fmla="*/ 417 w 1078"/>
                <a:gd name="T57" fmla="*/ 923 h 1035"/>
                <a:gd name="T58" fmla="*/ 425 w 1078"/>
                <a:gd name="T59" fmla="*/ 888 h 1035"/>
                <a:gd name="T60" fmla="*/ 430 w 1078"/>
                <a:gd name="T61" fmla="*/ 842 h 1035"/>
                <a:gd name="T62" fmla="*/ 432 w 1078"/>
                <a:gd name="T63" fmla="*/ 783 h 1035"/>
                <a:gd name="T64" fmla="*/ 259 w 1078"/>
                <a:gd name="T65" fmla="*/ 78 h 1035"/>
                <a:gd name="T66" fmla="*/ 231 w 1078"/>
                <a:gd name="T67" fmla="*/ 78 h 1035"/>
                <a:gd name="T68" fmla="*/ 184 w 1078"/>
                <a:gd name="T69" fmla="*/ 82 h 1035"/>
                <a:gd name="T70" fmla="*/ 147 w 1078"/>
                <a:gd name="T71" fmla="*/ 90 h 1035"/>
                <a:gd name="T72" fmla="*/ 120 w 1078"/>
                <a:gd name="T73" fmla="*/ 101 h 1035"/>
                <a:gd name="T74" fmla="*/ 99 w 1078"/>
                <a:gd name="T75" fmla="*/ 118 h 1035"/>
                <a:gd name="T76" fmla="*/ 85 w 1078"/>
                <a:gd name="T77" fmla="*/ 138 h 1035"/>
                <a:gd name="T78" fmla="*/ 74 w 1078"/>
                <a:gd name="T79" fmla="*/ 163 h 1035"/>
                <a:gd name="T80" fmla="*/ 60 w 1078"/>
                <a:gd name="T81" fmla="*/ 209 h 1035"/>
                <a:gd name="T82" fmla="*/ 0 w 1078"/>
                <a:gd name="T83" fmla="*/ 244 h 1035"/>
                <a:gd name="T84" fmla="*/ 1065 w 1078"/>
                <a:gd name="T85" fmla="*/ 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8" h="1035">
                  <a:moveTo>
                    <a:pt x="1078" y="244"/>
                  </a:moveTo>
                  <a:lnTo>
                    <a:pt x="1028" y="244"/>
                  </a:lnTo>
                  <a:lnTo>
                    <a:pt x="1020" y="209"/>
                  </a:lnTo>
                  <a:lnTo>
                    <a:pt x="1020" y="209"/>
                  </a:lnTo>
                  <a:lnTo>
                    <a:pt x="1011" y="177"/>
                  </a:lnTo>
                  <a:lnTo>
                    <a:pt x="1006" y="163"/>
                  </a:lnTo>
                  <a:lnTo>
                    <a:pt x="1001" y="150"/>
                  </a:lnTo>
                  <a:lnTo>
                    <a:pt x="995" y="138"/>
                  </a:lnTo>
                  <a:lnTo>
                    <a:pt x="988" y="127"/>
                  </a:lnTo>
                  <a:lnTo>
                    <a:pt x="980" y="118"/>
                  </a:lnTo>
                  <a:lnTo>
                    <a:pt x="970" y="109"/>
                  </a:lnTo>
                  <a:lnTo>
                    <a:pt x="959" y="101"/>
                  </a:lnTo>
                  <a:lnTo>
                    <a:pt x="947" y="95"/>
                  </a:lnTo>
                  <a:lnTo>
                    <a:pt x="932" y="90"/>
                  </a:lnTo>
                  <a:lnTo>
                    <a:pt x="914" y="85"/>
                  </a:lnTo>
                  <a:lnTo>
                    <a:pt x="895" y="82"/>
                  </a:lnTo>
                  <a:lnTo>
                    <a:pt x="872" y="80"/>
                  </a:lnTo>
                  <a:lnTo>
                    <a:pt x="848" y="78"/>
                  </a:lnTo>
                  <a:lnTo>
                    <a:pt x="819" y="78"/>
                  </a:lnTo>
                  <a:lnTo>
                    <a:pt x="646" y="78"/>
                  </a:lnTo>
                  <a:lnTo>
                    <a:pt x="646" y="783"/>
                  </a:lnTo>
                  <a:lnTo>
                    <a:pt x="646" y="783"/>
                  </a:lnTo>
                  <a:lnTo>
                    <a:pt x="647" y="814"/>
                  </a:lnTo>
                  <a:lnTo>
                    <a:pt x="648" y="842"/>
                  </a:lnTo>
                  <a:lnTo>
                    <a:pt x="649" y="866"/>
                  </a:lnTo>
                  <a:lnTo>
                    <a:pt x="652" y="888"/>
                  </a:lnTo>
                  <a:lnTo>
                    <a:pt x="657" y="906"/>
                  </a:lnTo>
                  <a:lnTo>
                    <a:pt x="662" y="923"/>
                  </a:lnTo>
                  <a:lnTo>
                    <a:pt x="668" y="937"/>
                  </a:lnTo>
                  <a:lnTo>
                    <a:pt x="672" y="943"/>
                  </a:lnTo>
                  <a:lnTo>
                    <a:pt x="676" y="949"/>
                  </a:lnTo>
                  <a:lnTo>
                    <a:pt x="680" y="954"/>
                  </a:lnTo>
                  <a:lnTo>
                    <a:pt x="685" y="958"/>
                  </a:lnTo>
                  <a:lnTo>
                    <a:pt x="691" y="963"/>
                  </a:lnTo>
                  <a:lnTo>
                    <a:pt x="697" y="966"/>
                  </a:lnTo>
                  <a:lnTo>
                    <a:pt x="711" y="973"/>
                  </a:lnTo>
                  <a:lnTo>
                    <a:pt x="726" y="978"/>
                  </a:lnTo>
                  <a:lnTo>
                    <a:pt x="743" y="982"/>
                  </a:lnTo>
                  <a:lnTo>
                    <a:pt x="764" y="984"/>
                  </a:lnTo>
                  <a:lnTo>
                    <a:pt x="787" y="985"/>
                  </a:lnTo>
                  <a:lnTo>
                    <a:pt x="812" y="985"/>
                  </a:lnTo>
                  <a:lnTo>
                    <a:pt x="812" y="1035"/>
                  </a:lnTo>
                  <a:lnTo>
                    <a:pt x="267" y="1035"/>
                  </a:lnTo>
                  <a:lnTo>
                    <a:pt x="267" y="985"/>
                  </a:lnTo>
                  <a:lnTo>
                    <a:pt x="267" y="985"/>
                  </a:lnTo>
                  <a:lnTo>
                    <a:pt x="293" y="985"/>
                  </a:lnTo>
                  <a:lnTo>
                    <a:pt x="315" y="984"/>
                  </a:lnTo>
                  <a:lnTo>
                    <a:pt x="335" y="982"/>
                  </a:lnTo>
                  <a:lnTo>
                    <a:pt x="353" y="978"/>
                  </a:lnTo>
                  <a:lnTo>
                    <a:pt x="369" y="973"/>
                  </a:lnTo>
                  <a:lnTo>
                    <a:pt x="383" y="966"/>
                  </a:lnTo>
                  <a:lnTo>
                    <a:pt x="388" y="963"/>
                  </a:lnTo>
                  <a:lnTo>
                    <a:pt x="394" y="958"/>
                  </a:lnTo>
                  <a:lnTo>
                    <a:pt x="399" y="954"/>
                  </a:lnTo>
                  <a:lnTo>
                    <a:pt x="403" y="949"/>
                  </a:lnTo>
                  <a:lnTo>
                    <a:pt x="407" y="943"/>
                  </a:lnTo>
                  <a:lnTo>
                    <a:pt x="411" y="937"/>
                  </a:lnTo>
                  <a:lnTo>
                    <a:pt x="417" y="923"/>
                  </a:lnTo>
                  <a:lnTo>
                    <a:pt x="422" y="906"/>
                  </a:lnTo>
                  <a:lnTo>
                    <a:pt x="425" y="888"/>
                  </a:lnTo>
                  <a:lnTo>
                    <a:pt x="429" y="866"/>
                  </a:lnTo>
                  <a:lnTo>
                    <a:pt x="430" y="842"/>
                  </a:lnTo>
                  <a:lnTo>
                    <a:pt x="431" y="814"/>
                  </a:lnTo>
                  <a:lnTo>
                    <a:pt x="432" y="783"/>
                  </a:lnTo>
                  <a:lnTo>
                    <a:pt x="432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31" y="78"/>
                  </a:lnTo>
                  <a:lnTo>
                    <a:pt x="206" y="80"/>
                  </a:lnTo>
                  <a:lnTo>
                    <a:pt x="184" y="82"/>
                  </a:lnTo>
                  <a:lnTo>
                    <a:pt x="165" y="85"/>
                  </a:lnTo>
                  <a:lnTo>
                    <a:pt x="147" y="90"/>
                  </a:lnTo>
                  <a:lnTo>
                    <a:pt x="133" y="95"/>
                  </a:lnTo>
                  <a:lnTo>
                    <a:pt x="120" y="101"/>
                  </a:lnTo>
                  <a:lnTo>
                    <a:pt x="110" y="109"/>
                  </a:lnTo>
                  <a:lnTo>
                    <a:pt x="99" y="118"/>
                  </a:lnTo>
                  <a:lnTo>
                    <a:pt x="91" y="127"/>
                  </a:lnTo>
                  <a:lnTo>
                    <a:pt x="85" y="138"/>
                  </a:lnTo>
                  <a:lnTo>
                    <a:pt x="79" y="150"/>
                  </a:lnTo>
                  <a:lnTo>
                    <a:pt x="74" y="163"/>
                  </a:lnTo>
                  <a:lnTo>
                    <a:pt x="69" y="177"/>
                  </a:lnTo>
                  <a:lnTo>
                    <a:pt x="60" y="209"/>
                  </a:lnTo>
                  <a:lnTo>
                    <a:pt x="51" y="244"/>
                  </a:lnTo>
                  <a:lnTo>
                    <a:pt x="0" y="244"/>
                  </a:lnTo>
                  <a:lnTo>
                    <a:pt x="15" y="0"/>
                  </a:lnTo>
                  <a:lnTo>
                    <a:pt x="1065" y="0"/>
                  </a:lnTo>
                  <a:lnTo>
                    <a:pt x="1078" y="2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5" name="Freeform 18"/>
            <p:cNvSpPr>
              <a:spLocks noEditPoints="1"/>
            </p:cNvSpPr>
            <p:nvPr userDrawn="1"/>
          </p:nvSpPr>
          <p:spPr bwMode="auto">
            <a:xfrm>
              <a:off x="8667998" y="630404"/>
              <a:ext cx="152400" cy="144463"/>
            </a:xfrm>
            <a:custGeom>
              <a:avLst/>
              <a:gdLst>
                <a:gd name="T0" fmla="*/ 487 w 1150"/>
                <a:gd name="T1" fmla="*/ 1087 h 1094"/>
                <a:gd name="T2" fmla="*/ 351 w 1150"/>
                <a:gd name="T3" fmla="*/ 1051 h 1094"/>
                <a:gd name="T4" fmla="*/ 231 w 1150"/>
                <a:gd name="T5" fmla="*/ 984 h 1094"/>
                <a:gd name="T6" fmla="*/ 131 w 1150"/>
                <a:gd name="T7" fmla="*/ 894 h 1094"/>
                <a:gd name="T8" fmla="*/ 56 w 1150"/>
                <a:gd name="T9" fmla="*/ 783 h 1094"/>
                <a:gd name="T10" fmla="*/ 11 w 1150"/>
                <a:gd name="T11" fmla="*/ 656 h 1094"/>
                <a:gd name="T12" fmla="*/ 0 w 1150"/>
                <a:gd name="T13" fmla="*/ 547 h 1094"/>
                <a:gd name="T14" fmla="*/ 17 w 1150"/>
                <a:gd name="T15" fmla="*/ 411 h 1094"/>
                <a:gd name="T16" fmla="*/ 69 w 1150"/>
                <a:gd name="T17" fmla="*/ 287 h 1094"/>
                <a:gd name="T18" fmla="*/ 149 w 1150"/>
                <a:gd name="T19" fmla="*/ 180 h 1094"/>
                <a:gd name="T20" fmla="*/ 253 w 1150"/>
                <a:gd name="T21" fmla="*/ 94 h 1094"/>
                <a:gd name="T22" fmla="*/ 378 w 1150"/>
                <a:gd name="T23" fmla="*/ 33 h 1094"/>
                <a:gd name="T24" fmla="*/ 517 w 1150"/>
                <a:gd name="T25" fmla="*/ 3 h 1094"/>
                <a:gd name="T26" fmla="*/ 634 w 1150"/>
                <a:gd name="T27" fmla="*/ 3 h 1094"/>
                <a:gd name="T28" fmla="*/ 773 w 1150"/>
                <a:gd name="T29" fmla="*/ 33 h 1094"/>
                <a:gd name="T30" fmla="*/ 895 w 1150"/>
                <a:gd name="T31" fmla="*/ 94 h 1094"/>
                <a:gd name="T32" fmla="*/ 1000 w 1150"/>
                <a:gd name="T33" fmla="*/ 180 h 1094"/>
                <a:gd name="T34" fmla="*/ 1080 w 1150"/>
                <a:gd name="T35" fmla="*/ 287 h 1094"/>
                <a:gd name="T36" fmla="*/ 1132 w 1150"/>
                <a:gd name="T37" fmla="*/ 411 h 1094"/>
                <a:gd name="T38" fmla="*/ 1150 w 1150"/>
                <a:gd name="T39" fmla="*/ 547 h 1094"/>
                <a:gd name="T40" fmla="*/ 1138 w 1150"/>
                <a:gd name="T41" fmla="*/ 656 h 1094"/>
                <a:gd name="T42" fmla="*/ 1093 w 1150"/>
                <a:gd name="T43" fmla="*/ 783 h 1094"/>
                <a:gd name="T44" fmla="*/ 1018 w 1150"/>
                <a:gd name="T45" fmla="*/ 894 h 1094"/>
                <a:gd name="T46" fmla="*/ 919 w 1150"/>
                <a:gd name="T47" fmla="*/ 984 h 1094"/>
                <a:gd name="T48" fmla="*/ 798 w 1150"/>
                <a:gd name="T49" fmla="*/ 1051 h 1094"/>
                <a:gd name="T50" fmla="*/ 662 w 1150"/>
                <a:gd name="T51" fmla="*/ 1087 h 1094"/>
                <a:gd name="T52" fmla="*/ 575 w 1150"/>
                <a:gd name="T53" fmla="*/ 82 h 1094"/>
                <a:gd name="T54" fmla="*/ 490 w 1150"/>
                <a:gd name="T55" fmla="*/ 94 h 1094"/>
                <a:gd name="T56" fmla="*/ 403 w 1150"/>
                <a:gd name="T57" fmla="*/ 137 h 1094"/>
                <a:gd name="T58" fmla="*/ 334 w 1150"/>
                <a:gd name="T59" fmla="*/ 204 h 1094"/>
                <a:gd name="T60" fmla="*/ 284 w 1150"/>
                <a:gd name="T61" fmla="*/ 290 h 1094"/>
                <a:gd name="T62" fmla="*/ 251 w 1150"/>
                <a:gd name="T63" fmla="*/ 386 h 1094"/>
                <a:gd name="T64" fmla="*/ 233 w 1150"/>
                <a:gd name="T65" fmla="*/ 507 h 1094"/>
                <a:gd name="T66" fmla="*/ 240 w 1150"/>
                <a:gd name="T67" fmla="*/ 647 h 1094"/>
                <a:gd name="T68" fmla="*/ 262 w 1150"/>
                <a:gd name="T69" fmla="*/ 747 h 1094"/>
                <a:gd name="T70" fmla="*/ 302 w 1150"/>
                <a:gd name="T71" fmla="*/ 840 h 1094"/>
                <a:gd name="T72" fmla="*/ 360 w 1150"/>
                <a:gd name="T73" fmla="*/ 919 h 1094"/>
                <a:gd name="T74" fmla="*/ 435 w 1150"/>
                <a:gd name="T75" fmla="*/ 977 h 1094"/>
                <a:gd name="T76" fmla="*/ 531 w 1150"/>
                <a:gd name="T77" fmla="*/ 1008 h 1094"/>
                <a:gd name="T78" fmla="*/ 619 w 1150"/>
                <a:gd name="T79" fmla="*/ 1008 h 1094"/>
                <a:gd name="T80" fmla="*/ 715 w 1150"/>
                <a:gd name="T81" fmla="*/ 977 h 1094"/>
                <a:gd name="T82" fmla="*/ 791 w 1150"/>
                <a:gd name="T83" fmla="*/ 919 h 1094"/>
                <a:gd name="T84" fmla="*/ 848 w 1150"/>
                <a:gd name="T85" fmla="*/ 840 h 1094"/>
                <a:gd name="T86" fmla="*/ 888 w 1150"/>
                <a:gd name="T87" fmla="*/ 747 h 1094"/>
                <a:gd name="T88" fmla="*/ 911 w 1150"/>
                <a:gd name="T89" fmla="*/ 647 h 1094"/>
                <a:gd name="T90" fmla="*/ 918 w 1150"/>
                <a:gd name="T91" fmla="*/ 507 h 1094"/>
                <a:gd name="T92" fmla="*/ 899 w 1150"/>
                <a:gd name="T93" fmla="*/ 386 h 1094"/>
                <a:gd name="T94" fmla="*/ 867 w 1150"/>
                <a:gd name="T95" fmla="*/ 290 h 1094"/>
                <a:gd name="T96" fmla="*/ 816 w 1150"/>
                <a:gd name="T97" fmla="*/ 204 h 1094"/>
                <a:gd name="T98" fmla="*/ 747 w 1150"/>
                <a:gd name="T99" fmla="*/ 137 h 1094"/>
                <a:gd name="T100" fmla="*/ 660 w 1150"/>
                <a:gd name="T101" fmla="*/ 94 h 1094"/>
                <a:gd name="T102" fmla="*/ 575 w 1150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0" h="1094">
                  <a:moveTo>
                    <a:pt x="575" y="1094"/>
                  </a:moveTo>
                  <a:lnTo>
                    <a:pt x="575" y="1094"/>
                  </a:lnTo>
                  <a:lnTo>
                    <a:pt x="546" y="1093"/>
                  </a:lnTo>
                  <a:lnTo>
                    <a:pt x="517" y="1091"/>
                  </a:lnTo>
                  <a:lnTo>
                    <a:pt x="487" y="1087"/>
                  </a:lnTo>
                  <a:lnTo>
                    <a:pt x="460" y="1082"/>
                  </a:lnTo>
                  <a:lnTo>
                    <a:pt x="431" y="1076"/>
                  </a:lnTo>
                  <a:lnTo>
                    <a:pt x="405" y="1069"/>
                  </a:lnTo>
                  <a:lnTo>
                    <a:pt x="378" y="1060"/>
                  </a:lnTo>
                  <a:lnTo>
                    <a:pt x="351" y="1051"/>
                  </a:lnTo>
                  <a:lnTo>
                    <a:pt x="326" y="1039"/>
                  </a:lnTo>
                  <a:lnTo>
                    <a:pt x="301" y="1027"/>
                  </a:lnTo>
                  <a:lnTo>
                    <a:pt x="277" y="1014"/>
                  </a:lnTo>
                  <a:lnTo>
                    <a:pt x="253" y="1000"/>
                  </a:lnTo>
                  <a:lnTo>
                    <a:pt x="231" y="984"/>
                  </a:lnTo>
                  <a:lnTo>
                    <a:pt x="209" y="968"/>
                  </a:lnTo>
                  <a:lnTo>
                    <a:pt x="188" y="950"/>
                  </a:lnTo>
                  <a:lnTo>
                    <a:pt x="168" y="933"/>
                  </a:lnTo>
                  <a:lnTo>
                    <a:pt x="149" y="914"/>
                  </a:lnTo>
                  <a:lnTo>
                    <a:pt x="131" y="894"/>
                  </a:lnTo>
                  <a:lnTo>
                    <a:pt x="114" y="873"/>
                  </a:lnTo>
                  <a:lnTo>
                    <a:pt x="98" y="851"/>
                  </a:lnTo>
                  <a:lnTo>
                    <a:pt x="82" y="830"/>
                  </a:lnTo>
                  <a:lnTo>
                    <a:pt x="69" y="806"/>
                  </a:lnTo>
                  <a:lnTo>
                    <a:pt x="56" y="783"/>
                  </a:lnTo>
                  <a:lnTo>
                    <a:pt x="45" y="758"/>
                  </a:lnTo>
                  <a:lnTo>
                    <a:pt x="34" y="734"/>
                  </a:lnTo>
                  <a:lnTo>
                    <a:pt x="25" y="708"/>
                  </a:lnTo>
                  <a:lnTo>
                    <a:pt x="17" y="683"/>
                  </a:lnTo>
                  <a:lnTo>
                    <a:pt x="11" y="656"/>
                  </a:lnTo>
                  <a:lnTo>
                    <a:pt x="6" y="629"/>
                  </a:lnTo>
                  <a:lnTo>
                    <a:pt x="2" y="602"/>
                  </a:lnTo>
                  <a:lnTo>
                    <a:pt x="0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519"/>
                  </a:lnTo>
                  <a:lnTo>
                    <a:pt x="2" y="491"/>
                  </a:lnTo>
                  <a:lnTo>
                    <a:pt x="6" y="464"/>
                  </a:lnTo>
                  <a:lnTo>
                    <a:pt x="11" y="437"/>
                  </a:lnTo>
                  <a:lnTo>
                    <a:pt x="17" y="411"/>
                  </a:lnTo>
                  <a:lnTo>
                    <a:pt x="25" y="385"/>
                  </a:lnTo>
                  <a:lnTo>
                    <a:pt x="34" y="360"/>
                  </a:lnTo>
                  <a:lnTo>
                    <a:pt x="45" y="335"/>
                  </a:lnTo>
                  <a:lnTo>
                    <a:pt x="56" y="310"/>
                  </a:lnTo>
                  <a:lnTo>
                    <a:pt x="69" y="287"/>
                  </a:lnTo>
                  <a:lnTo>
                    <a:pt x="82" y="264"/>
                  </a:lnTo>
                  <a:lnTo>
                    <a:pt x="98" y="242"/>
                  </a:lnTo>
                  <a:lnTo>
                    <a:pt x="114" y="220"/>
                  </a:lnTo>
                  <a:lnTo>
                    <a:pt x="131" y="200"/>
                  </a:lnTo>
                  <a:lnTo>
                    <a:pt x="149" y="180"/>
                  </a:lnTo>
                  <a:lnTo>
                    <a:pt x="168" y="161"/>
                  </a:lnTo>
                  <a:lnTo>
                    <a:pt x="188" y="143"/>
                  </a:lnTo>
                  <a:lnTo>
                    <a:pt x="209" y="125"/>
                  </a:lnTo>
                  <a:lnTo>
                    <a:pt x="231" y="109"/>
                  </a:lnTo>
                  <a:lnTo>
                    <a:pt x="253" y="94"/>
                  </a:lnTo>
                  <a:lnTo>
                    <a:pt x="277" y="79"/>
                  </a:lnTo>
                  <a:lnTo>
                    <a:pt x="301" y="66"/>
                  </a:lnTo>
                  <a:lnTo>
                    <a:pt x="326" y="54"/>
                  </a:lnTo>
                  <a:lnTo>
                    <a:pt x="351" y="44"/>
                  </a:lnTo>
                  <a:lnTo>
                    <a:pt x="378" y="33"/>
                  </a:lnTo>
                  <a:lnTo>
                    <a:pt x="405" y="24"/>
                  </a:lnTo>
                  <a:lnTo>
                    <a:pt x="431" y="17"/>
                  </a:lnTo>
                  <a:lnTo>
                    <a:pt x="460" y="11"/>
                  </a:lnTo>
                  <a:lnTo>
                    <a:pt x="487" y="6"/>
                  </a:lnTo>
                  <a:lnTo>
                    <a:pt x="517" y="3"/>
                  </a:lnTo>
                  <a:lnTo>
                    <a:pt x="546" y="1"/>
                  </a:lnTo>
                  <a:lnTo>
                    <a:pt x="575" y="0"/>
                  </a:lnTo>
                  <a:lnTo>
                    <a:pt x="575" y="0"/>
                  </a:lnTo>
                  <a:lnTo>
                    <a:pt x="605" y="1"/>
                  </a:lnTo>
                  <a:lnTo>
                    <a:pt x="634" y="3"/>
                  </a:lnTo>
                  <a:lnTo>
                    <a:pt x="662" y="6"/>
                  </a:lnTo>
                  <a:lnTo>
                    <a:pt x="691" y="11"/>
                  </a:lnTo>
                  <a:lnTo>
                    <a:pt x="719" y="17"/>
                  </a:lnTo>
                  <a:lnTo>
                    <a:pt x="746" y="24"/>
                  </a:lnTo>
                  <a:lnTo>
                    <a:pt x="773" y="33"/>
                  </a:lnTo>
                  <a:lnTo>
                    <a:pt x="798" y="44"/>
                  </a:lnTo>
                  <a:lnTo>
                    <a:pt x="824" y="54"/>
                  </a:lnTo>
                  <a:lnTo>
                    <a:pt x="848" y="66"/>
                  </a:lnTo>
                  <a:lnTo>
                    <a:pt x="873" y="79"/>
                  </a:lnTo>
                  <a:lnTo>
                    <a:pt x="895" y="94"/>
                  </a:lnTo>
                  <a:lnTo>
                    <a:pt x="919" y="109"/>
                  </a:lnTo>
                  <a:lnTo>
                    <a:pt x="940" y="125"/>
                  </a:lnTo>
                  <a:lnTo>
                    <a:pt x="961" y="143"/>
                  </a:lnTo>
                  <a:lnTo>
                    <a:pt x="981" y="161"/>
                  </a:lnTo>
                  <a:lnTo>
                    <a:pt x="1000" y="180"/>
                  </a:lnTo>
                  <a:lnTo>
                    <a:pt x="1018" y="200"/>
                  </a:lnTo>
                  <a:lnTo>
                    <a:pt x="1035" y="220"/>
                  </a:lnTo>
                  <a:lnTo>
                    <a:pt x="1052" y="242"/>
                  </a:lnTo>
                  <a:lnTo>
                    <a:pt x="1066" y="264"/>
                  </a:lnTo>
                  <a:lnTo>
                    <a:pt x="1080" y="287"/>
                  </a:lnTo>
                  <a:lnTo>
                    <a:pt x="1093" y="310"/>
                  </a:lnTo>
                  <a:lnTo>
                    <a:pt x="1104" y="335"/>
                  </a:lnTo>
                  <a:lnTo>
                    <a:pt x="1115" y="360"/>
                  </a:lnTo>
                  <a:lnTo>
                    <a:pt x="1123" y="385"/>
                  </a:lnTo>
                  <a:lnTo>
                    <a:pt x="1132" y="411"/>
                  </a:lnTo>
                  <a:lnTo>
                    <a:pt x="1138" y="437"/>
                  </a:lnTo>
                  <a:lnTo>
                    <a:pt x="1143" y="464"/>
                  </a:lnTo>
                  <a:lnTo>
                    <a:pt x="1147" y="491"/>
                  </a:lnTo>
                  <a:lnTo>
                    <a:pt x="1149" y="519"/>
                  </a:lnTo>
                  <a:lnTo>
                    <a:pt x="1150" y="547"/>
                  </a:lnTo>
                  <a:lnTo>
                    <a:pt x="1150" y="547"/>
                  </a:lnTo>
                  <a:lnTo>
                    <a:pt x="1149" y="574"/>
                  </a:lnTo>
                  <a:lnTo>
                    <a:pt x="1147" y="602"/>
                  </a:lnTo>
                  <a:lnTo>
                    <a:pt x="1143" y="629"/>
                  </a:lnTo>
                  <a:lnTo>
                    <a:pt x="1138" y="656"/>
                  </a:lnTo>
                  <a:lnTo>
                    <a:pt x="1132" y="683"/>
                  </a:lnTo>
                  <a:lnTo>
                    <a:pt x="1123" y="708"/>
                  </a:lnTo>
                  <a:lnTo>
                    <a:pt x="1115" y="734"/>
                  </a:lnTo>
                  <a:lnTo>
                    <a:pt x="1104" y="758"/>
                  </a:lnTo>
                  <a:lnTo>
                    <a:pt x="1093" y="783"/>
                  </a:lnTo>
                  <a:lnTo>
                    <a:pt x="1080" y="806"/>
                  </a:lnTo>
                  <a:lnTo>
                    <a:pt x="1066" y="830"/>
                  </a:lnTo>
                  <a:lnTo>
                    <a:pt x="1052" y="851"/>
                  </a:lnTo>
                  <a:lnTo>
                    <a:pt x="1035" y="873"/>
                  </a:lnTo>
                  <a:lnTo>
                    <a:pt x="1018" y="894"/>
                  </a:lnTo>
                  <a:lnTo>
                    <a:pt x="1000" y="914"/>
                  </a:lnTo>
                  <a:lnTo>
                    <a:pt x="981" y="933"/>
                  </a:lnTo>
                  <a:lnTo>
                    <a:pt x="961" y="950"/>
                  </a:lnTo>
                  <a:lnTo>
                    <a:pt x="940" y="968"/>
                  </a:lnTo>
                  <a:lnTo>
                    <a:pt x="919" y="984"/>
                  </a:lnTo>
                  <a:lnTo>
                    <a:pt x="895" y="1000"/>
                  </a:lnTo>
                  <a:lnTo>
                    <a:pt x="873" y="1014"/>
                  </a:lnTo>
                  <a:lnTo>
                    <a:pt x="848" y="1027"/>
                  </a:lnTo>
                  <a:lnTo>
                    <a:pt x="824" y="1039"/>
                  </a:lnTo>
                  <a:lnTo>
                    <a:pt x="798" y="1051"/>
                  </a:lnTo>
                  <a:lnTo>
                    <a:pt x="773" y="1060"/>
                  </a:lnTo>
                  <a:lnTo>
                    <a:pt x="746" y="1069"/>
                  </a:lnTo>
                  <a:lnTo>
                    <a:pt x="719" y="1076"/>
                  </a:lnTo>
                  <a:lnTo>
                    <a:pt x="691" y="1082"/>
                  </a:lnTo>
                  <a:lnTo>
                    <a:pt x="662" y="1087"/>
                  </a:lnTo>
                  <a:lnTo>
                    <a:pt x="634" y="1091"/>
                  </a:lnTo>
                  <a:lnTo>
                    <a:pt x="605" y="1093"/>
                  </a:lnTo>
                  <a:lnTo>
                    <a:pt x="575" y="1094"/>
                  </a:lnTo>
                  <a:lnTo>
                    <a:pt x="575" y="1094"/>
                  </a:lnTo>
                  <a:close/>
                  <a:moveTo>
                    <a:pt x="575" y="82"/>
                  </a:moveTo>
                  <a:lnTo>
                    <a:pt x="575" y="82"/>
                  </a:lnTo>
                  <a:lnTo>
                    <a:pt x="553" y="83"/>
                  </a:lnTo>
                  <a:lnTo>
                    <a:pt x="531" y="86"/>
                  </a:lnTo>
                  <a:lnTo>
                    <a:pt x="510" y="90"/>
                  </a:lnTo>
                  <a:lnTo>
                    <a:pt x="490" y="94"/>
                  </a:lnTo>
                  <a:lnTo>
                    <a:pt x="471" y="100"/>
                  </a:lnTo>
                  <a:lnTo>
                    <a:pt x="453" y="108"/>
                  </a:lnTo>
                  <a:lnTo>
                    <a:pt x="435" y="116"/>
                  </a:lnTo>
                  <a:lnTo>
                    <a:pt x="419" y="125"/>
                  </a:lnTo>
                  <a:lnTo>
                    <a:pt x="403" y="137"/>
                  </a:lnTo>
                  <a:lnTo>
                    <a:pt x="387" y="148"/>
                  </a:lnTo>
                  <a:lnTo>
                    <a:pt x="373" y="161"/>
                  </a:lnTo>
                  <a:lnTo>
                    <a:pt x="360" y="174"/>
                  </a:lnTo>
                  <a:lnTo>
                    <a:pt x="346" y="189"/>
                  </a:lnTo>
                  <a:lnTo>
                    <a:pt x="334" y="204"/>
                  </a:lnTo>
                  <a:lnTo>
                    <a:pt x="323" y="219"/>
                  </a:lnTo>
                  <a:lnTo>
                    <a:pt x="312" y="237"/>
                  </a:lnTo>
                  <a:lnTo>
                    <a:pt x="302" y="253"/>
                  </a:lnTo>
                  <a:lnTo>
                    <a:pt x="292" y="272"/>
                  </a:lnTo>
                  <a:lnTo>
                    <a:pt x="284" y="290"/>
                  </a:lnTo>
                  <a:lnTo>
                    <a:pt x="276" y="308"/>
                  </a:lnTo>
                  <a:lnTo>
                    <a:pt x="269" y="327"/>
                  </a:lnTo>
                  <a:lnTo>
                    <a:pt x="262" y="346"/>
                  </a:lnTo>
                  <a:lnTo>
                    <a:pt x="256" y="367"/>
                  </a:lnTo>
                  <a:lnTo>
                    <a:pt x="251" y="386"/>
                  </a:lnTo>
                  <a:lnTo>
                    <a:pt x="247" y="407"/>
                  </a:lnTo>
                  <a:lnTo>
                    <a:pt x="243" y="426"/>
                  </a:lnTo>
                  <a:lnTo>
                    <a:pt x="240" y="446"/>
                  </a:lnTo>
                  <a:lnTo>
                    <a:pt x="237" y="467"/>
                  </a:lnTo>
                  <a:lnTo>
                    <a:pt x="233" y="507"/>
                  </a:lnTo>
                  <a:lnTo>
                    <a:pt x="232" y="547"/>
                  </a:lnTo>
                  <a:lnTo>
                    <a:pt x="232" y="547"/>
                  </a:lnTo>
                  <a:lnTo>
                    <a:pt x="233" y="587"/>
                  </a:lnTo>
                  <a:lnTo>
                    <a:pt x="237" y="626"/>
                  </a:lnTo>
                  <a:lnTo>
                    <a:pt x="240" y="647"/>
                  </a:lnTo>
                  <a:lnTo>
                    <a:pt x="243" y="667"/>
                  </a:lnTo>
                  <a:lnTo>
                    <a:pt x="247" y="687"/>
                  </a:lnTo>
                  <a:lnTo>
                    <a:pt x="251" y="707"/>
                  </a:lnTo>
                  <a:lnTo>
                    <a:pt x="256" y="728"/>
                  </a:lnTo>
                  <a:lnTo>
                    <a:pt x="262" y="747"/>
                  </a:lnTo>
                  <a:lnTo>
                    <a:pt x="269" y="766"/>
                  </a:lnTo>
                  <a:lnTo>
                    <a:pt x="276" y="785"/>
                  </a:lnTo>
                  <a:lnTo>
                    <a:pt x="284" y="804"/>
                  </a:lnTo>
                  <a:lnTo>
                    <a:pt x="292" y="822"/>
                  </a:lnTo>
                  <a:lnTo>
                    <a:pt x="302" y="840"/>
                  </a:lnTo>
                  <a:lnTo>
                    <a:pt x="312" y="857"/>
                  </a:lnTo>
                  <a:lnTo>
                    <a:pt x="323" y="874"/>
                  </a:lnTo>
                  <a:lnTo>
                    <a:pt x="334" y="889"/>
                  </a:lnTo>
                  <a:lnTo>
                    <a:pt x="346" y="904"/>
                  </a:lnTo>
                  <a:lnTo>
                    <a:pt x="360" y="919"/>
                  </a:lnTo>
                  <a:lnTo>
                    <a:pt x="373" y="932"/>
                  </a:lnTo>
                  <a:lnTo>
                    <a:pt x="387" y="945"/>
                  </a:lnTo>
                  <a:lnTo>
                    <a:pt x="403" y="957"/>
                  </a:lnTo>
                  <a:lnTo>
                    <a:pt x="419" y="968"/>
                  </a:lnTo>
                  <a:lnTo>
                    <a:pt x="435" y="977"/>
                  </a:lnTo>
                  <a:lnTo>
                    <a:pt x="453" y="986"/>
                  </a:lnTo>
                  <a:lnTo>
                    <a:pt x="471" y="993"/>
                  </a:lnTo>
                  <a:lnTo>
                    <a:pt x="490" y="1000"/>
                  </a:lnTo>
                  <a:lnTo>
                    <a:pt x="510" y="1005"/>
                  </a:lnTo>
                  <a:lnTo>
                    <a:pt x="531" y="1008"/>
                  </a:lnTo>
                  <a:lnTo>
                    <a:pt x="553" y="1010"/>
                  </a:lnTo>
                  <a:lnTo>
                    <a:pt x="575" y="1011"/>
                  </a:lnTo>
                  <a:lnTo>
                    <a:pt x="575" y="1011"/>
                  </a:lnTo>
                  <a:lnTo>
                    <a:pt x="598" y="1010"/>
                  </a:lnTo>
                  <a:lnTo>
                    <a:pt x="619" y="1008"/>
                  </a:lnTo>
                  <a:lnTo>
                    <a:pt x="640" y="1005"/>
                  </a:lnTo>
                  <a:lnTo>
                    <a:pt x="660" y="1000"/>
                  </a:lnTo>
                  <a:lnTo>
                    <a:pt x="679" y="993"/>
                  </a:lnTo>
                  <a:lnTo>
                    <a:pt x="697" y="986"/>
                  </a:lnTo>
                  <a:lnTo>
                    <a:pt x="715" y="977"/>
                  </a:lnTo>
                  <a:lnTo>
                    <a:pt x="732" y="968"/>
                  </a:lnTo>
                  <a:lnTo>
                    <a:pt x="747" y="957"/>
                  </a:lnTo>
                  <a:lnTo>
                    <a:pt x="762" y="945"/>
                  </a:lnTo>
                  <a:lnTo>
                    <a:pt x="777" y="932"/>
                  </a:lnTo>
                  <a:lnTo>
                    <a:pt x="791" y="919"/>
                  </a:lnTo>
                  <a:lnTo>
                    <a:pt x="803" y="904"/>
                  </a:lnTo>
                  <a:lnTo>
                    <a:pt x="816" y="889"/>
                  </a:lnTo>
                  <a:lnTo>
                    <a:pt x="828" y="874"/>
                  </a:lnTo>
                  <a:lnTo>
                    <a:pt x="838" y="857"/>
                  </a:lnTo>
                  <a:lnTo>
                    <a:pt x="848" y="840"/>
                  </a:lnTo>
                  <a:lnTo>
                    <a:pt x="858" y="822"/>
                  </a:lnTo>
                  <a:lnTo>
                    <a:pt x="867" y="804"/>
                  </a:lnTo>
                  <a:lnTo>
                    <a:pt x="874" y="785"/>
                  </a:lnTo>
                  <a:lnTo>
                    <a:pt x="881" y="766"/>
                  </a:lnTo>
                  <a:lnTo>
                    <a:pt x="888" y="747"/>
                  </a:lnTo>
                  <a:lnTo>
                    <a:pt x="894" y="728"/>
                  </a:lnTo>
                  <a:lnTo>
                    <a:pt x="899" y="707"/>
                  </a:lnTo>
                  <a:lnTo>
                    <a:pt x="904" y="687"/>
                  </a:lnTo>
                  <a:lnTo>
                    <a:pt x="908" y="667"/>
                  </a:lnTo>
                  <a:lnTo>
                    <a:pt x="911" y="647"/>
                  </a:lnTo>
                  <a:lnTo>
                    <a:pt x="914" y="626"/>
                  </a:lnTo>
                  <a:lnTo>
                    <a:pt x="918" y="58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8" y="507"/>
                  </a:lnTo>
                  <a:lnTo>
                    <a:pt x="914" y="467"/>
                  </a:lnTo>
                  <a:lnTo>
                    <a:pt x="911" y="446"/>
                  </a:lnTo>
                  <a:lnTo>
                    <a:pt x="908" y="426"/>
                  </a:lnTo>
                  <a:lnTo>
                    <a:pt x="904" y="407"/>
                  </a:lnTo>
                  <a:lnTo>
                    <a:pt x="899" y="386"/>
                  </a:lnTo>
                  <a:lnTo>
                    <a:pt x="894" y="367"/>
                  </a:lnTo>
                  <a:lnTo>
                    <a:pt x="888" y="346"/>
                  </a:lnTo>
                  <a:lnTo>
                    <a:pt x="881" y="327"/>
                  </a:lnTo>
                  <a:lnTo>
                    <a:pt x="874" y="308"/>
                  </a:lnTo>
                  <a:lnTo>
                    <a:pt x="867" y="290"/>
                  </a:lnTo>
                  <a:lnTo>
                    <a:pt x="858" y="272"/>
                  </a:lnTo>
                  <a:lnTo>
                    <a:pt x="848" y="253"/>
                  </a:lnTo>
                  <a:lnTo>
                    <a:pt x="838" y="237"/>
                  </a:lnTo>
                  <a:lnTo>
                    <a:pt x="828" y="219"/>
                  </a:lnTo>
                  <a:lnTo>
                    <a:pt x="816" y="204"/>
                  </a:lnTo>
                  <a:lnTo>
                    <a:pt x="803" y="189"/>
                  </a:lnTo>
                  <a:lnTo>
                    <a:pt x="791" y="174"/>
                  </a:lnTo>
                  <a:lnTo>
                    <a:pt x="777" y="161"/>
                  </a:lnTo>
                  <a:lnTo>
                    <a:pt x="762" y="148"/>
                  </a:lnTo>
                  <a:lnTo>
                    <a:pt x="747" y="137"/>
                  </a:lnTo>
                  <a:lnTo>
                    <a:pt x="732" y="125"/>
                  </a:lnTo>
                  <a:lnTo>
                    <a:pt x="715" y="116"/>
                  </a:lnTo>
                  <a:lnTo>
                    <a:pt x="697" y="108"/>
                  </a:lnTo>
                  <a:lnTo>
                    <a:pt x="679" y="100"/>
                  </a:lnTo>
                  <a:lnTo>
                    <a:pt x="660" y="94"/>
                  </a:lnTo>
                  <a:lnTo>
                    <a:pt x="640" y="90"/>
                  </a:lnTo>
                  <a:lnTo>
                    <a:pt x="619" y="86"/>
                  </a:lnTo>
                  <a:lnTo>
                    <a:pt x="598" y="83"/>
                  </a:lnTo>
                  <a:lnTo>
                    <a:pt x="575" y="82"/>
                  </a:lnTo>
                  <a:lnTo>
                    <a:pt x="575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6" name="Freeform 19"/>
            <p:cNvSpPr>
              <a:spLocks/>
            </p:cNvSpPr>
            <p:nvPr userDrawn="1"/>
          </p:nvSpPr>
          <p:spPr bwMode="auto">
            <a:xfrm>
              <a:off x="6593136" y="893929"/>
              <a:ext cx="90488" cy="144463"/>
            </a:xfrm>
            <a:custGeom>
              <a:avLst/>
              <a:gdLst>
                <a:gd name="T0" fmla="*/ 38 w 683"/>
                <a:gd name="T1" fmla="*/ 752 h 1102"/>
                <a:gd name="T2" fmla="*/ 64 w 683"/>
                <a:gd name="T3" fmla="*/ 849 h 1102"/>
                <a:gd name="T4" fmla="*/ 104 w 683"/>
                <a:gd name="T5" fmla="*/ 921 h 1102"/>
                <a:gd name="T6" fmla="*/ 171 w 683"/>
                <a:gd name="T7" fmla="*/ 985 h 1102"/>
                <a:gd name="T8" fmla="*/ 273 w 683"/>
                <a:gd name="T9" fmla="*/ 1026 h 1102"/>
                <a:gd name="T10" fmla="*/ 377 w 683"/>
                <a:gd name="T11" fmla="*/ 1032 h 1102"/>
                <a:gd name="T12" fmla="*/ 476 w 683"/>
                <a:gd name="T13" fmla="*/ 1002 h 1102"/>
                <a:gd name="T14" fmla="*/ 544 w 683"/>
                <a:gd name="T15" fmla="*/ 937 h 1102"/>
                <a:gd name="T16" fmla="*/ 570 w 683"/>
                <a:gd name="T17" fmla="*/ 844 h 1102"/>
                <a:gd name="T18" fmla="*/ 556 w 683"/>
                <a:gd name="T19" fmla="*/ 787 h 1102"/>
                <a:gd name="T20" fmla="*/ 501 w 683"/>
                <a:gd name="T21" fmla="*/ 720 h 1102"/>
                <a:gd name="T22" fmla="*/ 413 w 683"/>
                <a:gd name="T23" fmla="*/ 659 h 1102"/>
                <a:gd name="T24" fmla="*/ 168 w 683"/>
                <a:gd name="T25" fmla="*/ 529 h 1102"/>
                <a:gd name="T26" fmla="*/ 86 w 683"/>
                <a:gd name="T27" fmla="*/ 455 h 1102"/>
                <a:gd name="T28" fmla="*/ 30 w 683"/>
                <a:gd name="T29" fmla="*/ 358 h 1102"/>
                <a:gd name="T30" fmla="*/ 14 w 683"/>
                <a:gd name="T31" fmla="*/ 265 h 1102"/>
                <a:gd name="T32" fmla="*/ 23 w 683"/>
                <a:gd name="T33" fmla="*/ 201 h 1102"/>
                <a:gd name="T34" fmla="*/ 46 w 683"/>
                <a:gd name="T35" fmla="*/ 142 h 1102"/>
                <a:gd name="T36" fmla="*/ 85 w 683"/>
                <a:gd name="T37" fmla="*/ 92 h 1102"/>
                <a:gd name="T38" fmla="*/ 136 w 683"/>
                <a:gd name="T39" fmla="*/ 52 h 1102"/>
                <a:gd name="T40" fmla="*/ 199 w 683"/>
                <a:gd name="T41" fmla="*/ 24 h 1102"/>
                <a:gd name="T42" fmla="*/ 269 w 683"/>
                <a:gd name="T43" fmla="*/ 9 h 1102"/>
                <a:gd name="T44" fmla="*/ 337 w 683"/>
                <a:gd name="T45" fmla="*/ 10 h 1102"/>
                <a:gd name="T46" fmla="*/ 411 w 683"/>
                <a:gd name="T47" fmla="*/ 25 h 1102"/>
                <a:gd name="T48" fmla="*/ 511 w 683"/>
                <a:gd name="T49" fmla="*/ 79 h 1102"/>
                <a:gd name="T50" fmla="*/ 540 w 683"/>
                <a:gd name="T51" fmla="*/ 46 h 1102"/>
                <a:gd name="T52" fmla="*/ 595 w 683"/>
                <a:gd name="T53" fmla="*/ 0 h 1102"/>
                <a:gd name="T54" fmla="*/ 553 w 683"/>
                <a:gd name="T55" fmla="*/ 326 h 1102"/>
                <a:gd name="T56" fmla="*/ 512 w 683"/>
                <a:gd name="T57" fmla="*/ 200 h 1102"/>
                <a:gd name="T58" fmla="*/ 473 w 683"/>
                <a:gd name="T59" fmla="*/ 145 h 1102"/>
                <a:gd name="T60" fmla="*/ 420 w 683"/>
                <a:gd name="T61" fmla="*/ 106 h 1102"/>
                <a:gd name="T62" fmla="*/ 348 w 683"/>
                <a:gd name="T63" fmla="*/ 82 h 1102"/>
                <a:gd name="T64" fmla="*/ 277 w 683"/>
                <a:gd name="T65" fmla="*/ 78 h 1102"/>
                <a:gd name="T66" fmla="*/ 200 w 683"/>
                <a:gd name="T67" fmla="*/ 104 h 1102"/>
                <a:gd name="T68" fmla="*/ 148 w 683"/>
                <a:gd name="T69" fmla="*/ 158 h 1102"/>
                <a:gd name="T70" fmla="*/ 128 w 683"/>
                <a:gd name="T71" fmla="*/ 231 h 1102"/>
                <a:gd name="T72" fmla="*/ 139 w 683"/>
                <a:gd name="T73" fmla="*/ 292 h 1102"/>
                <a:gd name="T74" fmla="*/ 191 w 683"/>
                <a:gd name="T75" fmla="*/ 355 h 1102"/>
                <a:gd name="T76" fmla="*/ 287 w 683"/>
                <a:gd name="T77" fmla="*/ 417 h 1102"/>
                <a:gd name="T78" fmla="*/ 548 w 683"/>
                <a:gd name="T79" fmla="*/ 556 h 1102"/>
                <a:gd name="T80" fmla="*/ 631 w 683"/>
                <a:gd name="T81" fmla="*/ 633 h 1102"/>
                <a:gd name="T82" fmla="*/ 674 w 683"/>
                <a:gd name="T83" fmla="*/ 720 h 1102"/>
                <a:gd name="T84" fmla="*/ 683 w 683"/>
                <a:gd name="T85" fmla="*/ 792 h 1102"/>
                <a:gd name="T86" fmla="*/ 673 w 683"/>
                <a:gd name="T87" fmla="*/ 874 h 1102"/>
                <a:gd name="T88" fmla="*/ 643 w 683"/>
                <a:gd name="T89" fmla="*/ 947 h 1102"/>
                <a:gd name="T90" fmla="*/ 597 w 683"/>
                <a:gd name="T91" fmla="*/ 1007 h 1102"/>
                <a:gd name="T92" fmla="*/ 536 w 683"/>
                <a:gd name="T93" fmla="*/ 1053 h 1102"/>
                <a:gd name="T94" fmla="*/ 466 w 683"/>
                <a:gd name="T95" fmla="*/ 1085 h 1102"/>
                <a:gd name="T96" fmla="*/ 387 w 683"/>
                <a:gd name="T97" fmla="*/ 1100 h 1102"/>
                <a:gd name="T98" fmla="*/ 307 w 683"/>
                <a:gd name="T99" fmla="*/ 1099 h 1102"/>
                <a:gd name="T100" fmla="*/ 208 w 683"/>
                <a:gd name="T101" fmla="*/ 1073 h 1102"/>
                <a:gd name="T102" fmla="*/ 95 w 683"/>
                <a:gd name="T103" fmla="*/ 1024 h 1102"/>
                <a:gd name="T104" fmla="*/ 62 w 683"/>
                <a:gd name="T105" fmla="*/ 1044 h 1102"/>
                <a:gd name="T106" fmla="*/ 35 w 683"/>
                <a:gd name="T107" fmla="*/ 110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3" h="1102">
                  <a:moveTo>
                    <a:pt x="0" y="723"/>
                  </a:moveTo>
                  <a:lnTo>
                    <a:pt x="36" y="723"/>
                  </a:lnTo>
                  <a:lnTo>
                    <a:pt x="36" y="723"/>
                  </a:lnTo>
                  <a:lnTo>
                    <a:pt x="37" y="736"/>
                  </a:lnTo>
                  <a:lnTo>
                    <a:pt x="38" y="752"/>
                  </a:lnTo>
                  <a:lnTo>
                    <a:pt x="41" y="771"/>
                  </a:lnTo>
                  <a:lnTo>
                    <a:pt x="46" y="795"/>
                  </a:lnTo>
                  <a:lnTo>
                    <a:pt x="54" y="821"/>
                  </a:lnTo>
                  <a:lnTo>
                    <a:pt x="59" y="835"/>
                  </a:lnTo>
                  <a:lnTo>
                    <a:pt x="64" y="849"/>
                  </a:lnTo>
                  <a:lnTo>
                    <a:pt x="70" y="863"/>
                  </a:lnTo>
                  <a:lnTo>
                    <a:pt x="77" y="878"/>
                  </a:lnTo>
                  <a:lnTo>
                    <a:pt x="84" y="893"/>
                  </a:lnTo>
                  <a:lnTo>
                    <a:pt x="93" y="907"/>
                  </a:lnTo>
                  <a:lnTo>
                    <a:pt x="104" y="921"/>
                  </a:lnTo>
                  <a:lnTo>
                    <a:pt x="115" y="935"/>
                  </a:lnTo>
                  <a:lnTo>
                    <a:pt x="127" y="948"/>
                  </a:lnTo>
                  <a:lnTo>
                    <a:pt x="140" y="961"/>
                  </a:lnTo>
                  <a:lnTo>
                    <a:pt x="155" y="974"/>
                  </a:lnTo>
                  <a:lnTo>
                    <a:pt x="171" y="985"/>
                  </a:lnTo>
                  <a:lnTo>
                    <a:pt x="189" y="995"/>
                  </a:lnTo>
                  <a:lnTo>
                    <a:pt x="207" y="1004"/>
                  </a:lnTo>
                  <a:lnTo>
                    <a:pt x="227" y="1012"/>
                  </a:lnTo>
                  <a:lnTo>
                    <a:pt x="250" y="1020"/>
                  </a:lnTo>
                  <a:lnTo>
                    <a:pt x="273" y="1026"/>
                  </a:lnTo>
                  <a:lnTo>
                    <a:pt x="298" y="1030"/>
                  </a:lnTo>
                  <a:lnTo>
                    <a:pt x="326" y="1032"/>
                  </a:lnTo>
                  <a:lnTo>
                    <a:pt x="354" y="1033"/>
                  </a:lnTo>
                  <a:lnTo>
                    <a:pt x="354" y="1033"/>
                  </a:lnTo>
                  <a:lnTo>
                    <a:pt x="377" y="1032"/>
                  </a:lnTo>
                  <a:lnTo>
                    <a:pt x="398" y="1030"/>
                  </a:lnTo>
                  <a:lnTo>
                    <a:pt x="420" y="1025"/>
                  </a:lnTo>
                  <a:lnTo>
                    <a:pt x="439" y="1019"/>
                  </a:lnTo>
                  <a:lnTo>
                    <a:pt x="458" y="1011"/>
                  </a:lnTo>
                  <a:lnTo>
                    <a:pt x="476" y="1002"/>
                  </a:lnTo>
                  <a:lnTo>
                    <a:pt x="492" y="992"/>
                  </a:lnTo>
                  <a:lnTo>
                    <a:pt x="508" y="980"/>
                  </a:lnTo>
                  <a:lnTo>
                    <a:pt x="522" y="966"/>
                  </a:lnTo>
                  <a:lnTo>
                    <a:pt x="533" y="952"/>
                  </a:lnTo>
                  <a:lnTo>
                    <a:pt x="544" y="937"/>
                  </a:lnTo>
                  <a:lnTo>
                    <a:pt x="553" y="919"/>
                  </a:lnTo>
                  <a:lnTo>
                    <a:pt x="560" y="902"/>
                  </a:lnTo>
                  <a:lnTo>
                    <a:pt x="565" y="884"/>
                  </a:lnTo>
                  <a:lnTo>
                    <a:pt x="569" y="864"/>
                  </a:lnTo>
                  <a:lnTo>
                    <a:pt x="570" y="844"/>
                  </a:lnTo>
                  <a:lnTo>
                    <a:pt x="570" y="844"/>
                  </a:lnTo>
                  <a:lnTo>
                    <a:pt x="569" y="828"/>
                  </a:lnTo>
                  <a:lnTo>
                    <a:pt x="566" y="814"/>
                  </a:lnTo>
                  <a:lnTo>
                    <a:pt x="562" y="800"/>
                  </a:lnTo>
                  <a:lnTo>
                    <a:pt x="556" y="787"/>
                  </a:lnTo>
                  <a:lnTo>
                    <a:pt x="547" y="772"/>
                  </a:lnTo>
                  <a:lnTo>
                    <a:pt x="538" y="759"/>
                  </a:lnTo>
                  <a:lnTo>
                    <a:pt x="527" y="746"/>
                  </a:lnTo>
                  <a:lnTo>
                    <a:pt x="515" y="732"/>
                  </a:lnTo>
                  <a:lnTo>
                    <a:pt x="501" y="720"/>
                  </a:lnTo>
                  <a:lnTo>
                    <a:pt x="486" y="707"/>
                  </a:lnTo>
                  <a:lnTo>
                    <a:pt x="470" y="695"/>
                  </a:lnTo>
                  <a:lnTo>
                    <a:pt x="452" y="682"/>
                  </a:lnTo>
                  <a:lnTo>
                    <a:pt x="434" y="670"/>
                  </a:lnTo>
                  <a:lnTo>
                    <a:pt x="413" y="659"/>
                  </a:lnTo>
                  <a:lnTo>
                    <a:pt x="372" y="634"/>
                  </a:lnTo>
                  <a:lnTo>
                    <a:pt x="206" y="550"/>
                  </a:lnTo>
                  <a:lnTo>
                    <a:pt x="206" y="550"/>
                  </a:lnTo>
                  <a:lnTo>
                    <a:pt x="186" y="540"/>
                  </a:lnTo>
                  <a:lnTo>
                    <a:pt x="168" y="529"/>
                  </a:lnTo>
                  <a:lnTo>
                    <a:pt x="151" y="516"/>
                  </a:lnTo>
                  <a:lnTo>
                    <a:pt x="133" y="502"/>
                  </a:lnTo>
                  <a:lnTo>
                    <a:pt x="117" y="488"/>
                  </a:lnTo>
                  <a:lnTo>
                    <a:pt x="101" y="472"/>
                  </a:lnTo>
                  <a:lnTo>
                    <a:pt x="86" y="455"/>
                  </a:lnTo>
                  <a:lnTo>
                    <a:pt x="72" y="438"/>
                  </a:lnTo>
                  <a:lnTo>
                    <a:pt x="60" y="419"/>
                  </a:lnTo>
                  <a:lnTo>
                    <a:pt x="48" y="400"/>
                  </a:lnTo>
                  <a:lnTo>
                    <a:pt x="38" y="380"/>
                  </a:lnTo>
                  <a:lnTo>
                    <a:pt x="30" y="358"/>
                  </a:lnTo>
                  <a:lnTo>
                    <a:pt x="23" y="336"/>
                  </a:lnTo>
                  <a:lnTo>
                    <a:pt x="18" y="313"/>
                  </a:lnTo>
                  <a:lnTo>
                    <a:pt x="15" y="290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5" y="252"/>
                  </a:lnTo>
                  <a:lnTo>
                    <a:pt x="16" y="240"/>
                  </a:lnTo>
                  <a:lnTo>
                    <a:pt x="17" y="226"/>
                  </a:lnTo>
                  <a:lnTo>
                    <a:pt x="20" y="213"/>
                  </a:lnTo>
                  <a:lnTo>
                    <a:pt x="23" y="201"/>
                  </a:lnTo>
                  <a:lnTo>
                    <a:pt x="26" y="188"/>
                  </a:lnTo>
                  <a:lnTo>
                    <a:pt x="30" y="177"/>
                  </a:lnTo>
                  <a:lnTo>
                    <a:pt x="35" y="165"/>
                  </a:lnTo>
                  <a:lnTo>
                    <a:pt x="40" y="154"/>
                  </a:lnTo>
                  <a:lnTo>
                    <a:pt x="46" y="142"/>
                  </a:lnTo>
                  <a:lnTo>
                    <a:pt x="54" y="132"/>
                  </a:lnTo>
                  <a:lnTo>
                    <a:pt x="61" y="121"/>
                  </a:lnTo>
                  <a:lnTo>
                    <a:pt x="68" y="112"/>
                  </a:lnTo>
                  <a:lnTo>
                    <a:pt x="76" y="101"/>
                  </a:lnTo>
                  <a:lnTo>
                    <a:pt x="85" y="92"/>
                  </a:lnTo>
                  <a:lnTo>
                    <a:pt x="94" y="83"/>
                  </a:lnTo>
                  <a:lnTo>
                    <a:pt x="105" y="75"/>
                  </a:lnTo>
                  <a:lnTo>
                    <a:pt x="115" y="67"/>
                  </a:lnTo>
                  <a:lnTo>
                    <a:pt x="125" y="60"/>
                  </a:lnTo>
                  <a:lnTo>
                    <a:pt x="136" y="52"/>
                  </a:lnTo>
                  <a:lnTo>
                    <a:pt x="148" y="45"/>
                  </a:lnTo>
                  <a:lnTo>
                    <a:pt x="160" y="39"/>
                  </a:lnTo>
                  <a:lnTo>
                    <a:pt x="172" y="34"/>
                  </a:lnTo>
                  <a:lnTo>
                    <a:pt x="185" y="29"/>
                  </a:lnTo>
                  <a:lnTo>
                    <a:pt x="199" y="24"/>
                  </a:lnTo>
                  <a:lnTo>
                    <a:pt x="212" y="20"/>
                  </a:lnTo>
                  <a:lnTo>
                    <a:pt x="225" y="17"/>
                  </a:lnTo>
                  <a:lnTo>
                    <a:pt x="240" y="14"/>
                  </a:lnTo>
                  <a:lnTo>
                    <a:pt x="255" y="12"/>
                  </a:lnTo>
                  <a:lnTo>
                    <a:pt x="269" y="9"/>
                  </a:lnTo>
                  <a:lnTo>
                    <a:pt x="285" y="8"/>
                  </a:lnTo>
                  <a:lnTo>
                    <a:pt x="300" y="8"/>
                  </a:lnTo>
                  <a:lnTo>
                    <a:pt x="300" y="8"/>
                  </a:lnTo>
                  <a:lnTo>
                    <a:pt x="319" y="8"/>
                  </a:lnTo>
                  <a:lnTo>
                    <a:pt x="337" y="10"/>
                  </a:lnTo>
                  <a:lnTo>
                    <a:pt x="353" y="12"/>
                  </a:lnTo>
                  <a:lnTo>
                    <a:pt x="368" y="15"/>
                  </a:lnTo>
                  <a:lnTo>
                    <a:pt x="384" y="18"/>
                  </a:lnTo>
                  <a:lnTo>
                    <a:pt x="398" y="21"/>
                  </a:lnTo>
                  <a:lnTo>
                    <a:pt x="411" y="25"/>
                  </a:lnTo>
                  <a:lnTo>
                    <a:pt x="425" y="30"/>
                  </a:lnTo>
                  <a:lnTo>
                    <a:pt x="448" y="40"/>
                  </a:lnTo>
                  <a:lnTo>
                    <a:pt x="471" y="52"/>
                  </a:lnTo>
                  <a:lnTo>
                    <a:pt x="491" y="66"/>
                  </a:lnTo>
                  <a:lnTo>
                    <a:pt x="511" y="79"/>
                  </a:lnTo>
                  <a:lnTo>
                    <a:pt x="511" y="79"/>
                  </a:lnTo>
                  <a:lnTo>
                    <a:pt x="519" y="73"/>
                  </a:lnTo>
                  <a:lnTo>
                    <a:pt x="526" y="65"/>
                  </a:lnTo>
                  <a:lnTo>
                    <a:pt x="533" y="57"/>
                  </a:lnTo>
                  <a:lnTo>
                    <a:pt x="540" y="46"/>
                  </a:lnTo>
                  <a:lnTo>
                    <a:pt x="546" y="36"/>
                  </a:lnTo>
                  <a:lnTo>
                    <a:pt x="553" y="25"/>
                  </a:lnTo>
                  <a:lnTo>
                    <a:pt x="557" y="13"/>
                  </a:lnTo>
                  <a:lnTo>
                    <a:pt x="561" y="0"/>
                  </a:lnTo>
                  <a:lnTo>
                    <a:pt x="595" y="0"/>
                  </a:lnTo>
                  <a:lnTo>
                    <a:pt x="595" y="380"/>
                  </a:lnTo>
                  <a:lnTo>
                    <a:pt x="559" y="380"/>
                  </a:lnTo>
                  <a:lnTo>
                    <a:pt x="559" y="380"/>
                  </a:lnTo>
                  <a:lnTo>
                    <a:pt x="557" y="353"/>
                  </a:lnTo>
                  <a:lnTo>
                    <a:pt x="553" y="326"/>
                  </a:lnTo>
                  <a:lnTo>
                    <a:pt x="547" y="300"/>
                  </a:lnTo>
                  <a:lnTo>
                    <a:pt x="541" y="274"/>
                  </a:lnTo>
                  <a:lnTo>
                    <a:pt x="533" y="249"/>
                  </a:lnTo>
                  <a:lnTo>
                    <a:pt x="523" y="223"/>
                  </a:lnTo>
                  <a:lnTo>
                    <a:pt x="512" y="200"/>
                  </a:lnTo>
                  <a:lnTo>
                    <a:pt x="504" y="187"/>
                  </a:lnTo>
                  <a:lnTo>
                    <a:pt x="497" y="177"/>
                  </a:lnTo>
                  <a:lnTo>
                    <a:pt x="490" y="166"/>
                  </a:lnTo>
                  <a:lnTo>
                    <a:pt x="482" y="156"/>
                  </a:lnTo>
                  <a:lnTo>
                    <a:pt x="473" y="145"/>
                  </a:lnTo>
                  <a:lnTo>
                    <a:pt x="464" y="136"/>
                  </a:lnTo>
                  <a:lnTo>
                    <a:pt x="453" y="128"/>
                  </a:lnTo>
                  <a:lnTo>
                    <a:pt x="443" y="120"/>
                  </a:lnTo>
                  <a:lnTo>
                    <a:pt x="431" y="112"/>
                  </a:lnTo>
                  <a:lnTo>
                    <a:pt x="420" y="106"/>
                  </a:lnTo>
                  <a:lnTo>
                    <a:pt x="406" y="99"/>
                  </a:lnTo>
                  <a:lnTo>
                    <a:pt x="393" y="93"/>
                  </a:lnTo>
                  <a:lnTo>
                    <a:pt x="379" y="89"/>
                  </a:lnTo>
                  <a:lnTo>
                    <a:pt x="363" y="85"/>
                  </a:lnTo>
                  <a:lnTo>
                    <a:pt x="348" y="82"/>
                  </a:lnTo>
                  <a:lnTo>
                    <a:pt x="331" y="79"/>
                  </a:lnTo>
                  <a:lnTo>
                    <a:pt x="313" y="78"/>
                  </a:lnTo>
                  <a:lnTo>
                    <a:pt x="295" y="78"/>
                  </a:lnTo>
                  <a:lnTo>
                    <a:pt x="295" y="78"/>
                  </a:lnTo>
                  <a:lnTo>
                    <a:pt x="277" y="78"/>
                  </a:lnTo>
                  <a:lnTo>
                    <a:pt x="260" y="81"/>
                  </a:lnTo>
                  <a:lnTo>
                    <a:pt x="244" y="84"/>
                  </a:lnTo>
                  <a:lnTo>
                    <a:pt x="228" y="89"/>
                  </a:lnTo>
                  <a:lnTo>
                    <a:pt x="214" y="95"/>
                  </a:lnTo>
                  <a:lnTo>
                    <a:pt x="200" y="104"/>
                  </a:lnTo>
                  <a:lnTo>
                    <a:pt x="188" y="112"/>
                  </a:lnTo>
                  <a:lnTo>
                    <a:pt x="175" y="122"/>
                  </a:lnTo>
                  <a:lnTo>
                    <a:pt x="165" y="133"/>
                  </a:lnTo>
                  <a:lnTo>
                    <a:pt x="156" y="144"/>
                  </a:lnTo>
                  <a:lnTo>
                    <a:pt x="148" y="158"/>
                  </a:lnTo>
                  <a:lnTo>
                    <a:pt x="140" y="171"/>
                  </a:lnTo>
                  <a:lnTo>
                    <a:pt x="135" y="185"/>
                  </a:lnTo>
                  <a:lnTo>
                    <a:pt x="131" y="200"/>
                  </a:lnTo>
                  <a:lnTo>
                    <a:pt x="128" y="215"/>
                  </a:lnTo>
                  <a:lnTo>
                    <a:pt x="128" y="231"/>
                  </a:lnTo>
                  <a:lnTo>
                    <a:pt x="128" y="231"/>
                  </a:lnTo>
                  <a:lnTo>
                    <a:pt x="128" y="248"/>
                  </a:lnTo>
                  <a:lnTo>
                    <a:pt x="131" y="263"/>
                  </a:lnTo>
                  <a:lnTo>
                    <a:pt x="134" y="277"/>
                  </a:lnTo>
                  <a:lnTo>
                    <a:pt x="139" y="292"/>
                  </a:lnTo>
                  <a:lnTo>
                    <a:pt x="147" y="305"/>
                  </a:lnTo>
                  <a:lnTo>
                    <a:pt x="155" y="317"/>
                  </a:lnTo>
                  <a:lnTo>
                    <a:pt x="165" y="331"/>
                  </a:lnTo>
                  <a:lnTo>
                    <a:pt x="177" y="343"/>
                  </a:lnTo>
                  <a:lnTo>
                    <a:pt x="191" y="355"/>
                  </a:lnTo>
                  <a:lnTo>
                    <a:pt x="206" y="366"/>
                  </a:lnTo>
                  <a:lnTo>
                    <a:pt x="223" y="379"/>
                  </a:lnTo>
                  <a:lnTo>
                    <a:pt x="242" y="392"/>
                  </a:lnTo>
                  <a:lnTo>
                    <a:pt x="263" y="404"/>
                  </a:lnTo>
                  <a:lnTo>
                    <a:pt x="287" y="417"/>
                  </a:lnTo>
                  <a:lnTo>
                    <a:pt x="339" y="445"/>
                  </a:lnTo>
                  <a:lnTo>
                    <a:pt x="502" y="530"/>
                  </a:lnTo>
                  <a:lnTo>
                    <a:pt x="502" y="530"/>
                  </a:lnTo>
                  <a:lnTo>
                    <a:pt x="526" y="542"/>
                  </a:lnTo>
                  <a:lnTo>
                    <a:pt x="548" y="556"/>
                  </a:lnTo>
                  <a:lnTo>
                    <a:pt x="568" y="571"/>
                  </a:lnTo>
                  <a:lnTo>
                    <a:pt x="586" y="585"/>
                  </a:lnTo>
                  <a:lnTo>
                    <a:pt x="603" y="601"/>
                  </a:lnTo>
                  <a:lnTo>
                    <a:pt x="618" y="617"/>
                  </a:lnTo>
                  <a:lnTo>
                    <a:pt x="631" y="633"/>
                  </a:lnTo>
                  <a:lnTo>
                    <a:pt x="643" y="651"/>
                  </a:lnTo>
                  <a:lnTo>
                    <a:pt x="653" y="667"/>
                  </a:lnTo>
                  <a:lnTo>
                    <a:pt x="661" y="684"/>
                  </a:lnTo>
                  <a:lnTo>
                    <a:pt x="668" y="703"/>
                  </a:lnTo>
                  <a:lnTo>
                    <a:pt x="674" y="720"/>
                  </a:lnTo>
                  <a:lnTo>
                    <a:pt x="678" y="738"/>
                  </a:lnTo>
                  <a:lnTo>
                    <a:pt x="681" y="756"/>
                  </a:lnTo>
                  <a:lnTo>
                    <a:pt x="682" y="774"/>
                  </a:lnTo>
                  <a:lnTo>
                    <a:pt x="683" y="792"/>
                  </a:lnTo>
                  <a:lnTo>
                    <a:pt x="683" y="792"/>
                  </a:lnTo>
                  <a:lnTo>
                    <a:pt x="683" y="809"/>
                  </a:lnTo>
                  <a:lnTo>
                    <a:pt x="681" y="826"/>
                  </a:lnTo>
                  <a:lnTo>
                    <a:pt x="679" y="843"/>
                  </a:lnTo>
                  <a:lnTo>
                    <a:pt x="676" y="859"/>
                  </a:lnTo>
                  <a:lnTo>
                    <a:pt x="673" y="874"/>
                  </a:lnTo>
                  <a:lnTo>
                    <a:pt x="668" y="890"/>
                  </a:lnTo>
                  <a:lnTo>
                    <a:pt x="663" y="905"/>
                  </a:lnTo>
                  <a:lnTo>
                    <a:pt x="657" y="919"/>
                  </a:lnTo>
                  <a:lnTo>
                    <a:pt x="650" y="934"/>
                  </a:lnTo>
                  <a:lnTo>
                    <a:pt x="643" y="947"/>
                  </a:lnTo>
                  <a:lnTo>
                    <a:pt x="634" y="960"/>
                  </a:lnTo>
                  <a:lnTo>
                    <a:pt x="626" y="973"/>
                  </a:lnTo>
                  <a:lnTo>
                    <a:pt x="617" y="985"/>
                  </a:lnTo>
                  <a:lnTo>
                    <a:pt x="607" y="996"/>
                  </a:lnTo>
                  <a:lnTo>
                    <a:pt x="597" y="1007"/>
                  </a:lnTo>
                  <a:lnTo>
                    <a:pt x="585" y="1018"/>
                  </a:lnTo>
                  <a:lnTo>
                    <a:pt x="574" y="1028"/>
                  </a:lnTo>
                  <a:lnTo>
                    <a:pt x="562" y="1037"/>
                  </a:lnTo>
                  <a:lnTo>
                    <a:pt x="549" y="1045"/>
                  </a:lnTo>
                  <a:lnTo>
                    <a:pt x="536" y="1053"/>
                  </a:lnTo>
                  <a:lnTo>
                    <a:pt x="523" y="1062"/>
                  </a:lnTo>
                  <a:lnTo>
                    <a:pt x="509" y="1068"/>
                  </a:lnTo>
                  <a:lnTo>
                    <a:pt x="495" y="1075"/>
                  </a:lnTo>
                  <a:lnTo>
                    <a:pt x="480" y="1080"/>
                  </a:lnTo>
                  <a:lnTo>
                    <a:pt x="466" y="1085"/>
                  </a:lnTo>
                  <a:lnTo>
                    <a:pt x="450" y="1089"/>
                  </a:lnTo>
                  <a:lnTo>
                    <a:pt x="435" y="1093"/>
                  </a:lnTo>
                  <a:lnTo>
                    <a:pt x="419" y="1096"/>
                  </a:lnTo>
                  <a:lnTo>
                    <a:pt x="403" y="1099"/>
                  </a:lnTo>
                  <a:lnTo>
                    <a:pt x="387" y="1100"/>
                  </a:lnTo>
                  <a:lnTo>
                    <a:pt x="371" y="1101"/>
                  </a:lnTo>
                  <a:lnTo>
                    <a:pt x="354" y="1102"/>
                  </a:lnTo>
                  <a:lnTo>
                    <a:pt x="354" y="1102"/>
                  </a:lnTo>
                  <a:lnTo>
                    <a:pt x="330" y="1101"/>
                  </a:lnTo>
                  <a:lnTo>
                    <a:pt x="307" y="1099"/>
                  </a:lnTo>
                  <a:lnTo>
                    <a:pt x="285" y="1095"/>
                  </a:lnTo>
                  <a:lnTo>
                    <a:pt x="264" y="1091"/>
                  </a:lnTo>
                  <a:lnTo>
                    <a:pt x="245" y="1086"/>
                  </a:lnTo>
                  <a:lnTo>
                    <a:pt x="225" y="1080"/>
                  </a:lnTo>
                  <a:lnTo>
                    <a:pt x="208" y="1073"/>
                  </a:lnTo>
                  <a:lnTo>
                    <a:pt x="191" y="1067"/>
                  </a:lnTo>
                  <a:lnTo>
                    <a:pt x="160" y="1052"/>
                  </a:lnTo>
                  <a:lnTo>
                    <a:pt x="131" y="1039"/>
                  </a:lnTo>
                  <a:lnTo>
                    <a:pt x="107" y="1028"/>
                  </a:lnTo>
                  <a:lnTo>
                    <a:pt x="95" y="1024"/>
                  </a:lnTo>
                  <a:lnTo>
                    <a:pt x="85" y="1021"/>
                  </a:lnTo>
                  <a:lnTo>
                    <a:pt x="85" y="1021"/>
                  </a:lnTo>
                  <a:lnTo>
                    <a:pt x="77" y="1028"/>
                  </a:lnTo>
                  <a:lnTo>
                    <a:pt x="70" y="1036"/>
                  </a:lnTo>
                  <a:lnTo>
                    <a:pt x="62" y="1044"/>
                  </a:lnTo>
                  <a:lnTo>
                    <a:pt x="56" y="1053"/>
                  </a:lnTo>
                  <a:lnTo>
                    <a:pt x="48" y="1065"/>
                  </a:lnTo>
                  <a:lnTo>
                    <a:pt x="43" y="1076"/>
                  </a:lnTo>
                  <a:lnTo>
                    <a:pt x="38" y="1088"/>
                  </a:lnTo>
                  <a:lnTo>
                    <a:pt x="35" y="1102"/>
                  </a:lnTo>
                  <a:lnTo>
                    <a:pt x="0" y="1102"/>
                  </a:lnTo>
                  <a:lnTo>
                    <a:pt x="0" y="7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7" name="Freeform 20"/>
            <p:cNvSpPr>
              <a:spLocks/>
            </p:cNvSpPr>
            <p:nvPr userDrawn="1"/>
          </p:nvSpPr>
          <p:spPr bwMode="auto">
            <a:xfrm>
              <a:off x="6712198" y="898692"/>
              <a:ext cx="141288" cy="136525"/>
            </a:xfrm>
            <a:custGeom>
              <a:avLst/>
              <a:gdLst>
                <a:gd name="T0" fmla="*/ 304 w 1077"/>
                <a:gd name="T1" fmla="*/ 999 h 1035"/>
                <a:gd name="T2" fmla="*/ 352 w 1077"/>
                <a:gd name="T3" fmla="*/ 997 h 1035"/>
                <a:gd name="T4" fmla="*/ 390 w 1077"/>
                <a:gd name="T5" fmla="*/ 991 h 1035"/>
                <a:gd name="T6" fmla="*/ 419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8 w 1077"/>
                <a:gd name="T13" fmla="*/ 951 h 1035"/>
                <a:gd name="T14" fmla="*/ 460 w 1077"/>
                <a:gd name="T15" fmla="*/ 920 h 1035"/>
                <a:gd name="T16" fmla="*/ 466 w 1077"/>
                <a:gd name="T17" fmla="*/ 879 h 1035"/>
                <a:gd name="T18" fmla="*/ 469 w 1077"/>
                <a:gd name="T19" fmla="*/ 827 h 1035"/>
                <a:gd name="T20" fmla="*/ 469 w 1077"/>
                <a:gd name="T21" fmla="*/ 68 h 1035"/>
                <a:gd name="T22" fmla="*/ 245 w 1077"/>
                <a:gd name="T23" fmla="*/ 68 h 1035"/>
                <a:gd name="T24" fmla="*/ 192 w 1077"/>
                <a:gd name="T25" fmla="*/ 69 h 1035"/>
                <a:gd name="T26" fmla="*/ 150 w 1077"/>
                <a:gd name="T27" fmla="*/ 75 h 1035"/>
                <a:gd name="T28" fmla="*/ 119 w 1077"/>
                <a:gd name="T29" fmla="*/ 85 h 1035"/>
                <a:gd name="T30" fmla="*/ 94 w 1077"/>
                <a:gd name="T31" fmla="*/ 98 h 1035"/>
                <a:gd name="T32" fmla="*/ 77 w 1077"/>
                <a:gd name="T33" fmla="*/ 117 h 1035"/>
                <a:gd name="T34" fmla="*/ 64 w 1077"/>
                <a:gd name="T35" fmla="*/ 139 h 1035"/>
                <a:gd name="T36" fmla="*/ 54 w 1077"/>
                <a:gd name="T37" fmla="*/ 167 h 1035"/>
                <a:gd name="T38" fmla="*/ 37 w 1077"/>
                <a:gd name="T39" fmla="*/ 233 h 1035"/>
                <a:gd name="T40" fmla="*/ 15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3 w 1077"/>
                <a:gd name="T47" fmla="*/ 167 h 1035"/>
                <a:gd name="T48" fmla="*/ 1012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58 w 1077"/>
                <a:gd name="T55" fmla="*/ 85 h 1035"/>
                <a:gd name="T56" fmla="*/ 926 w 1077"/>
                <a:gd name="T57" fmla="*/ 75 h 1035"/>
                <a:gd name="T58" fmla="*/ 884 w 1077"/>
                <a:gd name="T59" fmla="*/ 69 h 1035"/>
                <a:gd name="T60" fmla="*/ 831 w 1077"/>
                <a:gd name="T61" fmla="*/ 68 h 1035"/>
                <a:gd name="T62" fmla="*/ 607 w 1077"/>
                <a:gd name="T63" fmla="*/ 797 h 1035"/>
                <a:gd name="T64" fmla="*/ 607 w 1077"/>
                <a:gd name="T65" fmla="*/ 827 h 1035"/>
                <a:gd name="T66" fmla="*/ 610 w 1077"/>
                <a:gd name="T67" fmla="*/ 879 h 1035"/>
                <a:gd name="T68" fmla="*/ 617 w 1077"/>
                <a:gd name="T69" fmla="*/ 920 h 1035"/>
                <a:gd name="T70" fmla="*/ 629 w 1077"/>
                <a:gd name="T71" fmla="*/ 951 h 1035"/>
                <a:gd name="T72" fmla="*/ 636 w 1077"/>
                <a:gd name="T73" fmla="*/ 962 h 1035"/>
                <a:gd name="T74" fmla="*/ 646 w 1077"/>
                <a:gd name="T75" fmla="*/ 972 h 1035"/>
                <a:gd name="T76" fmla="*/ 657 w 1077"/>
                <a:gd name="T77" fmla="*/ 981 h 1035"/>
                <a:gd name="T78" fmla="*/ 687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29" y="998"/>
                  </a:lnTo>
                  <a:lnTo>
                    <a:pt x="352" y="997"/>
                  </a:lnTo>
                  <a:lnTo>
                    <a:pt x="372" y="995"/>
                  </a:lnTo>
                  <a:lnTo>
                    <a:pt x="390" y="991"/>
                  </a:lnTo>
                  <a:lnTo>
                    <a:pt x="406" y="987"/>
                  </a:lnTo>
                  <a:lnTo>
                    <a:pt x="419" y="981"/>
                  </a:lnTo>
                  <a:lnTo>
                    <a:pt x="425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8" y="951"/>
                  </a:lnTo>
                  <a:lnTo>
                    <a:pt x="455" y="937"/>
                  </a:lnTo>
                  <a:lnTo>
                    <a:pt x="460" y="920"/>
                  </a:lnTo>
                  <a:lnTo>
                    <a:pt x="463" y="901"/>
                  </a:lnTo>
                  <a:lnTo>
                    <a:pt x="466" y="879"/>
                  </a:lnTo>
                  <a:lnTo>
                    <a:pt x="468" y="855"/>
                  </a:lnTo>
                  <a:lnTo>
                    <a:pt x="469" y="827"/>
                  </a:lnTo>
                  <a:lnTo>
                    <a:pt x="469" y="797"/>
                  </a:lnTo>
                  <a:lnTo>
                    <a:pt x="469" y="68"/>
                  </a:lnTo>
                  <a:lnTo>
                    <a:pt x="245" y="68"/>
                  </a:lnTo>
                  <a:lnTo>
                    <a:pt x="245" y="68"/>
                  </a:lnTo>
                  <a:lnTo>
                    <a:pt x="217" y="68"/>
                  </a:lnTo>
                  <a:lnTo>
                    <a:pt x="192" y="69"/>
                  </a:lnTo>
                  <a:lnTo>
                    <a:pt x="170" y="72"/>
                  </a:lnTo>
                  <a:lnTo>
                    <a:pt x="150" y="75"/>
                  </a:lnTo>
                  <a:lnTo>
                    <a:pt x="133" y="79"/>
                  </a:lnTo>
                  <a:lnTo>
                    <a:pt x="119" y="85"/>
                  </a:lnTo>
                  <a:lnTo>
                    <a:pt x="105" y="91"/>
                  </a:lnTo>
                  <a:lnTo>
                    <a:pt x="94" y="98"/>
                  </a:lnTo>
                  <a:lnTo>
                    <a:pt x="85" y="106"/>
                  </a:lnTo>
                  <a:lnTo>
                    <a:pt x="77" y="117"/>
                  </a:lnTo>
                  <a:lnTo>
                    <a:pt x="71" y="127"/>
                  </a:lnTo>
                  <a:lnTo>
                    <a:pt x="64" y="139"/>
                  </a:lnTo>
                  <a:lnTo>
                    <a:pt x="59" y="152"/>
                  </a:lnTo>
                  <a:lnTo>
                    <a:pt x="54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5" y="0"/>
                  </a:lnTo>
                  <a:lnTo>
                    <a:pt x="1061" y="0"/>
                  </a:lnTo>
                  <a:lnTo>
                    <a:pt x="1077" y="233"/>
                  </a:lnTo>
                  <a:lnTo>
                    <a:pt x="1040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3" y="167"/>
                  </a:lnTo>
                  <a:lnTo>
                    <a:pt x="1017" y="152"/>
                  </a:lnTo>
                  <a:lnTo>
                    <a:pt x="1012" y="139"/>
                  </a:lnTo>
                  <a:lnTo>
                    <a:pt x="1006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1" y="91"/>
                  </a:lnTo>
                  <a:lnTo>
                    <a:pt x="958" y="85"/>
                  </a:lnTo>
                  <a:lnTo>
                    <a:pt x="944" y="79"/>
                  </a:lnTo>
                  <a:lnTo>
                    <a:pt x="926" y="75"/>
                  </a:lnTo>
                  <a:lnTo>
                    <a:pt x="907" y="72"/>
                  </a:lnTo>
                  <a:lnTo>
                    <a:pt x="884" y="69"/>
                  </a:lnTo>
                  <a:lnTo>
                    <a:pt x="860" y="68"/>
                  </a:lnTo>
                  <a:lnTo>
                    <a:pt x="831" y="68"/>
                  </a:lnTo>
                  <a:lnTo>
                    <a:pt x="607" y="68"/>
                  </a:lnTo>
                  <a:lnTo>
                    <a:pt x="607" y="797"/>
                  </a:lnTo>
                  <a:lnTo>
                    <a:pt x="607" y="797"/>
                  </a:lnTo>
                  <a:lnTo>
                    <a:pt x="607" y="827"/>
                  </a:lnTo>
                  <a:lnTo>
                    <a:pt x="608" y="855"/>
                  </a:lnTo>
                  <a:lnTo>
                    <a:pt x="610" y="879"/>
                  </a:lnTo>
                  <a:lnTo>
                    <a:pt x="614" y="901"/>
                  </a:lnTo>
                  <a:lnTo>
                    <a:pt x="617" y="920"/>
                  </a:lnTo>
                  <a:lnTo>
                    <a:pt x="622" y="937"/>
                  </a:lnTo>
                  <a:lnTo>
                    <a:pt x="629" y="951"/>
                  </a:lnTo>
                  <a:lnTo>
                    <a:pt x="632" y="957"/>
                  </a:lnTo>
                  <a:lnTo>
                    <a:pt x="636" y="962"/>
                  </a:lnTo>
                  <a:lnTo>
                    <a:pt x="641" y="967"/>
                  </a:lnTo>
                  <a:lnTo>
                    <a:pt x="646" y="972"/>
                  </a:lnTo>
                  <a:lnTo>
                    <a:pt x="651" y="977"/>
                  </a:lnTo>
                  <a:lnTo>
                    <a:pt x="657" y="981"/>
                  </a:lnTo>
                  <a:lnTo>
                    <a:pt x="671" y="987"/>
                  </a:lnTo>
                  <a:lnTo>
                    <a:pt x="687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7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8" name="Freeform 21"/>
            <p:cNvSpPr>
              <a:spLocks noEditPoints="1"/>
            </p:cNvSpPr>
            <p:nvPr userDrawn="1"/>
          </p:nvSpPr>
          <p:spPr bwMode="auto">
            <a:xfrm>
              <a:off x="6851898" y="893929"/>
              <a:ext cx="157163" cy="141288"/>
            </a:xfrm>
            <a:custGeom>
              <a:avLst/>
              <a:gdLst>
                <a:gd name="T0" fmla="*/ 0 w 1196"/>
                <a:gd name="T1" fmla="*/ 1029 h 1065"/>
                <a:gd name="T2" fmla="*/ 48 w 1196"/>
                <a:gd name="T3" fmla="*/ 1027 h 1065"/>
                <a:gd name="T4" fmla="*/ 86 w 1196"/>
                <a:gd name="T5" fmla="*/ 1022 h 1065"/>
                <a:gd name="T6" fmla="*/ 115 w 1196"/>
                <a:gd name="T7" fmla="*/ 1013 h 1065"/>
                <a:gd name="T8" fmla="*/ 137 w 1196"/>
                <a:gd name="T9" fmla="*/ 999 h 1065"/>
                <a:gd name="T10" fmla="*/ 156 w 1196"/>
                <a:gd name="T11" fmla="*/ 979 h 1065"/>
                <a:gd name="T12" fmla="*/ 172 w 1196"/>
                <a:gd name="T13" fmla="*/ 953 h 1065"/>
                <a:gd name="T14" fmla="*/ 188 w 1196"/>
                <a:gd name="T15" fmla="*/ 920 h 1065"/>
                <a:gd name="T16" fmla="*/ 586 w 1196"/>
                <a:gd name="T17" fmla="*/ 0 h 1065"/>
                <a:gd name="T18" fmla="*/ 990 w 1196"/>
                <a:gd name="T19" fmla="*/ 879 h 1065"/>
                <a:gd name="T20" fmla="*/ 1008 w 1196"/>
                <a:gd name="T21" fmla="*/ 920 h 1065"/>
                <a:gd name="T22" fmla="*/ 1025 w 1196"/>
                <a:gd name="T23" fmla="*/ 953 h 1065"/>
                <a:gd name="T24" fmla="*/ 1041 w 1196"/>
                <a:gd name="T25" fmla="*/ 979 h 1065"/>
                <a:gd name="T26" fmla="*/ 1060 w 1196"/>
                <a:gd name="T27" fmla="*/ 999 h 1065"/>
                <a:gd name="T28" fmla="*/ 1082 w 1196"/>
                <a:gd name="T29" fmla="*/ 1013 h 1065"/>
                <a:gd name="T30" fmla="*/ 1111 w 1196"/>
                <a:gd name="T31" fmla="*/ 1022 h 1065"/>
                <a:gd name="T32" fmla="*/ 1148 w 1196"/>
                <a:gd name="T33" fmla="*/ 1027 h 1065"/>
                <a:gd name="T34" fmla="*/ 1196 w 1196"/>
                <a:gd name="T35" fmla="*/ 1029 h 1065"/>
                <a:gd name="T36" fmla="*/ 717 w 1196"/>
                <a:gd name="T37" fmla="*/ 1065 h 1065"/>
                <a:gd name="T38" fmla="*/ 717 w 1196"/>
                <a:gd name="T39" fmla="*/ 1029 h 1065"/>
                <a:gd name="T40" fmla="*/ 766 w 1196"/>
                <a:gd name="T41" fmla="*/ 1027 h 1065"/>
                <a:gd name="T42" fmla="*/ 805 w 1196"/>
                <a:gd name="T43" fmla="*/ 1022 h 1065"/>
                <a:gd name="T44" fmla="*/ 834 w 1196"/>
                <a:gd name="T45" fmla="*/ 1013 h 1065"/>
                <a:gd name="T46" fmla="*/ 854 w 1196"/>
                <a:gd name="T47" fmla="*/ 998 h 1065"/>
                <a:gd name="T48" fmla="*/ 865 w 1196"/>
                <a:gd name="T49" fmla="*/ 981 h 1065"/>
                <a:gd name="T50" fmla="*/ 868 w 1196"/>
                <a:gd name="T51" fmla="*/ 958 h 1065"/>
                <a:gd name="T52" fmla="*/ 864 w 1196"/>
                <a:gd name="T53" fmla="*/ 931 h 1065"/>
                <a:gd name="T54" fmla="*/ 852 w 1196"/>
                <a:gd name="T55" fmla="*/ 897 h 1065"/>
                <a:gd name="T56" fmla="*/ 352 w 1196"/>
                <a:gd name="T57" fmla="*/ 706 h 1065"/>
                <a:gd name="T58" fmla="*/ 269 w 1196"/>
                <a:gd name="T59" fmla="*/ 897 h 1065"/>
                <a:gd name="T60" fmla="*/ 257 w 1196"/>
                <a:gd name="T61" fmla="*/ 930 h 1065"/>
                <a:gd name="T62" fmla="*/ 253 w 1196"/>
                <a:gd name="T63" fmla="*/ 957 h 1065"/>
                <a:gd name="T64" fmla="*/ 256 w 1196"/>
                <a:gd name="T65" fmla="*/ 980 h 1065"/>
                <a:gd name="T66" fmla="*/ 267 w 1196"/>
                <a:gd name="T67" fmla="*/ 998 h 1065"/>
                <a:gd name="T68" fmla="*/ 288 w 1196"/>
                <a:gd name="T69" fmla="*/ 1012 h 1065"/>
                <a:gd name="T70" fmla="*/ 316 w 1196"/>
                <a:gd name="T71" fmla="*/ 1021 h 1065"/>
                <a:gd name="T72" fmla="*/ 355 w 1196"/>
                <a:gd name="T73" fmla="*/ 1027 h 1065"/>
                <a:gd name="T74" fmla="*/ 403 w 1196"/>
                <a:gd name="T75" fmla="*/ 1029 h 1065"/>
                <a:gd name="T76" fmla="*/ 0 w 1196"/>
                <a:gd name="T77" fmla="*/ 1065 h 1065"/>
                <a:gd name="T78" fmla="*/ 740 w 1196"/>
                <a:gd name="T79" fmla="*/ 643 h 1065"/>
                <a:gd name="T80" fmla="*/ 380 w 1196"/>
                <a:gd name="T81" fmla="*/ 643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6" h="1065">
                  <a:moveTo>
                    <a:pt x="0" y="1029"/>
                  </a:moveTo>
                  <a:lnTo>
                    <a:pt x="0" y="1029"/>
                  </a:lnTo>
                  <a:lnTo>
                    <a:pt x="26" y="1028"/>
                  </a:lnTo>
                  <a:lnTo>
                    <a:pt x="48" y="1027"/>
                  </a:lnTo>
                  <a:lnTo>
                    <a:pt x="68" y="1025"/>
                  </a:lnTo>
                  <a:lnTo>
                    <a:pt x="86" y="1022"/>
                  </a:lnTo>
                  <a:lnTo>
                    <a:pt x="102" y="1018"/>
                  </a:lnTo>
                  <a:lnTo>
                    <a:pt x="115" y="1013"/>
                  </a:lnTo>
                  <a:lnTo>
                    <a:pt x="127" y="1007"/>
                  </a:lnTo>
                  <a:lnTo>
                    <a:pt x="137" y="999"/>
                  </a:lnTo>
                  <a:lnTo>
                    <a:pt x="148" y="990"/>
                  </a:lnTo>
                  <a:lnTo>
                    <a:pt x="156" y="979"/>
                  </a:lnTo>
                  <a:lnTo>
                    <a:pt x="164" y="967"/>
                  </a:lnTo>
                  <a:lnTo>
                    <a:pt x="172" y="953"/>
                  </a:lnTo>
                  <a:lnTo>
                    <a:pt x="180" y="937"/>
                  </a:lnTo>
                  <a:lnTo>
                    <a:pt x="188" y="920"/>
                  </a:lnTo>
                  <a:lnTo>
                    <a:pt x="207" y="879"/>
                  </a:lnTo>
                  <a:lnTo>
                    <a:pt x="586" y="0"/>
                  </a:lnTo>
                  <a:lnTo>
                    <a:pt x="609" y="0"/>
                  </a:lnTo>
                  <a:lnTo>
                    <a:pt x="990" y="879"/>
                  </a:lnTo>
                  <a:lnTo>
                    <a:pt x="990" y="879"/>
                  </a:lnTo>
                  <a:lnTo>
                    <a:pt x="1008" y="920"/>
                  </a:lnTo>
                  <a:lnTo>
                    <a:pt x="1017" y="937"/>
                  </a:lnTo>
                  <a:lnTo>
                    <a:pt x="1025" y="953"/>
                  </a:lnTo>
                  <a:lnTo>
                    <a:pt x="1033" y="967"/>
                  </a:lnTo>
                  <a:lnTo>
                    <a:pt x="1041" y="979"/>
                  </a:lnTo>
                  <a:lnTo>
                    <a:pt x="1049" y="990"/>
                  </a:lnTo>
                  <a:lnTo>
                    <a:pt x="1060" y="999"/>
                  </a:lnTo>
                  <a:lnTo>
                    <a:pt x="1070" y="1007"/>
                  </a:lnTo>
                  <a:lnTo>
                    <a:pt x="1082" y="1013"/>
                  </a:lnTo>
                  <a:lnTo>
                    <a:pt x="1095" y="1018"/>
                  </a:lnTo>
                  <a:lnTo>
                    <a:pt x="1111" y="1022"/>
                  </a:lnTo>
                  <a:lnTo>
                    <a:pt x="1128" y="1025"/>
                  </a:lnTo>
                  <a:lnTo>
                    <a:pt x="1148" y="1027"/>
                  </a:lnTo>
                  <a:lnTo>
                    <a:pt x="1170" y="1028"/>
                  </a:lnTo>
                  <a:lnTo>
                    <a:pt x="1196" y="1029"/>
                  </a:lnTo>
                  <a:lnTo>
                    <a:pt x="1196" y="1065"/>
                  </a:lnTo>
                  <a:lnTo>
                    <a:pt x="717" y="1065"/>
                  </a:lnTo>
                  <a:lnTo>
                    <a:pt x="717" y="1029"/>
                  </a:lnTo>
                  <a:lnTo>
                    <a:pt x="717" y="1029"/>
                  </a:lnTo>
                  <a:lnTo>
                    <a:pt x="743" y="1028"/>
                  </a:lnTo>
                  <a:lnTo>
                    <a:pt x="766" y="1027"/>
                  </a:lnTo>
                  <a:lnTo>
                    <a:pt x="787" y="1025"/>
                  </a:lnTo>
                  <a:lnTo>
                    <a:pt x="805" y="1022"/>
                  </a:lnTo>
                  <a:lnTo>
                    <a:pt x="820" y="1018"/>
                  </a:lnTo>
                  <a:lnTo>
                    <a:pt x="834" y="1013"/>
                  </a:lnTo>
                  <a:lnTo>
                    <a:pt x="845" y="1006"/>
                  </a:lnTo>
                  <a:lnTo>
                    <a:pt x="854" y="998"/>
                  </a:lnTo>
                  <a:lnTo>
                    <a:pt x="861" y="990"/>
                  </a:lnTo>
                  <a:lnTo>
                    <a:pt x="865" y="981"/>
                  </a:lnTo>
                  <a:lnTo>
                    <a:pt x="868" y="970"/>
                  </a:lnTo>
                  <a:lnTo>
                    <a:pt x="868" y="958"/>
                  </a:lnTo>
                  <a:lnTo>
                    <a:pt x="867" y="945"/>
                  </a:lnTo>
                  <a:lnTo>
                    <a:pt x="864" y="931"/>
                  </a:lnTo>
                  <a:lnTo>
                    <a:pt x="859" y="915"/>
                  </a:lnTo>
                  <a:lnTo>
                    <a:pt x="852" y="897"/>
                  </a:lnTo>
                  <a:lnTo>
                    <a:pt x="769" y="706"/>
                  </a:lnTo>
                  <a:lnTo>
                    <a:pt x="352" y="706"/>
                  </a:lnTo>
                  <a:lnTo>
                    <a:pt x="269" y="897"/>
                  </a:lnTo>
                  <a:lnTo>
                    <a:pt x="269" y="897"/>
                  </a:lnTo>
                  <a:lnTo>
                    <a:pt x="262" y="915"/>
                  </a:lnTo>
                  <a:lnTo>
                    <a:pt x="257" y="930"/>
                  </a:lnTo>
                  <a:lnTo>
                    <a:pt x="254" y="944"/>
                  </a:lnTo>
                  <a:lnTo>
                    <a:pt x="253" y="957"/>
                  </a:lnTo>
                  <a:lnTo>
                    <a:pt x="253" y="969"/>
                  </a:lnTo>
                  <a:lnTo>
                    <a:pt x="256" y="980"/>
                  </a:lnTo>
                  <a:lnTo>
                    <a:pt x="260" y="989"/>
                  </a:lnTo>
                  <a:lnTo>
                    <a:pt x="267" y="998"/>
                  </a:lnTo>
                  <a:lnTo>
                    <a:pt x="276" y="1006"/>
                  </a:lnTo>
                  <a:lnTo>
                    <a:pt x="288" y="1012"/>
                  </a:lnTo>
                  <a:lnTo>
                    <a:pt x="301" y="1017"/>
                  </a:lnTo>
                  <a:lnTo>
                    <a:pt x="316" y="1021"/>
                  </a:lnTo>
                  <a:lnTo>
                    <a:pt x="335" y="1025"/>
                  </a:lnTo>
                  <a:lnTo>
                    <a:pt x="355" y="1027"/>
                  </a:lnTo>
                  <a:lnTo>
                    <a:pt x="378" y="1028"/>
                  </a:lnTo>
                  <a:lnTo>
                    <a:pt x="403" y="1029"/>
                  </a:lnTo>
                  <a:lnTo>
                    <a:pt x="403" y="1065"/>
                  </a:lnTo>
                  <a:lnTo>
                    <a:pt x="0" y="1065"/>
                  </a:lnTo>
                  <a:lnTo>
                    <a:pt x="0" y="1029"/>
                  </a:lnTo>
                  <a:close/>
                  <a:moveTo>
                    <a:pt x="740" y="643"/>
                  </a:moveTo>
                  <a:lnTo>
                    <a:pt x="559" y="226"/>
                  </a:lnTo>
                  <a:lnTo>
                    <a:pt x="380" y="643"/>
                  </a:lnTo>
                  <a:lnTo>
                    <a:pt x="740" y="6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9" name="Freeform 22"/>
            <p:cNvSpPr>
              <a:spLocks/>
            </p:cNvSpPr>
            <p:nvPr userDrawn="1"/>
          </p:nvSpPr>
          <p:spPr bwMode="auto">
            <a:xfrm>
              <a:off x="7007473" y="898692"/>
              <a:ext cx="142875" cy="136525"/>
            </a:xfrm>
            <a:custGeom>
              <a:avLst/>
              <a:gdLst>
                <a:gd name="T0" fmla="*/ 304 w 1077"/>
                <a:gd name="T1" fmla="*/ 999 h 1035"/>
                <a:gd name="T2" fmla="*/ 353 w 1077"/>
                <a:gd name="T3" fmla="*/ 997 h 1035"/>
                <a:gd name="T4" fmla="*/ 391 w 1077"/>
                <a:gd name="T5" fmla="*/ 991 h 1035"/>
                <a:gd name="T6" fmla="*/ 420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9 w 1077"/>
                <a:gd name="T13" fmla="*/ 951 h 1035"/>
                <a:gd name="T14" fmla="*/ 461 w 1077"/>
                <a:gd name="T15" fmla="*/ 920 h 1035"/>
                <a:gd name="T16" fmla="*/ 467 w 1077"/>
                <a:gd name="T17" fmla="*/ 879 h 1035"/>
                <a:gd name="T18" fmla="*/ 470 w 1077"/>
                <a:gd name="T19" fmla="*/ 827 h 1035"/>
                <a:gd name="T20" fmla="*/ 470 w 1077"/>
                <a:gd name="T21" fmla="*/ 68 h 1035"/>
                <a:gd name="T22" fmla="*/ 246 w 1077"/>
                <a:gd name="T23" fmla="*/ 68 h 1035"/>
                <a:gd name="T24" fmla="*/ 193 w 1077"/>
                <a:gd name="T25" fmla="*/ 69 h 1035"/>
                <a:gd name="T26" fmla="*/ 151 w 1077"/>
                <a:gd name="T27" fmla="*/ 75 h 1035"/>
                <a:gd name="T28" fmla="*/ 119 w 1077"/>
                <a:gd name="T29" fmla="*/ 85 h 1035"/>
                <a:gd name="T30" fmla="*/ 95 w 1077"/>
                <a:gd name="T31" fmla="*/ 98 h 1035"/>
                <a:gd name="T32" fmla="*/ 78 w 1077"/>
                <a:gd name="T33" fmla="*/ 117 h 1035"/>
                <a:gd name="T34" fmla="*/ 65 w 1077"/>
                <a:gd name="T35" fmla="*/ 139 h 1035"/>
                <a:gd name="T36" fmla="*/ 55 w 1077"/>
                <a:gd name="T37" fmla="*/ 167 h 1035"/>
                <a:gd name="T38" fmla="*/ 37 w 1077"/>
                <a:gd name="T39" fmla="*/ 233 h 1035"/>
                <a:gd name="T40" fmla="*/ 17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4 w 1077"/>
                <a:gd name="T47" fmla="*/ 167 h 1035"/>
                <a:gd name="T48" fmla="*/ 1014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60 w 1077"/>
                <a:gd name="T55" fmla="*/ 85 h 1035"/>
                <a:gd name="T56" fmla="*/ 927 w 1077"/>
                <a:gd name="T57" fmla="*/ 75 h 1035"/>
                <a:gd name="T58" fmla="*/ 886 w 1077"/>
                <a:gd name="T59" fmla="*/ 69 h 1035"/>
                <a:gd name="T60" fmla="*/ 833 w 1077"/>
                <a:gd name="T61" fmla="*/ 68 h 1035"/>
                <a:gd name="T62" fmla="*/ 608 w 1077"/>
                <a:gd name="T63" fmla="*/ 797 h 1035"/>
                <a:gd name="T64" fmla="*/ 609 w 1077"/>
                <a:gd name="T65" fmla="*/ 827 h 1035"/>
                <a:gd name="T66" fmla="*/ 611 w 1077"/>
                <a:gd name="T67" fmla="*/ 879 h 1035"/>
                <a:gd name="T68" fmla="*/ 618 w 1077"/>
                <a:gd name="T69" fmla="*/ 920 h 1035"/>
                <a:gd name="T70" fmla="*/ 629 w 1077"/>
                <a:gd name="T71" fmla="*/ 951 h 1035"/>
                <a:gd name="T72" fmla="*/ 637 w 1077"/>
                <a:gd name="T73" fmla="*/ 962 h 1035"/>
                <a:gd name="T74" fmla="*/ 647 w 1077"/>
                <a:gd name="T75" fmla="*/ 972 h 1035"/>
                <a:gd name="T76" fmla="*/ 658 w 1077"/>
                <a:gd name="T77" fmla="*/ 981 h 1035"/>
                <a:gd name="T78" fmla="*/ 688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30" y="998"/>
                  </a:lnTo>
                  <a:lnTo>
                    <a:pt x="353" y="997"/>
                  </a:lnTo>
                  <a:lnTo>
                    <a:pt x="373" y="995"/>
                  </a:lnTo>
                  <a:lnTo>
                    <a:pt x="391" y="991"/>
                  </a:lnTo>
                  <a:lnTo>
                    <a:pt x="406" y="987"/>
                  </a:lnTo>
                  <a:lnTo>
                    <a:pt x="420" y="981"/>
                  </a:lnTo>
                  <a:lnTo>
                    <a:pt x="426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9" y="951"/>
                  </a:lnTo>
                  <a:lnTo>
                    <a:pt x="455" y="937"/>
                  </a:lnTo>
                  <a:lnTo>
                    <a:pt x="461" y="920"/>
                  </a:lnTo>
                  <a:lnTo>
                    <a:pt x="465" y="901"/>
                  </a:lnTo>
                  <a:lnTo>
                    <a:pt x="467" y="879"/>
                  </a:lnTo>
                  <a:lnTo>
                    <a:pt x="469" y="855"/>
                  </a:lnTo>
                  <a:lnTo>
                    <a:pt x="470" y="827"/>
                  </a:lnTo>
                  <a:lnTo>
                    <a:pt x="470" y="797"/>
                  </a:lnTo>
                  <a:lnTo>
                    <a:pt x="470" y="68"/>
                  </a:lnTo>
                  <a:lnTo>
                    <a:pt x="246" y="68"/>
                  </a:lnTo>
                  <a:lnTo>
                    <a:pt x="246" y="68"/>
                  </a:lnTo>
                  <a:lnTo>
                    <a:pt x="217" y="68"/>
                  </a:lnTo>
                  <a:lnTo>
                    <a:pt x="193" y="69"/>
                  </a:lnTo>
                  <a:lnTo>
                    <a:pt x="170" y="72"/>
                  </a:lnTo>
                  <a:lnTo>
                    <a:pt x="151" y="75"/>
                  </a:lnTo>
                  <a:lnTo>
                    <a:pt x="134" y="79"/>
                  </a:lnTo>
                  <a:lnTo>
                    <a:pt x="119" y="85"/>
                  </a:lnTo>
                  <a:lnTo>
                    <a:pt x="107" y="91"/>
                  </a:lnTo>
                  <a:lnTo>
                    <a:pt x="95" y="98"/>
                  </a:lnTo>
                  <a:lnTo>
                    <a:pt x="86" y="106"/>
                  </a:lnTo>
                  <a:lnTo>
                    <a:pt x="78" y="117"/>
                  </a:lnTo>
                  <a:lnTo>
                    <a:pt x="71" y="127"/>
                  </a:lnTo>
                  <a:lnTo>
                    <a:pt x="65" y="139"/>
                  </a:lnTo>
                  <a:lnTo>
                    <a:pt x="60" y="152"/>
                  </a:lnTo>
                  <a:lnTo>
                    <a:pt x="55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7" y="0"/>
                  </a:lnTo>
                  <a:lnTo>
                    <a:pt x="1062" y="0"/>
                  </a:lnTo>
                  <a:lnTo>
                    <a:pt x="1077" y="233"/>
                  </a:lnTo>
                  <a:lnTo>
                    <a:pt x="1041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4" y="167"/>
                  </a:lnTo>
                  <a:lnTo>
                    <a:pt x="1019" y="152"/>
                  </a:lnTo>
                  <a:lnTo>
                    <a:pt x="1014" y="139"/>
                  </a:lnTo>
                  <a:lnTo>
                    <a:pt x="1008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2" y="91"/>
                  </a:lnTo>
                  <a:lnTo>
                    <a:pt x="960" y="85"/>
                  </a:lnTo>
                  <a:lnTo>
                    <a:pt x="944" y="79"/>
                  </a:lnTo>
                  <a:lnTo>
                    <a:pt x="927" y="75"/>
                  </a:lnTo>
                  <a:lnTo>
                    <a:pt x="907" y="72"/>
                  </a:lnTo>
                  <a:lnTo>
                    <a:pt x="886" y="69"/>
                  </a:lnTo>
                  <a:lnTo>
                    <a:pt x="860" y="68"/>
                  </a:lnTo>
                  <a:lnTo>
                    <a:pt x="833" y="68"/>
                  </a:lnTo>
                  <a:lnTo>
                    <a:pt x="608" y="68"/>
                  </a:lnTo>
                  <a:lnTo>
                    <a:pt x="608" y="797"/>
                  </a:lnTo>
                  <a:lnTo>
                    <a:pt x="608" y="797"/>
                  </a:lnTo>
                  <a:lnTo>
                    <a:pt x="609" y="827"/>
                  </a:lnTo>
                  <a:lnTo>
                    <a:pt x="609" y="855"/>
                  </a:lnTo>
                  <a:lnTo>
                    <a:pt x="611" y="879"/>
                  </a:lnTo>
                  <a:lnTo>
                    <a:pt x="614" y="901"/>
                  </a:lnTo>
                  <a:lnTo>
                    <a:pt x="618" y="920"/>
                  </a:lnTo>
                  <a:lnTo>
                    <a:pt x="623" y="937"/>
                  </a:lnTo>
                  <a:lnTo>
                    <a:pt x="629" y="951"/>
                  </a:lnTo>
                  <a:lnTo>
                    <a:pt x="633" y="957"/>
                  </a:lnTo>
                  <a:lnTo>
                    <a:pt x="637" y="962"/>
                  </a:lnTo>
                  <a:lnTo>
                    <a:pt x="642" y="967"/>
                  </a:lnTo>
                  <a:lnTo>
                    <a:pt x="647" y="972"/>
                  </a:lnTo>
                  <a:lnTo>
                    <a:pt x="653" y="977"/>
                  </a:lnTo>
                  <a:lnTo>
                    <a:pt x="658" y="981"/>
                  </a:lnTo>
                  <a:lnTo>
                    <a:pt x="672" y="987"/>
                  </a:lnTo>
                  <a:lnTo>
                    <a:pt x="688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8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0" name="Freeform 23"/>
            <p:cNvSpPr>
              <a:spLocks/>
            </p:cNvSpPr>
            <p:nvPr userDrawn="1"/>
          </p:nvSpPr>
          <p:spPr bwMode="auto">
            <a:xfrm>
              <a:off x="7182098" y="893929"/>
              <a:ext cx="88900" cy="144463"/>
            </a:xfrm>
            <a:custGeom>
              <a:avLst/>
              <a:gdLst>
                <a:gd name="T0" fmla="*/ 39 w 683"/>
                <a:gd name="T1" fmla="*/ 752 h 1102"/>
                <a:gd name="T2" fmla="*/ 64 w 683"/>
                <a:gd name="T3" fmla="*/ 849 h 1102"/>
                <a:gd name="T4" fmla="*/ 104 w 683"/>
                <a:gd name="T5" fmla="*/ 921 h 1102"/>
                <a:gd name="T6" fmla="*/ 171 w 683"/>
                <a:gd name="T7" fmla="*/ 985 h 1102"/>
                <a:gd name="T8" fmla="*/ 273 w 683"/>
                <a:gd name="T9" fmla="*/ 1026 h 1102"/>
                <a:gd name="T10" fmla="*/ 377 w 683"/>
                <a:gd name="T11" fmla="*/ 1032 h 1102"/>
                <a:gd name="T12" fmla="*/ 476 w 683"/>
                <a:gd name="T13" fmla="*/ 1002 h 1102"/>
                <a:gd name="T14" fmla="*/ 544 w 683"/>
                <a:gd name="T15" fmla="*/ 937 h 1102"/>
                <a:gd name="T16" fmla="*/ 570 w 683"/>
                <a:gd name="T17" fmla="*/ 844 h 1102"/>
                <a:gd name="T18" fmla="*/ 555 w 683"/>
                <a:gd name="T19" fmla="*/ 787 h 1102"/>
                <a:gd name="T20" fmla="*/ 501 w 683"/>
                <a:gd name="T21" fmla="*/ 720 h 1102"/>
                <a:gd name="T22" fmla="*/ 413 w 683"/>
                <a:gd name="T23" fmla="*/ 659 h 1102"/>
                <a:gd name="T24" fmla="*/ 169 w 683"/>
                <a:gd name="T25" fmla="*/ 529 h 1102"/>
                <a:gd name="T26" fmla="*/ 86 w 683"/>
                <a:gd name="T27" fmla="*/ 455 h 1102"/>
                <a:gd name="T28" fmla="*/ 30 w 683"/>
                <a:gd name="T29" fmla="*/ 358 h 1102"/>
                <a:gd name="T30" fmla="*/ 14 w 683"/>
                <a:gd name="T31" fmla="*/ 265 h 1102"/>
                <a:gd name="T32" fmla="*/ 23 w 683"/>
                <a:gd name="T33" fmla="*/ 201 h 1102"/>
                <a:gd name="T34" fmla="*/ 46 w 683"/>
                <a:gd name="T35" fmla="*/ 142 h 1102"/>
                <a:gd name="T36" fmla="*/ 85 w 683"/>
                <a:gd name="T37" fmla="*/ 92 h 1102"/>
                <a:gd name="T38" fmla="*/ 136 w 683"/>
                <a:gd name="T39" fmla="*/ 52 h 1102"/>
                <a:gd name="T40" fmla="*/ 199 w 683"/>
                <a:gd name="T41" fmla="*/ 24 h 1102"/>
                <a:gd name="T42" fmla="*/ 269 w 683"/>
                <a:gd name="T43" fmla="*/ 9 h 1102"/>
                <a:gd name="T44" fmla="*/ 337 w 683"/>
                <a:gd name="T45" fmla="*/ 10 h 1102"/>
                <a:gd name="T46" fmla="*/ 411 w 683"/>
                <a:gd name="T47" fmla="*/ 25 h 1102"/>
                <a:gd name="T48" fmla="*/ 510 w 683"/>
                <a:gd name="T49" fmla="*/ 79 h 1102"/>
                <a:gd name="T50" fmla="*/ 540 w 683"/>
                <a:gd name="T51" fmla="*/ 46 h 1102"/>
                <a:gd name="T52" fmla="*/ 595 w 683"/>
                <a:gd name="T53" fmla="*/ 0 h 1102"/>
                <a:gd name="T54" fmla="*/ 552 w 683"/>
                <a:gd name="T55" fmla="*/ 326 h 1102"/>
                <a:gd name="T56" fmla="*/ 511 w 683"/>
                <a:gd name="T57" fmla="*/ 200 h 1102"/>
                <a:gd name="T58" fmla="*/ 473 w 683"/>
                <a:gd name="T59" fmla="*/ 145 h 1102"/>
                <a:gd name="T60" fmla="*/ 419 w 683"/>
                <a:gd name="T61" fmla="*/ 106 h 1102"/>
                <a:gd name="T62" fmla="*/ 348 w 683"/>
                <a:gd name="T63" fmla="*/ 82 h 1102"/>
                <a:gd name="T64" fmla="*/ 277 w 683"/>
                <a:gd name="T65" fmla="*/ 78 h 1102"/>
                <a:gd name="T66" fmla="*/ 200 w 683"/>
                <a:gd name="T67" fmla="*/ 104 h 1102"/>
                <a:gd name="T68" fmla="*/ 147 w 683"/>
                <a:gd name="T69" fmla="*/ 158 h 1102"/>
                <a:gd name="T70" fmla="*/ 128 w 683"/>
                <a:gd name="T71" fmla="*/ 231 h 1102"/>
                <a:gd name="T72" fmla="*/ 139 w 683"/>
                <a:gd name="T73" fmla="*/ 292 h 1102"/>
                <a:gd name="T74" fmla="*/ 190 w 683"/>
                <a:gd name="T75" fmla="*/ 355 h 1102"/>
                <a:gd name="T76" fmla="*/ 287 w 683"/>
                <a:gd name="T77" fmla="*/ 417 h 1102"/>
                <a:gd name="T78" fmla="*/ 548 w 683"/>
                <a:gd name="T79" fmla="*/ 556 h 1102"/>
                <a:gd name="T80" fmla="*/ 631 w 683"/>
                <a:gd name="T81" fmla="*/ 633 h 1102"/>
                <a:gd name="T82" fmla="*/ 674 w 683"/>
                <a:gd name="T83" fmla="*/ 720 h 1102"/>
                <a:gd name="T84" fmla="*/ 683 w 683"/>
                <a:gd name="T85" fmla="*/ 792 h 1102"/>
                <a:gd name="T86" fmla="*/ 673 w 683"/>
                <a:gd name="T87" fmla="*/ 874 h 1102"/>
                <a:gd name="T88" fmla="*/ 642 w 683"/>
                <a:gd name="T89" fmla="*/ 947 h 1102"/>
                <a:gd name="T90" fmla="*/ 596 w 683"/>
                <a:gd name="T91" fmla="*/ 1007 h 1102"/>
                <a:gd name="T92" fmla="*/ 536 w 683"/>
                <a:gd name="T93" fmla="*/ 1053 h 1102"/>
                <a:gd name="T94" fmla="*/ 465 w 683"/>
                <a:gd name="T95" fmla="*/ 1085 h 1102"/>
                <a:gd name="T96" fmla="*/ 387 w 683"/>
                <a:gd name="T97" fmla="*/ 1100 h 1102"/>
                <a:gd name="T98" fmla="*/ 307 w 683"/>
                <a:gd name="T99" fmla="*/ 1099 h 1102"/>
                <a:gd name="T100" fmla="*/ 208 w 683"/>
                <a:gd name="T101" fmla="*/ 1073 h 1102"/>
                <a:gd name="T102" fmla="*/ 95 w 683"/>
                <a:gd name="T103" fmla="*/ 1024 h 1102"/>
                <a:gd name="T104" fmla="*/ 62 w 683"/>
                <a:gd name="T105" fmla="*/ 1044 h 1102"/>
                <a:gd name="T106" fmla="*/ 35 w 683"/>
                <a:gd name="T107" fmla="*/ 110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3" h="1102">
                  <a:moveTo>
                    <a:pt x="0" y="723"/>
                  </a:moveTo>
                  <a:lnTo>
                    <a:pt x="36" y="723"/>
                  </a:lnTo>
                  <a:lnTo>
                    <a:pt x="36" y="723"/>
                  </a:lnTo>
                  <a:lnTo>
                    <a:pt x="37" y="736"/>
                  </a:lnTo>
                  <a:lnTo>
                    <a:pt x="39" y="752"/>
                  </a:lnTo>
                  <a:lnTo>
                    <a:pt x="41" y="771"/>
                  </a:lnTo>
                  <a:lnTo>
                    <a:pt x="46" y="795"/>
                  </a:lnTo>
                  <a:lnTo>
                    <a:pt x="53" y="821"/>
                  </a:lnTo>
                  <a:lnTo>
                    <a:pt x="59" y="835"/>
                  </a:lnTo>
                  <a:lnTo>
                    <a:pt x="64" y="849"/>
                  </a:lnTo>
                  <a:lnTo>
                    <a:pt x="70" y="863"/>
                  </a:lnTo>
                  <a:lnTo>
                    <a:pt x="77" y="878"/>
                  </a:lnTo>
                  <a:lnTo>
                    <a:pt x="85" y="893"/>
                  </a:lnTo>
                  <a:lnTo>
                    <a:pt x="93" y="907"/>
                  </a:lnTo>
                  <a:lnTo>
                    <a:pt x="104" y="921"/>
                  </a:lnTo>
                  <a:lnTo>
                    <a:pt x="115" y="935"/>
                  </a:lnTo>
                  <a:lnTo>
                    <a:pt x="127" y="948"/>
                  </a:lnTo>
                  <a:lnTo>
                    <a:pt x="140" y="961"/>
                  </a:lnTo>
                  <a:lnTo>
                    <a:pt x="155" y="974"/>
                  </a:lnTo>
                  <a:lnTo>
                    <a:pt x="171" y="985"/>
                  </a:lnTo>
                  <a:lnTo>
                    <a:pt x="188" y="995"/>
                  </a:lnTo>
                  <a:lnTo>
                    <a:pt x="207" y="1004"/>
                  </a:lnTo>
                  <a:lnTo>
                    <a:pt x="227" y="1012"/>
                  </a:lnTo>
                  <a:lnTo>
                    <a:pt x="250" y="1020"/>
                  </a:lnTo>
                  <a:lnTo>
                    <a:pt x="273" y="1026"/>
                  </a:lnTo>
                  <a:lnTo>
                    <a:pt x="298" y="1030"/>
                  </a:lnTo>
                  <a:lnTo>
                    <a:pt x="325" y="1032"/>
                  </a:lnTo>
                  <a:lnTo>
                    <a:pt x="354" y="1033"/>
                  </a:lnTo>
                  <a:lnTo>
                    <a:pt x="354" y="1033"/>
                  </a:lnTo>
                  <a:lnTo>
                    <a:pt x="377" y="1032"/>
                  </a:lnTo>
                  <a:lnTo>
                    <a:pt x="398" y="1030"/>
                  </a:lnTo>
                  <a:lnTo>
                    <a:pt x="419" y="1025"/>
                  </a:lnTo>
                  <a:lnTo>
                    <a:pt x="439" y="1019"/>
                  </a:lnTo>
                  <a:lnTo>
                    <a:pt x="458" y="1011"/>
                  </a:lnTo>
                  <a:lnTo>
                    <a:pt x="476" y="1002"/>
                  </a:lnTo>
                  <a:lnTo>
                    <a:pt x="492" y="992"/>
                  </a:lnTo>
                  <a:lnTo>
                    <a:pt x="507" y="980"/>
                  </a:lnTo>
                  <a:lnTo>
                    <a:pt x="522" y="966"/>
                  </a:lnTo>
                  <a:lnTo>
                    <a:pt x="534" y="952"/>
                  </a:lnTo>
                  <a:lnTo>
                    <a:pt x="544" y="937"/>
                  </a:lnTo>
                  <a:lnTo>
                    <a:pt x="553" y="919"/>
                  </a:lnTo>
                  <a:lnTo>
                    <a:pt x="560" y="902"/>
                  </a:lnTo>
                  <a:lnTo>
                    <a:pt x="566" y="884"/>
                  </a:lnTo>
                  <a:lnTo>
                    <a:pt x="569" y="864"/>
                  </a:lnTo>
                  <a:lnTo>
                    <a:pt x="570" y="844"/>
                  </a:lnTo>
                  <a:lnTo>
                    <a:pt x="570" y="844"/>
                  </a:lnTo>
                  <a:lnTo>
                    <a:pt x="569" y="828"/>
                  </a:lnTo>
                  <a:lnTo>
                    <a:pt x="566" y="814"/>
                  </a:lnTo>
                  <a:lnTo>
                    <a:pt x="562" y="800"/>
                  </a:lnTo>
                  <a:lnTo>
                    <a:pt x="555" y="787"/>
                  </a:lnTo>
                  <a:lnTo>
                    <a:pt x="547" y="772"/>
                  </a:lnTo>
                  <a:lnTo>
                    <a:pt x="538" y="759"/>
                  </a:lnTo>
                  <a:lnTo>
                    <a:pt x="527" y="746"/>
                  </a:lnTo>
                  <a:lnTo>
                    <a:pt x="515" y="732"/>
                  </a:lnTo>
                  <a:lnTo>
                    <a:pt x="501" y="720"/>
                  </a:lnTo>
                  <a:lnTo>
                    <a:pt x="486" y="707"/>
                  </a:lnTo>
                  <a:lnTo>
                    <a:pt x="470" y="695"/>
                  </a:lnTo>
                  <a:lnTo>
                    <a:pt x="452" y="682"/>
                  </a:lnTo>
                  <a:lnTo>
                    <a:pt x="434" y="670"/>
                  </a:lnTo>
                  <a:lnTo>
                    <a:pt x="413" y="659"/>
                  </a:lnTo>
                  <a:lnTo>
                    <a:pt x="371" y="634"/>
                  </a:lnTo>
                  <a:lnTo>
                    <a:pt x="206" y="550"/>
                  </a:lnTo>
                  <a:lnTo>
                    <a:pt x="206" y="550"/>
                  </a:lnTo>
                  <a:lnTo>
                    <a:pt x="186" y="540"/>
                  </a:lnTo>
                  <a:lnTo>
                    <a:pt x="169" y="529"/>
                  </a:lnTo>
                  <a:lnTo>
                    <a:pt x="151" y="516"/>
                  </a:lnTo>
                  <a:lnTo>
                    <a:pt x="133" y="502"/>
                  </a:lnTo>
                  <a:lnTo>
                    <a:pt x="117" y="488"/>
                  </a:lnTo>
                  <a:lnTo>
                    <a:pt x="100" y="472"/>
                  </a:lnTo>
                  <a:lnTo>
                    <a:pt x="86" y="455"/>
                  </a:lnTo>
                  <a:lnTo>
                    <a:pt x="72" y="438"/>
                  </a:lnTo>
                  <a:lnTo>
                    <a:pt x="60" y="419"/>
                  </a:lnTo>
                  <a:lnTo>
                    <a:pt x="48" y="400"/>
                  </a:lnTo>
                  <a:lnTo>
                    <a:pt x="38" y="380"/>
                  </a:lnTo>
                  <a:lnTo>
                    <a:pt x="30" y="358"/>
                  </a:lnTo>
                  <a:lnTo>
                    <a:pt x="23" y="336"/>
                  </a:lnTo>
                  <a:lnTo>
                    <a:pt x="18" y="313"/>
                  </a:lnTo>
                  <a:lnTo>
                    <a:pt x="15" y="290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5" y="252"/>
                  </a:lnTo>
                  <a:lnTo>
                    <a:pt x="16" y="240"/>
                  </a:lnTo>
                  <a:lnTo>
                    <a:pt x="17" y="226"/>
                  </a:lnTo>
                  <a:lnTo>
                    <a:pt x="20" y="213"/>
                  </a:lnTo>
                  <a:lnTo>
                    <a:pt x="23" y="201"/>
                  </a:lnTo>
                  <a:lnTo>
                    <a:pt x="26" y="188"/>
                  </a:lnTo>
                  <a:lnTo>
                    <a:pt x="30" y="177"/>
                  </a:lnTo>
                  <a:lnTo>
                    <a:pt x="35" y="165"/>
                  </a:lnTo>
                  <a:lnTo>
                    <a:pt x="41" y="154"/>
                  </a:lnTo>
                  <a:lnTo>
                    <a:pt x="46" y="142"/>
                  </a:lnTo>
                  <a:lnTo>
                    <a:pt x="53" y="132"/>
                  </a:lnTo>
                  <a:lnTo>
                    <a:pt x="61" y="121"/>
                  </a:lnTo>
                  <a:lnTo>
                    <a:pt x="68" y="112"/>
                  </a:lnTo>
                  <a:lnTo>
                    <a:pt x="76" y="101"/>
                  </a:lnTo>
                  <a:lnTo>
                    <a:pt x="85" y="92"/>
                  </a:lnTo>
                  <a:lnTo>
                    <a:pt x="94" y="83"/>
                  </a:lnTo>
                  <a:lnTo>
                    <a:pt x="105" y="75"/>
                  </a:lnTo>
                  <a:lnTo>
                    <a:pt x="115" y="67"/>
                  </a:lnTo>
                  <a:lnTo>
                    <a:pt x="125" y="60"/>
                  </a:lnTo>
                  <a:lnTo>
                    <a:pt x="136" y="52"/>
                  </a:lnTo>
                  <a:lnTo>
                    <a:pt x="147" y="45"/>
                  </a:lnTo>
                  <a:lnTo>
                    <a:pt x="160" y="39"/>
                  </a:lnTo>
                  <a:lnTo>
                    <a:pt x="172" y="34"/>
                  </a:lnTo>
                  <a:lnTo>
                    <a:pt x="185" y="29"/>
                  </a:lnTo>
                  <a:lnTo>
                    <a:pt x="199" y="24"/>
                  </a:lnTo>
                  <a:lnTo>
                    <a:pt x="212" y="20"/>
                  </a:lnTo>
                  <a:lnTo>
                    <a:pt x="226" y="17"/>
                  </a:lnTo>
                  <a:lnTo>
                    <a:pt x="239" y="14"/>
                  </a:lnTo>
                  <a:lnTo>
                    <a:pt x="255" y="12"/>
                  </a:lnTo>
                  <a:lnTo>
                    <a:pt x="269" y="9"/>
                  </a:lnTo>
                  <a:lnTo>
                    <a:pt x="284" y="8"/>
                  </a:lnTo>
                  <a:lnTo>
                    <a:pt x="300" y="8"/>
                  </a:lnTo>
                  <a:lnTo>
                    <a:pt x="300" y="8"/>
                  </a:lnTo>
                  <a:lnTo>
                    <a:pt x="319" y="8"/>
                  </a:lnTo>
                  <a:lnTo>
                    <a:pt x="337" y="10"/>
                  </a:lnTo>
                  <a:lnTo>
                    <a:pt x="353" y="12"/>
                  </a:lnTo>
                  <a:lnTo>
                    <a:pt x="369" y="15"/>
                  </a:lnTo>
                  <a:lnTo>
                    <a:pt x="384" y="18"/>
                  </a:lnTo>
                  <a:lnTo>
                    <a:pt x="398" y="21"/>
                  </a:lnTo>
                  <a:lnTo>
                    <a:pt x="411" y="25"/>
                  </a:lnTo>
                  <a:lnTo>
                    <a:pt x="425" y="30"/>
                  </a:lnTo>
                  <a:lnTo>
                    <a:pt x="448" y="40"/>
                  </a:lnTo>
                  <a:lnTo>
                    <a:pt x="471" y="52"/>
                  </a:lnTo>
                  <a:lnTo>
                    <a:pt x="491" y="66"/>
                  </a:lnTo>
                  <a:lnTo>
                    <a:pt x="510" y="79"/>
                  </a:lnTo>
                  <a:lnTo>
                    <a:pt x="510" y="79"/>
                  </a:lnTo>
                  <a:lnTo>
                    <a:pt x="519" y="73"/>
                  </a:lnTo>
                  <a:lnTo>
                    <a:pt x="526" y="65"/>
                  </a:lnTo>
                  <a:lnTo>
                    <a:pt x="533" y="57"/>
                  </a:lnTo>
                  <a:lnTo>
                    <a:pt x="540" y="46"/>
                  </a:lnTo>
                  <a:lnTo>
                    <a:pt x="546" y="36"/>
                  </a:lnTo>
                  <a:lnTo>
                    <a:pt x="552" y="25"/>
                  </a:lnTo>
                  <a:lnTo>
                    <a:pt x="557" y="13"/>
                  </a:lnTo>
                  <a:lnTo>
                    <a:pt x="561" y="0"/>
                  </a:lnTo>
                  <a:lnTo>
                    <a:pt x="595" y="0"/>
                  </a:lnTo>
                  <a:lnTo>
                    <a:pt x="595" y="380"/>
                  </a:lnTo>
                  <a:lnTo>
                    <a:pt x="560" y="380"/>
                  </a:lnTo>
                  <a:lnTo>
                    <a:pt x="560" y="380"/>
                  </a:lnTo>
                  <a:lnTo>
                    <a:pt x="556" y="353"/>
                  </a:lnTo>
                  <a:lnTo>
                    <a:pt x="552" y="326"/>
                  </a:lnTo>
                  <a:lnTo>
                    <a:pt x="547" y="300"/>
                  </a:lnTo>
                  <a:lnTo>
                    <a:pt x="541" y="274"/>
                  </a:lnTo>
                  <a:lnTo>
                    <a:pt x="533" y="249"/>
                  </a:lnTo>
                  <a:lnTo>
                    <a:pt x="523" y="223"/>
                  </a:lnTo>
                  <a:lnTo>
                    <a:pt x="511" y="200"/>
                  </a:lnTo>
                  <a:lnTo>
                    <a:pt x="504" y="187"/>
                  </a:lnTo>
                  <a:lnTo>
                    <a:pt x="497" y="177"/>
                  </a:lnTo>
                  <a:lnTo>
                    <a:pt x="490" y="166"/>
                  </a:lnTo>
                  <a:lnTo>
                    <a:pt x="482" y="156"/>
                  </a:lnTo>
                  <a:lnTo>
                    <a:pt x="473" y="145"/>
                  </a:lnTo>
                  <a:lnTo>
                    <a:pt x="463" y="136"/>
                  </a:lnTo>
                  <a:lnTo>
                    <a:pt x="453" y="128"/>
                  </a:lnTo>
                  <a:lnTo>
                    <a:pt x="443" y="120"/>
                  </a:lnTo>
                  <a:lnTo>
                    <a:pt x="431" y="112"/>
                  </a:lnTo>
                  <a:lnTo>
                    <a:pt x="419" y="106"/>
                  </a:lnTo>
                  <a:lnTo>
                    <a:pt x="406" y="99"/>
                  </a:lnTo>
                  <a:lnTo>
                    <a:pt x="393" y="93"/>
                  </a:lnTo>
                  <a:lnTo>
                    <a:pt x="379" y="89"/>
                  </a:lnTo>
                  <a:lnTo>
                    <a:pt x="363" y="85"/>
                  </a:lnTo>
                  <a:lnTo>
                    <a:pt x="348" y="82"/>
                  </a:lnTo>
                  <a:lnTo>
                    <a:pt x="331" y="79"/>
                  </a:lnTo>
                  <a:lnTo>
                    <a:pt x="313" y="78"/>
                  </a:lnTo>
                  <a:lnTo>
                    <a:pt x="295" y="78"/>
                  </a:lnTo>
                  <a:lnTo>
                    <a:pt x="295" y="78"/>
                  </a:lnTo>
                  <a:lnTo>
                    <a:pt x="277" y="78"/>
                  </a:lnTo>
                  <a:lnTo>
                    <a:pt x="260" y="81"/>
                  </a:lnTo>
                  <a:lnTo>
                    <a:pt x="244" y="84"/>
                  </a:lnTo>
                  <a:lnTo>
                    <a:pt x="228" y="89"/>
                  </a:lnTo>
                  <a:lnTo>
                    <a:pt x="214" y="95"/>
                  </a:lnTo>
                  <a:lnTo>
                    <a:pt x="200" y="104"/>
                  </a:lnTo>
                  <a:lnTo>
                    <a:pt x="187" y="112"/>
                  </a:lnTo>
                  <a:lnTo>
                    <a:pt x="175" y="122"/>
                  </a:lnTo>
                  <a:lnTo>
                    <a:pt x="165" y="133"/>
                  </a:lnTo>
                  <a:lnTo>
                    <a:pt x="156" y="144"/>
                  </a:lnTo>
                  <a:lnTo>
                    <a:pt x="147" y="158"/>
                  </a:lnTo>
                  <a:lnTo>
                    <a:pt x="140" y="171"/>
                  </a:lnTo>
                  <a:lnTo>
                    <a:pt x="135" y="185"/>
                  </a:lnTo>
                  <a:lnTo>
                    <a:pt x="131" y="200"/>
                  </a:lnTo>
                  <a:lnTo>
                    <a:pt x="129" y="215"/>
                  </a:lnTo>
                  <a:lnTo>
                    <a:pt x="128" y="231"/>
                  </a:lnTo>
                  <a:lnTo>
                    <a:pt x="128" y="231"/>
                  </a:lnTo>
                  <a:lnTo>
                    <a:pt x="128" y="248"/>
                  </a:lnTo>
                  <a:lnTo>
                    <a:pt x="131" y="263"/>
                  </a:lnTo>
                  <a:lnTo>
                    <a:pt x="134" y="277"/>
                  </a:lnTo>
                  <a:lnTo>
                    <a:pt x="139" y="292"/>
                  </a:lnTo>
                  <a:lnTo>
                    <a:pt x="146" y="305"/>
                  </a:lnTo>
                  <a:lnTo>
                    <a:pt x="155" y="317"/>
                  </a:lnTo>
                  <a:lnTo>
                    <a:pt x="165" y="331"/>
                  </a:lnTo>
                  <a:lnTo>
                    <a:pt x="177" y="343"/>
                  </a:lnTo>
                  <a:lnTo>
                    <a:pt x="190" y="355"/>
                  </a:lnTo>
                  <a:lnTo>
                    <a:pt x="206" y="366"/>
                  </a:lnTo>
                  <a:lnTo>
                    <a:pt x="223" y="379"/>
                  </a:lnTo>
                  <a:lnTo>
                    <a:pt x="243" y="392"/>
                  </a:lnTo>
                  <a:lnTo>
                    <a:pt x="263" y="404"/>
                  </a:lnTo>
                  <a:lnTo>
                    <a:pt x="287" y="417"/>
                  </a:lnTo>
                  <a:lnTo>
                    <a:pt x="339" y="445"/>
                  </a:lnTo>
                  <a:lnTo>
                    <a:pt x="502" y="530"/>
                  </a:lnTo>
                  <a:lnTo>
                    <a:pt x="502" y="530"/>
                  </a:lnTo>
                  <a:lnTo>
                    <a:pt x="526" y="542"/>
                  </a:lnTo>
                  <a:lnTo>
                    <a:pt x="548" y="556"/>
                  </a:lnTo>
                  <a:lnTo>
                    <a:pt x="568" y="571"/>
                  </a:lnTo>
                  <a:lnTo>
                    <a:pt x="586" y="585"/>
                  </a:lnTo>
                  <a:lnTo>
                    <a:pt x="604" y="601"/>
                  </a:lnTo>
                  <a:lnTo>
                    <a:pt x="618" y="617"/>
                  </a:lnTo>
                  <a:lnTo>
                    <a:pt x="631" y="633"/>
                  </a:lnTo>
                  <a:lnTo>
                    <a:pt x="642" y="651"/>
                  </a:lnTo>
                  <a:lnTo>
                    <a:pt x="653" y="667"/>
                  </a:lnTo>
                  <a:lnTo>
                    <a:pt x="661" y="684"/>
                  </a:lnTo>
                  <a:lnTo>
                    <a:pt x="668" y="703"/>
                  </a:lnTo>
                  <a:lnTo>
                    <a:pt x="674" y="720"/>
                  </a:lnTo>
                  <a:lnTo>
                    <a:pt x="678" y="738"/>
                  </a:lnTo>
                  <a:lnTo>
                    <a:pt x="681" y="756"/>
                  </a:lnTo>
                  <a:lnTo>
                    <a:pt x="682" y="774"/>
                  </a:lnTo>
                  <a:lnTo>
                    <a:pt x="683" y="792"/>
                  </a:lnTo>
                  <a:lnTo>
                    <a:pt x="683" y="792"/>
                  </a:lnTo>
                  <a:lnTo>
                    <a:pt x="683" y="809"/>
                  </a:lnTo>
                  <a:lnTo>
                    <a:pt x="681" y="826"/>
                  </a:lnTo>
                  <a:lnTo>
                    <a:pt x="679" y="843"/>
                  </a:lnTo>
                  <a:lnTo>
                    <a:pt x="676" y="859"/>
                  </a:lnTo>
                  <a:lnTo>
                    <a:pt x="673" y="874"/>
                  </a:lnTo>
                  <a:lnTo>
                    <a:pt x="668" y="890"/>
                  </a:lnTo>
                  <a:lnTo>
                    <a:pt x="663" y="905"/>
                  </a:lnTo>
                  <a:lnTo>
                    <a:pt x="657" y="919"/>
                  </a:lnTo>
                  <a:lnTo>
                    <a:pt x="651" y="934"/>
                  </a:lnTo>
                  <a:lnTo>
                    <a:pt x="642" y="947"/>
                  </a:lnTo>
                  <a:lnTo>
                    <a:pt x="634" y="960"/>
                  </a:lnTo>
                  <a:lnTo>
                    <a:pt x="626" y="973"/>
                  </a:lnTo>
                  <a:lnTo>
                    <a:pt x="617" y="985"/>
                  </a:lnTo>
                  <a:lnTo>
                    <a:pt x="607" y="996"/>
                  </a:lnTo>
                  <a:lnTo>
                    <a:pt x="596" y="1007"/>
                  </a:lnTo>
                  <a:lnTo>
                    <a:pt x="585" y="1018"/>
                  </a:lnTo>
                  <a:lnTo>
                    <a:pt x="574" y="1028"/>
                  </a:lnTo>
                  <a:lnTo>
                    <a:pt x="562" y="1037"/>
                  </a:lnTo>
                  <a:lnTo>
                    <a:pt x="549" y="1045"/>
                  </a:lnTo>
                  <a:lnTo>
                    <a:pt x="536" y="1053"/>
                  </a:lnTo>
                  <a:lnTo>
                    <a:pt x="523" y="1062"/>
                  </a:lnTo>
                  <a:lnTo>
                    <a:pt x="509" y="1068"/>
                  </a:lnTo>
                  <a:lnTo>
                    <a:pt x="495" y="1075"/>
                  </a:lnTo>
                  <a:lnTo>
                    <a:pt x="480" y="1080"/>
                  </a:lnTo>
                  <a:lnTo>
                    <a:pt x="465" y="1085"/>
                  </a:lnTo>
                  <a:lnTo>
                    <a:pt x="450" y="1089"/>
                  </a:lnTo>
                  <a:lnTo>
                    <a:pt x="435" y="1093"/>
                  </a:lnTo>
                  <a:lnTo>
                    <a:pt x="419" y="1096"/>
                  </a:lnTo>
                  <a:lnTo>
                    <a:pt x="403" y="1099"/>
                  </a:lnTo>
                  <a:lnTo>
                    <a:pt x="387" y="1100"/>
                  </a:lnTo>
                  <a:lnTo>
                    <a:pt x="370" y="1101"/>
                  </a:lnTo>
                  <a:lnTo>
                    <a:pt x="354" y="1102"/>
                  </a:lnTo>
                  <a:lnTo>
                    <a:pt x="354" y="1102"/>
                  </a:lnTo>
                  <a:lnTo>
                    <a:pt x="329" y="1101"/>
                  </a:lnTo>
                  <a:lnTo>
                    <a:pt x="307" y="1099"/>
                  </a:lnTo>
                  <a:lnTo>
                    <a:pt x="286" y="1095"/>
                  </a:lnTo>
                  <a:lnTo>
                    <a:pt x="264" y="1091"/>
                  </a:lnTo>
                  <a:lnTo>
                    <a:pt x="245" y="1086"/>
                  </a:lnTo>
                  <a:lnTo>
                    <a:pt x="225" y="1080"/>
                  </a:lnTo>
                  <a:lnTo>
                    <a:pt x="208" y="1073"/>
                  </a:lnTo>
                  <a:lnTo>
                    <a:pt x="190" y="1067"/>
                  </a:lnTo>
                  <a:lnTo>
                    <a:pt x="160" y="1052"/>
                  </a:lnTo>
                  <a:lnTo>
                    <a:pt x="131" y="1039"/>
                  </a:lnTo>
                  <a:lnTo>
                    <a:pt x="107" y="1028"/>
                  </a:lnTo>
                  <a:lnTo>
                    <a:pt x="95" y="1024"/>
                  </a:lnTo>
                  <a:lnTo>
                    <a:pt x="85" y="1021"/>
                  </a:lnTo>
                  <a:lnTo>
                    <a:pt x="85" y="1021"/>
                  </a:lnTo>
                  <a:lnTo>
                    <a:pt x="77" y="1028"/>
                  </a:lnTo>
                  <a:lnTo>
                    <a:pt x="70" y="1036"/>
                  </a:lnTo>
                  <a:lnTo>
                    <a:pt x="62" y="1044"/>
                  </a:lnTo>
                  <a:lnTo>
                    <a:pt x="55" y="1053"/>
                  </a:lnTo>
                  <a:lnTo>
                    <a:pt x="49" y="1065"/>
                  </a:lnTo>
                  <a:lnTo>
                    <a:pt x="43" y="1076"/>
                  </a:lnTo>
                  <a:lnTo>
                    <a:pt x="38" y="1088"/>
                  </a:lnTo>
                  <a:lnTo>
                    <a:pt x="35" y="1102"/>
                  </a:lnTo>
                  <a:lnTo>
                    <a:pt x="0" y="1102"/>
                  </a:lnTo>
                  <a:lnTo>
                    <a:pt x="0" y="7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1" name="Freeform 24"/>
            <p:cNvSpPr>
              <a:spLocks noEditPoints="1"/>
            </p:cNvSpPr>
            <p:nvPr userDrawn="1"/>
          </p:nvSpPr>
          <p:spPr bwMode="auto">
            <a:xfrm>
              <a:off x="7310686" y="898692"/>
              <a:ext cx="133350" cy="136525"/>
            </a:xfrm>
            <a:custGeom>
              <a:avLst/>
              <a:gdLst>
                <a:gd name="T0" fmla="*/ 49 w 1009"/>
                <a:gd name="T1" fmla="*/ 997 h 1035"/>
                <a:gd name="T2" fmla="*/ 115 w 1009"/>
                <a:gd name="T3" fmla="*/ 981 h 1035"/>
                <a:gd name="T4" fmla="*/ 136 w 1009"/>
                <a:gd name="T5" fmla="*/ 962 h 1035"/>
                <a:gd name="T6" fmla="*/ 155 w 1009"/>
                <a:gd name="T7" fmla="*/ 920 h 1035"/>
                <a:gd name="T8" fmla="*/ 163 w 1009"/>
                <a:gd name="T9" fmla="*/ 827 h 1035"/>
                <a:gd name="T10" fmla="*/ 163 w 1009"/>
                <a:gd name="T11" fmla="*/ 206 h 1035"/>
                <a:gd name="T12" fmla="*/ 155 w 1009"/>
                <a:gd name="T13" fmla="*/ 114 h 1035"/>
                <a:gd name="T14" fmla="*/ 136 w 1009"/>
                <a:gd name="T15" fmla="*/ 72 h 1035"/>
                <a:gd name="T16" fmla="*/ 115 w 1009"/>
                <a:gd name="T17" fmla="*/ 54 h 1035"/>
                <a:gd name="T18" fmla="*/ 49 w 1009"/>
                <a:gd name="T19" fmla="*/ 38 h 1035"/>
                <a:gd name="T20" fmla="*/ 456 w 1009"/>
                <a:gd name="T21" fmla="*/ 0 h 1035"/>
                <a:gd name="T22" fmla="*/ 520 w 1009"/>
                <a:gd name="T23" fmla="*/ 3 h 1035"/>
                <a:gd name="T24" fmla="*/ 597 w 1009"/>
                <a:gd name="T25" fmla="*/ 17 h 1035"/>
                <a:gd name="T26" fmla="*/ 663 w 1009"/>
                <a:gd name="T27" fmla="*/ 42 h 1035"/>
                <a:gd name="T28" fmla="*/ 718 w 1009"/>
                <a:gd name="T29" fmla="*/ 76 h 1035"/>
                <a:gd name="T30" fmla="*/ 763 w 1009"/>
                <a:gd name="T31" fmla="*/ 118 h 1035"/>
                <a:gd name="T32" fmla="*/ 796 w 1009"/>
                <a:gd name="T33" fmla="*/ 166 h 1035"/>
                <a:gd name="T34" fmla="*/ 817 w 1009"/>
                <a:gd name="T35" fmla="*/ 219 h 1035"/>
                <a:gd name="T36" fmla="*/ 826 w 1009"/>
                <a:gd name="T37" fmla="*/ 276 h 1035"/>
                <a:gd name="T38" fmla="*/ 825 w 1009"/>
                <a:gd name="T39" fmla="*/ 319 h 1035"/>
                <a:gd name="T40" fmla="*/ 815 w 1009"/>
                <a:gd name="T41" fmla="*/ 372 h 1035"/>
                <a:gd name="T42" fmla="*/ 794 w 1009"/>
                <a:gd name="T43" fmla="*/ 421 h 1035"/>
                <a:gd name="T44" fmla="*/ 764 w 1009"/>
                <a:gd name="T45" fmla="*/ 465 h 1035"/>
                <a:gd name="T46" fmla="*/ 726 w 1009"/>
                <a:gd name="T47" fmla="*/ 503 h 1035"/>
                <a:gd name="T48" fmla="*/ 677 w 1009"/>
                <a:gd name="T49" fmla="*/ 535 h 1035"/>
                <a:gd name="T50" fmla="*/ 620 w 1009"/>
                <a:gd name="T51" fmla="*/ 559 h 1035"/>
                <a:gd name="T52" fmla="*/ 555 w 1009"/>
                <a:gd name="T53" fmla="*/ 576 h 1035"/>
                <a:gd name="T54" fmla="*/ 689 w 1009"/>
                <a:gd name="T55" fmla="*/ 779 h 1035"/>
                <a:gd name="T56" fmla="*/ 767 w 1009"/>
                <a:gd name="T57" fmla="*/ 863 h 1035"/>
                <a:gd name="T58" fmla="*/ 848 w 1009"/>
                <a:gd name="T59" fmla="*/ 929 h 1035"/>
                <a:gd name="T60" fmla="*/ 930 w 1009"/>
                <a:gd name="T61" fmla="*/ 977 h 1035"/>
                <a:gd name="T62" fmla="*/ 1009 w 1009"/>
                <a:gd name="T63" fmla="*/ 999 h 1035"/>
                <a:gd name="T64" fmla="*/ 302 w 1009"/>
                <a:gd name="T65" fmla="*/ 581 h 1035"/>
                <a:gd name="T66" fmla="*/ 303 w 1009"/>
                <a:gd name="T67" fmla="*/ 855 h 1035"/>
                <a:gd name="T68" fmla="*/ 316 w 1009"/>
                <a:gd name="T69" fmla="*/ 937 h 1035"/>
                <a:gd name="T70" fmla="*/ 335 w 1009"/>
                <a:gd name="T71" fmla="*/ 967 h 1035"/>
                <a:gd name="T72" fmla="*/ 365 w 1009"/>
                <a:gd name="T73" fmla="*/ 987 h 1035"/>
                <a:gd name="T74" fmla="*/ 440 w 1009"/>
                <a:gd name="T75" fmla="*/ 998 h 1035"/>
                <a:gd name="T76" fmla="*/ 0 w 1009"/>
                <a:gd name="T77" fmla="*/ 999 h 1035"/>
                <a:gd name="T78" fmla="*/ 494 w 1009"/>
                <a:gd name="T79" fmla="*/ 516 h 1035"/>
                <a:gd name="T80" fmla="*/ 541 w 1009"/>
                <a:gd name="T81" fmla="*/ 505 h 1035"/>
                <a:gd name="T82" fmla="*/ 580 w 1009"/>
                <a:gd name="T83" fmla="*/ 486 h 1035"/>
                <a:gd name="T84" fmla="*/ 633 w 1009"/>
                <a:gd name="T85" fmla="*/ 437 h 1035"/>
                <a:gd name="T86" fmla="*/ 665 w 1009"/>
                <a:gd name="T87" fmla="*/ 359 h 1035"/>
                <a:gd name="T88" fmla="*/ 672 w 1009"/>
                <a:gd name="T89" fmla="*/ 291 h 1035"/>
                <a:gd name="T90" fmla="*/ 660 w 1009"/>
                <a:gd name="T91" fmla="*/ 204 h 1035"/>
                <a:gd name="T92" fmla="*/ 619 w 1009"/>
                <a:gd name="T93" fmla="*/ 131 h 1035"/>
                <a:gd name="T94" fmla="*/ 571 w 1009"/>
                <a:gd name="T95" fmla="*/ 91 h 1035"/>
                <a:gd name="T96" fmla="*/ 529 w 1009"/>
                <a:gd name="T97" fmla="*/ 74 h 1035"/>
                <a:gd name="T98" fmla="*/ 481 w 1009"/>
                <a:gd name="T99" fmla="*/ 65 h 1035"/>
                <a:gd name="T100" fmla="*/ 302 w 1009"/>
                <a:gd name="T101" fmla="*/ 519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09" h="1035">
                  <a:moveTo>
                    <a:pt x="0" y="999"/>
                  </a:moveTo>
                  <a:lnTo>
                    <a:pt x="0" y="999"/>
                  </a:lnTo>
                  <a:lnTo>
                    <a:pt x="25" y="998"/>
                  </a:lnTo>
                  <a:lnTo>
                    <a:pt x="49" y="997"/>
                  </a:lnTo>
                  <a:lnTo>
                    <a:pt x="68" y="995"/>
                  </a:lnTo>
                  <a:lnTo>
                    <a:pt x="87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0" y="977"/>
                  </a:lnTo>
                  <a:lnTo>
                    <a:pt x="126" y="972"/>
                  </a:lnTo>
                  <a:lnTo>
                    <a:pt x="132" y="967"/>
                  </a:lnTo>
                  <a:lnTo>
                    <a:pt x="136" y="962"/>
                  </a:lnTo>
                  <a:lnTo>
                    <a:pt x="140" y="957"/>
                  </a:lnTo>
                  <a:lnTo>
                    <a:pt x="144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8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3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3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8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4" y="83"/>
                  </a:lnTo>
                  <a:lnTo>
                    <a:pt x="140" y="77"/>
                  </a:lnTo>
                  <a:lnTo>
                    <a:pt x="136" y="72"/>
                  </a:lnTo>
                  <a:lnTo>
                    <a:pt x="132" y="67"/>
                  </a:lnTo>
                  <a:lnTo>
                    <a:pt x="126" y="61"/>
                  </a:lnTo>
                  <a:lnTo>
                    <a:pt x="120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7" y="43"/>
                  </a:lnTo>
                  <a:lnTo>
                    <a:pt x="68" y="40"/>
                  </a:lnTo>
                  <a:lnTo>
                    <a:pt x="49" y="38"/>
                  </a:lnTo>
                  <a:lnTo>
                    <a:pt x="25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456" y="0"/>
                  </a:lnTo>
                  <a:lnTo>
                    <a:pt x="456" y="0"/>
                  </a:lnTo>
                  <a:lnTo>
                    <a:pt x="478" y="0"/>
                  </a:lnTo>
                  <a:lnTo>
                    <a:pt x="500" y="1"/>
                  </a:lnTo>
                  <a:lnTo>
                    <a:pt x="520" y="3"/>
                  </a:lnTo>
                  <a:lnTo>
                    <a:pt x="541" y="6"/>
                  </a:lnTo>
                  <a:lnTo>
                    <a:pt x="560" y="9"/>
                  </a:lnTo>
                  <a:lnTo>
                    <a:pt x="578" y="13"/>
                  </a:lnTo>
                  <a:lnTo>
                    <a:pt x="597" y="17"/>
                  </a:lnTo>
                  <a:lnTo>
                    <a:pt x="614" y="23"/>
                  </a:lnTo>
                  <a:lnTo>
                    <a:pt x="632" y="29"/>
                  </a:lnTo>
                  <a:lnTo>
                    <a:pt x="648" y="35"/>
                  </a:lnTo>
                  <a:lnTo>
                    <a:pt x="663" y="42"/>
                  </a:lnTo>
                  <a:lnTo>
                    <a:pt x="679" y="50"/>
                  </a:lnTo>
                  <a:lnTo>
                    <a:pt x="693" y="58"/>
                  </a:lnTo>
                  <a:lnTo>
                    <a:pt x="706" y="67"/>
                  </a:lnTo>
                  <a:lnTo>
                    <a:pt x="718" y="76"/>
                  </a:lnTo>
                  <a:lnTo>
                    <a:pt x="731" y="85"/>
                  </a:lnTo>
                  <a:lnTo>
                    <a:pt x="742" y="95"/>
                  </a:lnTo>
                  <a:lnTo>
                    <a:pt x="753" y="106"/>
                  </a:lnTo>
                  <a:lnTo>
                    <a:pt x="763" y="118"/>
                  </a:lnTo>
                  <a:lnTo>
                    <a:pt x="773" y="129"/>
                  </a:lnTo>
                  <a:lnTo>
                    <a:pt x="781" y="140"/>
                  </a:lnTo>
                  <a:lnTo>
                    <a:pt x="789" y="152"/>
                  </a:lnTo>
                  <a:lnTo>
                    <a:pt x="796" y="166"/>
                  </a:lnTo>
                  <a:lnTo>
                    <a:pt x="802" y="178"/>
                  </a:lnTo>
                  <a:lnTo>
                    <a:pt x="807" y="191"/>
                  </a:lnTo>
                  <a:lnTo>
                    <a:pt x="813" y="205"/>
                  </a:lnTo>
                  <a:lnTo>
                    <a:pt x="817" y="219"/>
                  </a:lnTo>
                  <a:lnTo>
                    <a:pt x="821" y="233"/>
                  </a:lnTo>
                  <a:lnTo>
                    <a:pt x="823" y="248"/>
                  </a:lnTo>
                  <a:lnTo>
                    <a:pt x="825" y="262"/>
                  </a:lnTo>
                  <a:lnTo>
                    <a:pt x="826" y="276"/>
                  </a:lnTo>
                  <a:lnTo>
                    <a:pt x="827" y="291"/>
                  </a:lnTo>
                  <a:lnTo>
                    <a:pt x="827" y="291"/>
                  </a:lnTo>
                  <a:lnTo>
                    <a:pt x="826" y="306"/>
                  </a:lnTo>
                  <a:lnTo>
                    <a:pt x="825" y="319"/>
                  </a:lnTo>
                  <a:lnTo>
                    <a:pt x="824" y="332"/>
                  </a:lnTo>
                  <a:lnTo>
                    <a:pt x="822" y="346"/>
                  </a:lnTo>
                  <a:lnTo>
                    <a:pt x="819" y="359"/>
                  </a:lnTo>
                  <a:lnTo>
                    <a:pt x="815" y="372"/>
                  </a:lnTo>
                  <a:lnTo>
                    <a:pt x="810" y="385"/>
                  </a:lnTo>
                  <a:lnTo>
                    <a:pt x="805" y="397"/>
                  </a:lnTo>
                  <a:lnTo>
                    <a:pt x="800" y="409"/>
                  </a:lnTo>
                  <a:lnTo>
                    <a:pt x="794" y="421"/>
                  </a:lnTo>
                  <a:lnTo>
                    <a:pt x="788" y="433"/>
                  </a:lnTo>
                  <a:lnTo>
                    <a:pt x="781" y="444"/>
                  </a:lnTo>
                  <a:lnTo>
                    <a:pt x="773" y="454"/>
                  </a:lnTo>
                  <a:lnTo>
                    <a:pt x="764" y="465"/>
                  </a:lnTo>
                  <a:lnTo>
                    <a:pt x="755" y="475"/>
                  </a:lnTo>
                  <a:lnTo>
                    <a:pt x="746" y="485"/>
                  </a:lnTo>
                  <a:lnTo>
                    <a:pt x="736" y="494"/>
                  </a:lnTo>
                  <a:lnTo>
                    <a:pt x="726" y="503"/>
                  </a:lnTo>
                  <a:lnTo>
                    <a:pt x="714" y="511"/>
                  </a:lnTo>
                  <a:lnTo>
                    <a:pt x="702" y="519"/>
                  </a:lnTo>
                  <a:lnTo>
                    <a:pt x="690" y="528"/>
                  </a:lnTo>
                  <a:lnTo>
                    <a:pt x="677" y="535"/>
                  </a:lnTo>
                  <a:lnTo>
                    <a:pt x="663" y="542"/>
                  </a:lnTo>
                  <a:lnTo>
                    <a:pt x="650" y="548"/>
                  </a:lnTo>
                  <a:lnTo>
                    <a:pt x="635" y="554"/>
                  </a:lnTo>
                  <a:lnTo>
                    <a:pt x="620" y="559"/>
                  </a:lnTo>
                  <a:lnTo>
                    <a:pt x="605" y="564"/>
                  </a:lnTo>
                  <a:lnTo>
                    <a:pt x="589" y="569"/>
                  </a:lnTo>
                  <a:lnTo>
                    <a:pt x="572" y="573"/>
                  </a:lnTo>
                  <a:lnTo>
                    <a:pt x="555" y="576"/>
                  </a:lnTo>
                  <a:lnTo>
                    <a:pt x="537" y="579"/>
                  </a:lnTo>
                  <a:lnTo>
                    <a:pt x="519" y="581"/>
                  </a:lnTo>
                  <a:lnTo>
                    <a:pt x="689" y="779"/>
                  </a:lnTo>
                  <a:lnTo>
                    <a:pt x="689" y="779"/>
                  </a:lnTo>
                  <a:lnTo>
                    <a:pt x="707" y="802"/>
                  </a:lnTo>
                  <a:lnTo>
                    <a:pt x="728" y="823"/>
                  </a:lnTo>
                  <a:lnTo>
                    <a:pt x="747" y="844"/>
                  </a:lnTo>
                  <a:lnTo>
                    <a:pt x="767" y="863"/>
                  </a:lnTo>
                  <a:lnTo>
                    <a:pt x="787" y="881"/>
                  </a:lnTo>
                  <a:lnTo>
                    <a:pt x="807" y="899"/>
                  </a:lnTo>
                  <a:lnTo>
                    <a:pt x="828" y="915"/>
                  </a:lnTo>
                  <a:lnTo>
                    <a:pt x="848" y="929"/>
                  </a:lnTo>
                  <a:lnTo>
                    <a:pt x="869" y="944"/>
                  </a:lnTo>
                  <a:lnTo>
                    <a:pt x="889" y="956"/>
                  </a:lnTo>
                  <a:lnTo>
                    <a:pt x="910" y="966"/>
                  </a:lnTo>
                  <a:lnTo>
                    <a:pt x="930" y="977"/>
                  </a:lnTo>
                  <a:lnTo>
                    <a:pt x="950" y="985"/>
                  </a:lnTo>
                  <a:lnTo>
                    <a:pt x="970" y="991"/>
                  </a:lnTo>
                  <a:lnTo>
                    <a:pt x="989" y="996"/>
                  </a:lnTo>
                  <a:lnTo>
                    <a:pt x="1009" y="999"/>
                  </a:lnTo>
                  <a:lnTo>
                    <a:pt x="1009" y="1035"/>
                  </a:lnTo>
                  <a:lnTo>
                    <a:pt x="725" y="1035"/>
                  </a:lnTo>
                  <a:lnTo>
                    <a:pt x="383" y="581"/>
                  </a:lnTo>
                  <a:lnTo>
                    <a:pt x="302" y="581"/>
                  </a:lnTo>
                  <a:lnTo>
                    <a:pt x="302" y="797"/>
                  </a:lnTo>
                  <a:lnTo>
                    <a:pt x="302" y="797"/>
                  </a:lnTo>
                  <a:lnTo>
                    <a:pt x="302" y="827"/>
                  </a:lnTo>
                  <a:lnTo>
                    <a:pt x="303" y="855"/>
                  </a:lnTo>
                  <a:lnTo>
                    <a:pt x="304" y="879"/>
                  </a:lnTo>
                  <a:lnTo>
                    <a:pt x="307" y="901"/>
                  </a:lnTo>
                  <a:lnTo>
                    <a:pt x="312" y="920"/>
                  </a:lnTo>
                  <a:lnTo>
                    <a:pt x="316" y="937"/>
                  </a:lnTo>
                  <a:lnTo>
                    <a:pt x="323" y="951"/>
                  </a:lnTo>
                  <a:lnTo>
                    <a:pt x="326" y="957"/>
                  </a:lnTo>
                  <a:lnTo>
                    <a:pt x="330" y="962"/>
                  </a:lnTo>
                  <a:lnTo>
                    <a:pt x="335" y="967"/>
                  </a:lnTo>
                  <a:lnTo>
                    <a:pt x="340" y="972"/>
                  </a:lnTo>
                  <a:lnTo>
                    <a:pt x="345" y="977"/>
                  </a:lnTo>
                  <a:lnTo>
                    <a:pt x="351" y="981"/>
                  </a:lnTo>
                  <a:lnTo>
                    <a:pt x="365" y="987"/>
                  </a:lnTo>
                  <a:lnTo>
                    <a:pt x="380" y="991"/>
                  </a:lnTo>
                  <a:lnTo>
                    <a:pt x="397" y="995"/>
                  </a:lnTo>
                  <a:lnTo>
                    <a:pt x="418" y="997"/>
                  </a:lnTo>
                  <a:lnTo>
                    <a:pt x="440" y="998"/>
                  </a:lnTo>
                  <a:lnTo>
                    <a:pt x="466" y="999"/>
                  </a:lnTo>
                  <a:lnTo>
                    <a:pt x="466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  <a:moveTo>
                    <a:pt x="454" y="519"/>
                  </a:moveTo>
                  <a:lnTo>
                    <a:pt x="454" y="519"/>
                  </a:lnTo>
                  <a:lnTo>
                    <a:pt x="481" y="517"/>
                  </a:lnTo>
                  <a:lnTo>
                    <a:pt x="494" y="516"/>
                  </a:lnTo>
                  <a:lnTo>
                    <a:pt x="507" y="514"/>
                  </a:lnTo>
                  <a:lnTo>
                    <a:pt x="518" y="512"/>
                  </a:lnTo>
                  <a:lnTo>
                    <a:pt x="529" y="509"/>
                  </a:lnTo>
                  <a:lnTo>
                    <a:pt x="541" y="505"/>
                  </a:lnTo>
                  <a:lnTo>
                    <a:pt x="552" y="501"/>
                  </a:lnTo>
                  <a:lnTo>
                    <a:pt x="561" y="497"/>
                  </a:lnTo>
                  <a:lnTo>
                    <a:pt x="571" y="492"/>
                  </a:lnTo>
                  <a:lnTo>
                    <a:pt x="580" y="486"/>
                  </a:lnTo>
                  <a:lnTo>
                    <a:pt x="589" y="481"/>
                  </a:lnTo>
                  <a:lnTo>
                    <a:pt x="605" y="467"/>
                  </a:lnTo>
                  <a:lnTo>
                    <a:pt x="619" y="452"/>
                  </a:lnTo>
                  <a:lnTo>
                    <a:pt x="633" y="437"/>
                  </a:lnTo>
                  <a:lnTo>
                    <a:pt x="643" y="418"/>
                  </a:lnTo>
                  <a:lnTo>
                    <a:pt x="652" y="400"/>
                  </a:lnTo>
                  <a:lnTo>
                    <a:pt x="660" y="380"/>
                  </a:lnTo>
                  <a:lnTo>
                    <a:pt x="665" y="359"/>
                  </a:lnTo>
                  <a:lnTo>
                    <a:pt x="669" y="338"/>
                  </a:lnTo>
                  <a:lnTo>
                    <a:pt x="672" y="315"/>
                  </a:lnTo>
                  <a:lnTo>
                    <a:pt x="672" y="291"/>
                  </a:lnTo>
                  <a:lnTo>
                    <a:pt x="672" y="291"/>
                  </a:lnTo>
                  <a:lnTo>
                    <a:pt x="672" y="268"/>
                  </a:lnTo>
                  <a:lnTo>
                    <a:pt x="669" y="245"/>
                  </a:lnTo>
                  <a:lnTo>
                    <a:pt x="665" y="224"/>
                  </a:lnTo>
                  <a:lnTo>
                    <a:pt x="660" y="204"/>
                  </a:lnTo>
                  <a:lnTo>
                    <a:pt x="652" y="183"/>
                  </a:lnTo>
                  <a:lnTo>
                    <a:pt x="643" y="165"/>
                  </a:lnTo>
                  <a:lnTo>
                    <a:pt x="633" y="147"/>
                  </a:lnTo>
                  <a:lnTo>
                    <a:pt x="619" y="131"/>
                  </a:lnTo>
                  <a:lnTo>
                    <a:pt x="605" y="117"/>
                  </a:lnTo>
                  <a:lnTo>
                    <a:pt x="589" y="103"/>
                  </a:lnTo>
                  <a:lnTo>
                    <a:pt x="580" y="97"/>
                  </a:lnTo>
                  <a:lnTo>
                    <a:pt x="571" y="91"/>
                  </a:lnTo>
                  <a:lnTo>
                    <a:pt x="561" y="86"/>
                  </a:lnTo>
                  <a:lnTo>
                    <a:pt x="552" y="82"/>
                  </a:lnTo>
                  <a:lnTo>
                    <a:pt x="541" y="78"/>
                  </a:lnTo>
                  <a:lnTo>
                    <a:pt x="529" y="74"/>
                  </a:lnTo>
                  <a:lnTo>
                    <a:pt x="518" y="71"/>
                  </a:lnTo>
                  <a:lnTo>
                    <a:pt x="507" y="69"/>
                  </a:lnTo>
                  <a:lnTo>
                    <a:pt x="494" y="67"/>
                  </a:lnTo>
                  <a:lnTo>
                    <a:pt x="481" y="65"/>
                  </a:lnTo>
                  <a:lnTo>
                    <a:pt x="468" y="63"/>
                  </a:lnTo>
                  <a:lnTo>
                    <a:pt x="454" y="63"/>
                  </a:lnTo>
                  <a:lnTo>
                    <a:pt x="302" y="63"/>
                  </a:lnTo>
                  <a:lnTo>
                    <a:pt x="302" y="519"/>
                  </a:lnTo>
                  <a:lnTo>
                    <a:pt x="454" y="5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2" name="Freeform 25"/>
            <p:cNvSpPr>
              <a:spLocks noEditPoints="1"/>
            </p:cNvSpPr>
            <p:nvPr userDrawn="1"/>
          </p:nvSpPr>
          <p:spPr bwMode="auto">
            <a:xfrm>
              <a:off x="7451973" y="843129"/>
              <a:ext cx="157163" cy="192088"/>
            </a:xfrm>
            <a:custGeom>
              <a:avLst/>
              <a:gdLst>
                <a:gd name="T0" fmla="*/ 48 w 1195"/>
                <a:gd name="T1" fmla="*/ 1411 h 1449"/>
                <a:gd name="T2" fmla="*/ 115 w 1195"/>
                <a:gd name="T3" fmla="*/ 1397 h 1449"/>
                <a:gd name="T4" fmla="*/ 157 w 1195"/>
                <a:gd name="T5" fmla="*/ 1363 h 1449"/>
                <a:gd name="T6" fmla="*/ 188 w 1195"/>
                <a:gd name="T7" fmla="*/ 1304 h 1449"/>
                <a:gd name="T8" fmla="*/ 990 w 1195"/>
                <a:gd name="T9" fmla="*/ 1263 h 1449"/>
                <a:gd name="T10" fmla="*/ 1025 w 1195"/>
                <a:gd name="T11" fmla="*/ 1337 h 1449"/>
                <a:gd name="T12" fmla="*/ 1059 w 1195"/>
                <a:gd name="T13" fmla="*/ 1383 h 1449"/>
                <a:gd name="T14" fmla="*/ 1111 w 1195"/>
                <a:gd name="T15" fmla="*/ 1406 h 1449"/>
                <a:gd name="T16" fmla="*/ 1195 w 1195"/>
                <a:gd name="T17" fmla="*/ 1413 h 1449"/>
                <a:gd name="T18" fmla="*/ 718 w 1195"/>
                <a:gd name="T19" fmla="*/ 1413 h 1449"/>
                <a:gd name="T20" fmla="*/ 805 w 1195"/>
                <a:gd name="T21" fmla="*/ 1406 h 1449"/>
                <a:gd name="T22" fmla="*/ 854 w 1195"/>
                <a:gd name="T23" fmla="*/ 1382 h 1449"/>
                <a:gd name="T24" fmla="*/ 868 w 1195"/>
                <a:gd name="T25" fmla="*/ 1342 h 1449"/>
                <a:gd name="T26" fmla="*/ 852 w 1195"/>
                <a:gd name="T27" fmla="*/ 1281 h 1449"/>
                <a:gd name="T28" fmla="*/ 269 w 1195"/>
                <a:gd name="T29" fmla="*/ 1281 h 1449"/>
                <a:gd name="T30" fmla="*/ 253 w 1195"/>
                <a:gd name="T31" fmla="*/ 1341 h 1449"/>
                <a:gd name="T32" fmla="*/ 267 w 1195"/>
                <a:gd name="T33" fmla="*/ 1382 h 1449"/>
                <a:gd name="T34" fmla="*/ 316 w 1195"/>
                <a:gd name="T35" fmla="*/ 1405 h 1449"/>
                <a:gd name="T36" fmla="*/ 404 w 1195"/>
                <a:gd name="T37" fmla="*/ 1413 h 1449"/>
                <a:gd name="T38" fmla="*/ 740 w 1195"/>
                <a:gd name="T39" fmla="*/ 1027 h 1449"/>
                <a:gd name="T40" fmla="*/ 450 w 1195"/>
                <a:gd name="T41" fmla="*/ 141 h 1449"/>
                <a:gd name="T42" fmla="*/ 456 w 1195"/>
                <a:gd name="T43" fmla="*/ 99 h 1449"/>
                <a:gd name="T44" fmla="*/ 482 w 1195"/>
                <a:gd name="T45" fmla="*/ 51 h 1449"/>
                <a:gd name="T46" fmla="*/ 524 w 1195"/>
                <a:gd name="T47" fmla="*/ 17 h 1449"/>
                <a:gd name="T48" fmla="*/ 577 w 1195"/>
                <a:gd name="T49" fmla="*/ 1 h 1449"/>
                <a:gd name="T50" fmla="*/ 621 w 1195"/>
                <a:gd name="T51" fmla="*/ 3 h 1449"/>
                <a:gd name="T52" fmla="*/ 672 w 1195"/>
                <a:gd name="T53" fmla="*/ 25 h 1449"/>
                <a:gd name="T54" fmla="*/ 711 w 1195"/>
                <a:gd name="T55" fmla="*/ 62 h 1449"/>
                <a:gd name="T56" fmla="*/ 732 w 1195"/>
                <a:gd name="T57" fmla="*/ 112 h 1449"/>
                <a:gd name="T58" fmla="*/ 734 w 1195"/>
                <a:gd name="T59" fmla="*/ 156 h 1449"/>
                <a:gd name="T60" fmla="*/ 718 w 1195"/>
                <a:gd name="T61" fmla="*/ 210 h 1449"/>
                <a:gd name="T62" fmla="*/ 683 w 1195"/>
                <a:gd name="T63" fmla="*/ 252 h 1449"/>
                <a:gd name="T64" fmla="*/ 634 w 1195"/>
                <a:gd name="T65" fmla="*/ 278 h 1449"/>
                <a:gd name="T66" fmla="*/ 591 w 1195"/>
                <a:gd name="T67" fmla="*/ 284 h 1449"/>
                <a:gd name="T68" fmla="*/ 536 w 1195"/>
                <a:gd name="T69" fmla="*/ 273 h 1449"/>
                <a:gd name="T70" fmla="*/ 491 w 1195"/>
                <a:gd name="T71" fmla="*/ 242 h 1449"/>
                <a:gd name="T72" fmla="*/ 461 w 1195"/>
                <a:gd name="T73" fmla="*/ 197 h 1449"/>
                <a:gd name="T74" fmla="*/ 450 w 1195"/>
                <a:gd name="T75" fmla="*/ 141 h 1449"/>
                <a:gd name="T76" fmla="*/ 671 w 1195"/>
                <a:gd name="T77" fmla="*/ 133 h 1449"/>
                <a:gd name="T78" fmla="*/ 662 w 1195"/>
                <a:gd name="T79" fmla="*/ 104 h 1449"/>
                <a:gd name="T80" fmla="*/ 642 w 1195"/>
                <a:gd name="T81" fmla="*/ 82 h 1449"/>
                <a:gd name="T82" fmla="*/ 615 w 1195"/>
                <a:gd name="T83" fmla="*/ 67 h 1449"/>
                <a:gd name="T84" fmla="*/ 591 w 1195"/>
                <a:gd name="T85" fmla="*/ 63 h 1449"/>
                <a:gd name="T86" fmla="*/ 562 w 1195"/>
                <a:gd name="T87" fmla="*/ 70 h 1449"/>
                <a:gd name="T88" fmla="*/ 536 w 1195"/>
                <a:gd name="T89" fmla="*/ 86 h 1449"/>
                <a:gd name="T90" fmla="*/ 519 w 1195"/>
                <a:gd name="T91" fmla="*/ 111 h 1449"/>
                <a:gd name="T92" fmla="*/ 512 w 1195"/>
                <a:gd name="T93" fmla="*/ 141 h 1449"/>
                <a:gd name="T94" fmla="*/ 516 w 1195"/>
                <a:gd name="T95" fmla="*/ 165 h 1449"/>
                <a:gd name="T96" fmla="*/ 531 w 1195"/>
                <a:gd name="T97" fmla="*/ 191 h 1449"/>
                <a:gd name="T98" fmla="*/ 554 w 1195"/>
                <a:gd name="T99" fmla="*/ 211 h 1449"/>
                <a:gd name="T100" fmla="*/ 584 w 1195"/>
                <a:gd name="T101" fmla="*/ 220 h 1449"/>
                <a:gd name="T102" fmla="*/ 608 w 1195"/>
                <a:gd name="T103" fmla="*/ 219 h 1449"/>
                <a:gd name="T104" fmla="*/ 636 w 1195"/>
                <a:gd name="T105" fmla="*/ 207 h 1449"/>
                <a:gd name="T106" fmla="*/ 658 w 1195"/>
                <a:gd name="T107" fmla="*/ 185 h 1449"/>
                <a:gd name="T108" fmla="*/ 669 w 1195"/>
                <a:gd name="T109" fmla="*/ 157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95" h="1449">
                  <a:moveTo>
                    <a:pt x="0" y="1413"/>
                  </a:moveTo>
                  <a:lnTo>
                    <a:pt x="0" y="1413"/>
                  </a:lnTo>
                  <a:lnTo>
                    <a:pt x="26" y="1412"/>
                  </a:lnTo>
                  <a:lnTo>
                    <a:pt x="48" y="1411"/>
                  </a:lnTo>
                  <a:lnTo>
                    <a:pt x="69" y="1409"/>
                  </a:lnTo>
                  <a:lnTo>
                    <a:pt x="86" y="1406"/>
                  </a:lnTo>
                  <a:lnTo>
                    <a:pt x="101" y="1402"/>
                  </a:lnTo>
                  <a:lnTo>
                    <a:pt x="115" y="1397"/>
                  </a:lnTo>
                  <a:lnTo>
                    <a:pt x="127" y="1391"/>
                  </a:lnTo>
                  <a:lnTo>
                    <a:pt x="138" y="1383"/>
                  </a:lnTo>
                  <a:lnTo>
                    <a:pt x="147" y="1374"/>
                  </a:lnTo>
                  <a:lnTo>
                    <a:pt x="157" y="1363"/>
                  </a:lnTo>
                  <a:lnTo>
                    <a:pt x="165" y="1351"/>
                  </a:lnTo>
                  <a:lnTo>
                    <a:pt x="172" y="1337"/>
                  </a:lnTo>
                  <a:lnTo>
                    <a:pt x="180" y="1321"/>
                  </a:lnTo>
                  <a:lnTo>
                    <a:pt x="188" y="1304"/>
                  </a:lnTo>
                  <a:lnTo>
                    <a:pt x="207" y="1263"/>
                  </a:lnTo>
                  <a:lnTo>
                    <a:pt x="586" y="384"/>
                  </a:lnTo>
                  <a:lnTo>
                    <a:pt x="609" y="384"/>
                  </a:lnTo>
                  <a:lnTo>
                    <a:pt x="990" y="1263"/>
                  </a:lnTo>
                  <a:lnTo>
                    <a:pt x="990" y="1263"/>
                  </a:lnTo>
                  <a:lnTo>
                    <a:pt x="1008" y="1304"/>
                  </a:lnTo>
                  <a:lnTo>
                    <a:pt x="1017" y="1321"/>
                  </a:lnTo>
                  <a:lnTo>
                    <a:pt x="1025" y="1337"/>
                  </a:lnTo>
                  <a:lnTo>
                    <a:pt x="1033" y="1351"/>
                  </a:lnTo>
                  <a:lnTo>
                    <a:pt x="1041" y="1363"/>
                  </a:lnTo>
                  <a:lnTo>
                    <a:pt x="1049" y="1374"/>
                  </a:lnTo>
                  <a:lnTo>
                    <a:pt x="1059" y="1383"/>
                  </a:lnTo>
                  <a:lnTo>
                    <a:pt x="1070" y="1391"/>
                  </a:lnTo>
                  <a:lnTo>
                    <a:pt x="1082" y="1397"/>
                  </a:lnTo>
                  <a:lnTo>
                    <a:pt x="1095" y="1402"/>
                  </a:lnTo>
                  <a:lnTo>
                    <a:pt x="1111" y="1406"/>
                  </a:lnTo>
                  <a:lnTo>
                    <a:pt x="1128" y="1409"/>
                  </a:lnTo>
                  <a:lnTo>
                    <a:pt x="1147" y="1411"/>
                  </a:lnTo>
                  <a:lnTo>
                    <a:pt x="1170" y="1412"/>
                  </a:lnTo>
                  <a:lnTo>
                    <a:pt x="1195" y="1413"/>
                  </a:lnTo>
                  <a:lnTo>
                    <a:pt x="1195" y="1449"/>
                  </a:lnTo>
                  <a:lnTo>
                    <a:pt x="718" y="1449"/>
                  </a:lnTo>
                  <a:lnTo>
                    <a:pt x="718" y="1413"/>
                  </a:lnTo>
                  <a:lnTo>
                    <a:pt x="718" y="1413"/>
                  </a:lnTo>
                  <a:lnTo>
                    <a:pt x="744" y="1412"/>
                  </a:lnTo>
                  <a:lnTo>
                    <a:pt x="766" y="1411"/>
                  </a:lnTo>
                  <a:lnTo>
                    <a:pt x="786" y="1409"/>
                  </a:lnTo>
                  <a:lnTo>
                    <a:pt x="805" y="1406"/>
                  </a:lnTo>
                  <a:lnTo>
                    <a:pt x="820" y="1402"/>
                  </a:lnTo>
                  <a:lnTo>
                    <a:pt x="834" y="1397"/>
                  </a:lnTo>
                  <a:lnTo>
                    <a:pt x="845" y="1390"/>
                  </a:lnTo>
                  <a:lnTo>
                    <a:pt x="854" y="1382"/>
                  </a:lnTo>
                  <a:lnTo>
                    <a:pt x="861" y="1374"/>
                  </a:lnTo>
                  <a:lnTo>
                    <a:pt x="865" y="1365"/>
                  </a:lnTo>
                  <a:lnTo>
                    <a:pt x="868" y="1354"/>
                  </a:lnTo>
                  <a:lnTo>
                    <a:pt x="868" y="1342"/>
                  </a:lnTo>
                  <a:lnTo>
                    <a:pt x="867" y="1329"/>
                  </a:lnTo>
                  <a:lnTo>
                    <a:pt x="864" y="1315"/>
                  </a:lnTo>
                  <a:lnTo>
                    <a:pt x="859" y="1299"/>
                  </a:lnTo>
                  <a:lnTo>
                    <a:pt x="852" y="1281"/>
                  </a:lnTo>
                  <a:lnTo>
                    <a:pt x="769" y="1090"/>
                  </a:lnTo>
                  <a:lnTo>
                    <a:pt x="352" y="1090"/>
                  </a:lnTo>
                  <a:lnTo>
                    <a:pt x="269" y="1281"/>
                  </a:lnTo>
                  <a:lnTo>
                    <a:pt x="269" y="1281"/>
                  </a:lnTo>
                  <a:lnTo>
                    <a:pt x="262" y="1299"/>
                  </a:lnTo>
                  <a:lnTo>
                    <a:pt x="257" y="1314"/>
                  </a:lnTo>
                  <a:lnTo>
                    <a:pt x="254" y="1328"/>
                  </a:lnTo>
                  <a:lnTo>
                    <a:pt x="253" y="1341"/>
                  </a:lnTo>
                  <a:lnTo>
                    <a:pt x="253" y="1353"/>
                  </a:lnTo>
                  <a:lnTo>
                    <a:pt x="256" y="1364"/>
                  </a:lnTo>
                  <a:lnTo>
                    <a:pt x="260" y="1373"/>
                  </a:lnTo>
                  <a:lnTo>
                    <a:pt x="267" y="1382"/>
                  </a:lnTo>
                  <a:lnTo>
                    <a:pt x="276" y="1390"/>
                  </a:lnTo>
                  <a:lnTo>
                    <a:pt x="287" y="1396"/>
                  </a:lnTo>
                  <a:lnTo>
                    <a:pt x="301" y="1401"/>
                  </a:lnTo>
                  <a:lnTo>
                    <a:pt x="316" y="1405"/>
                  </a:lnTo>
                  <a:lnTo>
                    <a:pt x="335" y="1409"/>
                  </a:lnTo>
                  <a:lnTo>
                    <a:pt x="355" y="1411"/>
                  </a:lnTo>
                  <a:lnTo>
                    <a:pt x="378" y="1412"/>
                  </a:lnTo>
                  <a:lnTo>
                    <a:pt x="404" y="1413"/>
                  </a:lnTo>
                  <a:lnTo>
                    <a:pt x="404" y="1449"/>
                  </a:lnTo>
                  <a:lnTo>
                    <a:pt x="0" y="1449"/>
                  </a:lnTo>
                  <a:lnTo>
                    <a:pt x="0" y="1413"/>
                  </a:lnTo>
                  <a:close/>
                  <a:moveTo>
                    <a:pt x="740" y="1027"/>
                  </a:moveTo>
                  <a:lnTo>
                    <a:pt x="558" y="610"/>
                  </a:lnTo>
                  <a:lnTo>
                    <a:pt x="380" y="1027"/>
                  </a:lnTo>
                  <a:lnTo>
                    <a:pt x="740" y="1027"/>
                  </a:lnTo>
                  <a:close/>
                  <a:moveTo>
                    <a:pt x="450" y="141"/>
                  </a:moveTo>
                  <a:lnTo>
                    <a:pt x="450" y="141"/>
                  </a:lnTo>
                  <a:lnTo>
                    <a:pt x="451" y="127"/>
                  </a:lnTo>
                  <a:lnTo>
                    <a:pt x="453" y="112"/>
                  </a:lnTo>
                  <a:lnTo>
                    <a:pt x="456" y="99"/>
                  </a:lnTo>
                  <a:lnTo>
                    <a:pt x="461" y="87"/>
                  </a:lnTo>
                  <a:lnTo>
                    <a:pt x="467" y="74"/>
                  </a:lnTo>
                  <a:lnTo>
                    <a:pt x="474" y="62"/>
                  </a:lnTo>
                  <a:lnTo>
                    <a:pt x="482" y="51"/>
                  </a:lnTo>
                  <a:lnTo>
                    <a:pt x="491" y="42"/>
                  </a:lnTo>
                  <a:lnTo>
                    <a:pt x="501" y="33"/>
                  </a:lnTo>
                  <a:lnTo>
                    <a:pt x="512" y="25"/>
                  </a:lnTo>
                  <a:lnTo>
                    <a:pt x="524" y="17"/>
                  </a:lnTo>
                  <a:lnTo>
                    <a:pt x="536" y="11"/>
                  </a:lnTo>
                  <a:lnTo>
                    <a:pt x="549" y="6"/>
                  </a:lnTo>
                  <a:lnTo>
                    <a:pt x="563" y="3"/>
                  </a:lnTo>
                  <a:lnTo>
                    <a:pt x="577" y="1"/>
                  </a:lnTo>
                  <a:lnTo>
                    <a:pt x="591" y="0"/>
                  </a:lnTo>
                  <a:lnTo>
                    <a:pt x="591" y="0"/>
                  </a:lnTo>
                  <a:lnTo>
                    <a:pt x="607" y="1"/>
                  </a:lnTo>
                  <a:lnTo>
                    <a:pt x="621" y="3"/>
                  </a:lnTo>
                  <a:lnTo>
                    <a:pt x="634" y="6"/>
                  </a:lnTo>
                  <a:lnTo>
                    <a:pt x="647" y="11"/>
                  </a:lnTo>
                  <a:lnTo>
                    <a:pt x="660" y="17"/>
                  </a:lnTo>
                  <a:lnTo>
                    <a:pt x="672" y="25"/>
                  </a:lnTo>
                  <a:lnTo>
                    <a:pt x="683" y="33"/>
                  </a:lnTo>
                  <a:lnTo>
                    <a:pt x="693" y="42"/>
                  </a:lnTo>
                  <a:lnTo>
                    <a:pt x="703" y="51"/>
                  </a:lnTo>
                  <a:lnTo>
                    <a:pt x="711" y="62"/>
                  </a:lnTo>
                  <a:lnTo>
                    <a:pt x="718" y="74"/>
                  </a:lnTo>
                  <a:lnTo>
                    <a:pt x="724" y="87"/>
                  </a:lnTo>
                  <a:lnTo>
                    <a:pt x="728" y="99"/>
                  </a:lnTo>
                  <a:lnTo>
                    <a:pt x="732" y="112"/>
                  </a:lnTo>
                  <a:lnTo>
                    <a:pt x="734" y="127"/>
                  </a:lnTo>
                  <a:lnTo>
                    <a:pt x="735" y="141"/>
                  </a:lnTo>
                  <a:lnTo>
                    <a:pt x="735" y="141"/>
                  </a:lnTo>
                  <a:lnTo>
                    <a:pt x="734" y="156"/>
                  </a:lnTo>
                  <a:lnTo>
                    <a:pt x="732" y="170"/>
                  </a:lnTo>
                  <a:lnTo>
                    <a:pt x="728" y="184"/>
                  </a:lnTo>
                  <a:lnTo>
                    <a:pt x="724" y="197"/>
                  </a:lnTo>
                  <a:lnTo>
                    <a:pt x="718" y="210"/>
                  </a:lnTo>
                  <a:lnTo>
                    <a:pt x="711" y="222"/>
                  </a:lnTo>
                  <a:lnTo>
                    <a:pt x="703" y="232"/>
                  </a:lnTo>
                  <a:lnTo>
                    <a:pt x="693" y="242"/>
                  </a:lnTo>
                  <a:lnTo>
                    <a:pt x="683" y="252"/>
                  </a:lnTo>
                  <a:lnTo>
                    <a:pt x="672" y="260"/>
                  </a:lnTo>
                  <a:lnTo>
                    <a:pt x="660" y="267"/>
                  </a:lnTo>
                  <a:lnTo>
                    <a:pt x="647" y="273"/>
                  </a:lnTo>
                  <a:lnTo>
                    <a:pt x="634" y="278"/>
                  </a:lnTo>
                  <a:lnTo>
                    <a:pt x="621" y="281"/>
                  </a:lnTo>
                  <a:lnTo>
                    <a:pt x="607" y="284"/>
                  </a:lnTo>
                  <a:lnTo>
                    <a:pt x="591" y="284"/>
                  </a:lnTo>
                  <a:lnTo>
                    <a:pt x="591" y="284"/>
                  </a:lnTo>
                  <a:lnTo>
                    <a:pt x="577" y="284"/>
                  </a:lnTo>
                  <a:lnTo>
                    <a:pt x="563" y="281"/>
                  </a:lnTo>
                  <a:lnTo>
                    <a:pt x="549" y="278"/>
                  </a:lnTo>
                  <a:lnTo>
                    <a:pt x="536" y="273"/>
                  </a:lnTo>
                  <a:lnTo>
                    <a:pt x="524" y="267"/>
                  </a:lnTo>
                  <a:lnTo>
                    <a:pt x="512" y="260"/>
                  </a:lnTo>
                  <a:lnTo>
                    <a:pt x="501" y="252"/>
                  </a:lnTo>
                  <a:lnTo>
                    <a:pt x="491" y="242"/>
                  </a:lnTo>
                  <a:lnTo>
                    <a:pt x="482" y="232"/>
                  </a:lnTo>
                  <a:lnTo>
                    <a:pt x="474" y="222"/>
                  </a:lnTo>
                  <a:lnTo>
                    <a:pt x="467" y="210"/>
                  </a:lnTo>
                  <a:lnTo>
                    <a:pt x="461" y="197"/>
                  </a:lnTo>
                  <a:lnTo>
                    <a:pt x="456" y="184"/>
                  </a:lnTo>
                  <a:lnTo>
                    <a:pt x="453" y="170"/>
                  </a:lnTo>
                  <a:lnTo>
                    <a:pt x="451" y="156"/>
                  </a:lnTo>
                  <a:lnTo>
                    <a:pt x="450" y="141"/>
                  </a:lnTo>
                  <a:lnTo>
                    <a:pt x="450" y="141"/>
                  </a:lnTo>
                  <a:close/>
                  <a:moveTo>
                    <a:pt x="671" y="141"/>
                  </a:moveTo>
                  <a:lnTo>
                    <a:pt x="671" y="141"/>
                  </a:lnTo>
                  <a:lnTo>
                    <a:pt x="671" y="133"/>
                  </a:lnTo>
                  <a:lnTo>
                    <a:pt x="669" y="126"/>
                  </a:lnTo>
                  <a:lnTo>
                    <a:pt x="668" y="119"/>
                  </a:lnTo>
                  <a:lnTo>
                    <a:pt x="665" y="111"/>
                  </a:lnTo>
                  <a:lnTo>
                    <a:pt x="662" y="104"/>
                  </a:lnTo>
                  <a:lnTo>
                    <a:pt x="658" y="98"/>
                  </a:lnTo>
                  <a:lnTo>
                    <a:pt x="653" y="92"/>
                  </a:lnTo>
                  <a:lnTo>
                    <a:pt x="647" y="86"/>
                  </a:lnTo>
                  <a:lnTo>
                    <a:pt x="642" y="82"/>
                  </a:lnTo>
                  <a:lnTo>
                    <a:pt x="636" y="77"/>
                  </a:lnTo>
                  <a:lnTo>
                    <a:pt x="629" y="73"/>
                  </a:lnTo>
                  <a:lnTo>
                    <a:pt x="622" y="70"/>
                  </a:lnTo>
                  <a:lnTo>
                    <a:pt x="615" y="67"/>
                  </a:lnTo>
                  <a:lnTo>
                    <a:pt x="608" y="65"/>
                  </a:lnTo>
                  <a:lnTo>
                    <a:pt x="599" y="64"/>
                  </a:lnTo>
                  <a:lnTo>
                    <a:pt x="591" y="63"/>
                  </a:lnTo>
                  <a:lnTo>
                    <a:pt x="591" y="63"/>
                  </a:lnTo>
                  <a:lnTo>
                    <a:pt x="584" y="64"/>
                  </a:lnTo>
                  <a:lnTo>
                    <a:pt x="576" y="65"/>
                  </a:lnTo>
                  <a:lnTo>
                    <a:pt x="569" y="67"/>
                  </a:lnTo>
                  <a:lnTo>
                    <a:pt x="562" y="70"/>
                  </a:lnTo>
                  <a:lnTo>
                    <a:pt x="554" y="73"/>
                  </a:lnTo>
                  <a:lnTo>
                    <a:pt x="547" y="77"/>
                  </a:lnTo>
                  <a:lnTo>
                    <a:pt x="541" y="82"/>
                  </a:lnTo>
                  <a:lnTo>
                    <a:pt x="536" y="86"/>
                  </a:lnTo>
                  <a:lnTo>
                    <a:pt x="531" y="92"/>
                  </a:lnTo>
                  <a:lnTo>
                    <a:pt x="526" y="98"/>
                  </a:lnTo>
                  <a:lnTo>
                    <a:pt x="522" y="104"/>
                  </a:lnTo>
                  <a:lnTo>
                    <a:pt x="519" y="111"/>
                  </a:lnTo>
                  <a:lnTo>
                    <a:pt x="516" y="119"/>
                  </a:lnTo>
                  <a:lnTo>
                    <a:pt x="513" y="126"/>
                  </a:lnTo>
                  <a:lnTo>
                    <a:pt x="512" y="133"/>
                  </a:lnTo>
                  <a:lnTo>
                    <a:pt x="512" y="141"/>
                  </a:lnTo>
                  <a:lnTo>
                    <a:pt x="512" y="141"/>
                  </a:lnTo>
                  <a:lnTo>
                    <a:pt x="512" y="149"/>
                  </a:lnTo>
                  <a:lnTo>
                    <a:pt x="513" y="157"/>
                  </a:lnTo>
                  <a:lnTo>
                    <a:pt x="516" y="165"/>
                  </a:lnTo>
                  <a:lnTo>
                    <a:pt x="519" y="172"/>
                  </a:lnTo>
                  <a:lnTo>
                    <a:pt x="522" y="179"/>
                  </a:lnTo>
                  <a:lnTo>
                    <a:pt x="526" y="185"/>
                  </a:lnTo>
                  <a:lnTo>
                    <a:pt x="531" y="191"/>
                  </a:lnTo>
                  <a:lnTo>
                    <a:pt x="536" y="197"/>
                  </a:lnTo>
                  <a:lnTo>
                    <a:pt x="541" y="202"/>
                  </a:lnTo>
                  <a:lnTo>
                    <a:pt x="547" y="207"/>
                  </a:lnTo>
                  <a:lnTo>
                    <a:pt x="554" y="211"/>
                  </a:lnTo>
                  <a:lnTo>
                    <a:pt x="562" y="215"/>
                  </a:lnTo>
                  <a:lnTo>
                    <a:pt x="569" y="217"/>
                  </a:lnTo>
                  <a:lnTo>
                    <a:pt x="576" y="219"/>
                  </a:lnTo>
                  <a:lnTo>
                    <a:pt x="584" y="220"/>
                  </a:lnTo>
                  <a:lnTo>
                    <a:pt x="591" y="221"/>
                  </a:lnTo>
                  <a:lnTo>
                    <a:pt x="591" y="221"/>
                  </a:lnTo>
                  <a:lnTo>
                    <a:pt x="599" y="220"/>
                  </a:lnTo>
                  <a:lnTo>
                    <a:pt x="608" y="219"/>
                  </a:lnTo>
                  <a:lnTo>
                    <a:pt x="615" y="217"/>
                  </a:lnTo>
                  <a:lnTo>
                    <a:pt x="622" y="215"/>
                  </a:lnTo>
                  <a:lnTo>
                    <a:pt x="629" y="211"/>
                  </a:lnTo>
                  <a:lnTo>
                    <a:pt x="636" y="207"/>
                  </a:lnTo>
                  <a:lnTo>
                    <a:pt x="642" y="202"/>
                  </a:lnTo>
                  <a:lnTo>
                    <a:pt x="647" y="197"/>
                  </a:lnTo>
                  <a:lnTo>
                    <a:pt x="653" y="191"/>
                  </a:lnTo>
                  <a:lnTo>
                    <a:pt x="658" y="185"/>
                  </a:lnTo>
                  <a:lnTo>
                    <a:pt x="662" y="179"/>
                  </a:lnTo>
                  <a:lnTo>
                    <a:pt x="665" y="172"/>
                  </a:lnTo>
                  <a:lnTo>
                    <a:pt x="668" y="165"/>
                  </a:lnTo>
                  <a:lnTo>
                    <a:pt x="669" y="157"/>
                  </a:lnTo>
                  <a:lnTo>
                    <a:pt x="671" y="149"/>
                  </a:lnTo>
                  <a:lnTo>
                    <a:pt x="671" y="141"/>
                  </a:lnTo>
                  <a:lnTo>
                    <a:pt x="671" y="1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3" name="Freeform 26"/>
            <p:cNvSpPr>
              <a:spLocks noEditPoints="1"/>
            </p:cNvSpPr>
            <p:nvPr userDrawn="1"/>
          </p:nvSpPr>
          <p:spPr bwMode="auto">
            <a:xfrm>
              <a:off x="7626598" y="898692"/>
              <a:ext cx="138113" cy="136525"/>
            </a:xfrm>
            <a:custGeom>
              <a:avLst/>
              <a:gdLst>
                <a:gd name="T0" fmla="*/ 48 w 1043"/>
                <a:gd name="T1" fmla="*/ 997 h 1035"/>
                <a:gd name="T2" fmla="*/ 115 w 1043"/>
                <a:gd name="T3" fmla="*/ 981 h 1035"/>
                <a:gd name="T4" fmla="*/ 135 w 1043"/>
                <a:gd name="T5" fmla="*/ 962 h 1035"/>
                <a:gd name="T6" fmla="*/ 155 w 1043"/>
                <a:gd name="T7" fmla="*/ 920 h 1035"/>
                <a:gd name="T8" fmla="*/ 164 w 1043"/>
                <a:gd name="T9" fmla="*/ 827 h 1035"/>
                <a:gd name="T10" fmla="*/ 164 w 1043"/>
                <a:gd name="T11" fmla="*/ 206 h 1035"/>
                <a:gd name="T12" fmla="*/ 155 w 1043"/>
                <a:gd name="T13" fmla="*/ 114 h 1035"/>
                <a:gd name="T14" fmla="*/ 135 w 1043"/>
                <a:gd name="T15" fmla="*/ 72 h 1035"/>
                <a:gd name="T16" fmla="*/ 115 w 1043"/>
                <a:gd name="T17" fmla="*/ 54 h 1035"/>
                <a:gd name="T18" fmla="*/ 48 w 1043"/>
                <a:gd name="T19" fmla="*/ 38 h 1035"/>
                <a:gd name="T20" fmla="*/ 468 w 1043"/>
                <a:gd name="T21" fmla="*/ 0 h 1035"/>
                <a:gd name="T22" fmla="*/ 574 w 1043"/>
                <a:gd name="T23" fmla="*/ 6 h 1035"/>
                <a:gd name="T24" fmla="*/ 699 w 1043"/>
                <a:gd name="T25" fmla="*/ 32 h 1035"/>
                <a:gd name="T26" fmla="*/ 803 w 1043"/>
                <a:gd name="T27" fmla="*/ 75 h 1035"/>
                <a:gd name="T28" fmla="*/ 888 w 1043"/>
                <a:gd name="T29" fmla="*/ 135 h 1035"/>
                <a:gd name="T30" fmla="*/ 953 w 1043"/>
                <a:gd name="T31" fmla="*/ 209 h 1035"/>
                <a:gd name="T32" fmla="*/ 1001 w 1043"/>
                <a:gd name="T33" fmla="*/ 294 h 1035"/>
                <a:gd name="T34" fmla="*/ 1031 w 1043"/>
                <a:gd name="T35" fmla="*/ 389 h 1035"/>
                <a:gd name="T36" fmla="*/ 1043 w 1043"/>
                <a:gd name="T37" fmla="*/ 491 h 1035"/>
                <a:gd name="T38" fmla="*/ 1041 w 1043"/>
                <a:gd name="T39" fmla="*/ 570 h 1035"/>
                <a:gd name="T40" fmla="*/ 1025 w 1043"/>
                <a:gd name="T41" fmla="*/ 671 h 1035"/>
                <a:gd name="T42" fmla="*/ 991 w 1043"/>
                <a:gd name="T43" fmla="*/ 764 h 1035"/>
                <a:gd name="T44" fmla="*/ 939 w 1043"/>
                <a:gd name="T45" fmla="*/ 846 h 1035"/>
                <a:gd name="T46" fmla="*/ 868 w 1043"/>
                <a:gd name="T47" fmla="*/ 916 h 1035"/>
                <a:gd name="T48" fmla="*/ 779 w 1043"/>
                <a:gd name="T49" fmla="*/ 972 h 1035"/>
                <a:gd name="T50" fmla="*/ 670 w 1043"/>
                <a:gd name="T51" fmla="*/ 1011 h 1035"/>
                <a:gd name="T52" fmla="*/ 540 w 1043"/>
                <a:gd name="T53" fmla="*/ 1032 h 1035"/>
                <a:gd name="T54" fmla="*/ 0 w 1043"/>
                <a:gd name="T55" fmla="*/ 999 h 1035"/>
                <a:gd name="T56" fmla="*/ 529 w 1043"/>
                <a:gd name="T57" fmla="*/ 968 h 1035"/>
                <a:gd name="T58" fmla="*/ 631 w 1043"/>
                <a:gd name="T59" fmla="*/ 947 h 1035"/>
                <a:gd name="T60" fmla="*/ 713 w 1043"/>
                <a:gd name="T61" fmla="*/ 906 h 1035"/>
                <a:gd name="T62" fmla="*/ 775 w 1043"/>
                <a:gd name="T63" fmla="*/ 852 h 1035"/>
                <a:gd name="T64" fmla="*/ 820 w 1043"/>
                <a:gd name="T65" fmla="*/ 785 h 1035"/>
                <a:gd name="T66" fmla="*/ 851 w 1043"/>
                <a:gd name="T67" fmla="*/ 712 h 1035"/>
                <a:gd name="T68" fmla="*/ 869 w 1043"/>
                <a:gd name="T69" fmla="*/ 634 h 1035"/>
                <a:gd name="T70" fmla="*/ 878 w 1043"/>
                <a:gd name="T71" fmla="*/ 517 h 1035"/>
                <a:gd name="T72" fmla="*/ 865 w 1043"/>
                <a:gd name="T73" fmla="*/ 380 h 1035"/>
                <a:gd name="T74" fmla="*/ 845 w 1043"/>
                <a:gd name="T75" fmla="*/ 304 h 1035"/>
                <a:gd name="T76" fmla="*/ 810 w 1043"/>
                <a:gd name="T77" fmla="*/ 231 h 1035"/>
                <a:gd name="T78" fmla="*/ 761 w 1043"/>
                <a:gd name="T79" fmla="*/ 168 h 1035"/>
                <a:gd name="T80" fmla="*/ 695 w 1043"/>
                <a:gd name="T81" fmla="*/ 117 h 1035"/>
                <a:gd name="T82" fmla="*/ 608 w 1043"/>
                <a:gd name="T83" fmla="*/ 81 h 1035"/>
                <a:gd name="T84" fmla="*/ 500 w 1043"/>
                <a:gd name="T85" fmla="*/ 65 h 1035"/>
                <a:gd name="T86" fmla="*/ 302 w 1043"/>
                <a:gd name="T87" fmla="*/ 771 h 1035"/>
                <a:gd name="T88" fmla="*/ 307 w 1043"/>
                <a:gd name="T89" fmla="*/ 875 h 1035"/>
                <a:gd name="T90" fmla="*/ 324 w 1043"/>
                <a:gd name="T91" fmla="*/ 931 h 1035"/>
                <a:gd name="T92" fmla="*/ 344 w 1043"/>
                <a:gd name="T93" fmla="*/ 950 h 1035"/>
                <a:gd name="T94" fmla="*/ 395 w 1043"/>
                <a:gd name="T95" fmla="*/ 967 h 1035"/>
                <a:gd name="T96" fmla="*/ 469 w 1043"/>
                <a:gd name="T97" fmla="*/ 971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43" h="1035">
                  <a:moveTo>
                    <a:pt x="0" y="999"/>
                  </a:moveTo>
                  <a:lnTo>
                    <a:pt x="0" y="999"/>
                  </a:lnTo>
                  <a:lnTo>
                    <a:pt x="25" y="998"/>
                  </a:lnTo>
                  <a:lnTo>
                    <a:pt x="48" y="997"/>
                  </a:lnTo>
                  <a:lnTo>
                    <a:pt x="68" y="995"/>
                  </a:lnTo>
                  <a:lnTo>
                    <a:pt x="86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1" y="977"/>
                  </a:lnTo>
                  <a:lnTo>
                    <a:pt x="126" y="972"/>
                  </a:lnTo>
                  <a:lnTo>
                    <a:pt x="131" y="967"/>
                  </a:lnTo>
                  <a:lnTo>
                    <a:pt x="135" y="962"/>
                  </a:lnTo>
                  <a:lnTo>
                    <a:pt x="139" y="957"/>
                  </a:lnTo>
                  <a:lnTo>
                    <a:pt x="143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8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4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4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8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3" y="83"/>
                  </a:lnTo>
                  <a:lnTo>
                    <a:pt x="139" y="77"/>
                  </a:lnTo>
                  <a:lnTo>
                    <a:pt x="135" y="72"/>
                  </a:lnTo>
                  <a:lnTo>
                    <a:pt x="131" y="67"/>
                  </a:lnTo>
                  <a:lnTo>
                    <a:pt x="126" y="61"/>
                  </a:lnTo>
                  <a:lnTo>
                    <a:pt x="121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6" y="43"/>
                  </a:lnTo>
                  <a:lnTo>
                    <a:pt x="68" y="40"/>
                  </a:lnTo>
                  <a:lnTo>
                    <a:pt x="48" y="38"/>
                  </a:lnTo>
                  <a:lnTo>
                    <a:pt x="25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468" y="0"/>
                  </a:lnTo>
                  <a:lnTo>
                    <a:pt x="468" y="0"/>
                  </a:lnTo>
                  <a:lnTo>
                    <a:pt x="504" y="0"/>
                  </a:lnTo>
                  <a:lnTo>
                    <a:pt x="540" y="2"/>
                  </a:lnTo>
                  <a:lnTo>
                    <a:pt x="574" y="6"/>
                  </a:lnTo>
                  <a:lnTo>
                    <a:pt x="608" y="10"/>
                  </a:lnTo>
                  <a:lnTo>
                    <a:pt x="639" y="16"/>
                  </a:lnTo>
                  <a:lnTo>
                    <a:pt x="670" y="24"/>
                  </a:lnTo>
                  <a:lnTo>
                    <a:pt x="699" y="32"/>
                  </a:lnTo>
                  <a:lnTo>
                    <a:pt x="727" y="41"/>
                  </a:lnTo>
                  <a:lnTo>
                    <a:pt x="754" y="51"/>
                  </a:lnTo>
                  <a:lnTo>
                    <a:pt x="779" y="62"/>
                  </a:lnTo>
                  <a:lnTo>
                    <a:pt x="803" y="75"/>
                  </a:lnTo>
                  <a:lnTo>
                    <a:pt x="827" y="88"/>
                  </a:lnTo>
                  <a:lnTo>
                    <a:pt x="848" y="103"/>
                  </a:lnTo>
                  <a:lnTo>
                    <a:pt x="868" y="119"/>
                  </a:lnTo>
                  <a:lnTo>
                    <a:pt x="888" y="135"/>
                  </a:lnTo>
                  <a:lnTo>
                    <a:pt x="906" y="151"/>
                  </a:lnTo>
                  <a:lnTo>
                    <a:pt x="924" y="170"/>
                  </a:lnTo>
                  <a:lnTo>
                    <a:pt x="939" y="188"/>
                  </a:lnTo>
                  <a:lnTo>
                    <a:pt x="953" y="209"/>
                  </a:lnTo>
                  <a:lnTo>
                    <a:pt x="968" y="228"/>
                  </a:lnTo>
                  <a:lnTo>
                    <a:pt x="980" y="250"/>
                  </a:lnTo>
                  <a:lnTo>
                    <a:pt x="991" y="271"/>
                  </a:lnTo>
                  <a:lnTo>
                    <a:pt x="1001" y="294"/>
                  </a:lnTo>
                  <a:lnTo>
                    <a:pt x="1010" y="316"/>
                  </a:lnTo>
                  <a:lnTo>
                    <a:pt x="1018" y="340"/>
                  </a:lnTo>
                  <a:lnTo>
                    <a:pt x="1025" y="364"/>
                  </a:lnTo>
                  <a:lnTo>
                    <a:pt x="1031" y="389"/>
                  </a:lnTo>
                  <a:lnTo>
                    <a:pt x="1035" y="413"/>
                  </a:lnTo>
                  <a:lnTo>
                    <a:pt x="1039" y="439"/>
                  </a:lnTo>
                  <a:lnTo>
                    <a:pt x="1041" y="464"/>
                  </a:lnTo>
                  <a:lnTo>
                    <a:pt x="1043" y="491"/>
                  </a:lnTo>
                  <a:lnTo>
                    <a:pt x="1043" y="517"/>
                  </a:lnTo>
                  <a:lnTo>
                    <a:pt x="1043" y="517"/>
                  </a:lnTo>
                  <a:lnTo>
                    <a:pt x="1043" y="544"/>
                  </a:lnTo>
                  <a:lnTo>
                    <a:pt x="1041" y="570"/>
                  </a:lnTo>
                  <a:lnTo>
                    <a:pt x="1039" y="596"/>
                  </a:lnTo>
                  <a:lnTo>
                    <a:pt x="1035" y="622"/>
                  </a:lnTo>
                  <a:lnTo>
                    <a:pt x="1031" y="646"/>
                  </a:lnTo>
                  <a:lnTo>
                    <a:pt x="1025" y="671"/>
                  </a:lnTo>
                  <a:lnTo>
                    <a:pt x="1018" y="694"/>
                  </a:lnTo>
                  <a:lnTo>
                    <a:pt x="1010" y="718"/>
                  </a:lnTo>
                  <a:lnTo>
                    <a:pt x="1001" y="741"/>
                  </a:lnTo>
                  <a:lnTo>
                    <a:pt x="991" y="764"/>
                  </a:lnTo>
                  <a:lnTo>
                    <a:pt x="980" y="785"/>
                  </a:lnTo>
                  <a:lnTo>
                    <a:pt x="968" y="806"/>
                  </a:lnTo>
                  <a:lnTo>
                    <a:pt x="953" y="826"/>
                  </a:lnTo>
                  <a:lnTo>
                    <a:pt x="939" y="846"/>
                  </a:lnTo>
                  <a:lnTo>
                    <a:pt x="924" y="865"/>
                  </a:lnTo>
                  <a:lnTo>
                    <a:pt x="906" y="882"/>
                  </a:lnTo>
                  <a:lnTo>
                    <a:pt x="888" y="900"/>
                  </a:lnTo>
                  <a:lnTo>
                    <a:pt x="868" y="916"/>
                  </a:lnTo>
                  <a:lnTo>
                    <a:pt x="848" y="932"/>
                  </a:lnTo>
                  <a:lnTo>
                    <a:pt x="827" y="946"/>
                  </a:lnTo>
                  <a:lnTo>
                    <a:pt x="803" y="959"/>
                  </a:lnTo>
                  <a:lnTo>
                    <a:pt x="779" y="972"/>
                  </a:lnTo>
                  <a:lnTo>
                    <a:pt x="754" y="984"/>
                  </a:lnTo>
                  <a:lnTo>
                    <a:pt x="727" y="994"/>
                  </a:lnTo>
                  <a:lnTo>
                    <a:pt x="699" y="1003"/>
                  </a:lnTo>
                  <a:lnTo>
                    <a:pt x="670" y="1011"/>
                  </a:lnTo>
                  <a:lnTo>
                    <a:pt x="639" y="1018"/>
                  </a:lnTo>
                  <a:lnTo>
                    <a:pt x="608" y="1025"/>
                  </a:lnTo>
                  <a:lnTo>
                    <a:pt x="574" y="1029"/>
                  </a:lnTo>
                  <a:lnTo>
                    <a:pt x="540" y="1032"/>
                  </a:lnTo>
                  <a:lnTo>
                    <a:pt x="504" y="1034"/>
                  </a:lnTo>
                  <a:lnTo>
                    <a:pt x="468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  <a:moveTo>
                    <a:pt x="469" y="971"/>
                  </a:moveTo>
                  <a:lnTo>
                    <a:pt x="469" y="971"/>
                  </a:lnTo>
                  <a:lnTo>
                    <a:pt x="500" y="970"/>
                  </a:lnTo>
                  <a:lnTo>
                    <a:pt x="529" y="968"/>
                  </a:lnTo>
                  <a:lnTo>
                    <a:pt x="557" y="964"/>
                  </a:lnTo>
                  <a:lnTo>
                    <a:pt x="583" y="960"/>
                  </a:lnTo>
                  <a:lnTo>
                    <a:pt x="608" y="954"/>
                  </a:lnTo>
                  <a:lnTo>
                    <a:pt x="631" y="947"/>
                  </a:lnTo>
                  <a:lnTo>
                    <a:pt x="654" y="938"/>
                  </a:lnTo>
                  <a:lnTo>
                    <a:pt x="675" y="928"/>
                  </a:lnTo>
                  <a:lnTo>
                    <a:pt x="695" y="918"/>
                  </a:lnTo>
                  <a:lnTo>
                    <a:pt x="713" y="906"/>
                  </a:lnTo>
                  <a:lnTo>
                    <a:pt x="730" y="894"/>
                  </a:lnTo>
                  <a:lnTo>
                    <a:pt x="747" y="880"/>
                  </a:lnTo>
                  <a:lnTo>
                    <a:pt x="761" y="866"/>
                  </a:lnTo>
                  <a:lnTo>
                    <a:pt x="775" y="852"/>
                  </a:lnTo>
                  <a:lnTo>
                    <a:pt x="788" y="836"/>
                  </a:lnTo>
                  <a:lnTo>
                    <a:pt x="800" y="820"/>
                  </a:lnTo>
                  <a:lnTo>
                    <a:pt x="810" y="803"/>
                  </a:lnTo>
                  <a:lnTo>
                    <a:pt x="820" y="785"/>
                  </a:lnTo>
                  <a:lnTo>
                    <a:pt x="830" y="768"/>
                  </a:lnTo>
                  <a:lnTo>
                    <a:pt x="838" y="750"/>
                  </a:lnTo>
                  <a:lnTo>
                    <a:pt x="845" y="731"/>
                  </a:lnTo>
                  <a:lnTo>
                    <a:pt x="851" y="712"/>
                  </a:lnTo>
                  <a:lnTo>
                    <a:pt x="856" y="692"/>
                  </a:lnTo>
                  <a:lnTo>
                    <a:pt x="861" y="673"/>
                  </a:lnTo>
                  <a:lnTo>
                    <a:pt x="865" y="653"/>
                  </a:lnTo>
                  <a:lnTo>
                    <a:pt x="869" y="634"/>
                  </a:lnTo>
                  <a:lnTo>
                    <a:pt x="875" y="595"/>
                  </a:lnTo>
                  <a:lnTo>
                    <a:pt x="877" y="555"/>
                  </a:lnTo>
                  <a:lnTo>
                    <a:pt x="878" y="517"/>
                  </a:lnTo>
                  <a:lnTo>
                    <a:pt x="878" y="517"/>
                  </a:lnTo>
                  <a:lnTo>
                    <a:pt x="877" y="479"/>
                  </a:lnTo>
                  <a:lnTo>
                    <a:pt x="875" y="440"/>
                  </a:lnTo>
                  <a:lnTo>
                    <a:pt x="869" y="401"/>
                  </a:lnTo>
                  <a:lnTo>
                    <a:pt x="865" y="380"/>
                  </a:lnTo>
                  <a:lnTo>
                    <a:pt x="861" y="361"/>
                  </a:lnTo>
                  <a:lnTo>
                    <a:pt x="856" y="342"/>
                  </a:lnTo>
                  <a:lnTo>
                    <a:pt x="851" y="323"/>
                  </a:lnTo>
                  <a:lnTo>
                    <a:pt x="845" y="304"/>
                  </a:lnTo>
                  <a:lnTo>
                    <a:pt x="838" y="285"/>
                  </a:lnTo>
                  <a:lnTo>
                    <a:pt x="830" y="267"/>
                  </a:lnTo>
                  <a:lnTo>
                    <a:pt x="820" y="249"/>
                  </a:lnTo>
                  <a:lnTo>
                    <a:pt x="810" y="231"/>
                  </a:lnTo>
                  <a:lnTo>
                    <a:pt x="800" y="215"/>
                  </a:lnTo>
                  <a:lnTo>
                    <a:pt x="788" y="198"/>
                  </a:lnTo>
                  <a:lnTo>
                    <a:pt x="775" y="183"/>
                  </a:lnTo>
                  <a:lnTo>
                    <a:pt x="761" y="168"/>
                  </a:lnTo>
                  <a:lnTo>
                    <a:pt x="747" y="154"/>
                  </a:lnTo>
                  <a:lnTo>
                    <a:pt x="730" y="140"/>
                  </a:lnTo>
                  <a:lnTo>
                    <a:pt x="713" y="128"/>
                  </a:lnTo>
                  <a:lnTo>
                    <a:pt x="695" y="117"/>
                  </a:lnTo>
                  <a:lnTo>
                    <a:pt x="675" y="106"/>
                  </a:lnTo>
                  <a:lnTo>
                    <a:pt x="654" y="96"/>
                  </a:lnTo>
                  <a:lnTo>
                    <a:pt x="631" y="88"/>
                  </a:lnTo>
                  <a:lnTo>
                    <a:pt x="608" y="81"/>
                  </a:lnTo>
                  <a:lnTo>
                    <a:pt x="583" y="75"/>
                  </a:lnTo>
                  <a:lnTo>
                    <a:pt x="557" y="70"/>
                  </a:lnTo>
                  <a:lnTo>
                    <a:pt x="529" y="67"/>
                  </a:lnTo>
                  <a:lnTo>
                    <a:pt x="500" y="65"/>
                  </a:lnTo>
                  <a:lnTo>
                    <a:pt x="469" y="63"/>
                  </a:lnTo>
                  <a:lnTo>
                    <a:pt x="302" y="63"/>
                  </a:lnTo>
                  <a:lnTo>
                    <a:pt x="302" y="771"/>
                  </a:lnTo>
                  <a:lnTo>
                    <a:pt x="302" y="771"/>
                  </a:lnTo>
                  <a:lnTo>
                    <a:pt x="302" y="802"/>
                  </a:lnTo>
                  <a:lnTo>
                    <a:pt x="303" y="829"/>
                  </a:lnTo>
                  <a:lnTo>
                    <a:pt x="304" y="854"/>
                  </a:lnTo>
                  <a:lnTo>
                    <a:pt x="307" y="875"/>
                  </a:lnTo>
                  <a:lnTo>
                    <a:pt x="310" y="894"/>
                  </a:lnTo>
                  <a:lnTo>
                    <a:pt x="315" y="910"/>
                  </a:lnTo>
                  <a:lnTo>
                    <a:pt x="321" y="924"/>
                  </a:lnTo>
                  <a:lnTo>
                    <a:pt x="324" y="931"/>
                  </a:lnTo>
                  <a:lnTo>
                    <a:pt x="329" y="936"/>
                  </a:lnTo>
                  <a:lnTo>
                    <a:pt x="334" y="941"/>
                  </a:lnTo>
                  <a:lnTo>
                    <a:pt x="338" y="946"/>
                  </a:lnTo>
                  <a:lnTo>
                    <a:pt x="344" y="950"/>
                  </a:lnTo>
                  <a:lnTo>
                    <a:pt x="349" y="953"/>
                  </a:lnTo>
                  <a:lnTo>
                    <a:pt x="362" y="959"/>
                  </a:lnTo>
                  <a:lnTo>
                    <a:pt x="378" y="964"/>
                  </a:lnTo>
                  <a:lnTo>
                    <a:pt x="395" y="967"/>
                  </a:lnTo>
                  <a:lnTo>
                    <a:pt x="414" y="969"/>
                  </a:lnTo>
                  <a:lnTo>
                    <a:pt x="437" y="970"/>
                  </a:lnTo>
                  <a:lnTo>
                    <a:pt x="463" y="971"/>
                  </a:lnTo>
                  <a:lnTo>
                    <a:pt x="469" y="9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4" name="Freeform 27"/>
            <p:cNvSpPr>
              <a:spLocks/>
            </p:cNvSpPr>
            <p:nvPr userDrawn="1"/>
          </p:nvSpPr>
          <p:spPr bwMode="auto">
            <a:xfrm>
              <a:off x="7801223" y="898692"/>
              <a:ext cx="112713" cy="136525"/>
            </a:xfrm>
            <a:custGeom>
              <a:avLst/>
              <a:gdLst>
                <a:gd name="T0" fmla="*/ 26 w 859"/>
                <a:gd name="T1" fmla="*/ 998 h 1035"/>
                <a:gd name="T2" fmla="*/ 86 w 859"/>
                <a:gd name="T3" fmla="*/ 991 h 1035"/>
                <a:gd name="T4" fmla="*/ 121 w 859"/>
                <a:gd name="T5" fmla="*/ 977 h 1035"/>
                <a:gd name="T6" fmla="*/ 135 w 859"/>
                <a:gd name="T7" fmla="*/ 962 h 1035"/>
                <a:gd name="T8" fmla="*/ 150 w 859"/>
                <a:gd name="T9" fmla="*/ 937 h 1035"/>
                <a:gd name="T10" fmla="*/ 161 w 859"/>
                <a:gd name="T11" fmla="*/ 879 h 1035"/>
                <a:gd name="T12" fmla="*/ 164 w 859"/>
                <a:gd name="T13" fmla="*/ 797 h 1035"/>
                <a:gd name="T14" fmla="*/ 164 w 859"/>
                <a:gd name="T15" fmla="*/ 206 h 1035"/>
                <a:gd name="T16" fmla="*/ 159 w 859"/>
                <a:gd name="T17" fmla="*/ 132 h 1035"/>
                <a:gd name="T18" fmla="*/ 143 w 859"/>
                <a:gd name="T19" fmla="*/ 83 h 1035"/>
                <a:gd name="T20" fmla="*/ 131 w 859"/>
                <a:gd name="T21" fmla="*/ 67 h 1035"/>
                <a:gd name="T22" fmla="*/ 115 w 859"/>
                <a:gd name="T23" fmla="*/ 54 h 1035"/>
                <a:gd name="T24" fmla="*/ 69 w 859"/>
                <a:gd name="T25" fmla="*/ 40 h 1035"/>
                <a:gd name="T26" fmla="*/ 0 w 859"/>
                <a:gd name="T27" fmla="*/ 36 h 1035"/>
                <a:gd name="T28" fmla="*/ 802 w 859"/>
                <a:gd name="T29" fmla="*/ 227 h 1035"/>
                <a:gd name="T30" fmla="*/ 757 w 859"/>
                <a:gd name="T31" fmla="*/ 193 h 1035"/>
                <a:gd name="T32" fmla="*/ 739 w 859"/>
                <a:gd name="T33" fmla="*/ 135 h 1035"/>
                <a:gd name="T34" fmla="*/ 717 w 859"/>
                <a:gd name="T35" fmla="*/ 103 h 1035"/>
                <a:gd name="T36" fmla="*/ 684 w 859"/>
                <a:gd name="T37" fmla="*/ 81 h 1035"/>
                <a:gd name="T38" fmla="*/ 632 w 859"/>
                <a:gd name="T39" fmla="*/ 68 h 1035"/>
                <a:gd name="T40" fmla="*/ 558 w 859"/>
                <a:gd name="T41" fmla="*/ 63 h 1035"/>
                <a:gd name="T42" fmla="*/ 388 w 859"/>
                <a:gd name="T43" fmla="*/ 455 h 1035"/>
                <a:gd name="T44" fmla="*/ 446 w 859"/>
                <a:gd name="T45" fmla="*/ 454 h 1035"/>
                <a:gd name="T46" fmla="*/ 512 w 859"/>
                <a:gd name="T47" fmla="*/ 446 h 1035"/>
                <a:gd name="T48" fmla="*/ 547 w 859"/>
                <a:gd name="T49" fmla="*/ 431 h 1035"/>
                <a:gd name="T50" fmla="*/ 563 w 859"/>
                <a:gd name="T51" fmla="*/ 417 h 1035"/>
                <a:gd name="T52" fmla="*/ 577 w 859"/>
                <a:gd name="T53" fmla="*/ 393 h 1035"/>
                <a:gd name="T54" fmla="*/ 587 w 859"/>
                <a:gd name="T55" fmla="*/ 339 h 1035"/>
                <a:gd name="T56" fmla="*/ 625 w 859"/>
                <a:gd name="T57" fmla="*/ 289 h 1035"/>
                <a:gd name="T58" fmla="*/ 588 w 859"/>
                <a:gd name="T59" fmla="*/ 685 h 1035"/>
                <a:gd name="T60" fmla="*/ 585 w 859"/>
                <a:gd name="T61" fmla="*/ 616 h 1035"/>
                <a:gd name="T62" fmla="*/ 571 w 859"/>
                <a:gd name="T63" fmla="*/ 569 h 1035"/>
                <a:gd name="T64" fmla="*/ 559 w 859"/>
                <a:gd name="T65" fmla="*/ 552 h 1035"/>
                <a:gd name="T66" fmla="*/ 541 w 859"/>
                <a:gd name="T67" fmla="*/ 540 h 1035"/>
                <a:gd name="T68" fmla="*/ 492 w 859"/>
                <a:gd name="T69" fmla="*/ 525 h 1035"/>
                <a:gd name="T70" fmla="*/ 419 w 859"/>
                <a:gd name="T71" fmla="*/ 519 h 1035"/>
                <a:gd name="T72" fmla="*/ 302 w 859"/>
                <a:gd name="T73" fmla="*/ 771 h 1035"/>
                <a:gd name="T74" fmla="*/ 303 w 859"/>
                <a:gd name="T75" fmla="*/ 829 h 1035"/>
                <a:gd name="T76" fmla="*/ 311 w 859"/>
                <a:gd name="T77" fmla="*/ 894 h 1035"/>
                <a:gd name="T78" fmla="*/ 326 w 859"/>
                <a:gd name="T79" fmla="*/ 931 h 1035"/>
                <a:gd name="T80" fmla="*/ 340 w 859"/>
                <a:gd name="T81" fmla="*/ 946 h 1035"/>
                <a:gd name="T82" fmla="*/ 364 w 859"/>
                <a:gd name="T83" fmla="*/ 959 h 1035"/>
                <a:gd name="T84" fmla="*/ 417 w 859"/>
                <a:gd name="T85" fmla="*/ 969 h 1035"/>
                <a:gd name="T86" fmla="*/ 614 w 859"/>
                <a:gd name="T87" fmla="*/ 971 h 1035"/>
                <a:gd name="T88" fmla="*/ 668 w 859"/>
                <a:gd name="T89" fmla="*/ 969 h 1035"/>
                <a:gd name="T90" fmla="*/ 726 w 859"/>
                <a:gd name="T91" fmla="*/ 959 h 1035"/>
                <a:gd name="T92" fmla="*/ 765 w 859"/>
                <a:gd name="T93" fmla="*/ 940 h 1035"/>
                <a:gd name="T94" fmla="*/ 790 w 859"/>
                <a:gd name="T95" fmla="*/ 911 h 1035"/>
                <a:gd name="T96" fmla="*/ 806 w 859"/>
                <a:gd name="T97" fmla="*/ 872 h 1035"/>
                <a:gd name="T98" fmla="*/ 859 w 859"/>
                <a:gd name="T99" fmla="*/ 806 h 1035"/>
                <a:gd name="T100" fmla="*/ 0 w 859"/>
                <a:gd name="T101" fmla="*/ 999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59" h="1035">
                  <a:moveTo>
                    <a:pt x="0" y="999"/>
                  </a:moveTo>
                  <a:lnTo>
                    <a:pt x="0" y="999"/>
                  </a:lnTo>
                  <a:lnTo>
                    <a:pt x="26" y="998"/>
                  </a:lnTo>
                  <a:lnTo>
                    <a:pt x="48" y="997"/>
                  </a:lnTo>
                  <a:lnTo>
                    <a:pt x="69" y="995"/>
                  </a:lnTo>
                  <a:lnTo>
                    <a:pt x="86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1" y="977"/>
                  </a:lnTo>
                  <a:lnTo>
                    <a:pt x="126" y="972"/>
                  </a:lnTo>
                  <a:lnTo>
                    <a:pt x="131" y="967"/>
                  </a:lnTo>
                  <a:lnTo>
                    <a:pt x="135" y="962"/>
                  </a:lnTo>
                  <a:lnTo>
                    <a:pt x="140" y="957"/>
                  </a:lnTo>
                  <a:lnTo>
                    <a:pt x="143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9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4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4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9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3" y="83"/>
                  </a:lnTo>
                  <a:lnTo>
                    <a:pt x="140" y="77"/>
                  </a:lnTo>
                  <a:lnTo>
                    <a:pt x="135" y="72"/>
                  </a:lnTo>
                  <a:lnTo>
                    <a:pt x="131" y="67"/>
                  </a:lnTo>
                  <a:lnTo>
                    <a:pt x="126" y="61"/>
                  </a:lnTo>
                  <a:lnTo>
                    <a:pt x="121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6" y="43"/>
                  </a:lnTo>
                  <a:lnTo>
                    <a:pt x="69" y="40"/>
                  </a:lnTo>
                  <a:lnTo>
                    <a:pt x="48" y="38"/>
                  </a:lnTo>
                  <a:lnTo>
                    <a:pt x="26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787" y="0"/>
                  </a:lnTo>
                  <a:lnTo>
                    <a:pt x="802" y="227"/>
                  </a:lnTo>
                  <a:lnTo>
                    <a:pt x="766" y="227"/>
                  </a:lnTo>
                  <a:lnTo>
                    <a:pt x="757" y="193"/>
                  </a:lnTo>
                  <a:lnTo>
                    <a:pt x="757" y="193"/>
                  </a:lnTo>
                  <a:lnTo>
                    <a:pt x="749" y="162"/>
                  </a:lnTo>
                  <a:lnTo>
                    <a:pt x="744" y="147"/>
                  </a:lnTo>
                  <a:lnTo>
                    <a:pt x="739" y="135"/>
                  </a:lnTo>
                  <a:lnTo>
                    <a:pt x="732" y="123"/>
                  </a:lnTo>
                  <a:lnTo>
                    <a:pt x="725" y="113"/>
                  </a:lnTo>
                  <a:lnTo>
                    <a:pt x="717" y="103"/>
                  </a:lnTo>
                  <a:lnTo>
                    <a:pt x="708" y="95"/>
                  </a:lnTo>
                  <a:lnTo>
                    <a:pt x="697" y="87"/>
                  </a:lnTo>
                  <a:lnTo>
                    <a:pt x="684" y="81"/>
                  </a:lnTo>
                  <a:lnTo>
                    <a:pt x="669" y="76"/>
                  </a:lnTo>
                  <a:lnTo>
                    <a:pt x="653" y="72"/>
                  </a:lnTo>
                  <a:lnTo>
                    <a:pt x="632" y="68"/>
                  </a:lnTo>
                  <a:lnTo>
                    <a:pt x="611" y="66"/>
                  </a:lnTo>
                  <a:lnTo>
                    <a:pt x="585" y="65"/>
                  </a:lnTo>
                  <a:lnTo>
                    <a:pt x="558" y="63"/>
                  </a:lnTo>
                  <a:lnTo>
                    <a:pt x="302" y="63"/>
                  </a:lnTo>
                  <a:lnTo>
                    <a:pt x="302" y="455"/>
                  </a:lnTo>
                  <a:lnTo>
                    <a:pt x="388" y="455"/>
                  </a:lnTo>
                  <a:lnTo>
                    <a:pt x="388" y="455"/>
                  </a:lnTo>
                  <a:lnTo>
                    <a:pt x="419" y="455"/>
                  </a:lnTo>
                  <a:lnTo>
                    <a:pt x="446" y="454"/>
                  </a:lnTo>
                  <a:lnTo>
                    <a:pt x="471" y="452"/>
                  </a:lnTo>
                  <a:lnTo>
                    <a:pt x="492" y="450"/>
                  </a:lnTo>
                  <a:lnTo>
                    <a:pt x="512" y="446"/>
                  </a:lnTo>
                  <a:lnTo>
                    <a:pt x="527" y="441"/>
                  </a:lnTo>
                  <a:lnTo>
                    <a:pt x="541" y="435"/>
                  </a:lnTo>
                  <a:lnTo>
                    <a:pt x="547" y="431"/>
                  </a:lnTo>
                  <a:lnTo>
                    <a:pt x="553" y="426"/>
                  </a:lnTo>
                  <a:lnTo>
                    <a:pt x="559" y="422"/>
                  </a:lnTo>
                  <a:lnTo>
                    <a:pt x="563" y="417"/>
                  </a:lnTo>
                  <a:lnTo>
                    <a:pt x="567" y="412"/>
                  </a:lnTo>
                  <a:lnTo>
                    <a:pt x="571" y="406"/>
                  </a:lnTo>
                  <a:lnTo>
                    <a:pt x="577" y="393"/>
                  </a:lnTo>
                  <a:lnTo>
                    <a:pt x="581" y="376"/>
                  </a:lnTo>
                  <a:lnTo>
                    <a:pt x="585" y="359"/>
                  </a:lnTo>
                  <a:lnTo>
                    <a:pt x="587" y="339"/>
                  </a:lnTo>
                  <a:lnTo>
                    <a:pt x="588" y="315"/>
                  </a:lnTo>
                  <a:lnTo>
                    <a:pt x="588" y="289"/>
                  </a:lnTo>
                  <a:lnTo>
                    <a:pt x="625" y="289"/>
                  </a:lnTo>
                  <a:lnTo>
                    <a:pt x="625" y="685"/>
                  </a:lnTo>
                  <a:lnTo>
                    <a:pt x="588" y="685"/>
                  </a:lnTo>
                  <a:lnTo>
                    <a:pt x="588" y="685"/>
                  </a:lnTo>
                  <a:lnTo>
                    <a:pt x="588" y="659"/>
                  </a:lnTo>
                  <a:lnTo>
                    <a:pt x="587" y="636"/>
                  </a:lnTo>
                  <a:lnTo>
                    <a:pt x="585" y="616"/>
                  </a:lnTo>
                  <a:lnTo>
                    <a:pt x="581" y="597"/>
                  </a:lnTo>
                  <a:lnTo>
                    <a:pt x="577" y="582"/>
                  </a:lnTo>
                  <a:lnTo>
                    <a:pt x="571" y="569"/>
                  </a:lnTo>
                  <a:lnTo>
                    <a:pt x="567" y="562"/>
                  </a:lnTo>
                  <a:lnTo>
                    <a:pt x="563" y="557"/>
                  </a:lnTo>
                  <a:lnTo>
                    <a:pt x="559" y="552"/>
                  </a:lnTo>
                  <a:lnTo>
                    <a:pt x="553" y="547"/>
                  </a:lnTo>
                  <a:lnTo>
                    <a:pt x="547" y="543"/>
                  </a:lnTo>
                  <a:lnTo>
                    <a:pt x="541" y="540"/>
                  </a:lnTo>
                  <a:lnTo>
                    <a:pt x="527" y="533"/>
                  </a:lnTo>
                  <a:lnTo>
                    <a:pt x="512" y="529"/>
                  </a:lnTo>
                  <a:lnTo>
                    <a:pt x="492" y="525"/>
                  </a:lnTo>
                  <a:lnTo>
                    <a:pt x="471" y="522"/>
                  </a:lnTo>
                  <a:lnTo>
                    <a:pt x="446" y="521"/>
                  </a:lnTo>
                  <a:lnTo>
                    <a:pt x="419" y="519"/>
                  </a:lnTo>
                  <a:lnTo>
                    <a:pt x="388" y="519"/>
                  </a:lnTo>
                  <a:lnTo>
                    <a:pt x="302" y="519"/>
                  </a:lnTo>
                  <a:lnTo>
                    <a:pt x="302" y="771"/>
                  </a:lnTo>
                  <a:lnTo>
                    <a:pt x="302" y="771"/>
                  </a:lnTo>
                  <a:lnTo>
                    <a:pt x="302" y="802"/>
                  </a:lnTo>
                  <a:lnTo>
                    <a:pt x="303" y="829"/>
                  </a:lnTo>
                  <a:lnTo>
                    <a:pt x="305" y="854"/>
                  </a:lnTo>
                  <a:lnTo>
                    <a:pt x="307" y="875"/>
                  </a:lnTo>
                  <a:lnTo>
                    <a:pt x="311" y="894"/>
                  </a:lnTo>
                  <a:lnTo>
                    <a:pt x="316" y="910"/>
                  </a:lnTo>
                  <a:lnTo>
                    <a:pt x="322" y="924"/>
                  </a:lnTo>
                  <a:lnTo>
                    <a:pt x="326" y="931"/>
                  </a:lnTo>
                  <a:lnTo>
                    <a:pt x="331" y="936"/>
                  </a:lnTo>
                  <a:lnTo>
                    <a:pt x="335" y="941"/>
                  </a:lnTo>
                  <a:lnTo>
                    <a:pt x="340" y="946"/>
                  </a:lnTo>
                  <a:lnTo>
                    <a:pt x="345" y="950"/>
                  </a:lnTo>
                  <a:lnTo>
                    <a:pt x="351" y="953"/>
                  </a:lnTo>
                  <a:lnTo>
                    <a:pt x="364" y="959"/>
                  </a:lnTo>
                  <a:lnTo>
                    <a:pt x="380" y="964"/>
                  </a:lnTo>
                  <a:lnTo>
                    <a:pt x="398" y="967"/>
                  </a:lnTo>
                  <a:lnTo>
                    <a:pt x="417" y="969"/>
                  </a:lnTo>
                  <a:lnTo>
                    <a:pt x="440" y="970"/>
                  </a:lnTo>
                  <a:lnTo>
                    <a:pt x="466" y="971"/>
                  </a:lnTo>
                  <a:lnTo>
                    <a:pt x="614" y="971"/>
                  </a:lnTo>
                  <a:lnTo>
                    <a:pt x="614" y="971"/>
                  </a:lnTo>
                  <a:lnTo>
                    <a:pt x="642" y="970"/>
                  </a:lnTo>
                  <a:lnTo>
                    <a:pt x="668" y="969"/>
                  </a:lnTo>
                  <a:lnTo>
                    <a:pt x="689" y="966"/>
                  </a:lnTo>
                  <a:lnTo>
                    <a:pt x="709" y="963"/>
                  </a:lnTo>
                  <a:lnTo>
                    <a:pt x="726" y="959"/>
                  </a:lnTo>
                  <a:lnTo>
                    <a:pt x="742" y="954"/>
                  </a:lnTo>
                  <a:lnTo>
                    <a:pt x="754" y="947"/>
                  </a:lnTo>
                  <a:lnTo>
                    <a:pt x="765" y="940"/>
                  </a:lnTo>
                  <a:lnTo>
                    <a:pt x="775" y="932"/>
                  </a:lnTo>
                  <a:lnTo>
                    <a:pt x="784" y="921"/>
                  </a:lnTo>
                  <a:lnTo>
                    <a:pt x="790" y="911"/>
                  </a:lnTo>
                  <a:lnTo>
                    <a:pt x="796" y="899"/>
                  </a:lnTo>
                  <a:lnTo>
                    <a:pt x="801" y="886"/>
                  </a:lnTo>
                  <a:lnTo>
                    <a:pt x="806" y="872"/>
                  </a:lnTo>
                  <a:lnTo>
                    <a:pt x="814" y="840"/>
                  </a:lnTo>
                  <a:lnTo>
                    <a:pt x="823" y="806"/>
                  </a:lnTo>
                  <a:lnTo>
                    <a:pt x="859" y="806"/>
                  </a:lnTo>
                  <a:lnTo>
                    <a:pt x="846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5" name="Freeform 28"/>
            <p:cNvSpPr>
              <a:spLocks/>
            </p:cNvSpPr>
            <p:nvPr userDrawn="1"/>
          </p:nvSpPr>
          <p:spPr bwMode="auto">
            <a:xfrm>
              <a:off x="7944098" y="898692"/>
              <a:ext cx="142875" cy="136525"/>
            </a:xfrm>
            <a:custGeom>
              <a:avLst/>
              <a:gdLst>
                <a:gd name="T0" fmla="*/ 304 w 1077"/>
                <a:gd name="T1" fmla="*/ 999 h 1035"/>
                <a:gd name="T2" fmla="*/ 352 w 1077"/>
                <a:gd name="T3" fmla="*/ 997 h 1035"/>
                <a:gd name="T4" fmla="*/ 391 w 1077"/>
                <a:gd name="T5" fmla="*/ 991 h 1035"/>
                <a:gd name="T6" fmla="*/ 419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9 w 1077"/>
                <a:gd name="T13" fmla="*/ 951 h 1035"/>
                <a:gd name="T14" fmla="*/ 460 w 1077"/>
                <a:gd name="T15" fmla="*/ 920 h 1035"/>
                <a:gd name="T16" fmla="*/ 466 w 1077"/>
                <a:gd name="T17" fmla="*/ 879 h 1035"/>
                <a:gd name="T18" fmla="*/ 469 w 1077"/>
                <a:gd name="T19" fmla="*/ 827 h 1035"/>
                <a:gd name="T20" fmla="*/ 469 w 1077"/>
                <a:gd name="T21" fmla="*/ 68 h 1035"/>
                <a:gd name="T22" fmla="*/ 246 w 1077"/>
                <a:gd name="T23" fmla="*/ 68 h 1035"/>
                <a:gd name="T24" fmla="*/ 192 w 1077"/>
                <a:gd name="T25" fmla="*/ 69 h 1035"/>
                <a:gd name="T26" fmla="*/ 150 w 1077"/>
                <a:gd name="T27" fmla="*/ 75 h 1035"/>
                <a:gd name="T28" fmla="*/ 119 w 1077"/>
                <a:gd name="T29" fmla="*/ 85 h 1035"/>
                <a:gd name="T30" fmla="*/ 95 w 1077"/>
                <a:gd name="T31" fmla="*/ 98 h 1035"/>
                <a:gd name="T32" fmla="*/ 78 w 1077"/>
                <a:gd name="T33" fmla="*/ 117 h 1035"/>
                <a:gd name="T34" fmla="*/ 65 w 1077"/>
                <a:gd name="T35" fmla="*/ 139 h 1035"/>
                <a:gd name="T36" fmla="*/ 54 w 1077"/>
                <a:gd name="T37" fmla="*/ 167 h 1035"/>
                <a:gd name="T38" fmla="*/ 37 w 1077"/>
                <a:gd name="T39" fmla="*/ 233 h 1035"/>
                <a:gd name="T40" fmla="*/ 15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3 w 1077"/>
                <a:gd name="T47" fmla="*/ 167 h 1035"/>
                <a:gd name="T48" fmla="*/ 1013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58 w 1077"/>
                <a:gd name="T55" fmla="*/ 85 h 1035"/>
                <a:gd name="T56" fmla="*/ 927 w 1077"/>
                <a:gd name="T57" fmla="*/ 75 h 1035"/>
                <a:gd name="T58" fmla="*/ 886 w 1077"/>
                <a:gd name="T59" fmla="*/ 69 h 1035"/>
                <a:gd name="T60" fmla="*/ 832 w 1077"/>
                <a:gd name="T61" fmla="*/ 68 h 1035"/>
                <a:gd name="T62" fmla="*/ 608 w 1077"/>
                <a:gd name="T63" fmla="*/ 797 h 1035"/>
                <a:gd name="T64" fmla="*/ 608 w 1077"/>
                <a:gd name="T65" fmla="*/ 827 h 1035"/>
                <a:gd name="T66" fmla="*/ 611 w 1077"/>
                <a:gd name="T67" fmla="*/ 879 h 1035"/>
                <a:gd name="T68" fmla="*/ 618 w 1077"/>
                <a:gd name="T69" fmla="*/ 920 h 1035"/>
                <a:gd name="T70" fmla="*/ 629 w 1077"/>
                <a:gd name="T71" fmla="*/ 951 h 1035"/>
                <a:gd name="T72" fmla="*/ 637 w 1077"/>
                <a:gd name="T73" fmla="*/ 962 h 1035"/>
                <a:gd name="T74" fmla="*/ 646 w 1077"/>
                <a:gd name="T75" fmla="*/ 972 h 1035"/>
                <a:gd name="T76" fmla="*/ 658 w 1077"/>
                <a:gd name="T77" fmla="*/ 981 h 1035"/>
                <a:gd name="T78" fmla="*/ 687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29" y="998"/>
                  </a:lnTo>
                  <a:lnTo>
                    <a:pt x="352" y="997"/>
                  </a:lnTo>
                  <a:lnTo>
                    <a:pt x="372" y="995"/>
                  </a:lnTo>
                  <a:lnTo>
                    <a:pt x="391" y="991"/>
                  </a:lnTo>
                  <a:lnTo>
                    <a:pt x="406" y="987"/>
                  </a:lnTo>
                  <a:lnTo>
                    <a:pt x="419" y="981"/>
                  </a:lnTo>
                  <a:lnTo>
                    <a:pt x="426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9" y="951"/>
                  </a:lnTo>
                  <a:lnTo>
                    <a:pt x="455" y="937"/>
                  </a:lnTo>
                  <a:lnTo>
                    <a:pt x="460" y="920"/>
                  </a:lnTo>
                  <a:lnTo>
                    <a:pt x="464" y="901"/>
                  </a:lnTo>
                  <a:lnTo>
                    <a:pt x="466" y="879"/>
                  </a:lnTo>
                  <a:lnTo>
                    <a:pt x="468" y="855"/>
                  </a:lnTo>
                  <a:lnTo>
                    <a:pt x="469" y="827"/>
                  </a:lnTo>
                  <a:lnTo>
                    <a:pt x="469" y="797"/>
                  </a:lnTo>
                  <a:lnTo>
                    <a:pt x="469" y="68"/>
                  </a:lnTo>
                  <a:lnTo>
                    <a:pt x="246" y="68"/>
                  </a:lnTo>
                  <a:lnTo>
                    <a:pt x="246" y="68"/>
                  </a:lnTo>
                  <a:lnTo>
                    <a:pt x="217" y="68"/>
                  </a:lnTo>
                  <a:lnTo>
                    <a:pt x="192" y="69"/>
                  </a:lnTo>
                  <a:lnTo>
                    <a:pt x="170" y="72"/>
                  </a:lnTo>
                  <a:lnTo>
                    <a:pt x="150" y="75"/>
                  </a:lnTo>
                  <a:lnTo>
                    <a:pt x="133" y="79"/>
                  </a:lnTo>
                  <a:lnTo>
                    <a:pt x="119" y="85"/>
                  </a:lnTo>
                  <a:lnTo>
                    <a:pt x="105" y="91"/>
                  </a:lnTo>
                  <a:lnTo>
                    <a:pt x="95" y="98"/>
                  </a:lnTo>
                  <a:lnTo>
                    <a:pt x="85" y="106"/>
                  </a:lnTo>
                  <a:lnTo>
                    <a:pt x="78" y="117"/>
                  </a:lnTo>
                  <a:lnTo>
                    <a:pt x="71" y="127"/>
                  </a:lnTo>
                  <a:lnTo>
                    <a:pt x="65" y="139"/>
                  </a:lnTo>
                  <a:lnTo>
                    <a:pt x="59" y="152"/>
                  </a:lnTo>
                  <a:lnTo>
                    <a:pt x="54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5" y="0"/>
                  </a:lnTo>
                  <a:lnTo>
                    <a:pt x="1062" y="0"/>
                  </a:lnTo>
                  <a:lnTo>
                    <a:pt x="1077" y="233"/>
                  </a:lnTo>
                  <a:lnTo>
                    <a:pt x="1041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3" y="167"/>
                  </a:lnTo>
                  <a:lnTo>
                    <a:pt x="1019" y="152"/>
                  </a:lnTo>
                  <a:lnTo>
                    <a:pt x="1013" y="139"/>
                  </a:lnTo>
                  <a:lnTo>
                    <a:pt x="1007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2" y="91"/>
                  </a:lnTo>
                  <a:lnTo>
                    <a:pt x="958" y="85"/>
                  </a:lnTo>
                  <a:lnTo>
                    <a:pt x="944" y="79"/>
                  </a:lnTo>
                  <a:lnTo>
                    <a:pt x="927" y="75"/>
                  </a:lnTo>
                  <a:lnTo>
                    <a:pt x="907" y="72"/>
                  </a:lnTo>
                  <a:lnTo>
                    <a:pt x="886" y="69"/>
                  </a:lnTo>
                  <a:lnTo>
                    <a:pt x="860" y="68"/>
                  </a:lnTo>
                  <a:lnTo>
                    <a:pt x="832" y="68"/>
                  </a:lnTo>
                  <a:lnTo>
                    <a:pt x="608" y="68"/>
                  </a:lnTo>
                  <a:lnTo>
                    <a:pt x="608" y="797"/>
                  </a:lnTo>
                  <a:lnTo>
                    <a:pt x="608" y="797"/>
                  </a:lnTo>
                  <a:lnTo>
                    <a:pt x="608" y="827"/>
                  </a:lnTo>
                  <a:lnTo>
                    <a:pt x="609" y="855"/>
                  </a:lnTo>
                  <a:lnTo>
                    <a:pt x="611" y="879"/>
                  </a:lnTo>
                  <a:lnTo>
                    <a:pt x="614" y="901"/>
                  </a:lnTo>
                  <a:lnTo>
                    <a:pt x="618" y="920"/>
                  </a:lnTo>
                  <a:lnTo>
                    <a:pt x="622" y="937"/>
                  </a:lnTo>
                  <a:lnTo>
                    <a:pt x="629" y="951"/>
                  </a:lnTo>
                  <a:lnTo>
                    <a:pt x="633" y="957"/>
                  </a:lnTo>
                  <a:lnTo>
                    <a:pt x="637" y="962"/>
                  </a:lnTo>
                  <a:lnTo>
                    <a:pt x="641" y="967"/>
                  </a:lnTo>
                  <a:lnTo>
                    <a:pt x="646" y="972"/>
                  </a:lnTo>
                  <a:lnTo>
                    <a:pt x="651" y="977"/>
                  </a:lnTo>
                  <a:lnTo>
                    <a:pt x="658" y="981"/>
                  </a:lnTo>
                  <a:lnTo>
                    <a:pt x="672" y="987"/>
                  </a:lnTo>
                  <a:lnTo>
                    <a:pt x="687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8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6" name="Freeform 29"/>
            <p:cNvSpPr>
              <a:spLocks noEditPoints="1"/>
            </p:cNvSpPr>
            <p:nvPr userDrawn="1"/>
          </p:nvSpPr>
          <p:spPr bwMode="auto">
            <a:xfrm>
              <a:off x="5743823" y="366879"/>
              <a:ext cx="657225" cy="898525"/>
            </a:xfrm>
            <a:custGeom>
              <a:avLst/>
              <a:gdLst>
                <a:gd name="T0" fmla="*/ 3944 w 4973"/>
                <a:gd name="T1" fmla="*/ 6352 h 6792"/>
                <a:gd name="T2" fmla="*/ 1694 w 4973"/>
                <a:gd name="T3" fmla="*/ 6143 h 6792"/>
                <a:gd name="T4" fmla="*/ 2984 w 4973"/>
                <a:gd name="T5" fmla="*/ 3784 h 6792"/>
                <a:gd name="T6" fmla="*/ 2316 w 4973"/>
                <a:gd name="T7" fmla="*/ 4454 h 6792"/>
                <a:gd name="T8" fmla="*/ 1155 w 4973"/>
                <a:gd name="T9" fmla="*/ 4705 h 6792"/>
                <a:gd name="T10" fmla="*/ 1077 w 4973"/>
                <a:gd name="T11" fmla="*/ 4988 h 6792"/>
                <a:gd name="T12" fmla="*/ 910 w 4973"/>
                <a:gd name="T13" fmla="*/ 5245 h 6792"/>
                <a:gd name="T14" fmla="*/ 961 w 4973"/>
                <a:gd name="T15" fmla="*/ 5618 h 6792"/>
                <a:gd name="T16" fmla="*/ 1600 w 4973"/>
                <a:gd name="T17" fmla="*/ 5369 h 6792"/>
                <a:gd name="T18" fmla="*/ 1886 w 4973"/>
                <a:gd name="T19" fmla="*/ 5421 h 6792"/>
                <a:gd name="T20" fmla="*/ 2617 w 4973"/>
                <a:gd name="T21" fmla="*/ 5123 h 6792"/>
                <a:gd name="T22" fmla="*/ 2857 w 4973"/>
                <a:gd name="T23" fmla="*/ 4678 h 6792"/>
                <a:gd name="T24" fmla="*/ 489 w 4973"/>
                <a:gd name="T25" fmla="*/ 5877 h 6792"/>
                <a:gd name="T26" fmla="*/ 1233 w 4973"/>
                <a:gd name="T27" fmla="*/ 6668 h 6792"/>
                <a:gd name="T28" fmla="*/ 1527 w 4973"/>
                <a:gd name="T29" fmla="*/ 5749 h 6792"/>
                <a:gd name="T30" fmla="*/ 927 w 4973"/>
                <a:gd name="T31" fmla="*/ 5758 h 6792"/>
                <a:gd name="T32" fmla="*/ 429 w 4973"/>
                <a:gd name="T33" fmla="*/ 621 h 6792"/>
                <a:gd name="T34" fmla="*/ 914 w 4973"/>
                <a:gd name="T35" fmla="*/ 547 h 6792"/>
                <a:gd name="T36" fmla="*/ 829 w 4973"/>
                <a:gd name="T37" fmla="*/ 957 h 6792"/>
                <a:gd name="T38" fmla="*/ 1232 w 4973"/>
                <a:gd name="T39" fmla="*/ 762 h 6792"/>
                <a:gd name="T40" fmla="*/ 780 w 4973"/>
                <a:gd name="T41" fmla="*/ 1976 h 6792"/>
                <a:gd name="T42" fmla="*/ 1297 w 4973"/>
                <a:gd name="T43" fmla="*/ 319 h 6792"/>
                <a:gd name="T44" fmla="*/ 1481 w 4973"/>
                <a:gd name="T45" fmla="*/ 731 h 6792"/>
                <a:gd name="T46" fmla="*/ 3458 w 4973"/>
                <a:gd name="T47" fmla="*/ 480 h 6792"/>
                <a:gd name="T48" fmla="*/ 3084 w 4973"/>
                <a:gd name="T49" fmla="*/ 643 h 6792"/>
                <a:gd name="T50" fmla="*/ 2947 w 4973"/>
                <a:gd name="T51" fmla="*/ 214 h 6792"/>
                <a:gd name="T52" fmla="*/ 2541 w 4973"/>
                <a:gd name="T53" fmla="*/ 417 h 6792"/>
                <a:gd name="T54" fmla="*/ 2413 w 4973"/>
                <a:gd name="T55" fmla="*/ 28 h 6792"/>
                <a:gd name="T56" fmla="*/ 3900 w 4973"/>
                <a:gd name="T57" fmla="*/ 1991 h 6792"/>
                <a:gd name="T58" fmla="*/ 4172 w 4973"/>
                <a:gd name="T59" fmla="*/ 1335 h 6792"/>
                <a:gd name="T60" fmla="*/ 3970 w 4973"/>
                <a:gd name="T61" fmla="*/ 3382 h 6792"/>
                <a:gd name="T62" fmla="*/ 4830 w 4973"/>
                <a:gd name="T63" fmla="*/ 2682 h 6792"/>
                <a:gd name="T64" fmla="*/ 4551 w 4973"/>
                <a:gd name="T65" fmla="*/ 1246 h 6792"/>
                <a:gd name="T66" fmla="*/ 3641 w 4973"/>
                <a:gd name="T67" fmla="*/ 1994 h 6792"/>
                <a:gd name="T68" fmla="*/ 3910 w 4973"/>
                <a:gd name="T69" fmla="*/ 2958 h 6792"/>
                <a:gd name="T70" fmla="*/ 4286 w 4973"/>
                <a:gd name="T71" fmla="*/ 2402 h 6792"/>
                <a:gd name="T72" fmla="*/ 3965 w 4973"/>
                <a:gd name="T73" fmla="*/ 3379 h 6792"/>
                <a:gd name="T74" fmla="*/ 3169 w 4973"/>
                <a:gd name="T75" fmla="*/ 2142 h 6792"/>
                <a:gd name="T76" fmla="*/ 3399 w 4973"/>
                <a:gd name="T77" fmla="*/ 1285 h 6792"/>
                <a:gd name="T78" fmla="*/ 2604 w 4973"/>
                <a:gd name="T79" fmla="*/ 769 h 6792"/>
                <a:gd name="T80" fmla="*/ 2052 w 4973"/>
                <a:gd name="T81" fmla="*/ 1359 h 6792"/>
                <a:gd name="T82" fmla="*/ 1664 w 4973"/>
                <a:gd name="T83" fmla="*/ 1597 h 6792"/>
                <a:gd name="T84" fmla="*/ 2105 w 4973"/>
                <a:gd name="T85" fmla="*/ 1550 h 6792"/>
                <a:gd name="T86" fmla="*/ 1945 w 4973"/>
                <a:gd name="T87" fmla="*/ 1849 h 6792"/>
                <a:gd name="T88" fmla="*/ 1151 w 4973"/>
                <a:gd name="T89" fmla="*/ 2851 h 6792"/>
                <a:gd name="T90" fmla="*/ 331 w 4973"/>
                <a:gd name="T91" fmla="*/ 2774 h 6792"/>
                <a:gd name="T92" fmla="*/ 150 w 4973"/>
                <a:gd name="T93" fmla="*/ 2974 h 6792"/>
                <a:gd name="T94" fmla="*/ 554 w 4973"/>
                <a:gd name="T95" fmla="*/ 3191 h 6792"/>
                <a:gd name="T96" fmla="*/ 489 w 4973"/>
                <a:gd name="T97" fmla="*/ 3468 h 6792"/>
                <a:gd name="T98" fmla="*/ 935 w 4973"/>
                <a:gd name="T99" fmla="*/ 3451 h 6792"/>
                <a:gd name="T100" fmla="*/ 1725 w 4973"/>
                <a:gd name="T101" fmla="*/ 2972 h 6792"/>
                <a:gd name="T102" fmla="*/ 3397 w 4973"/>
                <a:gd name="T103" fmla="*/ 3673 h 6792"/>
                <a:gd name="T104" fmla="*/ 3711 w 4973"/>
                <a:gd name="T105" fmla="*/ 4812 h 6792"/>
                <a:gd name="T106" fmla="*/ 4356 w 4973"/>
                <a:gd name="T107" fmla="*/ 5526 h 6792"/>
                <a:gd name="T108" fmla="*/ 3835 w 4973"/>
                <a:gd name="T109" fmla="*/ 5815 h 6792"/>
                <a:gd name="T110" fmla="*/ 3750 w 4973"/>
                <a:gd name="T111" fmla="*/ 6147 h 6792"/>
                <a:gd name="T112" fmla="*/ 4262 w 4973"/>
                <a:gd name="T113" fmla="*/ 6036 h 6792"/>
                <a:gd name="T114" fmla="*/ 4324 w 4973"/>
                <a:gd name="T115" fmla="*/ 6374 h 6792"/>
                <a:gd name="T116" fmla="*/ 4692 w 4973"/>
                <a:gd name="T117" fmla="*/ 6210 h 6792"/>
                <a:gd name="T118" fmla="*/ 4659 w 4973"/>
                <a:gd name="T119" fmla="*/ 5487 h 6792"/>
                <a:gd name="T120" fmla="*/ 4786 w 4973"/>
                <a:gd name="T121" fmla="*/ 4785 h 6792"/>
                <a:gd name="T122" fmla="*/ 4362 w 4973"/>
                <a:gd name="T123" fmla="*/ 4115 h 6792"/>
                <a:gd name="T124" fmla="*/ 4803 w 4973"/>
                <a:gd name="T125" fmla="*/ 3237 h 6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3" h="6792">
                  <a:moveTo>
                    <a:pt x="1358" y="6333"/>
                  </a:moveTo>
                  <a:lnTo>
                    <a:pt x="1358" y="6333"/>
                  </a:lnTo>
                  <a:lnTo>
                    <a:pt x="1445" y="6392"/>
                  </a:lnTo>
                  <a:lnTo>
                    <a:pt x="1485" y="6418"/>
                  </a:lnTo>
                  <a:lnTo>
                    <a:pt x="1524" y="6443"/>
                  </a:lnTo>
                  <a:lnTo>
                    <a:pt x="1561" y="6466"/>
                  </a:lnTo>
                  <a:lnTo>
                    <a:pt x="1599" y="6487"/>
                  </a:lnTo>
                  <a:lnTo>
                    <a:pt x="1638" y="6509"/>
                  </a:lnTo>
                  <a:lnTo>
                    <a:pt x="1677" y="6528"/>
                  </a:lnTo>
                  <a:lnTo>
                    <a:pt x="1677" y="6528"/>
                  </a:lnTo>
                  <a:lnTo>
                    <a:pt x="1730" y="6553"/>
                  </a:lnTo>
                  <a:lnTo>
                    <a:pt x="1788" y="6578"/>
                  </a:lnTo>
                  <a:lnTo>
                    <a:pt x="1853" y="6605"/>
                  </a:lnTo>
                  <a:lnTo>
                    <a:pt x="1923" y="6630"/>
                  </a:lnTo>
                  <a:lnTo>
                    <a:pt x="1961" y="6644"/>
                  </a:lnTo>
                  <a:lnTo>
                    <a:pt x="2000" y="6656"/>
                  </a:lnTo>
                  <a:lnTo>
                    <a:pt x="2040" y="6669"/>
                  </a:lnTo>
                  <a:lnTo>
                    <a:pt x="2082" y="6682"/>
                  </a:lnTo>
                  <a:lnTo>
                    <a:pt x="2125" y="6693"/>
                  </a:lnTo>
                  <a:lnTo>
                    <a:pt x="2169" y="6704"/>
                  </a:lnTo>
                  <a:lnTo>
                    <a:pt x="2215" y="6715"/>
                  </a:lnTo>
                  <a:lnTo>
                    <a:pt x="2261" y="6726"/>
                  </a:lnTo>
                  <a:lnTo>
                    <a:pt x="2310" y="6736"/>
                  </a:lnTo>
                  <a:lnTo>
                    <a:pt x="2359" y="6745"/>
                  </a:lnTo>
                  <a:lnTo>
                    <a:pt x="2410" y="6754"/>
                  </a:lnTo>
                  <a:lnTo>
                    <a:pt x="2462" y="6762"/>
                  </a:lnTo>
                  <a:lnTo>
                    <a:pt x="2515" y="6768"/>
                  </a:lnTo>
                  <a:lnTo>
                    <a:pt x="2570" y="6776"/>
                  </a:lnTo>
                  <a:lnTo>
                    <a:pt x="2625" y="6781"/>
                  </a:lnTo>
                  <a:lnTo>
                    <a:pt x="2682" y="6785"/>
                  </a:lnTo>
                  <a:lnTo>
                    <a:pt x="2740" y="6788"/>
                  </a:lnTo>
                  <a:lnTo>
                    <a:pt x="2800" y="6790"/>
                  </a:lnTo>
                  <a:lnTo>
                    <a:pt x="2860" y="6792"/>
                  </a:lnTo>
                  <a:lnTo>
                    <a:pt x="2921" y="6791"/>
                  </a:lnTo>
                  <a:lnTo>
                    <a:pt x="2984" y="6790"/>
                  </a:lnTo>
                  <a:lnTo>
                    <a:pt x="3047" y="6787"/>
                  </a:lnTo>
                  <a:lnTo>
                    <a:pt x="3112" y="6783"/>
                  </a:lnTo>
                  <a:lnTo>
                    <a:pt x="3177" y="6778"/>
                  </a:lnTo>
                  <a:lnTo>
                    <a:pt x="3177" y="6778"/>
                  </a:lnTo>
                  <a:lnTo>
                    <a:pt x="3239" y="6772"/>
                  </a:lnTo>
                  <a:lnTo>
                    <a:pt x="3299" y="6763"/>
                  </a:lnTo>
                  <a:lnTo>
                    <a:pt x="3357" y="6755"/>
                  </a:lnTo>
                  <a:lnTo>
                    <a:pt x="3412" y="6746"/>
                  </a:lnTo>
                  <a:lnTo>
                    <a:pt x="3466" y="6737"/>
                  </a:lnTo>
                  <a:lnTo>
                    <a:pt x="3517" y="6727"/>
                  </a:lnTo>
                  <a:lnTo>
                    <a:pt x="3567" y="6715"/>
                  </a:lnTo>
                  <a:lnTo>
                    <a:pt x="3615" y="6704"/>
                  </a:lnTo>
                  <a:lnTo>
                    <a:pt x="3660" y="6692"/>
                  </a:lnTo>
                  <a:lnTo>
                    <a:pt x="3704" y="6680"/>
                  </a:lnTo>
                  <a:lnTo>
                    <a:pt x="3745" y="6667"/>
                  </a:lnTo>
                  <a:lnTo>
                    <a:pt x="3784" y="6654"/>
                  </a:lnTo>
                  <a:lnTo>
                    <a:pt x="3822" y="6642"/>
                  </a:lnTo>
                  <a:lnTo>
                    <a:pt x="3858" y="6628"/>
                  </a:lnTo>
                  <a:lnTo>
                    <a:pt x="3891" y="6615"/>
                  </a:lnTo>
                  <a:lnTo>
                    <a:pt x="3922" y="6603"/>
                  </a:lnTo>
                  <a:lnTo>
                    <a:pt x="3980" y="6577"/>
                  </a:lnTo>
                  <a:lnTo>
                    <a:pt x="4030" y="6554"/>
                  </a:lnTo>
                  <a:lnTo>
                    <a:pt x="4071" y="6532"/>
                  </a:lnTo>
                  <a:lnTo>
                    <a:pt x="4105" y="6514"/>
                  </a:lnTo>
                  <a:lnTo>
                    <a:pt x="4131" y="6498"/>
                  </a:lnTo>
                  <a:lnTo>
                    <a:pt x="4150" y="6485"/>
                  </a:lnTo>
                  <a:lnTo>
                    <a:pt x="4165" y="6475"/>
                  </a:lnTo>
                  <a:lnTo>
                    <a:pt x="4165" y="6475"/>
                  </a:lnTo>
                  <a:lnTo>
                    <a:pt x="4144" y="6468"/>
                  </a:lnTo>
                  <a:lnTo>
                    <a:pt x="4124" y="6459"/>
                  </a:lnTo>
                  <a:lnTo>
                    <a:pt x="4103" y="6451"/>
                  </a:lnTo>
                  <a:lnTo>
                    <a:pt x="4084" y="6440"/>
                  </a:lnTo>
                  <a:lnTo>
                    <a:pt x="4064" y="6431"/>
                  </a:lnTo>
                  <a:lnTo>
                    <a:pt x="4046" y="6421"/>
                  </a:lnTo>
                  <a:lnTo>
                    <a:pt x="4009" y="6398"/>
                  </a:lnTo>
                  <a:lnTo>
                    <a:pt x="3976" y="6376"/>
                  </a:lnTo>
                  <a:lnTo>
                    <a:pt x="3944" y="6352"/>
                  </a:lnTo>
                  <a:lnTo>
                    <a:pt x="3914" y="6329"/>
                  </a:lnTo>
                  <a:lnTo>
                    <a:pt x="3887" y="6305"/>
                  </a:lnTo>
                  <a:lnTo>
                    <a:pt x="3887" y="6305"/>
                  </a:lnTo>
                  <a:lnTo>
                    <a:pt x="3882" y="6315"/>
                  </a:lnTo>
                  <a:lnTo>
                    <a:pt x="3879" y="6328"/>
                  </a:lnTo>
                  <a:lnTo>
                    <a:pt x="3876" y="6343"/>
                  </a:lnTo>
                  <a:lnTo>
                    <a:pt x="3873" y="6361"/>
                  </a:lnTo>
                  <a:lnTo>
                    <a:pt x="3873" y="6361"/>
                  </a:lnTo>
                  <a:lnTo>
                    <a:pt x="3865" y="6430"/>
                  </a:lnTo>
                  <a:lnTo>
                    <a:pt x="3861" y="6463"/>
                  </a:lnTo>
                  <a:lnTo>
                    <a:pt x="3861" y="6463"/>
                  </a:lnTo>
                  <a:lnTo>
                    <a:pt x="3857" y="6462"/>
                  </a:lnTo>
                  <a:lnTo>
                    <a:pt x="3847" y="6459"/>
                  </a:lnTo>
                  <a:lnTo>
                    <a:pt x="3828" y="6452"/>
                  </a:lnTo>
                  <a:lnTo>
                    <a:pt x="3801" y="6440"/>
                  </a:lnTo>
                  <a:lnTo>
                    <a:pt x="3801" y="6440"/>
                  </a:lnTo>
                  <a:lnTo>
                    <a:pt x="3791" y="6436"/>
                  </a:lnTo>
                  <a:lnTo>
                    <a:pt x="3781" y="6430"/>
                  </a:lnTo>
                  <a:lnTo>
                    <a:pt x="3771" y="6423"/>
                  </a:lnTo>
                  <a:lnTo>
                    <a:pt x="3761" y="6415"/>
                  </a:lnTo>
                  <a:lnTo>
                    <a:pt x="3750" y="6406"/>
                  </a:lnTo>
                  <a:lnTo>
                    <a:pt x="3739" y="6396"/>
                  </a:lnTo>
                  <a:lnTo>
                    <a:pt x="3729" y="6385"/>
                  </a:lnTo>
                  <a:lnTo>
                    <a:pt x="3719" y="6373"/>
                  </a:lnTo>
                  <a:lnTo>
                    <a:pt x="3709" y="6361"/>
                  </a:lnTo>
                  <a:lnTo>
                    <a:pt x="3700" y="6346"/>
                  </a:lnTo>
                  <a:lnTo>
                    <a:pt x="3692" y="6332"/>
                  </a:lnTo>
                  <a:lnTo>
                    <a:pt x="3684" y="6317"/>
                  </a:lnTo>
                  <a:lnTo>
                    <a:pt x="3678" y="6300"/>
                  </a:lnTo>
                  <a:lnTo>
                    <a:pt x="3674" y="6284"/>
                  </a:lnTo>
                  <a:lnTo>
                    <a:pt x="3670" y="6265"/>
                  </a:lnTo>
                  <a:lnTo>
                    <a:pt x="3668" y="6248"/>
                  </a:lnTo>
                  <a:lnTo>
                    <a:pt x="3668" y="6248"/>
                  </a:lnTo>
                  <a:lnTo>
                    <a:pt x="3667" y="6223"/>
                  </a:lnTo>
                  <a:lnTo>
                    <a:pt x="3667" y="6223"/>
                  </a:lnTo>
                  <a:lnTo>
                    <a:pt x="3610" y="6244"/>
                  </a:lnTo>
                  <a:lnTo>
                    <a:pt x="3544" y="6267"/>
                  </a:lnTo>
                  <a:lnTo>
                    <a:pt x="3507" y="6280"/>
                  </a:lnTo>
                  <a:lnTo>
                    <a:pt x="3468" y="6292"/>
                  </a:lnTo>
                  <a:lnTo>
                    <a:pt x="3427" y="6303"/>
                  </a:lnTo>
                  <a:lnTo>
                    <a:pt x="3386" y="6315"/>
                  </a:lnTo>
                  <a:lnTo>
                    <a:pt x="3342" y="6326"/>
                  </a:lnTo>
                  <a:lnTo>
                    <a:pt x="3296" y="6335"/>
                  </a:lnTo>
                  <a:lnTo>
                    <a:pt x="3250" y="6344"/>
                  </a:lnTo>
                  <a:lnTo>
                    <a:pt x="3201" y="6352"/>
                  </a:lnTo>
                  <a:lnTo>
                    <a:pt x="3153" y="6360"/>
                  </a:lnTo>
                  <a:lnTo>
                    <a:pt x="3104" y="6365"/>
                  </a:lnTo>
                  <a:lnTo>
                    <a:pt x="3055" y="6368"/>
                  </a:lnTo>
                  <a:lnTo>
                    <a:pt x="3005" y="6370"/>
                  </a:lnTo>
                  <a:lnTo>
                    <a:pt x="3005" y="6370"/>
                  </a:lnTo>
                  <a:lnTo>
                    <a:pt x="2916" y="6371"/>
                  </a:lnTo>
                  <a:lnTo>
                    <a:pt x="2828" y="6370"/>
                  </a:lnTo>
                  <a:lnTo>
                    <a:pt x="2740" y="6366"/>
                  </a:lnTo>
                  <a:lnTo>
                    <a:pt x="2651" y="6361"/>
                  </a:lnTo>
                  <a:lnTo>
                    <a:pt x="2563" y="6353"/>
                  </a:lnTo>
                  <a:lnTo>
                    <a:pt x="2476" y="6343"/>
                  </a:lnTo>
                  <a:lnTo>
                    <a:pt x="2388" y="6331"/>
                  </a:lnTo>
                  <a:lnTo>
                    <a:pt x="2301" y="6317"/>
                  </a:lnTo>
                  <a:lnTo>
                    <a:pt x="2257" y="6308"/>
                  </a:lnTo>
                  <a:lnTo>
                    <a:pt x="2213" y="6300"/>
                  </a:lnTo>
                  <a:lnTo>
                    <a:pt x="2170" y="6290"/>
                  </a:lnTo>
                  <a:lnTo>
                    <a:pt x="2126" y="6280"/>
                  </a:lnTo>
                  <a:lnTo>
                    <a:pt x="2083" y="6270"/>
                  </a:lnTo>
                  <a:lnTo>
                    <a:pt x="2039" y="6258"/>
                  </a:lnTo>
                  <a:lnTo>
                    <a:pt x="1996" y="6246"/>
                  </a:lnTo>
                  <a:lnTo>
                    <a:pt x="1952" y="6234"/>
                  </a:lnTo>
                  <a:lnTo>
                    <a:pt x="1909" y="6220"/>
                  </a:lnTo>
                  <a:lnTo>
                    <a:pt x="1866" y="6206"/>
                  </a:lnTo>
                  <a:lnTo>
                    <a:pt x="1823" y="6192"/>
                  </a:lnTo>
                  <a:lnTo>
                    <a:pt x="1780" y="6176"/>
                  </a:lnTo>
                  <a:lnTo>
                    <a:pt x="1737" y="6160"/>
                  </a:lnTo>
                  <a:lnTo>
                    <a:pt x="1694" y="6143"/>
                  </a:lnTo>
                  <a:lnTo>
                    <a:pt x="1652" y="6125"/>
                  </a:lnTo>
                  <a:lnTo>
                    <a:pt x="1609" y="6107"/>
                  </a:lnTo>
                  <a:lnTo>
                    <a:pt x="1609" y="6107"/>
                  </a:lnTo>
                  <a:lnTo>
                    <a:pt x="1523" y="6068"/>
                  </a:lnTo>
                  <a:lnTo>
                    <a:pt x="1480" y="6049"/>
                  </a:lnTo>
                  <a:lnTo>
                    <a:pt x="1480" y="6049"/>
                  </a:lnTo>
                  <a:lnTo>
                    <a:pt x="1479" y="6052"/>
                  </a:lnTo>
                  <a:lnTo>
                    <a:pt x="1477" y="6061"/>
                  </a:lnTo>
                  <a:lnTo>
                    <a:pt x="1477" y="6068"/>
                  </a:lnTo>
                  <a:lnTo>
                    <a:pt x="1477" y="6077"/>
                  </a:lnTo>
                  <a:lnTo>
                    <a:pt x="1477" y="6088"/>
                  </a:lnTo>
                  <a:lnTo>
                    <a:pt x="1479" y="6100"/>
                  </a:lnTo>
                  <a:lnTo>
                    <a:pt x="1483" y="6113"/>
                  </a:lnTo>
                  <a:lnTo>
                    <a:pt x="1487" y="6128"/>
                  </a:lnTo>
                  <a:lnTo>
                    <a:pt x="1494" y="6145"/>
                  </a:lnTo>
                  <a:lnTo>
                    <a:pt x="1503" y="6163"/>
                  </a:lnTo>
                  <a:lnTo>
                    <a:pt x="1514" y="6184"/>
                  </a:lnTo>
                  <a:lnTo>
                    <a:pt x="1529" y="6205"/>
                  </a:lnTo>
                  <a:lnTo>
                    <a:pt x="1545" y="6229"/>
                  </a:lnTo>
                  <a:lnTo>
                    <a:pt x="1565" y="6253"/>
                  </a:lnTo>
                  <a:lnTo>
                    <a:pt x="1565" y="6253"/>
                  </a:lnTo>
                  <a:lnTo>
                    <a:pt x="1547" y="6250"/>
                  </a:lnTo>
                  <a:lnTo>
                    <a:pt x="1528" y="6248"/>
                  </a:lnTo>
                  <a:lnTo>
                    <a:pt x="1509" y="6248"/>
                  </a:lnTo>
                  <a:lnTo>
                    <a:pt x="1490" y="6248"/>
                  </a:lnTo>
                  <a:lnTo>
                    <a:pt x="1472" y="6250"/>
                  </a:lnTo>
                  <a:lnTo>
                    <a:pt x="1456" y="6253"/>
                  </a:lnTo>
                  <a:lnTo>
                    <a:pt x="1441" y="6258"/>
                  </a:lnTo>
                  <a:lnTo>
                    <a:pt x="1427" y="6264"/>
                  </a:lnTo>
                  <a:lnTo>
                    <a:pt x="1427" y="6264"/>
                  </a:lnTo>
                  <a:lnTo>
                    <a:pt x="1413" y="6273"/>
                  </a:lnTo>
                  <a:lnTo>
                    <a:pt x="1400" y="6283"/>
                  </a:lnTo>
                  <a:lnTo>
                    <a:pt x="1390" y="6293"/>
                  </a:lnTo>
                  <a:lnTo>
                    <a:pt x="1379" y="6302"/>
                  </a:lnTo>
                  <a:lnTo>
                    <a:pt x="1371" y="6311"/>
                  </a:lnTo>
                  <a:lnTo>
                    <a:pt x="1365" y="6321"/>
                  </a:lnTo>
                  <a:lnTo>
                    <a:pt x="1358" y="6333"/>
                  </a:lnTo>
                  <a:close/>
                  <a:moveTo>
                    <a:pt x="3487" y="3933"/>
                  </a:moveTo>
                  <a:lnTo>
                    <a:pt x="3487" y="3933"/>
                  </a:lnTo>
                  <a:lnTo>
                    <a:pt x="3470" y="3920"/>
                  </a:lnTo>
                  <a:lnTo>
                    <a:pt x="3453" y="3908"/>
                  </a:lnTo>
                  <a:lnTo>
                    <a:pt x="3436" y="3895"/>
                  </a:lnTo>
                  <a:lnTo>
                    <a:pt x="3418" y="3884"/>
                  </a:lnTo>
                  <a:lnTo>
                    <a:pt x="3383" y="3865"/>
                  </a:lnTo>
                  <a:lnTo>
                    <a:pt x="3349" y="3846"/>
                  </a:lnTo>
                  <a:lnTo>
                    <a:pt x="3314" y="3829"/>
                  </a:lnTo>
                  <a:lnTo>
                    <a:pt x="3281" y="3814"/>
                  </a:lnTo>
                  <a:lnTo>
                    <a:pt x="3250" y="3799"/>
                  </a:lnTo>
                  <a:lnTo>
                    <a:pt x="3219" y="3784"/>
                  </a:lnTo>
                  <a:lnTo>
                    <a:pt x="3219" y="3784"/>
                  </a:lnTo>
                  <a:lnTo>
                    <a:pt x="3235" y="3774"/>
                  </a:lnTo>
                  <a:lnTo>
                    <a:pt x="3251" y="3763"/>
                  </a:lnTo>
                  <a:lnTo>
                    <a:pt x="3268" y="3749"/>
                  </a:lnTo>
                  <a:lnTo>
                    <a:pt x="3284" y="3735"/>
                  </a:lnTo>
                  <a:lnTo>
                    <a:pt x="3298" y="3722"/>
                  </a:lnTo>
                  <a:lnTo>
                    <a:pt x="3302" y="3716"/>
                  </a:lnTo>
                  <a:lnTo>
                    <a:pt x="3305" y="3711"/>
                  </a:lnTo>
                  <a:lnTo>
                    <a:pt x="3305" y="3707"/>
                  </a:lnTo>
                  <a:lnTo>
                    <a:pt x="3305" y="3705"/>
                  </a:lnTo>
                  <a:lnTo>
                    <a:pt x="3303" y="3704"/>
                  </a:lnTo>
                  <a:lnTo>
                    <a:pt x="3303" y="3704"/>
                  </a:lnTo>
                  <a:lnTo>
                    <a:pt x="3290" y="3697"/>
                  </a:lnTo>
                  <a:lnTo>
                    <a:pt x="3278" y="3691"/>
                  </a:lnTo>
                  <a:lnTo>
                    <a:pt x="3266" y="3687"/>
                  </a:lnTo>
                  <a:lnTo>
                    <a:pt x="3255" y="3685"/>
                  </a:lnTo>
                  <a:lnTo>
                    <a:pt x="3236" y="3682"/>
                  </a:lnTo>
                  <a:lnTo>
                    <a:pt x="3229" y="3681"/>
                  </a:lnTo>
                  <a:lnTo>
                    <a:pt x="3229" y="3681"/>
                  </a:lnTo>
                  <a:lnTo>
                    <a:pt x="3168" y="3705"/>
                  </a:lnTo>
                  <a:lnTo>
                    <a:pt x="3105" y="3731"/>
                  </a:lnTo>
                  <a:lnTo>
                    <a:pt x="3045" y="3757"/>
                  </a:lnTo>
                  <a:lnTo>
                    <a:pt x="2984" y="3784"/>
                  </a:lnTo>
                  <a:lnTo>
                    <a:pt x="2924" y="3813"/>
                  </a:lnTo>
                  <a:lnTo>
                    <a:pt x="2866" y="3841"/>
                  </a:lnTo>
                  <a:lnTo>
                    <a:pt x="2809" y="3870"/>
                  </a:lnTo>
                  <a:lnTo>
                    <a:pt x="2754" y="3900"/>
                  </a:lnTo>
                  <a:lnTo>
                    <a:pt x="2700" y="3928"/>
                  </a:lnTo>
                  <a:lnTo>
                    <a:pt x="2649" y="3957"/>
                  </a:lnTo>
                  <a:lnTo>
                    <a:pt x="2600" y="3984"/>
                  </a:lnTo>
                  <a:lnTo>
                    <a:pt x="2553" y="4012"/>
                  </a:lnTo>
                  <a:lnTo>
                    <a:pt x="2510" y="4039"/>
                  </a:lnTo>
                  <a:lnTo>
                    <a:pt x="2469" y="4064"/>
                  </a:lnTo>
                  <a:lnTo>
                    <a:pt x="2433" y="4088"/>
                  </a:lnTo>
                  <a:lnTo>
                    <a:pt x="2399" y="4110"/>
                  </a:lnTo>
                  <a:lnTo>
                    <a:pt x="2399" y="4110"/>
                  </a:lnTo>
                  <a:lnTo>
                    <a:pt x="2394" y="4113"/>
                  </a:lnTo>
                  <a:lnTo>
                    <a:pt x="2394" y="4113"/>
                  </a:lnTo>
                  <a:lnTo>
                    <a:pt x="2382" y="4120"/>
                  </a:lnTo>
                  <a:lnTo>
                    <a:pt x="2371" y="4127"/>
                  </a:lnTo>
                  <a:lnTo>
                    <a:pt x="2360" y="4132"/>
                  </a:lnTo>
                  <a:lnTo>
                    <a:pt x="2348" y="4136"/>
                  </a:lnTo>
                  <a:lnTo>
                    <a:pt x="2336" y="4139"/>
                  </a:lnTo>
                  <a:lnTo>
                    <a:pt x="2325" y="4142"/>
                  </a:lnTo>
                  <a:lnTo>
                    <a:pt x="2313" y="4143"/>
                  </a:lnTo>
                  <a:lnTo>
                    <a:pt x="2302" y="4144"/>
                  </a:lnTo>
                  <a:lnTo>
                    <a:pt x="2278" y="4145"/>
                  </a:lnTo>
                  <a:lnTo>
                    <a:pt x="2256" y="4143"/>
                  </a:lnTo>
                  <a:lnTo>
                    <a:pt x="2233" y="4140"/>
                  </a:lnTo>
                  <a:lnTo>
                    <a:pt x="2213" y="4135"/>
                  </a:lnTo>
                  <a:lnTo>
                    <a:pt x="2193" y="4130"/>
                  </a:lnTo>
                  <a:lnTo>
                    <a:pt x="2176" y="4123"/>
                  </a:lnTo>
                  <a:lnTo>
                    <a:pt x="2161" y="4117"/>
                  </a:lnTo>
                  <a:lnTo>
                    <a:pt x="2146" y="4111"/>
                  </a:lnTo>
                  <a:lnTo>
                    <a:pt x="2127" y="4101"/>
                  </a:lnTo>
                  <a:lnTo>
                    <a:pt x="2121" y="4097"/>
                  </a:lnTo>
                  <a:lnTo>
                    <a:pt x="2100" y="4225"/>
                  </a:lnTo>
                  <a:lnTo>
                    <a:pt x="2100" y="4225"/>
                  </a:lnTo>
                  <a:lnTo>
                    <a:pt x="2123" y="4238"/>
                  </a:lnTo>
                  <a:lnTo>
                    <a:pt x="2144" y="4249"/>
                  </a:lnTo>
                  <a:lnTo>
                    <a:pt x="2165" y="4258"/>
                  </a:lnTo>
                  <a:lnTo>
                    <a:pt x="2182" y="4267"/>
                  </a:lnTo>
                  <a:lnTo>
                    <a:pt x="2198" y="4273"/>
                  </a:lnTo>
                  <a:lnTo>
                    <a:pt x="2214" y="4277"/>
                  </a:lnTo>
                  <a:lnTo>
                    <a:pt x="2227" y="4281"/>
                  </a:lnTo>
                  <a:lnTo>
                    <a:pt x="2238" y="4283"/>
                  </a:lnTo>
                  <a:lnTo>
                    <a:pt x="2238" y="4283"/>
                  </a:lnTo>
                  <a:lnTo>
                    <a:pt x="2219" y="4287"/>
                  </a:lnTo>
                  <a:lnTo>
                    <a:pt x="2198" y="4292"/>
                  </a:lnTo>
                  <a:lnTo>
                    <a:pt x="2178" y="4298"/>
                  </a:lnTo>
                  <a:lnTo>
                    <a:pt x="2156" y="4306"/>
                  </a:lnTo>
                  <a:lnTo>
                    <a:pt x="2137" y="4315"/>
                  </a:lnTo>
                  <a:lnTo>
                    <a:pt x="2119" y="4326"/>
                  </a:lnTo>
                  <a:lnTo>
                    <a:pt x="2109" y="4331"/>
                  </a:lnTo>
                  <a:lnTo>
                    <a:pt x="2101" y="4337"/>
                  </a:lnTo>
                  <a:lnTo>
                    <a:pt x="2094" y="4344"/>
                  </a:lnTo>
                  <a:lnTo>
                    <a:pt x="2088" y="4351"/>
                  </a:lnTo>
                  <a:lnTo>
                    <a:pt x="2132" y="4469"/>
                  </a:lnTo>
                  <a:lnTo>
                    <a:pt x="2132" y="4469"/>
                  </a:lnTo>
                  <a:lnTo>
                    <a:pt x="2144" y="4460"/>
                  </a:lnTo>
                  <a:lnTo>
                    <a:pt x="2160" y="4451"/>
                  </a:lnTo>
                  <a:lnTo>
                    <a:pt x="2181" y="4439"/>
                  </a:lnTo>
                  <a:lnTo>
                    <a:pt x="2193" y="4434"/>
                  </a:lnTo>
                  <a:lnTo>
                    <a:pt x="2207" y="4429"/>
                  </a:lnTo>
                  <a:lnTo>
                    <a:pt x="2222" y="4424"/>
                  </a:lnTo>
                  <a:lnTo>
                    <a:pt x="2237" y="4419"/>
                  </a:lnTo>
                  <a:lnTo>
                    <a:pt x="2255" y="4415"/>
                  </a:lnTo>
                  <a:lnTo>
                    <a:pt x="2273" y="4412"/>
                  </a:lnTo>
                  <a:lnTo>
                    <a:pt x="2292" y="4410"/>
                  </a:lnTo>
                  <a:lnTo>
                    <a:pt x="2313" y="4409"/>
                  </a:lnTo>
                  <a:lnTo>
                    <a:pt x="2313" y="4409"/>
                  </a:lnTo>
                  <a:lnTo>
                    <a:pt x="2316" y="4425"/>
                  </a:lnTo>
                  <a:lnTo>
                    <a:pt x="2316" y="4425"/>
                  </a:lnTo>
                  <a:lnTo>
                    <a:pt x="2316" y="4439"/>
                  </a:lnTo>
                  <a:lnTo>
                    <a:pt x="2316" y="4454"/>
                  </a:lnTo>
                  <a:lnTo>
                    <a:pt x="2314" y="4468"/>
                  </a:lnTo>
                  <a:lnTo>
                    <a:pt x="2311" y="4483"/>
                  </a:lnTo>
                  <a:lnTo>
                    <a:pt x="2306" y="4499"/>
                  </a:lnTo>
                  <a:lnTo>
                    <a:pt x="2301" y="4514"/>
                  </a:lnTo>
                  <a:lnTo>
                    <a:pt x="2293" y="4529"/>
                  </a:lnTo>
                  <a:lnTo>
                    <a:pt x="2285" y="4545"/>
                  </a:lnTo>
                  <a:lnTo>
                    <a:pt x="2277" y="4561"/>
                  </a:lnTo>
                  <a:lnTo>
                    <a:pt x="2267" y="4576"/>
                  </a:lnTo>
                  <a:lnTo>
                    <a:pt x="2256" y="4593"/>
                  </a:lnTo>
                  <a:lnTo>
                    <a:pt x="2244" y="4608"/>
                  </a:lnTo>
                  <a:lnTo>
                    <a:pt x="2231" y="4624"/>
                  </a:lnTo>
                  <a:lnTo>
                    <a:pt x="2218" y="4640"/>
                  </a:lnTo>
                  <a:lnTo>
                    <a:pt x="2204" y="4655"/>
                  </a:lnTo>
                  <a:lnTo>
                    <a:pt x="2189" y="4670"/>
                  </a:lnTo>
                  <a:lnTo>
                    <a:pt x="2157" y="4701"/>
                  </a:lnTo>
                  <a:lnTo>
                    <a:pt x="2124" y="4730"/>
                  </a:lnTo>
                  <a:lnTo>
                    <a:pt x="2088" y="4757"/>
                  </a:lnTo>
                  <a:lnTo>
                    <a:pt x="2051" y="4783"/>
                  </a:lnTo>
                  <a:lnTo>
                    <a:pt x="2013" y="4807"/>
                  </a:lnTo>
                  <a:lnTo>
                    <a:pt x="1975" y="4829"/>
                  </a:lnTo>
                  <a:lnTo>
                    <a:pt x="1937" y="4848"/>
                  </a:lnTo>
                  <a:lnTo>
                    <a:pt x="1917" y="4858"/>
                  </a:lnTo>
                  <a:lnTo>
                    <a:pt x="1899" y="4866"/>
                  </a:lnTo>
                  <a:lnTo>
                    <a:pt x="1899" y="4866"/>
                  </a:lnTo>
                  <a:lnTo>
                    <a:pt x="1861" y="4880"/>
                  </a:lnTo>
                  <a:lnTo>
                    <a:pt x="1823" y="4892"/>
                  </a:lnTo>
                  <a:lnTo>
                    <a:pt x="1788" y="4904"/>
                  </a:lnTo>
                  <a:lnTo>
                    <a:pt x="1754" y="4913"/>
                  </a:lnTo>
                  <a:lnTo>
                    <a:pt x="1721" y="4921"/>
                  </a:lnTo>
                  <a:lnTo>
                    <a:pt x="1690" y="4927"/>
                  </a:lnTo>
                  <a:lnTo>
                    <a:pt x="1661" y="4931"/>
                  </a:lnTo>
                  <a:lnTo>
                    <a:pt x="1633" y="4935"/>
                  </a:lnTo>
                  <a:lnTo>
                    <a:pt x="1607" y="4937"/>
                  </a:lnTo>
                  <a:lnTo>
                    <a:pt x="1584" y="4938"/>
                  </a:lnTo>
                  <a:lnTo>
                    <a:pt x="1562" y="4938"/>
                  </a:lnTo>
                  <a:lnTo>
                    <a:pt x="1543" y="4937"/>
                  </a:lnTo>
                  <a:lnTo>
                    <a:pt x="1527" y="4935"/>
                  </a:lnTo>
                  <a:lnTo>
                    <a:pt x="1513" y="4932"/>
                  </a:lnTo>
                  <a:lnTo>
                    <a:pt x="1502" y="4928"/>
                  </a:lnTo>
                  <a:lnTo>
                    <a:pt x="1493" y="4924"/>
                  </a:lnTo>
                  <a:lnTo>
                    <a:pt x="1493" y="4924"/>
                  </a:lnTo>
                  <a:lnTo>
                    <a:pt x="1469" y="4908"/>
                  </a:lnTo>
                  <a:lnTo>
                    <a:pt x="1448" y="4890"/>
                  </a:lnTo>
                  <a:lnTo>
                    <a:pt x="1429" y="4872"/>
                  </a:lnTo>
                  <a:lnTo>
                    <a:pt x="1413" y="4853"/>
                  </a:lnTo>
                  <a:lnTo>
                    <a:pt x="1398" y="4836"/>
                  </a:lnTo>
                  <a:lnTo>
                    <a:pt x="1384" y="4818"/>
                  </a:lnTo>
                  <a:lnTo>
                    <a:pt x="1373" y="4800"/>
                  </a:lnTo>
                  <a:lnTo>
                    <a:pt x="1362" y="4783"/>
                  </a:lnTo>
                  <a:lnTo>
                    <a:pt x="1343" y="4752"/>
                  </a:lnTo>
                  <a:lnTo>
                    <a:pt x="1333" y="4738"/>
                  </a:lnTo>
                  <a:lnTo>
                    <a:pt x="1324" y="4726"/>
                  </a:lnTo>
                  <a:lnTo>
                    <a:pt x="1315" y="4714"/>
                  </a:lnTo>
                  <a:lnTo>
                    <a:pt x="1305" y="4706"/>
                  </a:lnTo>
                  <a:lnTo>
                    <a:pt x="1293" y="4699"/>
                  </a:lnTo>
                  <a:lnTo>
                    <a:pt x="1287" y="4696"/>
                  </a:lnTo>
                  <a:lnTo>
                    <a:pt x="1281" y="4694"/>
                  </a:lnTo>
                  <a:lnTo>
                    <a:pt x="1281" y="4694"/>
                  </a:lnTo>
                  <a:lnTo>
                    <a:pt x="1277" y="4694"/>
                  </a:lnTo>
                  <a:lnTo>
                    <a:pt x="1274" y="4694"/>
                  </a:lnTo>
                  <a:lnTo>
                    <a:pt x="1267" y="4696"/>
                  </a:lnTo>
                  <a:lnTo>
                    <a:pt x="1260" y="4699"/>
                  </a:lnTo>
                  <a:lnTo>
                    <a:pt x="1252" y="4703"/>
                  </a:lnTo>
                  <a:lnTo>
                    <a:pt x="1244" y="4707"/>
                  </a:lnTo>
                  <a:lnTo>
                    <a:pt x="1235" y="4710"/>
                  </a:lnTo>
                  <a:lnTo>
                    <a:pt x="1227" y="4712"/>
                  </a:lnTo>
                  <a:lnTo>
                    <a:pt x="1222" y="4712"/>
                  </a:lnTo>
                  <a:lnTo>
                    <a:pt x="1217" y="4712"/>
                  </a:lnTo>
                  <a:lnTo>
                    <a:pt x="1217" y="4712"/>
                  </a:lnTo>
                  <a:lnTo>
                    <a:pt x="1196" y="4709"/>
                  </a:lnTo>
                  <a:lnTo>
                    <a:pt x="1176" y="4706"/>
                  </a:lnTo>
                  <a:lnTo>
                    <a:pt x="1155" y="4705"/>
                  </a:lnTo>
                  <a:lnTo>
                    <a:pt x="1134" y="4704"/>
                  </a:lnTo>
                  <a:lnTo>
                    <a:pt x="1114" y="4704"/>
                  </a:lnTo>
                  <a:lnTo>
                    <a:pt x="1094" y="4706"/>
                  </a:lnTo>
                  <a:lnTo>
                    <a:pt x="1075" y="4708"/>
                  </a:lnTo>
                  <a:lnTo>
                    <a:pt x="1055" y="4712"/>
                  </a:lnTo>
                  <a:lnTo>
                    <a:pt x="1037" y="4716"/>
                  </a:lnTo>
                  <a:lnTo>
                    <a:pt x="1020" y="4724"/>
                  </a:lnTo>
                  <a:lnTo>
                    <a:pt x="1004" y="4731"/>
                  </a:lnTo>
                  <a:lnTo>
                    <a:pt x="990" y="4740"/>
                  </a:lnTo>
                  <a:lnTo>
                    <a:pt x="976" y="4751"/>
                  </a:lnTo>
                  <a:lnTo>
                    <a:pt x="970" y="4757"/>
                  </a:lnTo>
                  <a:lnTo>
                    <a:pt x="964" y="4763"/>
                  </a:lnTo>
                  <a:lnTo>
                    <a:pt x="959" y="4771"/>
                  </a:lnTo>
                  <a:lnTo>
                    <a:pt x="955" y="4779"/>
                  </a:lnTo>
                  <a:lnTo>
                    <a:pt x="951" y="4786"/>
                  </a:lnTo>
                  <a:lnTo>
                    <a:pt x="947" y="4795"/>
                  </a:lnTo>
                  <a:lnTo>
                    <a:pt x="947" y="4795"/>
                  </a:lnTo>
                  <a:lnTo>
                    <a:pt x="985" y="4793"/>
                  </a:lnTo>
                  <a:lnTo>
                    <a:pt x="1020" y="4792"/>
                  </a:lnTo>
                  <a:lnTo>
                    <a:pt x="1040" y="4792"/>
                  </a:lnTo>
                  <a:lnTo>
                    <a:pt x="1059" y="4793"/>
                  </a:lnTo>
                  <a:lnTo>
                    <a:pt x="1077" y="4794"/>
                  </a:lnTo>
                  <a:lnTo>
                    <a:pt x="1092" y="4797"/>
                  </a:lnTo>
                  <a:lnTo>
                    <a:pt x="1105" y="4800"/>
                  </a:lnTo>
                  <a:lnTo>
                    <a:pt x="1110" y="4802"/>
                  </a:lnTo>
                  <a:lnTo>
                    <a:pt x="1115" y="4804"/>
                  </a:lnTo>
                  <a:lnTo>
                    <a:pt x="1117" y="4807"/>
                  </a:lnTo>
                  <a:lnTo>
                    <a:pt x="1119" y="4811"/>
                  </a:lnTo>
                  <a:lnTo>
                    <a:pt x="1119" y="4814"/>
                  </a:lnTo>
                  <a:lnTo>
                    <a:pt x="1117" y="4818"/>
                  </a:lnTo>
                  <a:lnTo>
                    <a:pt x="1114" y="4822"/>
                  </a:lnTo>
                  <a:lnTo>
                    <a:pt x="1109" y="4827"/>
                  </a:lnTo>
                  <a:lnTo>
                    <a:pt x="1102" y="4832"/>
                  </a:lnTo>
                  <a:lnTo>
                    <a:pt x="1094" y="4837"/>
                  </a:lnTo>
                  <a:lnTo>
                    <a:pt x="1094" y="4837"/>
                  </a:lnTo>
                  <a:lnTo>
                    <a:pt x="1085" y="4843"/>
                  </a:lnTo>
                  <a:lnTo>
                    <a:pt x="1079" y="4849"/>
                  </a:lnTo>
                  <a:lnTo>
                    <a:pt x="1074" y="4856"/>
                  </a:lnTo>
                  <a:lnTo>
                    <a:pt x="1072" y="4863"/>
                  </a:lnTo>
                  <a:lnTo>
                    <a:pt x="1071" y="4870"/>
                  </a:lnTo>
                  <a:lnTo>
                    <a:pt x="1072" y="4876"/>
                  </a:lnTo>
                  <a:lnTo>
                    <a:pt x="1074" y="4883"/>
                  </a:lnTo>
                  <a:lnTo>
                    <a:pt x="1077" y="4890"/>
                  </a:lnTo>
                  <a:lnTo>
                    <a:pt x="1082" y="4898"/>
                  </a:lnTo>
                  <a:lnTo>
                    <a:pt x="1088" y="4906"/>
                  </a:lnTo>
                  <a:lnTo>
                    <a:pt x="1096" y="4913"/>
                  </a:lnTo>
                  <a:lnTo>
                    <a:pt x="1104" y="4920"/>
                  </a:lnTo>
                  <a:lnTo>
                    <a:pt x="1124" y="4935"/>
                  </a:lnTo>
                  <a:lnTo>
                    <a:pt x="1146" y="4951"/>
                  </a:lnTo>
                  <a:lnTo>
                    <a:pt x="1170" y="4966"/>
                  </a:lnTo>
                  <a:lnTo>
                    <a:pt x="1195" y="4980"/>
                  </a:lnTo>
                  <a:lnTo>
                    <a:pt x="1247" y="5008"/>
                  </a:lnTo>
                  <a:lnTo>
                    <a:pt x="1293" y="5031"/>
                  </a:lnTo>
                  <a:lnTo>
                    <a:pt x="1313" y="5042"/>
                  </a:lnTo>
                  <a:lnTo>
                    <a:pt x="1329" y="5051"/>
                  </a:lnTo>
                  <a:lnTo>
                    <a:pt x="1329" y="5051"/>
                  </a:lnTo>
                  <a:lnTo>
                    <a:pt x="1336" y="5056"/>
                  </a:lnTo>
                  <a:lnTo>
                    <a:pt x="1339" y="5060"/>
                  </a:lnTo>
                  <a:lnTo>
                    <a:pt x="1341" y="5063"/>
                  </a:lnTo>
                  <a:lnTo>
                    <a:pt x="1339" y="5066"/>
                  </a:lnTo>
                  <a:lnTo>
                    <a:pt x="1336" y="5068"/>
                  </a:lnTo>
                  <a:lnTo>
                    <a:pt x="1332" y="5070"/>
                  </a:lnTo>
                  <a:lnTo>
                    <a:pt x="1326" y="5071"/>
                  </a:lnTo>
                  <a:lnTo>
                    <a:pt x="1326" y="5071"/>
                  </a:lnTo>
                  <a:lnTo>
                    <a:pt x="1316" y="5071"/>
                  </a:lnTo>
                  <a:lnTo>
                    <a:pt x="1304" y="5069"/>
                  </a:lnTo>
                  <a:lnTo>
                    <a:pt x="1289" y="5066"/>
                  </a:lnTo>
                  <a:lnTo>
                    <a:pt x="1273" y="5061"/>
                  </a:lnTo>
                  <a:lnTo>
                    <a:pt x="1237" y="5050"/>
                  </a:lnTo>
                  <a:lnTo>
                    <a:pt x="1197" y="5035"/>
                  </a:lnTo>
                  <a:lnTo>
                    <a:pt x="1115" y="5004"/>
                  </a:lnTo>
                  <a:lnTo>
                    <a:pt x="1077" y="4988"/>
                  </a:lnTo>
                  <a:lnTo>
                    <a:pt x="1042" y="4977"/>
                  </a:lnTo>
                  <a:lnTo>
                    <a:pt x="1042" y="4977"/>
                  </a:lnTo>
                  <a:lnTo>
                    <a:pt x="1031" y="4974"/>
                  </a:lnTo>
                  <a:lnTo>
                    <a:pt x="1020" y="4972"/>
                  </a:lnTo>
                  <a:lnTo>
                    <a:pt x="1011" y="4972"/>
                  </a:lnTo>
                  <a:lnTo>
                    <a:pt x="1003" y="4973"/>
                  </a:lnTo>
                  <a:lnTo>
                    <a:pt x="996" y="4975"/>
                  </a:lnTo>
                  <a:lnTo>
                    <a:pt x="990" y="4978"/>
                  </a:lnTo>
                  <a:lnTo>
                    <a:pt x="985" y="4981"/>
                  </a:lnTo>
                  <a:lnTo>
                    <a:pt x="981" y="4984"/>
                  </a:lnTo>
                  <a:lnTo>
                    <a:pt x="972" y="4993"/>
                  </a:lnTo>
                  <a:lnTo>
                    <a:pt x="966" y="5000"/>
                  </a:lnTo>
                  <a:lnTo>
                    <a:pt x="962" y="5005"/>
                  </a:lnTo>
                  <a:lnTo>
                    <a:pt x="959" y="5006"/>
                  </a:lnTo>
                  <a:lnTo>
                    <a:pt x="957" y="5007"/>
                  </a:lnTo>
                  <a:lnTo>
                    <a:pt x="957" y="5007"/>
                  </a:lnTo>
                  <a:lnTo>
                    <a:pt x="948" y="5006"/>
                  </a:lnTo>
                  <a:lnTo>
                    <a:pt x="938" y="5005"/>
                  </a:lnTo>
                  <a:lnTo>
                    <a:pt x="926" y="5006"/>
                  </a:lnTo>
                  <a:lnTo>
                    <a:pt x="916" y="5006"/>
                  </a:lnTo>
                  <a:lnTo>
                    <a:pt x="894" y="5010"/>
                  </a:lnTo>
                  <a:lnTo>
                    <a:pt x="871" y="5016"/>
                  </a:lnTo>
                  <a:lnTo>
                    <a:pt x="849" y="5024"/>
                  </a:lnTo>
                  <a:lnTo>
                    <a:pt x="826" y="5034"/>
                  </a:lnTo>
                  <a:lnTo>
                    <a:pt x="805" y="5048"/>
                  </a:lnTo>
                  <a:lnTo>
                    <a:pt x="794" y="5055"/>
                  </a:lnTo>
                  <a:lnTo>
                    <a:pt x="785" y="5062"/>
                  </a:lnTo>
                  <a:lnTo>
                    <a:pt x="776" y="5070"/>
                  </a:lnTo>
                  <a:lnTo>
                    <a:pt x="768" y="5078"/>
                  </a:lnTo>
                  <a:lnTo>
                    <a:pt x="760" y="5088"/>
                  </a:lnTo>
                  <a:lnTo>
                    <a:pt x="753" y="5097"/>
                  </a:lnTo>
                  <a:lnTo>
                    <a:pt x="746" y="5107"/>
                  </a:lnTo>
                  <a:lnTo>
                    <a:pt x="740" y="5116"/>
                  </a:lnTo>
                  <a:lnTo>
                    <a:pt x="736" y="5127"/>
                  </a:lnTo>
                  <a:lnTo>
                    <a:pt x="732" y="5139"/>
                  </a:lnTo>
                  <a:lnTo>
                    <a:pt x="730" y="5150"/>
                  </a:lnTo>
                  <a:lnTo>
                    <a:pt x="728" y="5161"/>
                  </a:lnTo>
                  <a:lnTo>
                    <a:pt x="728" y="5173"/>
                  </a:lnTo>
                  <a:lnTo>
                    <a:pt x="728" y="5186"/>
                  </a:lnTo>
                  <a:lnTo>
                    <a:pt x="731" y="5199"/>
                  </a:lnTo>
                  <a:lnTo>
                    <a:pt x="734" y="5211"/>
                  </a:lnTo>
                  <a:lnTo>
                    <a:pt x="739" y="5225"/>
                  </a:lnTo>
                  <a:lnTo>
                    <a:pt x="745" y="5239"/>
                  </a:lnTo>
                  <a:lnTo>
                    <a:pt x="745" y="5239"/>
                  </a:lnTo>
                  <a:lnTo>
                    <a:pt x="748" y="5234"/>
                  </a:lnTo>
                  <a:lnTo>
                    <a:pt x="758" y="5221"/>
                  </a:lnTo>
                  <a:lnTo>
                    <a:pt x="773" y="5202"/>
                  </a:lnTo>
                  <a:lnTo>
                    <a:pt x="781" y="5192"/>
                  </a:lnTo>
                  <a:lnTo>
                    <a:pt x="791" y="5182"/>
                  </a:lnTo>
                  <a:lnTo>
                    <a:pt x="803" y="5171"/>
                  </a:lnTo>
                  <a:lnTo>
                    <a:pt x="814" y="5162"/>
                  </a:lnTo>
                  <a:lnTo>
                    <a:pt x="826" y="5154"/>
                  </a:lnTo>
                  <a:lnTo>
                    <a:pt x="839" y="5147"/>
                  </a:lnTo>
                  <a:lnTo>
                    <a:pt x="853" y="5142"/>
                  </a:lnTo>
                  <a:lnTo>
                    <a:pt x="859" y="5140"/>
                  </a:lnTo>
                  <a:lnTo>
                    <a:pt x="866" y="5139"/>
                  </a:lnTo>
                  <a:lnTo>
                    <a:pt x="873" y="5139"/>
                  </a:lnTo>
                  <a:lnTo>
                    <a:pt x="879" y="5139"/>
                  </a:lnTo>
                  <a:lnTo>
                    <a:pt x="887" y="5140"/>
                  </a:lnTo>
                  <a:lnTo>
                    <a:pt x="894" y="5142"/>
                  </a:lnTo>
                  <a:lnTo>
                    <a:pt x="894" y="5142"/>
                  </a:lnTo>
                  <a:lnTo>
                    <a:pt x="899" y="5144"/>
                  </a:lnTo>
                  <a:lnTo>
                    <a:pt x="902" y="5148"/>
                  </a:lnTo>
                  <a:lnTo>
                    <a:pt x="903" y="5154"/>
                  </a:lnTo>
                  <a:lnTo>
                    <a:pt x="904" y="5160"/>
                  </a:lnTo>
                  <a:lnTo>
                    <a:pt x="904" y="5177"/>
                  </a:lnTo>
                  <a:lnTo>
                    <a:pt x="902" y="5195"/>
                  </a:lnTo>
                  <a:lnTo>
                    <a:pt x="902" y="5205"/>
                  </a:lnTo>
                  <a:lnTo>
                    <a:pt x="902" y="5215"/>
                  </a:lnTo>
                  <a:lnTo>
                    <a:pt x="904" y="5226"/>
                  </a:lnTo>
                  <a:lnTo>
                    <a:pt x="906" y="5235"/>
                  </a:lnTo>
                  <a:lnTo>
                    <a:pt x="910" y="5245"/>
                  </a:lnTo>
                  <a:lnTo>
                    <a:pt x="915" y="5254"/>
                  </a:lnTo>
                  <a:lnTo>
                    <a:pt x="923" y="5262"/>
                  </a:lnTo>
                  <a:lnTo>
                    <a:pt x="933" y="5270"/>
                  </a:lnTo>
                  <a:lnTo>
                    <a:pt x="933" y="5270"/>
                  </a:lnTo>
                  <a:lnTo>
                    <a:pt x="941" y="5274"/>
                  </a:lnTo>
                  <a:lnTo>
                    <a:pt x="949" y="5277"/>
                  </a:lnTo>
                  <a:lnTo>
                    <a:pt x="959" y="5280"/>
                  </a:lnTo>
                  <a:lnTo>
                    <a:pt x="970" y="5281"/>
                  </a:lnTo>
                  <a:lnTo>
                    <a:pt x="982" y="5283"/>
                  </a:lnTo>
                  <a:lnTo>
                    <a:pt x="995" y="5283"/>
                  </a:lnTo>
                  <a:lnTo>
                    <a:pt x="1021" y="5283"/>
                  </a:lnTo>
                  <a:lnTo>
                    <a:pt x="1051" y="5281"/>
                  </a:lnTo>
                  <a:lnTo>
                    <a:pt x="1082" y="5278"/>
                  </a:lnTo>
                  <a:lnTo>
                    <a:pt x="1146" y="5270"/>
                  </a:lnTo>
                  <a:lnTo>
                    <a:pt x="1209" y="5261"/>
                  </a:lnTo>
                  <a:lnTo>
                    <a:pt x="1238" y="5257"/>
                  </a:lnTo>
                  <a:lnTo>
                    <a:pt x="1266" y="5255"/>
                  </a:lnTo>
                  <a:lnTo>
                    <a:pt x="1290" y="5254"/>
                  </a:lnTo>
                  <a:lnTo>
                    <a:pt x="1311" y="5255"/>
                  </a:lnTo>
                  <a:lnTo>
                    <a:pt x="1320" y="5256"/>
                  </a:lnTo>
                  <a:lnTo>
                    <a:pt x="1328" y="5258"/>
                  </a:lnTo>
                  <a:lnTo>
                    <a:pt x="1335" y="5261"/>
                  </a:lnTo>
                  <a:lnTo>
                    <a:pt x="1341" y="5266"/>
                  </a:lnTo>
                  <a:lnTo>
                    <a:pt x="1341" y="5266"/>
                  </a:lnTo>
                  <a:lnTo>
                    <a:pt x="1344" y="5269"/>
                  </a:lnTo>
                  <a:lnTo>
                    <a:pt x="1345" y="5272"/>
                  </a:lnTo>
                  <a:lnTo>
                    <a:pt x="1344" y="5274"/>
                  </a:lnTo>
                  <a:lnTo>
                    <a:pt x="1339" y="5277"/>
                  </a:lnTo>
                  <a:lnTo>
                    <a:pt x="1335" y="5279"/>
                  </a:lnTo>
                  <a:lnTo>
                    <a:pt x="1328" y="5282"/>
                  </a:lnTo>
                  <a:lnTo>
                    <a:pt x="1311" y="5286"/>
                  </a:lnTo>
                  <a:lnTo>
                    <a:pt x="1288" y="5290"/>
                  </a:lnTo>
                  <a:lnTo>
                    <a:pt x="1263" y="5293"/>
                  </a:lnTo>
                  <a:lnTo>
                    <a:pt x="1202" y="5301"/>
                  </a:lnTo>
                  <a:lnTo>
                    <a:pt x="1171" y="5305"/>
                  </a:lnTo>
                  <a:lnTo>
                    <a:pt x="1140" y="5310"/>
                  </a:lnTo>
                  <a:lnTo>
                    <a:pt x="1110" y="5317"/>
                  </a:lnTo>
                  <a:lnTo>
                    <a:pt x="1084" y="5323"/>
                  </a:lnTo>
                  <a:lnTo>
                    <a:pt x="1072" y="5327"/>
                  </a:lnTo>
                  <a:lnTo>
                    <a:pt x="1060" y="5331"/>
                  </a:lnTo>
                  <a:lnTo>
                    <a:pt x="1050" y="5335"/>
                  </a:lnTo>
                  <a:lnTo>
                    <a:pt x="1042" y="5340"/>
                  </a:lnTo>
                  <a:lnTo>
                    <a:pt x="1035" y="5345"/>
                  </a:lnTo>
                  <a:lnTo>
                    <a:pt x="1030" y="5350"/>
                  </a:lnTo>
                  <a:lnTo>
                    <a:pt x="1026" y="5357"/>
                  </a:lnTo>
                  <a:lnTo>
                    <a:pt x="1024" y="5363"/>
                  </a:lnTo>
                  <a:lnTo>
                    <a:pt x="1024" y="5363"/>
                  </a:lnTo>
                  <a:lnTo>
                    <a:pt x="1023" y="5368"/>
                  </a:lnTo>
                  <a:lnTo>
                    <a:pt x="1023" y="5377"/>
                  </a:lnTo>
                  <a:lnTo>
                    <a:pt x="1024" y="5388"/>
                  </a:lnTo>
                  <a:lnTo>
                    <a:pt x="1026" y="5394"/>
                  </a:lnTo>
                  <a:lnTo>
                    <a:pt x="1028" y="5399"/>
                  </a:lnTo>
                  <a:lnTo>
                    <a:pt x="1028" y="5399"/>
                  </a:lnTo>
                  <a:lnTo>
                    <a:pt x="1029" y="5406"/>
                  </a:lnTo>
                  <a:lnTo>
                    <a:pt x="1029" y="5412"/>
                  </a:lnTo>
                  <a:lnTo>
                    <a:pt x="1026" y="5418"/>
                  </a:lnTo>
                  <a:lnTo>
                    <a:pt x="1021" y="5424"/>
                  </a:lnTo>
                  <a:lnTo>
                    <a:pt x="1011" y="5438"/>
                  </a:lnTo>
                  <a:lnTo>
                    <a:pt x="997" y="5456"/>
                  </a:lnTo>
                  <a:lnTo>
                    <a:pt x="989" y="5466"/>
                  </a:lnTo>
                  <a:lnTo>
                    <a:pt x="982" y="5476"/>
                  </a:lnTo>
                  <a:lnTo>
                    <a:pt x="974" y="5488"/>
                  </a:lnTo>
                  <a:lnTo>
                    <a:pt x="968" y="5501"/>
                  </a:lnTo>
                  <a:lnTo>
                    <a:pt x="962" y="5515"/>
                  </a:lnTo>
                  <a:lnTo>
                    <a:pt x="958" y="5530"/>
                  </a:lnTo>
                  <a:lnTo>
                    <a:pt x="954" y="5547"/>
                  </a:lnTo>
                  <a:lnTo>
                    <a:pt x="953" y="5565"/>
                  </a:lnTo>
                  <a:lnTo>
                    <a:pt x="953" y="5565"/>
                  </a:lnTo>
                  <a:lnTo>
                    <a:pt x="953" y="5574"/>
                  </a:lnTo>
                  <a:lnTo>
                    <a:pt x="953" y="5583"/>
                  </a:lnTo>
                  <a:lnTo>
                    <a:pt x="956" y="5601"/>
                  </a:lnTo>
                  <a:lnTo>
                    <a:pt x="961" y="5618"/>
                  </a:lnTo>
                  <a:lnTo>
                    <a:pt x="967" y="5634"/>
                  </a:lnTo>
                  <a:lnTo>
                    <a:pt x="975" y="5649"/>
                  </a:lnTo>
                  <a:lnTo>
                    <a:pt x="985" y="5663"/>
                  </a:lnTo>
                  <a:lnTo>
                    <a:pt x="995" y="5676"/>
                  </a:lnTo>
                  <a:lnTo>
                    <a:pt x="1005" y="5688"/>
                  </a:lnTo>
                  <a:lnTo>
                    <a:pt x="1015" y="5698"/>
                  </a:lnTo>
                  <a:lnTo>
                    <a:pt x="1026" y="5707"/>
                  </a:lnTo>
                  <a:lnTo>
                    <a:pt x="1043" y="5723"/>
                  </a:lnTo>
                  <a:lnTo>
                    <a:pt x="1055" y="5731"/>
                  </a:lnTo>
                  <a:lnTo>
                    <a:pt x="1060" y="5735"/>
                  </a:lnTo>
                  <a:lnTo>
                    <a:pt x="1060" y="5735"/>
                  </a:lnTo>
                  <a:lnTo>
                    <a:pt x="1062" y="5731"/>
                  </a:lnTo>
                  <a:lnTo>
                    <a:pt x="1063" y="5726"/>
                  </a:lnTo>
                  <a:lnTo>
                    <a:pt x="1063" y="5717"/>
                  </a:lnTo>
                  <a:lnTo>
                    <a:pt x="1062" y="5708"/>
                  </a:lnTo>
                  <a:lnTo>
                    <a:pt x="1059" y="5687"/>
                  </a:lnTo>
                  <a:lnTo>
                    <a:pt x="1056" y="5661"/>
                  </a:lnTo>
                  <a:lnTo>
                    <a:pt x="1055" y="5649"/>
                  </a:lnTo>
                  <a:lnTo>
                    <a:pt x="1054" y="5636"/>
                  </a:lnTo>
                  <a:lnTo>
                    <a:pt x="1054" y="5624"/>
                  </a:lnTo>
                  <a:lnTo>
                    <a:pt x="1056" y="5613"/>
                  </a:lnTo>
                  <a:lnTo>
                    <a:pt x="1058" y="5603"/>
                  </a:lnTo>
                  <a:lnTo>
                    <a:pt x="1062" y="5594"/>
                  </a:lnTo>
                  <a:lnTo>
                    <a:pt x="1065" y="5591"/>
                  </a:lnTo>
                  <a:lnTo>
                    <a:pt x="1069" y="5587"/>
                  </a:lnTo>
                  <a:lnTo>
                    <a:pt x="1072" y="5585"/>
                  </a:lnTo>
                  <a:lnTo>
                    <a:pt x="1076" y="5582"/>
                  </a:lnTo>
                  <a:lnTo>
                    <a:pt x="1076" y="5582"/>
                  </a:lnTo>
                  <a:lnTo>
                    <a:pt x="1081" y="5581"/>
                  </a:lnTo>
                  <a:lnTo>
                    <a:pt x="1085" y="5581"/>
                  </a:lnTo>
                  <a:lnTo>
                    <a:pt x="1090" y="5582"/>
                  </a:lnTo>
                  <a:lnTo>
                    <a:pt x="1094" y="5586"/>
                  </a:lnTo>
                  <a:lnTo>
                    <a:pt x="1103" y="5593"/>
                  </a:lnTo>
                  <a:lnTo>
                    <a:pt x="1114" y="5602"/>
                  </a:lnTo>
                  <a:lnTo>
                    <a:pt x="1125" y="5613"/>
                  </a:lnTo>
                  <a:lnTo>
                    <a:pt x="1138" y="5622"/>
                  </a:lnTo>
                  <a:lnTo>
                    <a:pt x="1145" y="5627"/>
                  </a:lnTo>
                  <a:lnTo>
                    <a:pt x="1152" y="5631"/>
                  </a:lnTo>
                  <a:lnTo>
                    <a:pt x="1162" y="5634"/>
                  </a:lnTo>
                  <a:lnTo>
                    <a:pt x="1170" y="5636"/>
                  </a:lnTo>
                  <a:lnTo>
                    <a:pt x="1170" y="5636"/>
                  </a:lnTo>
                  <a:lnTo>
                    <a:pt x="1179" y="5636"/>
                  </a:lnTo>
                  <a:lnTo>
                    <a:pt x="1188" y="5636"/>
                  </a:lnTo>
                  <a:lnTo>
                    <a:pt x="1196" y="5635"/>
                  </a:lnTo>
                  <a:lnTo>
                    <a:pt x="1206" y="5633"/>
                  </a:lnTo>
                  <a:lnTo>
                    <a:pt x="1214" y="5629"/>
                  </a:lnTo>
                  <a:lnTo>
                    <a:pt x="1222" y="5625"/>
                  </a:lnTo>
                  <a:lnTo>
                    <a:pt x="1229" y="5621"/>
                  </a:lnTo>
                  <a:lnTo>
                    <a:pt x="1237" y="5616"/>
                  </a:lnTo>
                  <a:lnTo>
                    <a:pt x="1253" y="5604"/>
                  </a:lnTo>
                  <a:lnTo>
                    <a:pt x="1267" y="5590"/>
                  </a:lnTo>
                  <a:lnTo>
                    <a:pt x="1282" y="5573"/>
                  </a:lnTo>
                  <a:lnTo>
                    <a:pt x="1299" y="5556"/>
                  </a:lnTo>
                  <a:lnTo>
                    <a:pt x="1332" y="5517"/>
                  </a:lnTo>
                  <a:lnTo>
                    <a:pt x="1352" y="5498"/>
                  </a:lnTo>
                  <a:lnTo>
                    <a:pt x="1372" y="5478"/>
                  </a:lnTo>
                  <a:lnTo>
                    <a:pt x="1395" y="5458"/>
                  </a:lnTo>
                  <a:lnTo>
                    <a:pt x="1419" y="5439"/>
                  </a:lnTo>
                  <a:lnTo>
                    <a:pt x="1433" y="5430"/>
                  </a:lnTo>
                  <a:lnTo>
                    <a:pt x="1446" y="5422"/>
                  </a:lnTo>
                  <a:lnTo>
                    <a:pt x="1460" y="5414"/>
                  </a:lnTo>
                  <a:lnTo>
                    <a:pt x="1475" y="5406"/>
                  </a:lnTo>
                  <a:lnTo>
                    <a:pt x="1475" y="5406"/>
                  </a:lnTo>
                  <a:lnTo>
                    <a:pt x="1515" y="5387"/>
                  </a:lnTo>
                  <a:lnTo>
                    <a:pt x="1547" y="5375"/>
                  </a:lnTo>
                  <a:lnTo>
                    <a:pt x="1559" y="5370"/>
                  </a:lnTo>
                  <a:lnTo>
                    <a:pt x="1571" y="5367"/>
                  </a:lnTo>
                  <a:lnTo>
                    <a:pt x="1580" y="5366"/>
                  </a:lnTo>
                  <a:lnTo>
                    <a:pt x="1587" y="5365"/>
                  </a:lnTo>
                  <a:lnTo>
                    <a:pt x="1593" y="5365"/>
                  </a:lnTo>
                  <a:lnTo>
                    <a:pt x="1597" y="5367"/>
                  </a:lnTo>
                  <a:lnTo>
                    <a:pt x="1600" y="5369"/>
                  </a:lnTo>
                  <a:lnTo>
                    <a:pt x="1602" y="5372"/>
                  </a:lnTo>
                  <a:lnTo>
                    <a:pt x="1604" y="5375"/>
                  </a:lnTo>
                  <a:lnTo>
                    <a:pt x="1604" y="5379"/>
                  </a:lnTo>
                  <a:lnTo>
                    <a:pt x="1603" y="5389"/>
                  </a:lnTo>
                  <a:lnTo>
                    <a:pt x="1600" y="5401"/>
                  </a:lnTo>
                  <a:lnTo>
                    <a:pt x="1596" y="5415"/>
                  </a:lnTo>
                  <a:lnTo>
                    <a:pt x="1593" y="5428"/>
                  </a:lnTo>
                  <a:lnTo>
                    <a:pt x="1591" y="5440"/>
                  </a:lnTo>
                  <a:lnTo>
                    <a:pt x="1591" y="5446"/>
                  </a:lnTo>
                  <a:lnTo>
                    <a:pt x="1591" y="5453"/>
                  </a:lnTo>
                  <a:lnTo>
                    <a:pt x="1593" y="5458"/>
                  </a:lnTo>
                  <a:lnTo>
                    <a:pt x="1595" y="5463"/>
                  </a:lnTo>
                  <a:lnTo>
                    <a:pt x="1598" y="5467"/>
                  </a:lnTo>
                  <a:lnTo>
                    <a:pt x="1603" y="5471"/>
                  </a:lnTo>
                  <a:lnTo>
                    <a:pt x="1609" y="5474"/>
                  </a:lnTo>
                  <a:lnTo>
                    <a:pt x="1617" y="5476"/>
                  </a:lnTo>
                  <a:lnTo>
                    <a:pt x="1617" y="5476"/>
                  </a:lnTo>
                  <a:lnTo>
                    <a:pt x="1629" y="5480"/>
                  </a:lnTo>
                  <a:lnTo>
                    <a:pt x="1640" y="5483"/>
                  </a:lnTo>
                  <a:lnTo>
                    <a:pt x="1649" y="5488"/>
                  </a:lnTo>
                  <a:lnTo>
                    <a:pt x="1656" y="5492"/>
                  </a:lnTo>
                  <a:lnTo>
                    <a:pt x="1663" y="5498"/>
                  </a:lnTo>
                  <a:lnTo>
                    <a:pt x="1668" y="5503"/>
                  </a:lnTo>
                  <a:lnTo>
                    <a:pt x="1671" y="5509"/>
                  </a:lnTo>
                  <a:lnTo>
                    <a:pt x="1673" y="5515"/>
                  </a:lnTo>
                  <a:lnTo>
                    <a:pt x="1675" y="5521"/>
                  </a:lnTo>
                  <a:lnTo>
                    <a:pt x="1675" y="5527"/>
                  </a:lnTo>
                  <a:lnTo>
                    <a:pt x="1674" y="5534"/>
                  </a:lnTo>
                  <a:lnTo>
                    <a:pt x="1673" y="5541"/>
                  </a:lnTo>
                  <a:lnTo>
                    <a:pt x="1671" y="5548"/>
                  </a:lnTo>
                  <a:lnTo>
                    <a:pt x="1668" y="5555"/>
                  </a:lnTo>
                  <a:lnTo>
                    <a:pt x="1660" y="5568"/>
                  </a:lnTo>
                  <a:lnTo>
                    <a:pt x="1650" y="5581"/>
                  </a:lnTo>
                  <a:lnTo>
                    <a:pt x="1640" y="5594"/>
                  </a:lnTo>
                  <a:lnTo>
                    <a:pt x="1630" y="5605"/>
                  </a:lnTo>
                  <a:lnTo>
                    <a:pt x="1620" y="5615"/>
                  </a:lnTo>
                  <a:lnTo>
                    <a:pt x="1603" y="5629"/>
                  </a:lnTo>
                  <a:lnTo>
                    <a:pt x="1597" y="5636"/>
                  </a:lnTo>
                  <a:lnTo>
                    <a:pt x="1597" y="5636"/>
                  </a:lnTo>
                  <a:lnTo>
                    <a:pt x="1605" y="5640"/>
                  </a:lnTo>
                  <a:lnTo>
                    <a:pt x="1616" y="5642"/>
                  </a:lnTo>
                  <a:lnTo>
                    <a:pt x="1627" y="5643"/>
                  </a:lnTo>
                  <a:lnTo>
                    <a:pt x="1640" y="5642"/>
                  </a:lnTo>
                  <a:lnTo>
                    <a:pt x="1654" y="5639"/>
                  </a:lnTo>
                  <a:lnTo>
                    <a:pt x="1669" y="5635"/>
                  </a:lnTo>
                  <a:lnTo>
                    <a:pt x="1685" y="5628"/>
                  </a:lnTo>
                  <a:lnTo>
                    <a:pt x="1700" y="5620"/>
                  </a:lnTo>
                  <a:lnTo>
                    <a:pt x="1717" y="5611"/>
                  </a:lnTo>
                  <a:lnTo>
                    <a:pt x="1732" y="5600"/>
                  </a:lnTo>
                  <a:lnTo>
                    <a:pt x="1747" y="5587"/>
                  </a:lnTo>
                  <a:lnTo>
                    <a:pt x="1763" y="5572"/>
                  </a:lnTo>
                  <a:lnTo>
                    <a:pt x="1776" y="5555"/>
                  </a:lnTo>
                  <a:lnTo>
                    <a:pt x="1789" y="5536"/>
                  </a:lnTo>
                  <a:lnTo>
                    <a:pt x="1801" y="5516"/>
                  </a:lnTo>
                  <a:lnTo>
                    <a:pt x="1811" y="5495"/>
                  </a:lnTo>
                  <a:lnTo>
                    <a:pt x="1811" y="5495"/>
                  </a:lnTo>
                  <a:lnTo>
                    <a:pt x="1814" y="5486"/>
                  </a:lnTo>
                  <a:lnTo>
                    <a:pt x="1817" y="5480"/>
                  </a:lnTo>
                  <a:lnTo>
                    <a:pt x="1820" y="5475"/>
                  </a:lnTo>
                  <a:lnTo>
                    <a:pt x="1824" y="5471"/>
                  </a:lnTo>
                  <a:lnTo>
                    <a:pt x="1828" y="5468"/>
                  </a:lnTo>
                  <a:lnTo>
                    <a:pt x="1831" y="5465"/>
                  </a:lnTo>
                  <a:lnTo>
                    <a:pt x="1839" y="5462"/>
                  </a:lnTo>
                  <a:lnTo>
                    <a:pt x="1848" y="5459"/>
                  </a:lnTo>
                  <a:lnTo>
                    <a:pt x="1857" y="5455"/>
                  </a:lnTo>
                  <a:lnTo>
                    <a:pt x="1866" y="5449"/>
                  </a:lnTo>
                  <a:lnTo>
                    <a:pt x="1871" y="5444"/>
                  </a:lnTo>
                  <a:lnTo>
                    <a:pt x="1876" y="5439"/>
                  </a:lnTo>
                  <a:lnTo>
                    <a:pt x="1876" y="5439"/>
                  </a:lnTo>
                  <a:lnTo>
                    <a:pt x="1879" y="5433"/>
                  </a:lnTo>
                  <a:lnTo>
                    <a:pt x="1882" y="5427"/>
                  </a:lnTo>
                  <a:lnTo>
                    <a:pt x="1886" y="5421"/>
                  </a:lnTo>
                  <a:lnTo>
                    <a:pt x="1887" y="5415"/>
                  </a:lnTo>
                  <a:lnTo>
                    <a:pt x="1888" y="5400"/>
                  </a:lnTo>
                  <a:lnTo>
                    <a:pt x="1888" y="5386"/>
                  </a:lnTo>
                  <a:lnTo>
                    <a:pt x="1888" y="5371"/>
                  </a:lnTo>
                  <a:lnTo>
                    <a:pt x="1888" y="5357"/>
                  </a:lnTo>
                  <a:lnTo>
                    <a:pt x="1890" y="5342"/>
                  </a:lnTo>
                  <a:lnTo>
                    <a:pt x="1892" y="5336"/>
                  </a:lnTo>
                  <a:lnTo>
                    <a:pt x="1894" y="5330"/>
                  </a:lnTo>
                  <a:lnTo>
                    <a:pt x="1894" y="5330"/>
                  </a:lnTo>
                  <a:lnTo>
                    <a:pt x="1898" y="5324"/>
                  </a:lnTo>
                  <a:lnTo>
                    <a:pt x="1902" y="5319"/>
                  </a:lnTo>
                  <a:lnTo>
                    <a:pt x="1906" y="5314"/>
                  </a:lnTo>
                  <a:lnTo>
                    <a:pt x="1911" y="5309"/>
                  </a:lnTo>
                  <a:lnTo>
                    <a:pt x="1923" y="5301"/>
                  </a:lnTo>
                  <a:lnTo>
                    <a:pt x="1937" y="5295"/>
                  </a:lnTo>
                  <a:lnTo>
                    <a:pt x="1951" y="5290"/>
                  </a:lnTo>
                  <a:lnTo>
                    <a:pt x="1965" y="5286"/>
                  </a:lnTo>
                  <a:lnTo>
                    <a:pt x="1996" y="5278"/>
                  </a:lnTo>
                  <a:lnTo>
                    <a:pt x="2026" y="5272"/>
                  </a:lnTo>
                  <a:lnTo>
                    <a:pt x="2038" y="5268"/>
                  </a:lnTo>
                  <a:lnTo>
                    <a:pt x="2049" y="5262"/>
                  </a:lnTo>
                  <a:lnTo>
                    <a:pt x="2057" y="5256"/>
                  </a:lnTo>
                  <a:lnTo>
                    <a:pt x="2061" y="5253"/>
                  </a:lnTo>
                  <a:lnTo>
                    <a:pt x="2063" y="5249"/>
                  </a:lnTo>
                  <a:lnTo>
                    <a:pt x="2066" y="5245"/>
                  </a:lnTo>
                  <a:lnTo>
                    <a:pt x="2068" y="5240"/>
                  </a:lnTo>
                  <a:lnTo>
                    <a:pt x="2068" y="5235"/>
                  </a:lnTo>
                  <a:lnTo>
                    <a:pt x="2068" y="5230"/>
                  </a:lnTo>
                  <a:lnTo>
                    <a:pt x="2068" y="5230"/>
                  </a:lnTo>
                  <a:lnTo>
                    <a:pt x="2066" y="5215"/>
                  </a:lnTo>
                  <a:lnTo>
                    <a:pt x="2066" y="5202"/>
                  </a:lnTo>
                  <a:lnTo>
                    <a:pt x="2069" y="5190"/>
                  </a:lnTo>
                  <a:lnTo>
                    <a:pt x="2073" y="5180"/>
                  </a:lnTo>
                  <a:lnTo>
                    <a:pt x="2078" y="5169"/>
                  </a:lnTo>
                  <a:lnTo>
                    <a:pt x="2083" y="5161"/>
                  </a:lnTo>
                  <a:lnTo>
                    <a:pt x="2090" y="5153"/>
                  </a:lnTo>
                  <a:lnTo>
                    <a:pt x="2098" y="5146"/>
                  </a:lnTo>
                  <a:lnTo>
                    <a:pt x="2106" y="5140"/>
                  </a:lnTo>
                  <a:lnTo>
                    <a:pt x="2116" y="5134"/>
                  </a:lnTo>
                  <a:lnTo>
                    <a:pt x="2134" y="5124"/>
                  </a:lnTo>
                  <a:lnTo>
                    <a:pt x="2152" y="5116"/>
                  </a:lnTo>
                  <a:lnTo>
                    <a:pt x="2169" y="5109"/>
                  </a:lnTo>
                  <a:lnTo>
                    <a:pt x="2169" y="5109"/>
                  </a:lnTo>
                  <a:lnTo>
                    <a:pt x="2171" y="5109"/>
                  </a:lnTo>
                  <a:lnTo>
                    <a:pt x="2172" y="5110"/>
                  </a:lnTo>
                  <a:lnTo>
                    <a:pt x="2175" y="5112"/>
                  </a:lnTo>
                  <a:lnTo>
                    <a:pt x="2177" y="5117"/>
                  </a:lnTo>
                  <a:lnTo>
                    <a:pt x="2181" y="5124"/>
                  </a:lnTo>
                  <a:lnTo>
                    <a:pt x="2189" y="5143"/>
                  </a:lnTo>
                  <a:lnTo>
                    <a:pt x="2195" y="5154"/>
                  </a:lnTo>
                  <a:lnTo>
                    <a:pt x="2202" y="5166"/>
                  </a:lnTo>
                  <a:lnTo>
                    <a:pt x="2212" y="5179"/>
                  </a:lnTo>
                  <a:lnTo>
                    <a:pt x="2222" y="5192"/>
                  </a:lnTo>
                  <a:lnTo>
                    <a:pt x="2234" y="5206"/>
                  </a:lnTo>
                  <a:lnTo>
                    <a:pt x="2250" y="5220"/>
                  </a:lnTo>
                  <a:lnTo>
                    <a:pt x="2267" y="5233"/>
                  </a:lnTo>
                  <a:lnTo>
                    <a:pt x="2287" y="5245"/>
                  </a:lnTo>
                  <a:lnTo>
                    <a:pt x="2311" y="5257"/>
                  </a:lnTo>
                  <a:lnTo>
                    <a:pt x="2337" y="5268"/>
                  </a:lnTo>
                  <a:lnTo>
                    <a:pt x="2337" y="5268"/>
                  </a:lnTo>
                  <a:lnTo>
                    <a:pt x="2412" y="5237"/>
                  </a:lnTo>
                  <a:lnTo>
                    <a:pt x="2458" y="5215"/>
                  </a:lnTo>
                  <a:lnTo>
                    <a:pt x="2485" y="5202"/>
                  </a:lnTo>
                  <a:lnTo>
                    <a:pt x="2514" y="5187"/>
                  </a:lnTo>
                  <a:lnTo>
                    <a:pt x="2514" y="5187"/>
                  </a:lnTo>
                  <a:lnTo>
                    <a:pt x="2546" y="5170"/>
                  </a:lnTo>
                  <a:lnTo>
                    <a:pt x="2576" y="5153"/>
                  </a:lnTo>
                  <a:lnTo>
                    <a:pt x="2588" y="5145"/>
                  </a:lnTo>
                  <a:lnTo>
                    <a:pt x="2599" y="5138"/>
                  </a:lnTo>
                  <a:lnTo>
                    <a:pt x="2609" y="5130"/>
                  </a:lnTo>
                  <a:lnTo>
                    <a:pt x="2617" y="5123"/>
                  </a:lnTo>
                  <a:lnTo>
                    <a:pt x="2617" y="5123"/>
                  </a:lnTo>
                  <a:lnTo>
                    <a:pt x="2616" y="5121"/>
                  </a:lnTo>
                  <a:lnTo>
                    <a:pt x="2615" y="5119"/>
                  </a:lnTo>
                  <a:lnTo>
                    <a:pt x="2607" y="5112"/>
                  </a:lnTo>
                  <a:lnTo>
                    <a:pt x="2596" y="5101"/>
                  </a:lnTo>
                  <a:lnTo>
                    <a:pt x="2583" y="5087"/>
                  </a:lnTo>
                  <a:lnTo>
                    <a:pt x="2568" y="5069"/>
                  </a:lnTo>
                  <a:lnTo>
                    <a:pt x="2553" y="5050"/>
                  </a:lnTo>
                  <a:lnTo>
                    <a:pt x="2546" y="5039"/>
                  </a:lnTo>
                  <a:lnTo>
                    <a:pt x="2540" y="5026"/>
                  </a:lnTo>
                  <a:lnTo>
                    <a:pt x="2535" y="5015"/>
                  </a:lnTo>
                  <a:lnTo>
                    <a:pt x="2530" y="5002"/>
                  </a:lnTo>
                  <a:lnTo>
                    <a:pt x="2530" y="5002"/>
                  </a:lnTo>
                  <a:lnTo>
                    <a:pt x="2527" y="4989"/>
                  </a:lnTo>
                  <a:lnTo>
                    <a:pt x="2524" y="4978"/>
                  </a:lnTo>
                  <a:lnTo>
                    <a:pt x="2522" y="4969"/>
                  </a:lnTo>
                  <a:lnTo>
                    <a:pt x="2522" y="4960"/>
                  </a:lnTo>
                  <a:lnTo>
                    <a:pt x="2522" y="4953"/>
                  </a:lnTo>
                  <a:lnTo>
                    <a:pt x="2522" y="4948"/>
                  </a:lnTo>
                  <a:lnTo>
                    <a:pt x="2523" y="4944"/>
                  </a:lnTo>
                  <a:lnTo>
                    <a:pt x="2524" y="4942"/>
                  </a:lnTo>
                  <a:lnTo>
                    <a:pt x="2524" y="4942"/>
                  </a:lnTo>
                  <a:lnTo>
                    <a:pt x="2537" y="4959"/>
                  </a:lnTo>
                  <a:lnTo>
                    <a:pt x="2552" y="4976"/>
                  </a:lnTo>
                  <a:lnTo>
                    <a:pt x="2573" y="4997"/>
                  </a:lnTo>
                  <a:lnTo>
                    <a:pt x="2585" y="5008"/>
                  </a:lnTo>
                  <a:lnTo>
                    <a:pt x="2597" y="5019"/>
                  </a:lnTo>
                  <a:lnTo>
                    <a:pt x="2611" y="5030"/>
                  </a:lnTo>
                  <a:lnTo>
                    <a:pt x="2627" y="5042"/>
                  </a:lnTo>
                  <a:lnTo>
                    <a:pt x="2643" y="5053"/>
                  </a:lnTo>
                  <a:lnTo>
                    <a:pt x="2660" y="5062"/>
                  </a:lnTo>
                  <a:lnTo>
                    <a:pt x="2677" y="5071"/>
                  </a:lnTo>
                  <a:lnTo>
                    <a:pt x="2695" y="5079"/>
                  </a:lnTo>
                  <a:lnTo>
                    <a:pt x="2695" y="5079"/>
                  </a:lnTo>
                  <a:lnTo>
                    <a:pt x="2749" y="5051"/>
                  </a:lnTo>
                  <a:lnTo>
                    <a:pt x="2803" y="5021"/>
                  </a:lnTo>
                  <a:lnTo>
                    <a:pt x="2857" y="4988"/>
                  </a:lnTo>
                  <a:lnTo>
                    <a:pt x="2911" y="4954"/>
                  </a:lnTo>
                  <a:lnTo>
                    <a:pt x="2911" y="4954"/>
                  </a:lnTo>
                  <a:lnTo>
                    <a:pt x="2946" y="4930"/>
                  </a:lnTo>
                  <a:lnTo>
                    <a:pt x="2946" y="4930"/>
                  </a:lnTo>
                  <a:lnTo>
                    <a:pt x="2947" y="4929"/>
                  </a:lnTo>
                  <a:lnTo>
                    <a:pt x="2947" y="4929"/>
                  </a:lnTo>
                  <a:lnTo>
                    <a:pt x="2948" y="4927"/>
                  </a:lnTo>
                  <a:lnTo>
                    <a:pt x="2947" y="4925"/>
                  </a:lnTo>
                  <a:lnTo>
                    <a:pt x="2943" y="4918"/>
                  </a:lnTo>
                  <a:lnTo>
                    <a:pt x="2935" y="4909"/>
                  </a:lnTo>
                  <a:lnTo>
                    <a:pt x="2924" y="4898"/>
                  </a:lnTo>
                  <a:lnTo>
                    <a:pt x="2899" y="4874"/>
                  </a:lnTo>
                  <a:lnTo>
                    <a:pt x="2870" y="4845"/>
                  </a:lnTo>
                  <a:lnTo>
                    <a:pt x="2857" y="4831"/>
                  </a:lnTo>
                  <a:lnTo>
                    <a:pt x="2846" y="4817"/>
                  </a:lnTo>
                  <a:lnTo>
                    <a:pt x="2836" y="4802"/>
                  </a:lnTo>
                  <a:lnTo>
                    <a:pt x="2832" y="4795"/>
                  </a:lnTo>
                  <a:lnTo>
                    <a:pt x="2829" y="4789"/>
                  </a:lnTo>
                  <a:lnTo>
                    <a:pt x="2828" y="4782"/>
                  </a:lnTo>
                  <a:lnTo>
                    <a:pt x="2827" y="4776"/>
                  </a:lnTo>
                  <a:lnTo>
                    <a:pt x="2827" y="4770"/>
                  </a:lnTo>
                  <a:lnTo>
                    <a:pt x="2828" y="4765"/>
                  </a:lnTo>
                  <a:lnTo>
                    <a:pt x="2830" y="4759"/>
                  </a:lnTo>
                  <a:lnTo>
                    <a:pt x="2834" y="4754"/>
                  </a:lnTo>
                  <a:lnTo>
                    <a:pt x="2840" y="4750"/>
                  </a:lnTo>
                  <a:lnTo>
                    <a:pt x="2847" y="4746"/>
                  </a:lnTo>
                  <a:lnTo>
                    <a:pt x="2847" y="4746"/>
                  </a:lnTo>
                  <a:lnTo>
                    <a:pt x="2853" y="4742"/>
                  </a:lnTo>
                  <a:lnTo>
                    <a:pt x="2858" y="4737"/>
                  </a:lnTo>
                  <a:lnTo>
                    <a:pt x="2861" y="4732"/>
                  </a:lnTo>
                  <a:lnTo>
                    <a:pt x="2863" y="4726"/>
                  </a:lnTo>
                  <a:lnTo>
                    <a:pt x="2864" y="4720"/>
                  </a:lnTo>
                  <a:lnTo>
                    <a:pt x="2864" y="4711"/>
                  </a:lnTo>
                  <a:lnTo>
                    <a:pt x="2864" y="4704"/>
                  </a:lnTo>
                  <a:lnTo>
                    <a:pt x="2862" y="4695"/>
                  </a:lnTo>
                  <a:lnTo>
                    <a:pt x="2857" y="4678"/>
                  </a:lnTo>
                  <a:lnTo>
                    <a:pt x="2849" y="4658"/>
                  </a:lnTo>
                  <a:lnTo>
                    <a:pt x="2830" y="4616"/>
                  </a:lnTo>
                  <a:lnTo>
                    <a:pt x="2821" y="4595"/>
                  </a:lnTo>
                  <a:lnTo>
                    <a:pt x="2813" y="4574"/>
                  </a:lnTo>
                  <a:lnTo>
                    <a:pt x="2806" y="4554"/>
                  </a:lnTo>
                  <a:lnTo>
                    <a:pt x="2804" y="4544"/>
                  </a:lnTo>
                  <a:lnTo>
                    <a:pt x="2802" y="4534"/>
                  </a:lnTo>
                  <a:lnTo>
                    <a:pt x="2802" y="4525"/>
                  </a:lnTo>
                  <a:lnTo>
                    <a:pt x="2802" y="4517"/>
                  </a:lnTo>
                  <a:lnTo>
                    <a:pt x="2803" y="4509"/>
                  </a:lnTo>
                  <a:lnTo>
                    <a:pt x="2805" y="4502"/>
                  </a:lnTo>
                  <a:lnTo>
                    <a:pt x="2808" y="4495"/>
                  </a:lnTo>
                  <a:lnTo>
                    <a:pt x="2813" y="4488"/>
                  </a:lnTo>
                  <a:lnTo>
                    <a:pt x="2819" y="4482"/>
                  </a:lnTo>
                  <a:lnTo>
                    <a:pt x="2827" y="4478"/>
                  </a:lnTo>
                  <a:lnTo>
                    <a:pt x="2827" y="4478"/>
                  </a:lnTo>
                  <a:lnTo>
                    <a:pt x="2928" y="4425"/>
                  </a:lnTo>
                  <a:lnTo>
                    <a:pt x="3034" y="4374"/>
                  </a:lnTo>
                  <a:lnTo>
                    <a:pt x="3138" y="4323"/>
                  </a:lnTo>
                  <a:lnTo>
                    <a:pt x="3241" y="4273"/>
                  </a:lnTo>
                  <a:lnTo>
                    <a:pt x="3433" y="4182"/>
                  </a:lnTo>
                  <a:lnTo>
                    <a:pt x="3516" y="4142"/>
                  </a:lnTo>
                  <a:lnTo>
                    <a:pt x="3591" y="4105"/>
                  </a:lnTo>
                  <a:lnTo>
                    <a:pt x="3591" y="4105"/>
                  </a:lnTo>
                  <a:lnTo>
                    <a:pt x="3587" y="4089"/>
                  </a:lnTo>
                  <a:lnTo>
                    <a:pt x="3581" y="4070"/>
                  </a:lnTo>
                  <a:lnTo>
                    <a:pt x="3571" y="4047"/>
                  </a:lnTo>
                  <a:lnTo>
                    <a:pt x="3564" y="4035"/>
                  </a:lnTo>
                  <a:lnTo>
                    <a:pt x="3557" y="4020"/>
                  </a:lnTo>
                  <a:lnTo>
                    <a:pt x="3549" y="4006"/>
                  </a:lnTo>
                  <a:lnTo>
                    <a:pt x="3540" y="3992"/>
                  </a:lnTo>
                  <a:lnTo>
                    <a:pt x="3529" y="3977"/>
                  </a:lnTo>
                  <a:lnTo>
                    <a:pt x="3516" y="3962"/>
                  </a:lnTo>
                  <a:lnTo>
                    <a:pt x="3502" y="3948"/>
                  </a:lnTo>
                  <a:lnTo>
                    <a:pt x="3487" y="3933"/>
                  </a:lnTo>
                  <a:close/>
                  <a:moveTo>
                    <a:pt x="322" y="5867"/>
                  </a:moveTo>
                  <a:lnTo>
                    <a:pt x="322" y="5867"/>
                  </a:lnTo>
                  <a:lnTo>
                    <a:pt x="321" y="5881"/>
                  </a:lnTo>
                  <a:lnTo>
                    <a:pt x="321" y="5892"/>
                  </a:lnTo>
                  <a:lnTo>
                    <a:pt x="323" y="5908"/>
                  </a:lnTo>
                  <a:lnTo>
                    <a:pt x="326" y="5923"/>
                  </a:lnTo>
                  <a:lnTo>
                    <a:pt x="329" y="5931"/>
                  </a:lnTo>
                  <a:lnTo>
                    <a:pt x="332" y="5939"/>
                  </a:lnTo>
                  <a:lnTo>
                    <a:pt x="337" y="5947"/>
                  </a:lnTo>
                  <a:lnTo>
                    <a:pt x="343" y="5956"/>
                  </a:lnTo>
                  <a:lnTo>
                    <a:pt x="349" y="5964"/>
                  </a:lnTo>
                  <a:lnTo>
                    <a:pt x="357" y="5971"/>
                  </a:lnTo>
                  <a:lnTo>
                    <a:pt x="357" y="5971"/>
                  </a:lnTo>
                  <a:lnTo>
                    <a:pt x="369" y="5980"/>
                  </a:lnTo>
                  <a:lnTo>
                    <a:pt x="382" y="5988"/>
                  </a:lnTo>
                  <a:lnTo>
                    <a:pt x="397" y="5995"/>
                  </a:lnTo>
                  <a:lnTo>
                    <a:pt x="412" y="6000"/>
                  </a:lnTo>
                  <a:lnTo>
                    <a:pt x="426" y="6002"/>
                  </a:lnTo>
                  <a:lnTo>
                    <a:pt x="434" y="6002"/>
                  </a:lnTo>
                  <a:lnTo>
                    <a:pt x="441" y="6001"/>
                  </a:lnTo>
                  <a:lnTo>
                    <a:pt x="447" y="6000"/>
                  </a:lnTo>
                  <a:lnTo>
                    <a:pt x="453" y="5998"/>
                  </a:lnTo>
                  <a:lnTo>
                    <a:pt x="458" y="5995"/>
                  </a:lnTo>
                  <a:lnTo>
                    <a:pt x="463" y="5991"/>
                  </a:lnTo>
                  <a:lnTo>
                    <a:pt x="463" y="5991"/>
                  </a:lnTo>
                  <a:lnTo>
                    <a:pt x="468" y="5986"/>
                  </a:lnTo>
                  <a:lnTo>
                    <a:pt x="473" y="5979"/>
                  </a:lnTo>
                  <a:lnTo>
                    <a:pt x="476" y="5973"/>
                  </a:lnTo>
                  <a:lnTo>
                    <a:pt x="479" y="5966"/>
                  </a:lnTo>
                  <a:lnTo>
                    <a:pt x="481" y="5958"/>
                  </a:lnTo>
                  <a:lnTo>
                    <a:pt x="482" y="5950"/>
                  </a:lnTo>
                  <a:lnTo>
                    <a:pt x="483" y="5933"/>
                  </a:lnTo>
                  <a:lnTo>
                    <a:pt x="483" y="5917"/>
                  </a:lnTo>
                  <a:lnTo>
                    <a:pt x="484" y="5900"/>
                  </a:lnTo>
                  <a:lnTo>
                    <a:pt x="485" y="5892"/>
                  </a:lnTo>
                  <a:lnTo>
                    <a:pt x="487" y="5884"/>
                  </a:lnTo>
                  <a:lnTo>
                    <a:pt x="489" y="5877"/>
                  </a:lnTo>
                  <a:lnTo>
                    <a:pt x="493" y="5869"/>
                  </a:lnTo>
                  <a:lnTo>
                    <a:pt x="493" y="5869"/>
                  </a:lnTo>
                  <a:lnTo>
                    <a:pt x="495" y="5866"/>
                  </a:lnTo>
                  <a:lnTo>
                    <a:pt x="499" y="5863"/>
                  </a:lnTo>
                  <a:lnTo>
                    <a:pt x="508" y="5857"/>
                  </a:lnTo>
                  <a:lnTo>
                    <a:pt x="516" y="5854"/>
                  </a:lnTo>
                  <a:lnTo>
                    <a:pt x="519" y="5853"/>
                  </a:lnTo>
                  <a:lnTo>
                    <a:pt x="519" y="5853"/>
                  </a:lnTo>
                  <a:lnTo>
                    <a:pt x="526" y="5851"/>
                  </a:lnTo>
                  <a:lnTo>
                    <a:pt x="532" y="5848"/>
                  </a:lnTo>
                  <a:lnTo>
                    <a:pt x="538" y="5845"/>
                  </a:lnTo>
                  <a:lnTo>
                    <a:pt x="544" y="5840"/>
                  </a:lnTo>
                  <a:lnTo>
                    <a:pt x="544" y="5840"/>
                  </a:lnTo>
                  <a:lnTo>
                    <a:pt x="585" y="5859"/>
                  </a:lnTo>
                  <a:lnTo>
                    <a:pt x="626" y="5877"/>
                  </a:lnTo>
                  <a:lnTo>
                    <a:pt x="668" y="5896"/>
                  </a:lnTo>
                  <a:lnTo>
                    <a:pt x="709" y="5917"/>
                  </a:lnTo>
                  <a:lnTo>
                    <a:pt x="748" y="5938"/>
                  </a:lnTo>
                  <a:lnTo>
                    <a:pt x="789" y="5961"/>
                  </a:lnTo>
                  <a:lnTo>
                    <a:pt x="830" y="5983"/>
                  </a:lnTo>
                  <a:lnTo>
                    <a:pt x="870" y="6007"/>
                  </a:lnTo>
                  <a:lnTo>
                    <a:pt x="910" y="6031"/>
                  </a:lnTo>
                  <a:lnTo>
                    <a:pt x="949" y="6056"/>
                  </a:lnTo>
                  <a:lnTo>
                    <a:pt x="1027" y="6106"/>
                  </a:lnTo>
                  <a:lnTo>
                    <a:pt x="1103" y="6158"/>
                  </a:lnTo>
                  <a:lnTo>
                    <a:pt x="1178" y="6211"/>
                  </a:lnTo>
                  <a:lnTo>
                    <a:pt x="1178" y="6211"/>
                  </a:lnTo>
                  <a:lnTo>
                    <a:pt x="1197" y="6225"/>
                  </a:lnTo>
                  <a:lnTo>
                    <a:pt x="1215" y="6236"/>
                  </a:lnTo>
                  <a:lnTo>
                    <a:pt x="1215" y="6236"/>
                  </a:lnTo>
                  <a:lnTo>
                    <a:pt x="1208" y="6258"/>
                  </a:lnTo>
                  <a:lnTo>
                    <a:pt x="1199" y="6281"/>
                  </a:lnTo>
                  <a:lnTo>
                    <a:pt x="1189" y="6305"/>
                  </a:lnTo>
                  <a:lnTo>
                    <a:pt x="1177" y="6331"/>
                  </a:lnTo>
                  <a:lnTo>
                    <a:pt x="1177" y="6331"/>
                  </a:lnTo>
                  <a:lnTo>
                    <a:pt x="1137" y="6407"/>
                  </a:lnTo>
                  <a:lnTo>
                    <a:pt x="1118" y="6443"/>
                  </a:lnTo>
                  <a:lnTo>
                    <a:pt x="1100" y="6479"/>
                  </a:lnTo>
                  <a:lnTo>
                    <a:pt x="1093" y="6497"/>
                  </a:lnTo>
                  <a:lnTo>
                    <a:pt x="1087" y="6514"/>
                  </a:lnTo>
                  <a:lnTo>
                    <a:pt x="1081" y="6530"/>
                  </a:lnTo>
                  <a:lnTo>
                    <a:pt x="1077" y="6547"/>
                  </a:lnTo>
                  <a:lnTo>
                    <a:pt x="1074" y="6562"/>
                  </a:lnTo>
                  <a:lnTo>
                    <a:pt x="1072" y="6576"/>
                  </a:lnTo>
                  <a:lnTo>
                    <a:pt x="1072" y="6591"/>
                  </a:lnTo>
                  <a:lnTo>
                    <a:pt x="1073" y="6603"/>
                  </a:lnTo>
                  <a:lnTo>
                    <a:pt x="1073" y="6603"/>
                  </a:lnTo>
                  <a:lnTo>
                    <a:pt x="1075" y="6612"/>
                  </a:lnTo>
                  <a:lnTo>
                    <a:pt x="1077" y="6621"/>
                  </a:lnTo>
                  <a:lnTo>
                    <a:pt x="1080" y="6629"/>
                  </a:lnTo>
                  <a:lnTo>
                    <a:pt x="1083" y="6638"/>
                  </a:lnTo>
                  <a:lnTo>
                    <a:pt x="1087" y="6645"/>
                  </a:lnTo>
                  <a:lnTo>
                    <a:pt x="1092" y="6652"/>
                  </a:lnTo>
                  <a:lnTo>
                    <a:pt x="1097" y="6658"/>
                  </a:lnTo>
                  <a:lnTo>
                    <a:pt x="1102" y="6664"/>
                  </a:lnTo>
                  <a:lnTo>
                    <a:pt x="1108" y="6669"/>
                  </a:lnTo>
                  <a:lnTo>
                    <a:pt x="1115" y="6674"/>
                  </a:lnTo>
                  <a:lnTo>
                    <a:pt x="1122" y="6679"/>
                  </a:lnTo>
                  <a:lnTo>
                    <a:pt x="1129" y="6682"/>
                  </a:lnTo>
                  <a:lnTo>
                    <a:pt x="1137" y="6685"/>
                  </a:lnTo>
                  <a:lnTo>
                    <a:pt x="1145" y="6687"/>
                  </a:lnTo>
                  <a:lnTo>
                    <a:pt x="1154" y="6689"/>
                  </a:lnTo>
                  <a:lnTo>
                    <a:pt x="1163" y="6690"/>
                  </a:lnTo>
                  <a:lnTo>
                    <a:pt x="1163" y="6690"/>
                  </a:lnTo>
                  <a:lnTo>
                    <a:pt x="1173" y="6690"/>
                  </a:lnTo>
                  <a:lnTo>
                    <a:pt x="1183" y="6689"/>
                  </a:lnTo>
                  <a:lnTo>
                    <a:pt x="1192" y="6687"/>
                  </a:lnTo>
                  <a:lnTo>
                    <a:pt x="1201" y="6685"/>
                  </a:lnTo>
                  <a:lnTo>
                    <a:pt x="1210" y="6682"/>
                  </a:lnTo>
                  <a:lnTo>
                    <a:pt x="1218" y="6677"/>
                  </a:lnTo>
                  <a:lnTo>
                    <a:pt x="1226" y="6673"/>
                  </a:lnTo>
                  <a:lnTo>
                    <a:pt x="1233" y="6668"/>
                  </a:lnTo>
                  <a:lnTo>
                    <a:pt x="1240" y="6662"/>
                  </a:lnTo>
                  <a:lnTo>
                    <a:pt x="1246" y="6657"/>
                  </a:lnTo>
                  <a:lnTo>
                    <a:pt x="1252" y="6651"/>
                  </a:lnTo>
                  <a:lnTo>
                    <a:pt x="1257" y="6644"/>
                  </a:lnTo>
                  <a:lnTo>
                    <a:pt x="1261" y="6637"/>
                  </a:lnTo>
                  <a:lnTo>
                    <a:pt x="1265" y="6629"/>
                  </a:lnTo>
                  <a:lnTo>
                    <a:pt x="1268" y="6622"/>
                  </a:lnTo>
                  <a:lnTo>
                    <a:pt x="1270" y="6614"/>
                  </a:lnTo>
                  <a:lnTo>
                    <a:pt x="1270" y="6614"/>
                  </a:lnTo>
                  <a:lnTo>
                    <a:pt x="1272" y="6598"/>
                  </a:lnTo>
                  <a:lnTo>
                    <a:pt x="1273" y="6582"/>
                  </a:lnTo>
                  <a:lnTo>
                    <a:pt x="1271" y="6570"/>
                  </a:lnTo>
                  <a:lnTo>
                    <a:pt x="1268" y="6558"/>
                  </a:lnTo>
                  <a:lnTo>
                    <a:pt x="1263" y="6549"/>
                  </a:lnTo>
                  <a:lnTo>
                    <a:pt x="1258" y="6539"/>
                  </a:lnTo>
                  <a:lnTo>
                    <a:pt x="1251" y="6532"/>
                  </a:lnTo>
                  <a:lnTo>
                    <a:pt x="1243" y="6527"/>
                  </a:lnTo>
                  <a:lnTo>
                    <a:pt x="1236" y="6522"/>
                  </a:lnTo>
                  <a:lnTo>
                    <a:pt x="1229" y="6518"/>
                  </a:lnTo>
                  <a:lnTo>
                    <a:pt x="1215" y="6513"/>
                  </a:lnTo>
                  <a:lnTo>
                    <a:pt x="1206" y="6511"/>
                  </a:lnTo>
                  <a:lnTo>
                    <a:pt x="1201" y="6511"/>
                  </a:lnTo>
                  <a:lnTo>
                    <a:pt x="1201" y="6511"/>
                  </a:lnTo>
                  <a:lnTo>
                    <a:pt x="1217" y="6466"/>
                  </a:lnTo>
                  <a:lnTo>
                    <a:pt x="1229" y="6430"/>
                  </a:lnTo>
                  <a:lnTo>
                    <a:pt x="1240" y="6401"/>
                  </a:lnTo>
                  <a:lnTo>
                    <a:pt x="1240" y="6401"/>
                  </a:lnTo>
                  <a:lnTo>
                    <a:pt x="1248" y="6381"/>
                  </a:lnTo>
                  <a:lnTo>
                    <a:pt x="1258" y="6363"/>
                  </a:lnTo>
                  <a:lnTo>
                    <a:pt x="1266" y="6345"/>
                  </a:lnTo>
                  <a:lnTo>
                    <a:pt x="1275" y="6329"/>
                  </a:lnTo>
                  <a:lnTo>
                    <a:pt x="1283" y="6314"/>
                  </a:lnTo>
                  <a:lnTo>
                    <a:pt x="1292" y="6299"/>
                  </a:lnTo>
                  <a:lnTo>
                    <a:pt x="1310" y="6275"/>
                  </a:lnTo>
                  <a:lnTo>
                    <a:pt x="1327" y="6254"/>
                  </a:lnTo>
                  <a:lnTo>
                    <a:pt x="1345" y="6237"/>
                  </a:lnTo>
                  <a:lnTo>
                    <a:pt x="1361" y="6224"/>
                  </a:lnTo>
                  <a:lnTo>
                    <a:pt x="1376" y="6212"/>
                  </a:lnTo>
                  <a:lnTo>
                    <a:pt x="1391" y="6205"/>
                  </a:lnTo>
                  <a:lnTo>
                    <a:pt x="1404" y="6199"/>
                  </a:lnTo>
                  <a:lnTo>
                    <a:pt x="1416" y="6195"/>
                  </a:lnTo>
                  <a:lnTo>
                    <a:pt x="1426" y="6193"/>
                  </a:lnTo>
                  <a:lnTo>
                    <a:pt x="1435" y="6192"/>
                  </a:lnTo>
                  <a:lnTo>
                    <a:pt x="1441" y="6192"/>
                  </a:lnTo>
                  <a:lnTo>
                    <a:pt x="1446" y="6192"/>
                  </a:lnTo>
                  <a:lnTo>
                    <a:pt x="1446" y="6192"/>
                  </a:lnTo>
                  <a:lnTo>
                    <a:pt x="1442" y="6188"/>
                  </a:lnTo>
                  <a:lnTo>
                    <a:pt x="1437" y="6183"/>
                  </a:lnTo>
                  <a:lnTo>
                    <a:pt x="1432" y="6175"/>
                  </a:lnTo>
                  <a:lnTo>
                    <a:pt x="1425" y="6166"/>
                  </a:lnTo>
                  <a:lnTo>
                    <a:pt x="1420" y="6155"/>
                  </a:lnTo>
                  <a:lnTo>
                    <a:pt x="1414" y="6142"/>
                  </a:lnTo>
                  <a:lnTo>
                    <a:pt x="1409" y="6125"/>
                  </a:lnTo>
                  <a:lnTo>
                    <a:pt x="1406" y="6108"/>
                  </a:lnTo>
                  <a:lnTo>
                    <a:pt x="1404" y="6088"/>
                  </a:lnTo>
                  <a:lnTo>
                    <a:pt x="1404" y="6065"/>
                  </a:lnTo>
                  <a:lnTo>
                    <a:pt x="1405" y="6053"/>
                  </a:lnTo>
                  <a:lnTo>
                    <a:pt x="1407" y="6041"/>
                  </a:lnTo>
                  <a:lnTo>
                    <a:pt x="1409" y="6027"/>
                  </a:lnTo>
                  <a:lnTo>
                    <a:pt x="1413" y="6013"/>
                  </a:lnTo>
                  <a:lnTo>
                    <a:pt x="1417" y="5999"/>
                  </a:lnTo>
                  <a:lnTo>
                    <a:pt x="1422" y="5983"/>
                  </a:lnTo>
                  <a:lnTo>
                    <a:pt x="1428" y="5968"/>
                  </a:lnTo>
                  <a:lnTo>
                    <a:pt x="1436" y="5952"/>
                  </a:lnTo>
                  <a:lnTo>
                    <a:pt x="1444" y="5934"/>
                  </a:lnTo>
                  <a:lnTo>
                    <a:pt x="1453" y="5917"/>
                  </a:lnTo>
                  <a:lnTo>
                    <a:pt x="1453" y="5917"/>
                  </a:lnTo>
                  <a:lnTo>
                    <a:pt x="1473" y="5880"/>
                  </a:lnTo>
                  <a:lnTo>
                    <a:pt x="1490" y="5844"/>
                  </a:lnTo>
                  <a:lnTo>
                    <a:pt x="1505" y="5811"/>
                  </a:lnTo>
                  <a:lnTo>
                    <a:pt x="1516" y="5780"/>
                  </a:lnTo>
                  <a:lnTo>
                    <a:pt x="1527" y="5749"/>
                  </a:lnTo>
                  <a:lnTo>
                    <a:pt x="1535" y="5719"/>
                  </a:lnTo>
                  <a:lnTo>
                    <a:pt x="1541" y="5691"/>
                  </a:lnTo>
                  <a:lnTo>
                    <a:pt x="1546" y="5663"/>
                  </a:lnTo>
                  <a:lnTo>
                    <a:pt x="1546" y="5663"/>
                  </a:lnTo>
                  <a:lnTo>
                    <a:pt x="1547" y="5654"/>
                  </a:lnTo>
                  <a:lnTo>
                    <a:pt x="1546" y="5645"/>
                  </a:lnTo>
                  <a:lnTo>
                    <a:pt x="1545" y="5636"/>
                  </a:lnTo>
                  <a:lnTo>
                    <a:pt x="1542" y="5626"/>
                  </a:lnTo>
                  <a:lnTo>
                    <a:pt x="1538" y="5617"/>
                  </a:lnTo>
                  <a:lnTo>
                    <a:pt x="1534" y="5609"/>
                  </a:lnTo>
                  <a:lnTo>
                    <a:pt x="1529" y="5600"/>
                  </a:lnTo>
                  <a:lnTo>
                    <a:pt x="1523" y="5592"/>
                  </a:lnTo>
                  <a:lnTo>
                    <a:pt x="1515" y="5585"/>
                  </a:lnTo>
                  <a:lnTo>
                    <a:pt x="1508" y="5577"/>
                  </a:lnTo>
                  <a:lnTo>
                    <a:pt x="1500" y="5571"/>
                  </a:lnTo>
                  <a:lnTo>
                    <a:pt x="1492" y="5566"/>
                  </a:lnTo>
                  <a:lnTo>
                    <a:pt x="1484" y="5561"/>
                  </a:lnTo>
                  <a:lnTo>
                    <a:pt x="1474" y="5558"/>
                  </a:lnTo>
                  <a:lnTo>
                    <a:pt x="1465" y="5556"/>
                  </a:lnTo>
                  <a:lnTo>
                    <a:pt x="1455" y="5554"/>
                  </a:lnTo>
                  <a:lnTo>
                    <a:pt x="1455" y="5554"/>
                  </a:lnTo>
                  <a:lnTo>
                    <a:pt x="1445" y="5554"/>
                  </a:lnTo>
                  <a:lnTo>
                    <a:pt x="1436" y="5555"/>
                  </a:lnTo>
                  <a:lnTo>
                    <a:pt x="1425" y="5557"/>
                  </a:lnTo>
                  <a:lnTo>
                    <a:pt x="1416" y="5560"/>
                  </a:lnTo>
                  <a:lnTo>
                    <a:pt x="1407" y="5564"/>
                  </a:lnTo>
                  <a:lnTo>
                    <a:pt x="1399" y="5568"/>
                  </a:lnTo>
                  <a:lnTo>
                    <a:pt x="1391" y="5574"/>
                  </a:lnTo>
                  <a:lnTo>
                    <a:pt x="1382" y="5579"/>
                  </a:lnTo>
                  <a:lnTo>
                    <a:pt x="1375" y="5587"/>
                  </a:lnTo>
                  <a:lnTo>
                    <a:pt x="1369" y="5593"/>
                  </a:lnTo>
                  <a:lnTo>
                    <a:pt x="1363" y="5600"/>
                  </a:lnTo>
                  <a:lnTo>
                    <a:pt x="1358" y="5608"/>
                  </a:lnTo>
                  <a:lnTo>
                    <a:pt x="1354" y="5616"/>
                  </a:lnTo>
                  <a:lnTo>
                    <a:pt x="1350" y="5624"/>
                  </a:lnTo>
                  <a:lnTo>
                    <a:pt x="1348" y="5633"/>
                  </a:lnTo>
                  <a:lnTo>
                    <a:pt x="1347" y="5641"/>
                  </a:lnTo>
                  <a:lnTo>
                    <a:pt x="1347" y="5641"/>
                  </a:lnTo>
                  <a:lnTo>
                    <a:pt x="1346" y="5661"/>
                  </a:lnTo>
                  <a:lnTo>
                    <a:pt x="1347" y="5680"/>
                  </a:lnTo>
                  <a:lnTo>
                    <a:pt x="1351" y="5695"/>
                  </a:lnTo>
                  <a:lnTo>
                    <a:pt x="1356" y="5707"/>
                  </a:lnTo>
                  <a:lnTo>
                    <a:pt x="1362" y="5717"/>
                  </a:lnTo>
                  <a:lnTo>
                    <a:pt x="1369" y="5727"/>
                  </a:lnTo>
                  <a:lnTo>
                    <a:pt x="1377" y="5734"/>
                  </a:lnTo>
                  <a:lnTo>
                    <a:pt x="1386" y="5739"/>
                  </a:lnTo>
                  <a:lnTo>
                    <a:pt x="1394" y="5743"/>
                  </a:lnTo>
                  <a:lnTo>
                    <a:pt x="1402" y="5747"/>
                  </a:lnTo>
                  <a:lnTo>
                    <a:pt x="1416" y="5752"/>
                  </a:lnTo>
                  <a:lnTo>
                    <a:pt x="1422" y="5754"/>
                  </a:lnTo>
                  <a:lnTo>
                    <a:pt x="1425" y="5756"/>
                  </a:lnTo>
                  <a:lnTo>
                    <a:pt x="1428" y="5759"/>
                  </a:lnTo>
                  <a:lnTo>
                    <a:pt x="1428" y="5762"/>
                  </a:lnTo>
                  <a:lnTo>
                    <a:pt x="1428" y="5762"/>
                  </a:lnTo>
                  <a:lnTo>
                    <a:pt x="1417" y="5798"/>
                  </a:lnTo>
                  <a:lnTo>
                    <a:pt x="1405" y="5831"/>
                  </a:lnTo>
                  <a:lnTo>
                    <a:pt x="1392" y="5861"/>
                  </a:lnTo>
                  <a:lnTo>
                    <a:pt x="1378" y="5887"/>
                  </a:lnTo>
                  <a:lnTo>
                    <a:pt x="1365" y="5912"/>
                  </a:lnTo>
                  <a:lnTo>
                    <a:pt x="1352" y="5933"/>
                  </a:lnTo>
                  <a:lnTo>
                    <a:pt x="1337" y="5953"/>
                  </a:lnTo>
                  <a:lnTo>
                    <a:pt x="1323" y="5969"/>
                  </a:lnTo>
                  <a:lnTo>
                    <a:pt x="1323" y="5969"/>
                  </a:lnTo>
                  <a:lnTo>
                    <a:pt x="1296" y="5953"/>
                  </a:lnTo>
                  <a:lnTo>
                    <a:pt x="1263" y="5933"/>
                  </a:lnTo>
                  <a:lnTo>
                    <a:pt x="1263" y="5933"/>
                  </a:lnTo>
                  <a:lnTo>
                    <a:pt x="1186" y="5891"/>
                  </a:lnTo>
                  <a:lnTo>
                    <a:pt x="1111" y="5850"/>
                  </a:lnTo>
                  <a:lnTo>
                    <a:pt x="1038" y="5811"/>
                  </a:lnTo>
                  <a:lnTo>
                    <a:pt x="1001" y="5793"/>
                  </a:lnTo>
                  <a:lnTo>
                    <a:pt x="964" y="5776"/>
                  </a:lnTo>
                  <a:lnTo>
                    <a:pt x="927" y="5758"/>
                  </a:lnTo>
                  <a:lnTo>
                    <a:pt x="889" y="5743"/>
                  </a:lnTo>
                  <a:lnTo>
                    <a:pt x="850" y="5727"/>
                  </a:lnTo>
                  <a:lnTo>
                    <a:pt x="810" y="5712"/>
                  </a:lnTo>
                  <a:lnTo>
                    <a:pt x="769" y="5698"/>
                  </a:lnTo>
                  <a:lnTo>
                    <a:pt x="727" y="5686"/>
                  </a:lnTo>
                  <a:lnTo>
                    <a:pt x="683" y="5673"/>
                  </a:lnTo>
                  <a:lnTo>
                    <a:pt x="638" y="5662"/>
                  </a:lnTo>
                  <a:lnTo>
                    <a:pt x="638" y="5662"/>
                  </a:lnTo>
                  <a:lnTo>
                    <a:pt x="655" y="5629"/>
                  </a:lnTo>
                  <a:lnTo>
                    <a:pt x="655" y="5629"/>
                  </a:lnTo>
                  <a:lnTo>
                    <a:pt x="681" y="5585"/>
                  </a:lnTo>
                  <a:lnTo>
                    <a:pt x="699" y="5553"/>
                  </a:lnTo>
                  <a:lnTo>
                    <a:pt x="706" y="5542"/>
                  </a:lnTo>
                  <a:lnTo>
                    <a:pt x="710" y="5532"/>
                  </a:lnTo>
                  <a:lnTo>
                    <a:pt x="712" y="5526"/>
                  </a:lnTo>
                  <a:lnTo>
                    <a:pt x="711" y="5524"/>
                  </a:lnTo>
                  <a:lnTo>
                    <a:pt x="710" y="5522"/>
                  </a:lnTo>
                  <a:lnTo>
                    <a:pt x="710" y="5522"/>
                  </a:lnTo>
                  <a:lnTo>
                    <a:pt x="709" y="5522"/>
                  </a:lnTo>
                  <a:lnTo>
                    <a:pt x="708" y="5522"/>
                  </a:lnTo>
                  <a:lnTo>
                    <a:pt x="702" y="5523"/>
                  </a:lnTo>
                  <a:lnTo>
                    <a:pt x="688" y="5532"/>
                  </a:lnTo>
                  <a:lnTo>
                    <a:pt x="664" y="5548"/>
                  </a:lnTo>
                  <a:lnTo>
                    <a:pt x="647" y="5557"/>
                  </a:lnTo>
                  <a:lnTo>
                    <a:pt x="628" y="5568"/>
                  </a:lnTo>
                  <a:lnTo>
                    <a:pt x="628" y="5568"/>
                  </a:lnTo>
                  <a:lnTo>
                    <a:pt x="606" y="5579"/>
                  </a:lnTo>
                  <a:lnTo>
                    <a:pt x="588" y="5589"/>
                  </a:lnTo>
                  <a:lnTo>
                    <a:pt x="573" y="5595"/>
                  </a:lnTo>
                  <a:lnTo>
                    <a:pt x="558" y="5600"/>
                  </a:lnTo>
                  <a:lnTo>
                    <a:pt x="545" y="5604"/>
                  </a:lnTo>
                  <a:lnTo>
                    <a:pt x="532" y="5607"/>
                  </a:lnTo>
                  <a:lnTo>
                    <a:pt x="504" y="5611"/>
                  </a:lnTo>
                  <a:lnTo>
                    <a:pt x="504" y="5611"/>
                  </a:lnTo>
                  <a:lnTo>
                    <a:pt x="495" y="5611"/>
                  </a:lnTo>
                  <a:lnTo>
                    <a:pt x="486" y="5610"/>
                  </a:lnTo>
                  <a:lnTo>
                    <a:pt x="468" y="5607"/>
                  </a:lnTo>
                  <a:lnTo>
                    <a:pt x="453" y="5603"/>
                  </a:lnTo>
                  <a:lnTo>
                    <a:pt x="446" y="5603"/>
                  </a:lnTo>
                  <a:lnTo>
                    <a:pt x="441" y="5604"/>
                  </a:lnTo>
                  <a:lnTo>
                    <a:pt x="441" y="5604"/>
                  </a:lnTo>
                  <a:lnTo>
                    <a:pt x="435" y="5607"/>
                  </a:lnTo>
                  <a:lnTo>
                    <a:pt x="428" y="5613"/>
                  </a:lnTo>
                  <a:lnTo>
                    <a:pt x="423" y="5620"/>
                  </a:lnTo>
                  <a:lnTo>
                    <a:pt x="418" y="5629"/>
                  </a:lnTo>
                  <a:lnTo>
                    <a:pt x="413" y="5642"/>
                  </a:lnTo>
                  <a:lnTo>
                    <a:pt x="408" y="5656"/>
                  </a:lnTo>
                  <a:lnTo>
                    <a:pt x="395" y="5693"/>
                  </a:lnTo>
                  <a:lnTo>
                    <a:pt x="395" y="5693"/>
                  </a:lnTo>
                  <a:lnTo>
                    <a:pt x="370" y="5764"/>
                  </a:lnTo>
                  <a:lnTo>
                    <a:pt x="363" y="5783"/>
                  </a:lnTo>
                  <a:lnTo>
                    <a:pt x="363" y="5783"/>
                  </a:lnTo>
                  <a:lnTo>
                    <a:pt x="355" y="5801"/>
                  </a:lnTo>
                  <a:lnTo>
                    <a:pt x="348" y="5815"/>
                  </a:lnTo>
                  <a:lnTo>
                    <a:pt x="335" y="5834"/>
                  </a:lnTo>
                  <a:lnTo>
                    <a:pt x="331" y="5842"/>
                  </a:lnTo>
                  <a:lnTo>
                    <a:pt x="327" y="5849"/>
                  </a:lnTo>
                  <a:lnTo>
                    <a:pt x="324" y="5857"/>
                  </a:lnTo>
                  <a:lnTo>
                    <a:pt x="322" y="5867"/>
                  </a:lnTo>
                  <a:close/>
                  <a:moveTo>
                    <a:pt x="390" y="969"/>
                  </a:moveTo>
                  <a:lnTo>
                    <a:pt x="390" y="969"/>
                  </a:lnTo>
                  <a:lnTo>
                    <a:pt x="419" y="968"/>
                  </a:lnTo>
                  <a:lnTo>
                    <a:pt x="451" y="965"/>
                  </a:lnTo>
                  <a:lnTo>
                    <a:pt x="483" y="962"/>
                  </a:lnTo>
                  <a:lnTo>
                    <a:pt x="513" y="958"/>
                  </a:lnTo>
                  <a:lnTo>
                    <a:pt x="563" y="952"/>
                  </a:lnTo>
                  <a:lnTo>
                    <a:pt x="583" y="948"/>
                  </a:lnTo>
                  <a:lnTo>
                    <a:pt x="580" y="644"/>
                  </a:lnTo>
                  <a:lnTo>
                    <a:pt x="580" y="644"/>
                  </a:lnTo>
                  <a:lnTo>
                    <a:pt x="531" y="637"/>
                  </a:lnTo>
                  <a:lnTo>
                    <a:pt x="429" y="621"/>
                  </a:lnTo>
                  <a:lnTo>
                    <a:pt x="429" y="621"/>
                  </a:lnTo>
                  <a:lnTo>
                    <a:pt x="416" y="620"/>
                  </a:lnTo>
                  <a:lnTo>
                    <a:pt x="404" y="619"/>
                  </a:lnTo>
                  <a:lnTo>
                    <a:pt x="392" y="619"/>
                  </a:lnTo>
                  <a:lnTo>
                    <a:pt x="381" y="620"/>
                  </a:lnTo>
                  <a:lnTo>
                    <a:pt x="371" y="622"/>
                  </a:lnTo>
                  <a:lnTo>
                    <a:pt x="362" y="625"/>
                  </a:lnTo>
                  <a:lnTo>
                    <a:pt x="353" y="628"/>
                  </a:lnTo>
                  <a:lnTo>
                    <a:pt x="346" y="632"/>
                  </a:lnTo>
                  <a:lnTo>
                    <a:pt x="338" y="636"/>
                  </a:lnTo>
                  <a:lnTo>
                    <a:pt x="331" y="641"/>
                  </a:lnTo>
                  <a:lnTo>
                    <a:pt x="325" y="646"/>
                  </a:lnTo>
                  <a:lnTo>
                    <a:pt x="320" y="651"/>
                  </a:lnTo>
                  <a:lnTo>
                    <a:pt x="311" y="664"/>
                  </a:lnTo>
                  <a:lnTo>
                    <a:pt x="304" y="676"/>
                  </a:lnTo>
                  <a:lnTo>
                    <a:pt x="298" y="689"/>
                  </a:lnTo>
                  <a:lnTo>
                    <a:pt x="293" y="702"/>
                  </a:lnTo>
                  <a:lnTo>
                    <a:pt x="290" y="715"/>
                  </a:lnTo>
                  <a:lnTo>
                    <a:pt x="288" y="725"/>
                  </a:lnTo>
                  <a:lnTo>
                    <a:pt x="287" y="742"/>
                  </a:lnTo>
                  <a:lnTo>
                    <a:pt x="287" y="748"/>
                  </a:lnTo>
                  <a:lnTo>
                    <a:pt x="291" y="832"/>
                  </a:lnTo>
                  <a:lnTo>
                    <a:pt x="291" y="832"/>
                  </a:lnTo>
                  <a:lnTo>
                    <a:pt x="291" y="838"/>
                  </a:lnTo>
                  <a:lnTo>
                    <a:pt x="293" y="854"/>
                  </a:lnTo>
                  <a:lnTo>
                    <a:pt x="298" y="875"/>
                  </a:lnTo>
                  <a:lnTo>
                    <a:pt x="302" y="887"/>
                  </a:lnTo>
                  <a:lnTo>
                    <a:pt x="306" y="901"/>
                  </a:lnTo>
                  <a:lnTo>
                    <a:pt x="311" y="913"/>
                  </a:lnTo>
                  <a:lnTo>
                    <a:pt x="318" y="925"/>
                  </a:lnTo>
                  <a:lnTo>
                    <a:pt x="326" y="938"/>
                  </a:lnTo>
                  <a:lnTo>
                    <a:pt x="335" y="948"/>
                  </a:lnTo>
                  <a:lnTo>
                    <a:pt x="340" y="952"/>
                  </a:lnTo>
                  <a:lnTo>
                    <a:pt x="347" y="956"/>
                  </a:lnTo>
                  <a:lnTo>
                    <a:pt x="353" y="960"/>
                  </a:lnTo>
                  <a:lnTo>
                    <a:pt x="359" y="963"/>
                  </a:lnTo>
                  <a:lnTo>
                    <a:pt x="366" y="965"/>
                  </a:lnTo>
                  <a:lnTo>
                    <a:pt x="373" y="967"/>
                  </a:lnTo>
                  <a:lnTo>
                    <a:pt x="381" y="968"/>
                  </a:lnTo>
                  <a:lnTo>
                    <a:pt x="390" y="969"/>
                  </a:lnTo>
                  <a:close/>
                  <a:moveTo>
                    <a:pt x="1101" y="856"/>
                  </a:moveTo>
                  <a:lnTo>
                    <a:pt x="1101" y="856"/>
                  </a:lnTo>
                  <a:lnTo>
                    <a:pt x="1103" y="835"/>
                  </a:lnTo>
                  <a:lnTo>
                    <a:pt x="1103" y="813"/>
                  </a:lnTo>
                  <a:lnTo>
                    <a:pt x="1103" y="770"/>
                  </a:lnTo>
                  <a:lnTo>
                    <a:pt x="1103" y="770"/>
                  </a:lnTo>
                  <a:lnTo>
                    <a:pt x="1102" y="609"/>
                  </a:lnTo>
                  <a:lnTo>
                    <a:pt x="1102" y="609"/>
                  </a:lnTo>
                  <a:lnTo>
                    <a:pt x="1102" y="599"/>
                  </a:lnTo>
                  <a:lnTo>
                    <a:pt x="1101" y="589"/>
                  </a:lnTo>
                  <a:lnTo>
                    <a:pt x="1100" y="578"/>
                  </a:lnTo>
                  <a:lnTo>
                    <a:pt x="1097" y="565"/>
                  </a:lnTo>
                  <a:lnTo>
                    <a:pt x="1094" y="555"/>
                  </a:lnTo>
                  <a:lnTo>
                    <a:pt x="1092" y="551"/>
                  </a:lnTo>
                  <a:lnTo>
                    <a:pt x="1089" y="548"/>
                  </a:lnTo>
                  <a:lnTo>
                    <a:pt x="1086" y="546"/>
                  </a:lnTo>
                  <a:lnTo>
                    <a:pt x="1082" y="545"/>
                  </a:lnTo>
                  <a:lnTo>
                    <a:pt x="1082" y="545"/>
                  </a:lnTo>
                  <a:lnTo>
                    <a:pt x="1049" y="545"/>
                  </a:lnTo>
                  <a:lnTo>
                    <a:pt x="1031" y="546"/>
                  </a:lnTo>
                  <a:lnTo>
                    <a:pt x="1020" y="547"/>
                  </a:lnTo>
                  <a:lnTo>
                    <a:pt x="1020" y="547"/>
                  </a:lnTo>
                  <a:lnTo>
                    <a:pt x="1017" y="552"/>
                  </a:lnTo>
                  <a:lnTo>
                    <a:pt x="1015" y="559"/>
                  </a:lnTo>
                  <a:lnTo>
                    <a:pt x="1009" y="578"/>
                  </a:lnTo>
                  <a:lnTo>
                    <a:pt x="1003" y="597"/>
                  </a:lnTo>
                  <a:lnTo>
                    <a:pt x="1000" y="604"/>
                  </a:lnTo>
                  <a:lnTo>
                    <a:pt x="998" y="609"/>
                  </a:lnTo>
                  <a:lnTo>
                    <a:pt x="978" y="547"/>
                  </a:lnTo>
                  <a:lnTo>
                    <a:pt x="978" y="547"/>
                  </a:lnTo>
                  <a:lnTo>
                    <a:pt x="962" y="546"/>
                  </a:lnTo>
                  <a:lnTo>
                    <a:pt x="939" y="546"/>
                  </a:lnTo>
                  <a:lnTo>
                    <a:pt x="914" y="547"/>
                  </a:lnTo>
                  <a:lnTo>
                    <a:pt x="900" y="549"/>
                  </a:lnTo>
                  <a:lnTo>
                    <a:pt x="900" y="549"/>
                  </a:lnTo>
                  <a:lnTo>
                    <a:pt x="895" y="561"/>
                  </a:lnTo>
                  <a:lnTo>
                    <a:pt x="889" y="579"/>
                  </a:lnTo>
                  <a:lnTo>
                    <a:pt x="882" y="597"/>
                  </a:lnTo>
                  <a:lnTo>
                    <a:pt x="877" y="609"/>
                  </a:lnTo>
                  <a:lnTo>
                    <a:pt x="858" y="550"/>
                  </a:lnTo>
                  <a:lnTo>
                    <a:pt x="858" y="550"/>
                  </a:lnTo>
                  <a:lnTo>
                    <a:pt x="845" y="549"/>
                  </a:lnTo>
                  <a:lnTo>
                    <a:pt x="821" y="549"/>
                  </a:lnTo>
                  <a:lnTo>
                    <a:pt x="797" y="550"/>
                  </a:lnTo>
                  <a:lnTo>
                    <a:pt x="788" y="551"/>
                  </a:lnTo>
                  <a:lnTo>
                    <a:pt x="784" y="551"/>
                  </a:lnTo>
                  <a:lnTo>
                    <a:pt x="784" y="551"/>
                  </a:lnTo>
                  <a:lnTo>
                    <a:pt x="780" y="556"/>
                  </a:lnTo>
                  <a:lnTo>
                    <a:pt x="777" y="563"/>
                  </a:lnTo>
                  <a:lnTo>
                    <a:pt x="770" y="581"/>
                  </a:lnTo>
                  <a:lnTo>
                    <a:pt x="763" y="598"/>
                  </a:lnTo>
                  <a:lnTo>
                    <a:pt x="758" y="609"/>
                  </a:lnTo>
                  <a:lnTo>
                    <a:pt x="739" y="551"/>
                  </a:lnTo>
                  <a:lnTo>
                    <a:pt x="739" y="551"/>
                  </a:lnTo>
                  <a:lnTo>
                    <a:pt x="722" y="551"/>
                  </a:lnTo>
                  <a:lnTo>
                    <a:pt x="691" y="551"/>
                  </a:lnTo>
                  <a:lnTo>
                    <a:pt x="691" y="551"/>
                  </a:lnTo>
                  <a:lnTo>
                    <a:pt x="686" y="552"/>
                  </a:lnTo>
                  <a:lnTo>
                    <a:pt x="682" y="553"/>
                  </a:lnTo>
                  <a:lnTo>
                    <a:pt x="678" y="555"/>
                  </a:lnTo>
                  <a:lnTo>
                    <a:pt x="674" y="557"/>
                  </a:lnTo>
                  <a:lnTo>
                    <a:pt x="668" y="564"/>
                  </a:lnTo>
                  <a:lnTo>
                    <a:pt x="663" y="573"/>
                  </a:lnTo>
                  <a:lnTo>
                    <a:pt x="658" y="581"/>
                  </a:lnTo>
                  <a:lnTo>
                    <a:pt x="655" y="591"/>
                  </a:lnTo>
                  <a:lnTo>
                    <a:pt x="654" y="600"/>
                  </a:lnTo>
                  <a:lnTo>
                    <a:pt x="653" y="608"/>
                  </a:lnTo>
                  <a:lnTo>
                    <a:pt x="653" y="608"/>
                  </a:lnTo>
                  <a:lnTo>
                    <a:pt x="654" y="686"/>
                  </a:lnTo>
                  <a:lnTo>
                    <a:pt x="655" y="765"/>
                  </a:lnTo>
                  <a:lnTo>
                    <a:pt x="655" y="765"/>
                  </a:lnTo>
                  <a:lnTo>
                    <a:pt x="658" y="869"/>
                  </a:lnTo>
                  <a:lnTo>
                    <a:pt x="661" y="947"/>
                  </a:lnTo>
                  <a:lnTo>
                    <a:pt x="661" y="947"/>
                  </a:lnTo>
                  <a:lnTo>
                    <a:pt x="680" y="946"/>
                  </a:lnTo>
                  <a:lnTo>
                    <a:pt x="690" y="944"/>
                  </a:lnTo>
                  <a:lnTo>
                    <a:pt x="698" y="943"/>
                  </a:lnTo>
                  <a:lnTo>
                    <a:pt x="707" y="941"/>
                  </a:lnTo>
                  <a:lnTo>
                    <a:pt x="715" y="938"/>
                  </a:lnTo>
                  <a:lnTo>
                    <a:pt x="721" y="933"/>
                  </a:lnTo>
                  <a:lnTo>
                    <a:pt x="727" y="929"/>
                  </a:lnTo>
                  <a:lnTo>
                    <a:pt x="727" y="929"/>
                  </a:lnTo>
                  <a:lnTo>
                    <a:pt x="732" y="924"/>
                  </a:lnTo>
                  <a:lnTo>
                    <a:pt x="736" y="919"/>
                  </a:lnTo>
                  <a:lnTo>
                    <a:pt x="743" y="908"/>
                  </a:lnTo>
                  <a:lnTo>
                    <a:pt x="748" y="897"/>
                  </a:lnTo>
                  <a:lnTo>
                    <a:pt x="753" y="886"/>
                  </a:lnTo>
                  <a:lnTo>
                    <a:pt x="756" y="876"/>
                  </a:lnTo>
                  <a:lnTo>
                    <a:pt x="757" y="869"/>
                  </a:lnTo>
                  <a:lnTo>
                    <a:pt x="758" y="862"/>
                  </a:lnTo>
                  <a:lnTo>
                    <a:pt x="758" y="862"/>
                  </a:lnTo>
                  <a:lnTo>
                    <a:pt x="758" y="882"/>
                  </a:lnTo>
                  <a:lnTo>
                    <a:pt x="758" y="912"/>
                  </a:lnTo>
                  <a:lnTo>
                    <a:pt x="759" y="942"/>
                  </a:lnTo>
                  <a:lnTo>
                    <a:pt x="761" y="965"/>
                  </a:lnTo>
                  <a:lnTo>
                    <a:pt x="761" y="965"/>
                  </a:lnTo>
                  <a:lnTo>
                    <a:pt x="761" y="966"/>
                  </a:lnTo>
                  <a:lnTo>
                    <a:pt x="763" y="967"/>
                  </a:lnTo>
                  <a:lnTo>
                    <a:pt x="769" y="969"/>
                  </a:lnTo>
                  <a:lnTo>
                    <a:pt x="778" y="970"/>
                  </a:lnTo>
                  <a:lnTo>
                    <a:pt x="789" y="970"/>
                  </a:lnTo>
                  <a:lnTo>
                    <a:pt x="803" y="968"/>
                  </a:lnTo>
                  <a:lnTo>
                    <a:pt x="816" y="963"/>
                  </a:lnTo>
                  <a:lnTo>
                    <a:pt x="822" y="960"/>
                  </a:lnTo>
                  <a:lnTo>
                    <a:pt x="829" y="957"/>
                  </a:lnTo>
                  <a:lnTo>
                    <a:pt x="835" y="952"/>
                  </a:lnTo>
                  <a:lnTo>
                    <a:pt x="842" y="947"/>
                  </a:lnTo>
                  <a:lnTo>
                    <a:pt x="842" y="947"/>
                  </a:lnTo>
                  <a:lnTo>
                    <a:pt x="850" y="937"/>
                  </a:lnTo>
                  <a:lnTo>
                    <a:pt x="857" y="925"/>
                  </a:lnTo>
                  <a:lnTo>
                    <a:pt x="862" y="913"/>
                  </a:lnTo>
                  <a:lnTo>
                    <a:pt x="866" y="901"/>
                  </a:lnTo>
                  <a:lnTo>
                    <a:pt x="873" y="878"/>
                  </a:lnTo>
                  <a:lnTo>
                    <a:pt x="877" y="862"/>
                  </a:lnTo>
                  <a:lnTo>
                    <a:pt x="877" y="862"/>
                  </a:lnTo>
                  <a:lnTo>
                    <a:pt x="877" y="893"/>
                  </a:lnTo>
                  <a:lnTo>
                    <a:pt x="878" y="926"/>
                  </a:lnTo>
                  <a:lnTo>
                    <a:pt x="880" y="953"/>
                  </a:lnTo>
                  <a:lnTo>
                    <a:pt x="881" y="962"/>
                  </a:lnTo>
                  <a:lnTo>
                    <a:pt x="882" y="964"/>
                  </a:lnTo>
                  <a:lnTo>
                    <a:pt x="883" y="965"/>
                  </a:lnTo>
                  <a:lnTo>
                    <a:pt x="883" y="965"/>
                  </a:lnTo>
                  <a:lnTo>
                    <a:pt x="890" y="966"/>
                  </a:lnTo>
                  <a:lnTo>
                    <a:pt x="898" y="966"/>
                  </a:lnTo>
                  <a:lnTo>
                    <a:pt x="908" y="965"/>
                  </a:lnTo>
                  <a:lnTo>
                    <a:pt x="919" y="963"/>
                  </a:lnTo>
                  <a:lnTo>
                    <a:pt x="930" y="960"/>
                  </a:lnTo>
                  <a:lnTo>
                    <a:pt x="942" y="956"/>
                  </a:lnTo>
                  <a:lnTo>
                    <a:pt x="953" y="950"/>
                  </a:lnTo>
                  <a:lnTo>
                    <a:pt x="958" y="946"/>
                  </a:lnTo>
                  <a:lnTo>
                    <a:pt x="962" y="942"/>
                  </a:lnTo>
                  <a:lnTo>
                    <a:pt x="962" y="942"/>
                  </a:lnTo>
                  <a:lnTo>
                    <a:pt x="970" y="932"/>
                  </a:lnTo>
                  <a:lnTo>
                    <a:pt x="978" y="922"/>
                  </a:lnTo>
                  <a:lnTo>
                    <a:pt x="984" y="912"/>
                  </a:lnTo>
                  <a:lnTo>
                    <a:pt x="989" y="901"/>
                  </a:lnTo>
                  <a:lnTo>
                    <a:pt x="992" y="890"/>
                  </a:lnTo>
                  <a:lnTo>
                    <a:pt x="995" y="879"/>
                  </a:lnTo>
                  <a:lnTo>
                    <a:pt x="998" y="862"/>
                  </a:lnTo>
                  <a:lnTo>
                    <a:pt x="998" y="862"/>
                  </a:lnTo>
                  <a:lnTo>
                    <a:pt x="998" y="891"/>
                  </a:lnTo>
                  <a:lnTo>
                    <a:pt x="999" y="915"/>
                  </a:lnTo>
                  <a:lnTo>
                    <a:pt x="1001" y="936"/>
                  </a:lnTo>
                  <a:lnTo>
                    <a:pt x="1001" y="936"/>
                  </a:lnTo>
                  <a:lnTo>
                    <a:pt x="1015" y="935"/>
                  </a:lnTo>
                  <a:lnTo>
                    <a:pt x="1024" y="933"/>
                  </a:lnTo>
                  <a:lnTo>
                    <a:pt x="1032" y="931"/>
                  </a:lnTo>
                  <a:lnTo>
                    <a:pt x="1032" y="931"/>
                  </a:lnTo>
                  <a:lnTo>
                    <a:pt x="1046" y="925"/>
                  </a:lnTo>
                  <a:lnTo>
                    <a:pt x="1057" y="920"/>
                  </a:lnTo>
                  <a:lnTo>
                    <a:pt x="1068" y="913"/>
                  </a:lnTo>
                  <a:lnTo>
                    <a:pt x="1068" y="913"/>
                  </a:lnTo>
                  <a:lnTo>
                    <a:pt x="1078" y="905"/>
                  </a:lnTo>
                  <a:lnTo>
                    <a:pt x="1083" y="900"/>
                  </a:lnTo>
                  <a:lnTo>
                    <a:pt x="1088" y="894"/>
                  </a:lnTo>
                  <a:lnTo>
                    <a:pt x="1092" y="887"/>
                  </a:lnTo>
                  <a:lnTo>
                    <a:pt x="1096" y="878"/>
                  </a:lnTo>
                  <a:lnTo>
                    <a:pt x="1099" y="868"/>
                  </a:lnTo>
                  <a:lnTo>
                    <a:pt x="1101" y="856"/>
                  </a:lnTo>
                  <a:close/>
                  <a:moveTo>
                    <a:pt x="1266" y="1010"/>
                  </a:moveTo>
                  <a:lnTo>
                    <a:pt x="1266" y="916"/>
                  </a:lnTo>
                  <a:lnTo>
                    <a:pt x="1266" y="916"/>
                  </a:lnTo>
                  <a:lnTo>
                    <a:pt x="1261" y="910"/>
                  </a:lnTo>
                  <a:lnTo>
                    <a:pt x="1255" y="902"/>
                  </a:lnTo>
                  <a:lnTo>
                    <a:pt x="1247" y="891"/>
                  </a:lnTo>
                  <a:lnTo>
                    <a:pt x="1240" y="875"/>
                  </a:lnTo>
                  <a:lnTo>
                    <a:pt x="1237" y="866"/>
                  </a:lnTo>
                  <a:lnTo>
                    <a:pt x="1234" y="856"/>
                  </a:lnTo>
                  <a:lnTo>
                    <a:pt x="1232" y="845"/>
                  </a:lnTo>
                  <a:lnTo>
                    <a:pt x="1229" y="831"/>
                  </a:lnTo>
                  <a:lnTo>
                    <a:pt x="1228" y="818"/>
                  </a:lnTo>
                  <a:lnTo>
                    <a:pt x="1227" y="803"/>
                  </a:lnTo>
                  <a:lnTo>
                    <a:pt x="1227" y="803"/>
                  </a:lnTo>
                  <a:lnTo>
                    <a:pt x="1227" y="792"/>
                  </a:lnTo>
                  <a:lnTo>
                    <a:pt x="1228" y="782"/>
                  </a:lnTo>
                  <a:lnTo>
                    <a:pt x="1229" y="772"/>
                  </a:lnTo>
                  <a:lnTo>
                    <a:pt x="1232" y="762"/>
                  </a:lnTo>
                  <a:lnTo>
                    <a:pt x="1238" y="743"/>
                  </a:lnTo>
                  <a:lnTo>
                    <a:pt x="1244" y="727"/>
                  </a:lnTo>
                  <a:lnTo>
                    <a:pt x="1252" y="714"/>
                  </a:lnTo>
                  <a:lnTo>
                    <a:pt x="1258" y="702"/>
                  </a:lnTo>
                  <a:lnTo>
                    <a:pt x="1264" y="693"/>
                  </a:lnTo>
                  <a:lnTo>
                    <a:pt x="1263" y="603"/>
                  </a:lnTo>
                  <a:lnTo>
                    <a:pt x="1263" y="603"/>
                  </a:lnTo>
                  <a:lnTo>
                    <a:pt x="1254" y="596"/>
                  </a:lnTo>
                  <a:lnTo>
                    <a:pt x="1230" y="581"/>
                  </a:lnTo>
                  <a:lnTo>
                    <a:pt x="1216" y="573"/>
                  </a:lnTo>
                  <a:lnTo>
                    <a:pt x="1201" y="565"/>
                  </a:lnTo>
                  <a:lnTo>
                    <a:pt x="1194" y="562"/>
                  </a:lnTo>
                  <a:lnTo>
                    <a:pt x="1188" y="561"/>
                  </a:lnTo>
                  <a:lnTo>
                    <a:pt x="1182" y="560"/>
                  </a:lnTo>
                  <a:lnTo>
                    <a:pt x="1176" y="560"/>
                  </a:lnTo>
                  <a:lnTo>
                    <a:pt x="1177" y="887"/>
                  </a:lnTo>
                  <a:lnTo>
                    <a:pt x="1177" y="887"/>
                  </a:lnTo>
                  <a:lnTo>
                    <a:pt x="1177" y="899"/>
                  </a:lnTo>
                  <a:lnTo>
                    <a:pt x="1174" y="909"/>
                  </a:lnTo>
                  <a:lnTo>
                    <a:pt x="1170" y="920"/>
                  </a:lnTo>
                  <a:lnTo>
                    <a:pt x="1164" y="930"/>
                  </a:lnTo>
                  <a:lnTo>
                    <a:pt x="1156" y="942"/>
                  </a:lnTo>
                  <a:lnTo>
                    <a:pt x="1148" y="952"/>
                  </a:lnTo>
                  <a:lnTo>
                    <a:pt x="1138" y="962"/>
                  </a:lnTo>
                  <a:lnTo>
                    <a:pt x="1128" y="971"/>
                  </a:lnTo>
                  <a:lnTo>
                    <a:pt x="1117" y="981"/>
                  </a:lnTo>
                  <a:lnTo>
                    <a:pt x="1104" y="989"/>
                  </a:lnTo>
                  <a:lnTo>
                    <a:pt x="1092" y="997"/>
                  </a:lnTo>
                  <a:lnTo>
                    <a:pt x="1079" y="1003"/>
                  </a:lnTo>
                  <a:lnTo>
                    <a:pt x="1065" y="1009"/>
                  </a:lnTo>
                  <a:lnTo>
                    <a:pt x="1052" y="1014"/>
                  </a:lnTo>
                  <a:lnTo>
                    <a:pt x="1039" y="1018"/>
                  </a:lnTo>
                  <a:lnTo>
                    <a:pt x="1026" y="1021"/>
                  </a:lnTo>
                  <a:lnTo>
                    <a:pt x="1026" y="1021"/>
                  </a:lnTo>
                  <a:lnTo>
                    <a:pt x="996" y="1027"/>
                  </a:lnTo>
                  <a:lnTo>
                    <a:pt x="967" y="1031"/>
                  </a:lnTo>
                  <a:lnTo>
                    <a:pt x="939" y="1034"/>
                  </a:lnTo>
                  <a:lnTo>
                    <a:pt x="911" y="1037"/>
                  </a:lnTo>
                  <a:lnTo>
                    <a:pt x="858" y="1040"/>
                  </a:lnTo>
                  <a:lnTo>
                    <a:pt x="810" y="1042"/>
                  </a:lnTo>
                  <a:lnTo>
                    <a:pt x="770" y="1042"/>
                  </a:lnTo>
                  <a:lnTo>
                    <a:pt x="739" y="1042"/>
                  </a:lnTo>
                  <a:lnTo>
                    <a:pt x="712" y="1041"/>
                  </a:lnTo>
                  <a:lnTo>
                    <a:pt x="712" y="1041"/>
                  </a:lnTo>
                  <a:lnTo>
                    <a:pt x="713" y="1048"/>
                  </a:lnTo>
                  <a:lnTo>
                    <a:pt x="716" y="1068"/>
                  </a:lnTo>
                  <a:lnTo>
                    <a:pt x="722" y="1095"/>
                  </a:lnTo>
                  <a:lnTo>
                    <a:pt x="725" y="1110"/>
                  </a:lnTo>
                  <a:lnTo>
                    <a:pt x="730" y="1126"/>
                  </a:lnTo>
                  <a:lnTo>
                    <a:pt x="730" y="1126"/>
                  </a:lnTo>
                  <a:lnTo>
                    <a:pt x="735" y="1136"/>
                  </a:lnTo>
                  <a:lnTo>
                    <a:pt x="741" y="1146"/>
                  </a:lnTo>
                  <a:lnTo>
                    <a:pt x="748" y="1155"/>
                  </a:lnTo>
                  <a:lnTo>
                    <a:pt x="756" y="1164"/>
                  </a:lnTo>
                  <a:lnTo>
                    <a:pt x="769" y="1176"/>
                  </a:lnTo>
                  <a:lnTo>
                    <a:pt x="774" y="1180"/>
                  </a:lnTo>
                  <a:lnTo>
                    <a:pt x="1163" y="1180"/>
                  </a:lnTo>
                  <a:lnTo>
                    <a:pt x="1266" y="1010"/>
                  </a:lnTo>
                  <a:close/>
                  <a:moveTo>
                    <a:pt x="773" y="1398"/>
                  </a:moveTo>
                  <a:lnTo>
                    <a:pt x="1164" y="1398"/>
                  </a:lnTo>
                  <a:lnTo>
                    <a:pt x="1164" y="1398"/>
                  </a:lnTo>
                  <a:lnTo>
                    <a:pt x="1175" y="1365"/>
                  </a:lnTo>
                  <a:lnTo>
                    <a:pt x="1183" y="1339"/>
                  </a:lnTo>
                  <a:lnTo>
                    <a:pt x="1186" y="1328"/>
                  </a:lnTo>
                  <a:lnTo>
                    <a:pt x="1188" y="1319"/>
                  </a:lnTo>
                  <a:lnTo>
                    <a:pt x="1170" y="1256"/>
                  </a:lnTo>
                  <a:lnTo>
                    <a:pt x="775" y="1256"/>
                  </a:lnTo>
                  <a:lnTo>
                    <a:pt x="753" y="1321"/>
                  </a:lnTo>
                  <a:lnTo>
                    <a:pt x="773" y="1398"/>
                  </a:lnTo>
                  <a:close/>
                  <a:moveTo>
                    <a:pt x="1164" y="1471"/>
                  </a:moveTo>
                  <a:lnTo>
                    <a:pt x="782" y="1471"/>
                  </a:lnTo>
                  <a:lnTo>
                    <a:pt x="780" y="1976"/>
                  </a:lnTo>
                  <a:lnTo>
                    <a:pt x="1111" y="1985"/>
                  </a:lnTo>
                  <a:lnTo>
                    <a:pt x="1216" y="1902"/>
                  </a:lnTo>
                  <a:lnTo>
                    <a:pt x="1164" y="1471"/>
                  </a:lnTo>
                  <a:close/>
                  <a:moveTo>
                    <a:pt x="1343" y="2103"/>
                  </a:moveTo>
                  <a:lnTo>
                    <a:pt x="1343" y="2103"/>
                  </a:lnTo>
                  <a:lnTo>
                    <a:pt x="1309" y="2079"/>
                  </a:lnTo>
                  <a:lnTo>
                    <a:pt x="1284" y="2061"/>
                  </a:lnTo>
                  <a:lnTo>
                    <a:pt x="1276" y="2054"/>
                  </a:lnTo>
                  <a:lnTo>
                    <a:pt x="1271" y="2049"/>
                  </a:lnTo>
                  <a:lnTo>
                    <a:pt x="1271" y="2049"/>
                  </a:lnTo>
                  <a:lnTo>
                    <a:pt x="1269" y="2043"/>
                  </a:lnTo>
                  <a:lnTo>
                    <a:pt x="1267" y="2033"/>
                  </a:lnTo>
                  <a:lnTo>
                    <a:pt x="1263" y="2004"/>
                  </a:lnTo>
                  <a:lnTo>
                    <a:pt x="1260" y="1964"/>
                  </a:lnTo>
                  <a:lnTo>
                    <a:pt x="1138" y="2062"/>
                  </a:lnTo>
                  <a:lnTo>
                    <a:pt x="765" y="2061"/>
                  </a:lnTo>
                  <a:lnTo>
                    <a:pt x="765" y="2061"/>
                  </a:lnTo>
                  <a:lnTo>
                    <a:pt x="765" y="2062"/>
                  </a:lnTo>
                  <a:lnTo>
                    <a:pt x="764" y="2064"/>
                  </a:lnTo>
                  <a:lnTo>
                    <a:pt x="762" y="2072"/>
                  </a:lnTo>
                  <a:lnTo>
                    <a:pt x="760" y="2103"/>
                  </a:lnTo>
                  <a:lnTo>
                    <a:pt x="759" y="2147"/>
                  </a:lnTo>
                  <a:lnTo>
                    <a:pt x="758" y="2197"/>
                  </a:lnTo>
                  <a:lnTo>
                    <a:pt x="757" y="2291"/>
                  </a:lnTo>
                  <a:lnTo>
                    <a:pt x="757" y="2333"/>
                  </a:lnTo>
                  <a:lnTo>
                    <a:pt x="757" y="2333"/>
                  </a:lnTo>
                  <a:lnTo>
                    <a:pt x="786" y="2359"/>
                  </a:lnTo>
                  <a:lnTo>
                    <a:pt x="852" y="2412"/>
                  </a:lnTo>
                  <a:lnTo>
                    <a:pt x="888" y="2441"/>
                  </a:lnTo>
                  <a:lnTo>
                    <a:pt x="919" y="2465"/>
                  </a:lnTo>
                  <a:lnTo>
                    <a:pt x="943" y="2481"/>
                  </a:lnTo>
                  <a:lnTo>
                    <a:pt x="950" y="2486"/>
                  </a:lnTo>
                  <a:lnTo>
                    <a:pt x="952" y="2487"/>
                  </a:lnTo>
                  <a:lnTo>
                    <a:pt x="954" y="2487"/>
                  </a:lnTo>
                  <a:lnTo>
                    <a:pt x="1205" y="2170"/>
                  </a:lnTo>
                  <a:lnTo>
                    <a:pt x="1343" y="2103"/>
                  </a:lnTo>
                  <a:close/>
                  <a:moveTo>
                    <a:pt x="1259" y="2225"/>
                  </a:moveTo>
                  <a:lnTo>
                    <a:pt x="1033" y="2515"/>
                  </a:lnTo>
                  <a:lnTo>
                    <a:pt x="1402" y="2669"/>
                  </a:lnTo>
                  <a:lnTo>
                    <a:pt x="1402" y="2669"/>
                  </a:lnTo>
                  <a:lnTo>
                    <a:pt x="1442" y="2647"/>
                  </a:lnTo>
                  <a:lnTo>
                    <a:pt x="1485" y="2624"/>
                  </a:lnTo>
                  <a:lnTo>
                    <a:pt x="1528" y="2599"/>
                  </a:lnTo>
                  <a:lnTo>
                    <a:pt x="1571" y="2573"/>
                  </a:lnTo>
                  <a:lnTo>
                    <a:pt x="1656" y="2521"/>
                  </a:lnTo>
                  <a:lnTo>
                    <a:pt x="1736" y="2471"/>
                  </a:lnTo>
                  <a:lnTo>
                    <a:pt x="1806" y="2426"/>
                  </a:lnTo>
                  <a:lnTo>
                    <a:pt x="1862" y="2389"/>
                  </a:lnTo>
                  <a:lnTo>
                    <a:pt x="1912" y="2356"/>
                  </a:lnTo>
                  <a:lnTo>
                    <a:pt x="1392" y="2160"/>
                  </a:lnTo>
                  <a:lnTo>
                    <a:pt x="1259" y="2225"/>
                  </a:lnTo>
                  <a:close/>
                  <a:moveTo>
                    <a:pt x="1462" y="703"/>
                  </a:moveTo>
                  <a:lnTo>
                    <a:pt x="1462" y="703"/>
                  </a:lnTo>
                  <a:lnTo>
                    <a:pt x="1461" y="553"/>
                  </a:lnTo>
                  <a:lnTo>
                    <a:pt x="1461" y="448"/>
                  </a:lnTo>
                  <a:lnTo>
                    <a:pt x="1462" y="411"/>
                  </a:lnTo>
                  <a:lnTo>
                    <a:pt x="1463" y="399"/>
                  </a:lnTo>
                  <a:lnTo>
                    <a:pt x="1464" y="394"/>
                  </a:lnTo>
                  <a:lnTo>
                    <a:pt x="1464" y="394"/>
                  </a:lnTo>
                  <a:lnTo>
                    <a:pt x="1469" y="386"/>
                  </a:lnTo>
                  <a:lnTo>
                    <a:pt x="1474" y="379"/>
                  </a:lnTo>
                  <a:lnTo>
                    <a:pt x="1480" y="368"/>
                  </a:lnTo>
                  <a:lnTo>
                    <a:pt x="1480" y="368"/>
                  </a:lnTo>
                  <a:lnTo>
                    <a:pt x="1483" y="360"/>
                  </a:lnTo>
                  <a:lnTo>
                    <a:pt x="1484" y="351"/>
                  </a:lnTo>
                  <a:lnTo>
                    <a:pt x="1484" y="343"/>
                  </a:lnTo>
                  <a:lnTo>
                    <a:pt x="1483" y="333"/>
                  </a:lnTo>
                  <a:lnTo>
                    <a:pt x="1481" y="320"/>
                  </a:lnTo>
                  <a:lnTo>
                    <a:pt x="1480" y="315"/>
                  </a:lnTo>
                  <a:lnTo>
                    <a:pt x="1298" y="315"/>
                  </a:lnTo>
                  <a:lnTo>
                    <a:pt x="1298" y="315"/>
                  </a:lnTo>
                  <a:lnTo>
                    <a:pt x="1297" y="319"/>
                  </a:lnTo>
                  <a:lnTo>
                    <a:pt x="1296" y="323"/>
                  </a:lnTo>
                  <a:lnTo>
                    <a:pt x="1296" y="335"/>
                  </a:lnTo>
                  <a:lnTo>
                    <a:pt x="1297" y="348"/>
                  </a:lnTo>
                  <a:lnTo>
                    <a:pt x="1299" y="358"/>
                  </a:lnTo>
                  <a:lnTo>
                    <a:pt x="1299" y="358"/>
                  </a:lnTo>
                  <a:lnTo>
                    <a:pt x="1303" y="369"/>
                  </a:lnTo>
                  <a:lnTo>
                    <a:pt x="1309" y="380"/>
                  </a:lnTo>
                  <a:lnTo>
                    <a:pt x="1316" y="391"/>
                  </a:lnTo>
                  <a:lnTo>
                    <a:pt x="1320" y="395"/>
                  </a:lnTo>
                  <a:lnTo>
                    <a:pt x="1325" y="398"/>
                  </a:lnTo>
                  <a:lnTo>
                    <a:pt x="1325" y="703"/>
                  </a:lnTo>
                  <a:lnTo>
                    <a:pt x="1325" y="703"/>
                  </a:lnTo>
                  <a:lnTo>
                    <a:pt x="1321" y="710"/>
                  </a:lnTo>
                  <a:lnTo>
                    <a:pt x="1316" y="717"/>
                  </a:lnTo>
                  <a:lnTo>
                    <a:pt x="1311" y="727"/>
                  </a:lnTo>
                  <a:lnTo>
                    <a:pt x="1306" y="741"/>
                  </a:lnTo>
                  <a:lnTo>
                    <a:pt x="1301" y="758"/>
                  </a:lnTo>
                  <a:lnTo>
                    <a:pt x="1296" y="778"/>
                  </a:lnTo>
                  <a:lnTo>
                    <a:pt x="1292" y="802"/>
                  </a:lnTo>
                  <a:lnTo>
                    <a:pt x="1292" y="802"/>
                  </a:lnTo>
                  <a:lnTo>
                    <a:pt x="1292" y="813"/>
                  </a:lnTo>
                  <a:lnTo>
                    <a:pt x="1292" y="823"/>
                  </a:lnTo>
                  <a:lnTo>
                    <a:pt x="1293" y="833"/>
                  </a:lnTo>
                  <a:lnTo>
                    <a:pt x="1296" y="844"/>
                  </a:lnTo>
                  <a:lnTo>
                    <a:pt x="1302" y="861"/>
                  </a:lnTo>
                  <a:lnTo>
                    <a:pt x="1308" y="877"/>
                  </a:lnTo>
                  <a:lnTo>
                    <a:pt x="1315" y="891"/>
                  </a:lnTo>
                  <a:lnTo>
                    <a:pt x="1321" y="900"/>
                  </a:lnTo>
                  <a:lnTo>
                    <a:pt x="1327" y="909"/>
                  </a:lnTo>
                  <a:lnTo>
                    <a:pt x="1323" y="1165"/>
                  </a:lnTo>
                  <a:lnTo>
                    <a:pt x="1323" y="1165"/>
                  </a:lnTo>
                  <a:lnTo>
                    <a:pt x="1321" y="1167"/>
                  </a:lnTo>
                  <a:lnTo>
                    <a:pt x="1315" y="1174"/>
                  </a:lnTo>
                  <a:lnTo>
                    <a:pt x="1312" y="1179"/>
                  </a:lnTo>
                  <a:lnTo>
                    <a:pt x="1310" y="1186"/>
                  </a:lnTo>
                  <a:lnTo>
                    <a:pt x="1307" y="1194"/>
                  </a:lnTo>
                  <a:lnTo>
                    <a:pt x="1306" y="1203"/>
                  </a:lnTo>
                  <a:lnTo>
                    <a:pt x="1306" y="1203"/>
                  </a:lnTo>
                  <a:lnTo>
                    <a:pt x="1306" y="1213"/>
                  </a:lnTo>
                  <a:lnTo>
                    <a:pt x="1306" y="1221"/>
                  </a:lnTo>
                  <a:lnTo>
                    <a:pt x="1307" y="1234"/>
                  </a:lnTo>
                  <a:lnTo>
                    <a:pt x="1309" y="1241"/>
                  </a:lnTo>
                  <a:lnTo>
                    <a:pt x="1310" y="1243"/>
                  </a:lnTo>
                  <a:lnTo>
                    <a:pt x="1480" y="1243"/>
                  </a:lnTo>
                  <a:lnTo>
                    <a:pt x="1480" y="1243"/>
                  </a:lnTo>
                  <a:lnTo>
                    <a:pt x="1482" y="1235"/>
                  </a:lnTo>
                  <a:lnTo>
                    <a:pt x="1483" y="1221"/>
                  </a:lnTo>
                  <a:lnTo>
                    <a:pt x="1482" y="1204"/>
                  </a:lnTo>
                  <a:lnTo>
                    <a:pt x="1482" y="1196"/>
                  </a:lnTo>
                  <a:lnTo>
                    <a:pt x="1480" y="1188"/>
                  </a:lnTo>
                  <a:lnTo>
                    <a:pt x="1480" y="1188"/>
                  </a:lnTo>
                  <a:lnTo>
                    <a:pt x="1477" y="1179"/>
                  </a:lnTo>
                  <a:lnTo>
                    <a:pt x="1471" y="1172"/>
                  </a:lnTo>
                  <a:lnTo>
                    <a:pt x="1466" y="1166"/>
                  </a:lnTo>
                  <a:lnTo>
                    <a:pt x="1461" y="1161"/>
                  </a:lnTo>
                  <a:lnTo>
                    <a:pt x="1460" y="909"/>
                  </a:lnTo>
                  <a:lnTo>
                    <a:pt x="1460" y="909"/>
                  </a:lnTo>
                  <a:lnTo>
                    <a:pt x="1473" y="888"/>
                  </a:lnTo>
                  <a:lnTo>
                    <a:pt x="1482" y="876"/>
                  </a:lnTo>
                  <a:lnTo>
                    <a:pt x="1488" y="865"/>
                  </a:lnTo>
                  <a:lnTo>
                    <a:pt x="1494" y="852"/>
                  </a:lnTo>
                  <a:lnTo>
                    <a:pt x="1499" y="837"/>
                  </a:lnTo>
                  <a:lnTo>
                    <a:pt x="1502" y="822"/>
                  </a:lnTo>
                  <a:lnTo>
                    <a:pt x="1503" y="814"/>
                  </a:lnTo>
                  <a:lnTo>
                    <a:pt x="1503" y="806"/>
                  </a:lnTo>
                  <a:lnTo>
                    <a:pt x="1503" y="806"/>
                  </a:lnTo>
                  <a:lnTo>
                    <a:pt x="1503" y="797"/>
                  </a:lnTo>
                  <a:lnTo>
                    <a:pt x="1502" y="788"/>
                  </a:lnTo>
                  <a:lnTo>
                    <a:pt x="1498" y="773"/>
                  </a:lnTo>
                  <a:lnTo>
                    <a:pt x="1493" y="758"/>
                  </a:lnTo>
                  <a:lnTo>
                    <a:pt x="1487" y="743"/>
                  </a:lnTo>
                  <a:lnTo>
                    <a:pt x="1481" y="731"/>
                  </a:lnTo>
                  <a:lnTo>
                    <a:pt x="1473" y="720"/>
                  </a:lnTo>
                  <a:lnTo>
                    <a:pt x="1462" y="703"/>
                  </a:lnTo>
                  <a:close/>
                  <a:moveTo>
                    <a:pt x="1843" y="953"/>
                  </a:moveTo>
                  <a:lnTo>
                    <a:pt x="2130" y="663"/>
                  </a:lnTo>
                  <a:lnTo>
                    <a:pt x="2130" y="663"/>
                  </a:lnTo>
                  <a:lnTo>
                    <a:pt x="1946" y="660"/>
                  </a:lnTo>
                  <a:lnTo>
                    <a:pt x="1837" y="659"/>
                  </a:lnTo>
                  <a:lnTo>
                    <a:pt x="1715" y="658"/>
                  </a:lnTo>
                  <a:lnTo>
                    <a:pt x="1715" y="658"/>
                  </a:lnTo>
                  <a:lnTo>
                    <a:pt x="1708" y="657"/>
                  </a:lnTo>
                  <a:lnTo>
                    <a:pt x="1698" y="655"/>
                  </a:lnTo>
                  <a:lnTo>
                    <a:pt x="1687" y="651"/>
                  </a:lnTo>
                  <a:lnTo>
                    <a:pt x="1676" y="646"/>
                  </a:lnTo>
                  <a:lnTo>
                    <a:pt x="1650" y="634"/>
                  </a:lnTo>
                  <a:lnTo>
                    <a:pt x="1623" y="620"/>
                  </a:lnTo>
                  <a:lnTo>
                    <a:pt x="1597" y="606"/>
                  </a:lnTo>
                  <a:lnTo>
                    <a:pt x="1576" y="596"/>
                  </a:lnTo>
                  <a:lnTo>
                    <a:pt x="1566" y="592"/>
                  </a:lnTo>
                  <a:lnTo>
                    <a:pt x="1558" y="591"/>
                  </a:lnTo>
                  <a:lnTo>
                    <a:pt x="1553" y="590"/>
                  </a:lnTo>
                  <a:lnTo>
                    <a:pt x="1551" y="591"/>
                  </a:lnTo>
                  <a:lnTo>
                    <a:pt x="1550" y="592"/>
                  </a:lnTo>
                  <a:lnTo>
                    <a:pt x="1550" y="592"/>
                  </a:lnTo>
                  <a:lnTo>
                    <a:pt x="1535" y="628"/>
                  </a:lnTo>
                  <a:lnTo>
                    <a:pt x="1514" y="681"/>
                  </a:lnTo>
                  <a:lnTo>
                    <a:pt x="1514" y="681"/>
                  </a:lnTo>
                  <a:lnTo>
                    <a:pt x="1523" y="691"/>
                  </a:lnTo>
                  <a:lnTo>
                    <a:pt x="1532" y="703"/>
                  </a:lnTo>
                  <a:lnTo>
                    <a:pt x="1542" y="719"/>
                  </a:lnTo>
                  <a:lnTo>
                    <a:pt x="1551" y="737"/>
                  </a:lnTo>
                  <a:lnTo>
                    <a:pt x="1556" y="747"/>
                  </a:lnTo>
                  <a:lnTo>
                    <a:pt x="1560" y="759"/>
                  </a:lnTo>
                  <a:lnTo>
                    <a:pt x="1563" y="770"/>
                  </a:lnTo>
                  <a:lnTo>
                    <a:pt x="1565" y="781"/>
                  </a:lnTo>
                  <a:lnTo>
                    <a:pt x="1568" y="793"/>
                  </a:lnTo>
                  <a:lnTo>
                    <a:pt x="1568" y="806"/>
                  </a:lnTo>
                  <a:lnTo>
                    <a:pt x="1568" y="806"/>
                  </a:lnTo>
                  <a:lnTo>
                    <a:pt x="1566" y="825"/>
                  </a:lnTo>
                  <a:lnTo>
                    <a:pt x="1564" y="838"/>
                  </a:lnTo>
                  <a:lnTo>
                    <a:pt x="1561" y="855"/>
                  </a:lnTo>
                  <a:lnTo>
                    <a:pt x="1558" y="864"/>
                  </a:lnTo>
                  <a:lnTo>
                    <a:pt x="1555" y="873"/>
                  </a:lnTo>
                  <a:lnTo>
                    <a:pt x="1551" y="883"/>
                  </a:lnTo>
                  <a:lnTo>
                    <a:pt x="1545" y="894"/>
                  </a:lnTo>
                  <a:lnTo>
                    <a:pt x="1539" y="903"/>
                  </a:lnTo>
                  <a:lnTo>
                    <a:pt x="1532" y="914"/>
                  </a:lnTo>
                  <a:lnTo>
                    <a:pt x="1524" y="924"/>
                  </a:lnTo>
                  <a:lnTo>
                    <a:pt x="1513" y="935"/>
                  </a:lnTo>
                  <a:lnTo>
                    <a:pt x="1513" y="935"/>
                  </a:lnTo>
                  <a:lnTo>
                    <a:pt x="1536" y="981"/>
                  </a:lnTo>
                  <a:lnTo>
                    <a:pt x="1553" y="1013"/>
                  </a:lnTo>
                  <a:lnTo>
                    <a:pt x="1560" y="1025"/>
                  </a:lnTo>
                  <a:lnTo>
                    <a:pt x="1565" y="1032"/>
                  </a:lnTo>
                  <a:lnTo>
                    <a:pt x="1565" y="1032"/>
                  </a:lnTo>
                  <a:lnTo>
                    <a:pt x="1580" y="1023"/>
                  </a:lnTo>
                  <a:lnTo>
                    <a:pt x="1597" y="1013"/>
                  </a:lnTo>
                  <a:lnTo>
                    <a:pt x="1618" y="1002"/>
                  </a:lnTo>
                  <a:lnTo>
                    <a:pt x="1642" y="990"/>
                  </a:lnTo>
                  <a:lnTo>
                    <a:pt x="1669" y="978"/>
                  </a:lnTo>
                  <a:lnTo>
                    <a:pt x="1696" y="968"/>
                  </a:lnTo>
                  <a:lnTo>
                    <a:pt x="1711" y="964"/>
                  </a:lnTo>
                  <a:lnTo>
                    <a:pt x="1724" y="961"/>
                  </a:lnTo>
                  <a:lnTo>
                    <a:pt x="1724" y="961"/>
                  </a:lnTo>
                  <a:lnTo>
                    <a:pt x="1737" y="959"/>
                  </a:lnTo>
                  <a:lnTo>
                    <a:pt x="1761" y="957"/>
                  </a:lnTo>
                  <a:lnTo>
                    <a:pt x="1843" y="953"/>
                  </a:lnTo>
                  <a:close/>
                  <a:moveTo>
                    <a:pt x="3120" y="962"/>
                  </a:moveTo>
                  <a:lnTo>
                    <a:pt x="3486" y="484"/>
                  </a:lnTo>
                  <a:lnTo>
                    <a:pt x="3486" y="484"/>
                  </a:lnTo>
                  <a:lnTo>
                    <a:pt x="3479" y="482"/>
                  </a:lnTo>
                  <a:lnTo>
                    <a:pt x="3469" y="481"/>
                  </a:lnTo>
                  <a:lnTo>
                    <a:pt x="3458" y="480"/>
                  </a:lnTo>
                  <a:lnTo>
                    <a:pt x="3445" y="480"/>
                  </a:lnTo>
                  <a:lnTo>
                    <a:pt x="3428" y="483"/>
                  </a:lnTo>
                  <a:lnTo>
                    <a:pt x="3420" y="485"/>
                  </a:lnTo>
                  <a:lnTo>
                    <a:pt x="3412" y="488"/>
                  </a:lnTo>
                  <a:lnTo>
                    <a:pt x="3403" y="492"/>
                  </a:lnTo>
                  <a:lnTo>
                    <a:pt x="3394" y="496"/>
                  </a:lnTo>
                  <a:lnTo>
                    <a:pt x="3394" y="496"/>
                  </a:lnTo>
                  <a:lnTo>
                    <a:pt x="3385" y="502"/>
                  </a:lnTo>
                  <a:lnTo>
                    <a:pt x="3376" y="508"/>
                  </a:lnTo>
                  <a:lnTo>
                    <a:pt x="3369" y="515"/>
                  </a:lnTo>
                  <a:lnTo>
                    <a:pt x="3363" y="523"/>
                  </a:lnTo>
                  <a:lnTo>
                    <a:pt x="3358" y="532"/>
                  </a:lnTo>
                  <a:lnTo>
                    <a:pt x="3353" y="540"/>
                  </a:lnTo>
                  <a:lnTo>
                    <a:pt x="3349" y="548"/>
                  </a:lnTo>
                  <a:lnTo>
                    <a:pt x="3346" y="557"/>
                  </a:lnTo>
                  <a:lnTo>
                    <a:pt x="3341" y="574"/>
                  </a:lnTo>
                  <a:lnTo>
                    <a:pt x="3337" y="589"/>
                  </a:lnTo>
                  <a:lnTo>
                    <a:pt x="3336" y="600"/>
                  </a:lnTo>
                  <a:lnTo>
                    <a:pt x="3337" y="605"/>
                  </a:lnTo>
                  <a:lnTo>
                    <a:pt x="3338" y="608"/>
                  </a:lnTo>
                  <a:lnTo>
                    <a:pt x="3338" y="608"/>
                  </a:lnTo>
                  <a:lnTo>
                    <a:pt x="3334" y="599"/>
                  </a:lnTo>
                  <a:lnTo>
                    <a:pt x="3330" y="592"/>
                  </a:lnTo>
                  <a:lnTo>
                    <a:pt x="3325" y="585"/>
                  </a:lnTo>
                  <a:lnTo>
                    <a:pt x="3320" y="579"/>
                  </a:lnTo>
                  <a:lnTo>
                    <a:pt x="3315" y="574"/>
                  </a:lnTo>
                  <a:lnTo>
                    <a:pt x="3310" y="568"/>
                  </a:lnTo>
                  <a:lnTo>
                    <a:pt x="3304" y="564"/>
                  </a:lnTo>
                  <a:lnTo>
                    <a:pt x="3299" y="561"/>
                  </a:lnTo>
                  <a:lnTo>
                    <a:pt x="3286" y="556"/>
                  </a:lnTo>
                  <a:lnTo>
                    <a:pt x="3273" y="554"/>
                  </a:lnTo>
                  <a:lnTo>
                    <a:pt x="3261" y="553"/>
                  </a:lnTo>
                  <a:lnTo>
                    <a:pt x="3249" y="554"/>
                  </a:lnTo>
                  <a:lnTo>
                    <a:pt x="3236" y="556"/>
                  </a:lnTo>
                  <a:lnTo>
                    <a:pt x="3225" y="558"/>
                  </a:lnTo>
                  <a:lnTo>
                    <a:pt x="3214" y="562"/>
                  </a:lnTo>
                  <a:lnTo>
                    <a:pt x="3206" y="565"/>
                  </a:lnTo>
                  <a:lnTo>
                    <a:pt x="3192" y="572"/>
                  </a:lnTo>
                  <a:lnTo>
                    <a:pt x="3187" y="574"/>
                  </a:lnTo>
                  <a:lnTo>
                    <a:pt x="3187" y="574"/>
                  </a:lnTo>
                  <a:lnTo>
                    <a:pt x="3199" y="594"/>
                  </a:lnTo>
                  <a:lnTo>
                    <a:pt x="3209" y="613"/>
                  </a:lnTo>
                  <a:lnTo>
                    <a:pt x="3215" y="632"/>
                  </a:lnTo>
                  <a:lnTo>
                    <a:pt x="3219" y="647"/>
                  </a:lnTo>
                  <a:lnTo>
                    <a:pt x="3220" y="663"/>
                  </a:lnTo>
                  <a:lnTo>
                    <a:pt x="3220" y="675"/>
                  </a:lnTo>
                  <a:lnTo>
                    <a:pt x="3218" y="687"/>
                  </a:lnTo>
                  <a:lnTo>
                    <a:pt x="3214" y="696"/>
                  </a:lnTo>
                  <a:lnTo>
                    <a:pt x="3209" y="705"/>
                  </a:lnTo>
                  <a:lnTo>
                    <a:pt x="3203" y="712"/>
                  </a:lnTo>
                  <a:lnTo>
                    <a:pt x="3194" y="718"/>
                  </a:lnTo>
                  <a:lnTo>
                    <a:pt x="3186" y="722"/>
                  </a:lnTo>
                  <a:lnTo>
                    <a:pt x="3178" y="724"/>
                  </a:lnTo>
                  <a:lnTo>
                    <a:pt x="3169" y="725"/>
                  </a:lnTo>
                  <a:lnTo>
                    <a:pt x="3160" y="725"/>
                  </a:lnTo>
                  <a:lnTo>
                    <a:pt x="3150" y="724"/>
                  </a:lnTo>
                  <a:lnTo>
                    <a:pt x="3150" y="724"/>
                  </a:lnTo>
                  <a:lnTo>
                    <a:pt x="3138" y="720"/>
                  </a:lnTo>
                  <a:lnTo>
                    <a:pt x="3129" y="715"/>
                  </a:lnTo>
                  <a:lnTo>
                    <a:pt x="3121" y="709"/>
                  </a:lnTo>
                  <a:lnTo>
                    <a:pt x="3114" y="702"/>
                  </a:lnTo>
                  <a:lnTo>
                    <a:pt x="3108" y="695"/>
                  </a:lnTo>
                  <a:lnTo>
                    <a:pt x="3104" y="688"/>
                  </a:lnTo>
                  <a:lnTo>
                    <a:pt x="3100" y="680"/>
                  </a:lnTo>
                  <a:lnTo>
                    <a:pt x="3098" y="673"/>
                  </a:lnTo>
                  <a:lnTo>
                    <a:pt x="3095" y="658"/>
                  </a:lnTo>
                  <a:lnTo>
                    <a:pt x="3095" y="646"/>
                  </a:lnTo>
                  <a:lnTo>
                    <a:pt x="3095" y="638"/>
                  </a:lnTo>
                  <a:lnTo>
                    <a:pt x="3095" y="635"/>
                  </a:lnTo>
                  <a:lnTo>
                    <a:pt x="3095" y="635"/>
                  </a:lnTo>
                  <a:lnTo>
                    <a:pt x="3092" y="637"/>
                  </a:lnTo>
                  <a:lnTo>
                    <a:pt x="3084" y="643"/>
                  </a:lnTo>
                  <a:lnTo>
                    <a:pt x="3072" y="650"/>
                  </a:lnTo>
                  <a:lnTo>
                    <a:pt x="3064" y="653"/>
                  </a:lnTo>
                  <a:lnTo>
                    <a:pt x="3056" y="656"/>
                  </a:lnTo>
                  <a:lnTo>
                    <a:pt x="3047" y="658"/>
                  </a:lnTo>
                  <a:lnTo>
                    <a:pt x="3038" y="659"/>
                  </a:lnTo>
                  <a:lnTo>
                    <a:pt x="3028" y="659"/>
                  </a:lnTo>
                  <a:lnTo>
                    <a:pt x="3018" y="658"/>
                  </a:lnTo>
                  <a:lnTo>
                    <a:pt x="3008" y="655"/>
                  </a:lnTo>
                  <a:lnTo>
                    <a:pt x="2999" y="650"/>
                  </a:lnTo>
                  <a:lnTo>
                    <a:pt x="2989" y="643"/>
                  </a:lnTo>
                  <a:lnTo>
                    <a:pt x="2980" y="634"/>
                  </a:lnTo>
                  <a:lnTo>
                    <a:pt x="2980" y="634"/>
                  </a:lnTo>
                  <a:lnTo>
                    <a:pt x="2973" y="625"/>
                  </a:lnTo>
                  <a:lnTo>
                    <a:pt x="2969" y="616"/>
                  </a:lnTo>
                  <a:lnTo>
                    <a:pt x="2967" y="607"/>
                  </a:lnTo>
                  <a:lnTo>
                    <a:pt x="2968" y="598"/>
                  </a:lnTo>
                  <a:lnTo>
                    <a:pt x="2969" y="589"/>
                  </a:lnTo>
                  <a:lnTo>
                    <a:pt x="2973" y="581"/>
                  </a:lnTo>
                  <a:lnTo>
                    <a:pt x="2980" y="572"/>
                  </a:lnTo>
                  <a:lnTo>
                    <a:pt x="2987" y="564"/>
                  </a:lnTo>
                  <a:lnTo>
                    <a:pt x="2996" y="557"/>
                  </a:lnTo>
                  <a:lnTo>
                    <a:pt x="3006" y="550"/>
                  </a:lnTo>
                  <a:lnTo>
                    <a:pt x="3019" y="544"/>
                  </a:lnTo>
                  <a:lnTo>
                    <a:pt x="3033" y="540"/>
                  </a:lnTo>
                  <a:lnTo>
                    <a:pt x="3048" y="536"/>
                  </a:lnTo>
                  <a:lnTo>
                    <a:pt x="3065" y="533"/>
                  </a:lnTo>
                  <a:lnTo>
                    <a:pt x="3083" y="532"/>
                  </a:lnTo>
                  <a:lnTo>
                    <a:pt x="3102" y="531"/>
                  </a:lnTo>
                  <a:lnTo>
                    <a:pt x="3102" y="531"/>
                  </a:lnTo>
                  <a:lnTo>
                    <a:pt x="3103" y="520"/>
                  </a:lnTo>
                  <a:lnTo>
                    <a:pt x="3102" y="509"/>
                  </a:lnTo>
                  <a:lnTo>
                    <a:pt x="3099" y="494"/>
                  </a:lnTo>
                  <a:lnTo>
                    <a:pt x="3096" y="486"/>
                  </a:lnTo>
                  <a:lnTo>
                    <a:pt x="3093" y="477"/>
                  </a:lnTo>
                  <a:lnTo>
                    <a:pt x="3089" y="469"/>
                  </a:lnTo>
                  <a:lnTo>
                    <a:pt x="3084" y="460"/>
                  </a:lnTo>
                  <a:lnTo>
                    <a:pt x="3078" y="451"/>
                  </a:lnTo>
                  <a:lnTo>
                    <a:pt x="3071" y="443"/>
                  </a:lnTo>
                  <a:lnTo>
                    <a:pt x="3061" y="435"/>
                  </a:lnTo>
                  <a:lnTo>
                    <a:pt x="3051" y="426"/>
                  </a:lnTo>
                  <a:lnTo>
                    <a:pt x="3051" y="426"/>
                  </a:lnTo>
                  <a:lnTo>
                    <a:pt x="3043" y="421"/>
                  </a:lnTo>
                  <a:lnTo>
                    <a:pt x="3034" y="417"/>
                  </a:lnTo>
                  <a:lnTo>
                    <a:pt x="3024" y="415"/>
                  </a:lnTo>
                  <a:lnTo>
                    <a:pt x="3014" y="413"/>
                  </a:lnTo>
                  <a:lnTo>
                    <a:pt x="3004" y="412"/>
                  </a:lnTo>
                  <a:lnTo>
                    <a:pt x="2995" y="412"/>
                  </a:lnTo>
                  <a:lnTo>
                    <a:pt x="2977" y="414"/>
                  </a:lnTo>
                  <a:lnTo>
                    <a:pt x="2960" y="418"/>
                  </a:lnTo>
                  <a:lnTo>
                    <a:pt x="2947" y="421"/>
                  </a:lnTo>
                  <a:lnTo>
                    <a:pt x="2936" y="425"/>
                  </a:lnTo>
                  <a:lnTo>
                    <a:pt x="2936" y="425"/>
                  </a:lnTo>
                  <a:lnTo>
                    <a:pt x="2943" y="421"/>
                  </a:lnTo>
                  <a:lnTo>
                    <a:pt x="2951" y="415"/>
                  </a:lnTo>
                  <a:lnTo>
                    <a:pt x="2960" y="408"/>
                  </a:lnTo>
                  <a:lnTo>
                    <a:pt x="2970" y="397"/>
                  </a:lnTo>
                  <a:lnTo>
                    <a:pt x="2980" y="384"/>
                  </a:lnTo>
                  <a:lnTo>
                    <a:pt x="2984" y="376"/>
                  </a:lnTo>
                  <a:lnTo>
                    <a:pt x="2988" y="369"/>
                  </a:lnTo>
                  <a:lnTo>
                    <a:pt x="2991" y="360"/>
                  </a:lnTo>
                  <a:lnTo>
                    <a:pt x="2993" y="351"/>
                  </a:lnTo>
                  <a:lnTo>
                    <a:pt x="2993" y="351"/>
                  </a:lnTo>
                  <a:lnTo>
                    <a:pt x="2995" y="336"/>
                  </a:lnTo>
                  <a:lnTo>
                    <a:pt x="2994" y="320"/>
                  </a:lnTo>
                  <a:lnTo>
                    <a:pt x="2992" y="303"/>
                  </a:lnTo>
                  <a:lnTo>
                    <a:pt x="2988" y="285"/>
                  </a:lnTo>
                  <a:lnTo>
                    <a:pt x="2981" y="267"/>
                  </a:lnTo>
                  <a:lnTo>
                    <a:pt x="2972" y="249"/>
                  </a:lnTo>
                  <a:lnTo>
                    <a:pt x="2961" y="232"/>
                  </a:lnTo>
                  <a:lnTo>
                    <a:pt x="2955" y="223"/>
                  </a:lnTo>
                  <a:lnTo>
                    <a:pt x="2948" y="216"/>
                  </a:lnTo>
                  <a:lnTo>
                    <a:pt x="2947" y="214"/>
                  </a:lnTo>
                  <a:lnTo>
                    <a:pt x="2944" y="214"/>
                  </a:lnTo>
                  <a:lnTo>
                    <a:pt x="2944" y="214"/>
                  </a:lnTo>
                  <a:lnTo>
                    <a:pt x="2934" y="214"/>
                  </a:lnTo>
                  <a:lnTo>
                    <a:pt x="2923" y="215"/>
                  </a:lnTo>
                  <a:lnTo>
                    <a:pt x="2903" y="219"/>
                  </a:lnTo>
                  <a:lnTo>
                    <a:pt x="2885" y="224"/>
                  </a:lnTo>
                  <a:lnTo>
                    <a:pt x="2866" y="232"/>
                  </a:lnTo>
                  <a:lnTo>
                    <a:pt x="2851" y="240"/>
                  </a:lnTo>
                  <a:lnTo>
                    <a:pt x="2836" y="250"/>
                  </a:lnTo>
                  <a:lnTo>
                    <a:pt x="2824" y="261"/>
                  </a:lnTo>
                  <a:lnTo>
                    <a:pt x="2814" y="272"/>
                  </a:lnTo>
                  <a:lnTo>
                    <a:pt x="2814" y="272"/>
                  </a:lnTo>
                  <a:lnTo>
                    <a:pt x="2809" y="280"/>
                  </a:lnTo>
                  <a:lnTo>
                    <a:pt x="2805" y="288"/>
                  </a:lnTo>
                  <a:lnTo>
                    <a:pt x="2802" y="297"/>
                  </a:lnTo>
                  <a:lnTo>
                    <a:pt x="2799" y="305"/>
                  </a:lnTo>
                  <a:lnTo>
                    <a:pt x="2796" y="320"/>
                  </a:lnTo>
                  <a:lnTo>
                    <a:pt x="2795" y="334"/>
                  </a:lnTo>
                  <a:lnTo>
                    <a:pt x="2795" y="347"/>
                  </a:lnTo>
                  <a:lnTo>
                    <a:pt x="2796" y="357"/>
                  </a:lnTo>
                  <a:lnTo>
                    <a:pt x="2798" y="365"/>
                  </a:lnTo>
                  <a:lnTo>
                    <a:pt x="2798" y="365"/>
                  </a:lnTo>
                  <a:lnTo>
                    <a:pt x="2792" y="354"/>
                  </a:lnTo>
                  <a:lnTo>
                    <a:pt x="2787" y="341"/>
                  </a:lnTo>
                  <a:lnTo>
                    <a:pt x="2778" y="327"/>
                  </a:lnTo>
                  <a:lnTo>
                    <a:pt x="2767" y="313"/>
                  </a:lnTo>
                  <a:lnTo>
                    <a:pt x="2761" y="306"/>
                  </a:lnTo>
                  <a:lnTo>
                    <a:pt x="2754" y="299"/>
                  </a:lnTo>
                  <a:lnTo>
                    <a:pt x="2746" y="292"/>
                  </a:lnTo>
                  <a:lnTo>
                    <a:pt x="2737" y="287"/>
                  </a:lnTo>
                  <a:lnTo>
                    <a:pt x="2729" y="283"/>
                  </a:lnTo>
                  <a:lnTo>
                    <a:pt x="2719" y="281"/>
                  </a:lnTo>
                  <a:lnTo>
                    <a:pt x="2719" y="281"/>
                  </a:lnTo>
                  <a:lnTo>
                    <a:pt x="2707" y="278"/>
                  </a:lnTo>
                  <a:lnTo>
                    <a:pt x="2694" y="278"/>
                  </a:lnTo>
                  <a:lnTo>
                    <a:pt x="2683" y="278"/>
                  </a:lnTo>
                  <a:lnTo>
                    <a:pt x="2672" y="279"/>
                  </a:lnTo>
                  <a:lnTo>
                    <a:pt x="2663" y="281"/>
                  </a:lnTo>
                  <a:lnTo>
                    <a:pt x="2653" y="284"/>
                  </a:lnTo>
                  <a:lnTo>
                    <a:pt x="2644" y="287"/>
                  </a:lnTo>
                  <a:lnTo>
                    <a:pt x="2637" y="291"/>
                  </a:lnTo>
                  <a:lnTo>
                    <a:pt x="2624" y="300"/>
                  </a:lnTo>
                  <a:lnTo>
                    <a:pt x="2615" y="307"/>
                  </a:lnTo>
                  <a:lnTo>
                    <a:pt x="2607" y="314"/>
                  </a:lnTo>
                  <a:lnTo>
                    <a:pt x="2607" y="314"/>
                  </a:lnTo>
                  <a:lnTo>
                    <a:pt x="2621" y="328"/>
                  </a:lnTo>
                  <a:lnTo>
                    <a:pt x="2632" y="343"/>
                  </a:lnTo>
                  <a:lnTo>
                    <a:pt x="2641" y="357"/>
                  </a:lnTo>
                  <a:lnTo>
                    <a:pt x="2648" y="371"/>
                  </a:lnTo>
                  <a:lnTo>
                    <a:pt x="2654" y="384"/>
                  </a:lnTo>
                  <a:lnTo>
                    <a:pt x="2659" y="398"/>
                  </a:lnTo>
                  <a:lnTo>
                    <a:pt x="2661" y="410"/>
                  </a:lnTo>
                  <a:lnTo>
                    <a:pt x="2662" y="421"/>
                  </a:lnTo>
                  <a:lnTo>
                    <a:pt x="2661" y="432"/>
                  </a:lnTo>
                  <a:lnTo>
                    <a:pt x="2659" y="442"/>
                  </a:lnTo>
                  <a:lnTo>
                    <a:pt x="2654" y="451"/>
                  </a:lnTo>
                  <a:lnTo>
                    <a:pt x="2649" y="458"/>
                  </a:lnTo>
                  <a:lnTo>
                    <a:pt x="2642" y="464"/>
                  </a:lnTo>
                  <a:lnTo>
                    <a:pt x="2635" y="469"/>
                  </a:lnTo>
                  <a:lnTo>
                    <a:pt x="2626" y="472"/>
                  </a:lnTo>
                  <a:lnTo>
                    <a:pt x="2616" y="473"/>
                  </a:lnTo>
                  <a:lnTo>
                    <a:pt x="2616" y="473"/>
                  </a:lnTo>
                  <a:lnTo>
                    <a:pt x="2601" y="473"/>
                  </a:lnTo>
                  <a:lnTo>
                    <a:pt x="2590" y="471"/>
                  </a:lnTo>
                  <a:lnTo>
                    <a:pt x="2580" y="467"/>
                  </a:lnTo>
                  <a:lnTo>
                    <a:pt x="2571" y="462"/>
                  </a:lnTo>
                  <a:lnTo>
                    <a:pt x="2562" y="456"/>
                  </a:lnTo>
                  <a:lnTo>
                    <a:pt x="2556" y="449"/>
                  </a:lnTo>
                  <a:lnTo>
                    <a:pt x="2551" y="441"/>
                  </a:lnTo>
                  <a:lnTo>
                    <a:pt x="2547" y="432"/>
                  </a:lnTo>
                  <a:lnTo>
                    <a:pt x="2543" y="424"/>
                  </a:lnTo>
                  <a:lnTo>
                    <a:pt x="2541" y="417"/>
                  </a:lnTo>
                  <a:lnTo>
                    <a:pt x="2538" y="403"/>
                  </a:lnTo>
                  <a:lnTo>
                    <a:pt x="2536" y="393"/>
                  </a:lnTo>
                  <a:lnTo>
                    <a:pt x="2536" y="390"/>
                  </a:lnTo>
                  <a:lnTo>
                    <a:pt x="2536" y="390"/>
                  </a:lnTo>
                  <a:lnTo>
                    <a:pt x="2534" y="392"/>
                  </a:lnTo>
                  <a:lnTo>
                    <a:pt x="2528" y="398"/>
                  </a:lnTo>
                  <a:lnTo>
                    <a:pt x="2518" y="405"/>
                  </a:lnTo>
                  <a:lnTo>
                    <a:pt x="2506" y="413"/>
                  </a:lnTo>
                  <a:lnTo>
                    <a:pt x="2499" y="416"/>
                  </a:lnTo>
                  <a:lnTo>
                    <a:pt x="2491" y="419"/>
                  </a:lnTo>
                  <a:lnTo>
                    <a:pt x="2483" y="420"/>
                  </a:lnTo>
                  <a:lnTo>
                    <a:pt x="2473" y="421"/>
                  </a:lnTo>
                  <a:lnTo>
                    <a:pt x="2464" y="421"/>
                  </a:lnTo>
                  <a:lnTo>
                    <a:pt x="2454" y="419"/>
                  </a:lnTo>
                  <a:lnTo>
                    <a:pt x="2444" y="415"/>
                  </a:lnTo>
                  <a:lnTo>
                    <a:pt x="2434" y="409"/>
                  </a:lnTo>
                  <a:lnTo>
                    <a:pt x="2434" y="409"/>
                  </a:lnTo>
                  <a:lnTo>
                    <a:pt x="2426" y="404"/>
                  </a:lnTo>
                  <a:lnTo>
                    <a:pt x="2419" y="397"/>
                  </a:lnTo>
                  <a:lnTo>
                    <a:pt x="2414" y="390"/>
                  </a:lnTo>
                  <a:lnTo>
                    <a:pt x="2410" y="381"/>
                  </a:lnTo>
                  <a:lnTo>
                    <a:pt x="2408" y="372"/>
                  </a:lnTo>
                  <a:lnTo>
                    <a:pt x="2407" y="363"/>
                  </a:lnTo>
                  <a:lnTo>
                    <a:pt x="2407" y="354"/>
                  </a:lnTo>
                  <a:lnTo>
                    <a:pt x="2410" y="345"/>
                  </a:lnTo>
                  <a:lnTo>
                    <a:pt x="2415" y="334"/>
                  </a:lnTo>
                  <a:lnTo>
                    <a:pt x="2421" y="325"/>
                  </a:lnTo>
                  <a:lnTo>
                    <a:pt x="2432" y="316"/>
                  </a:lnTo>
                  <a:lnTo>
                    <a:pt x="2443" y="308"/>
                  </a:lnTo>
                  <a:lnTo>
                    <a:pt x="2457" y="300"/>
                  </a:lnTo>
                  <a:lnTo>
                    <a:pt x="2474" y="292"/>
                  </a:lnTo>
                  <a:lnTo>
                    <a:pt x="2495" y="286"/>
                  </a:lnTo>
                  <a:lnTo>
                    <a:pt x="2518" y="280"/>
                  </a:lnTo>
                  <a:lnTo>
                    <a:pt x="2518" y="280"/>
                  </a:lnTo>
                  <a:lnTo>
                    <a:pt x="2517" y="275"/>
                  </a:lnTo>
                  <a:lnTo>
                    <a:pt x="2512" y="262"/>
                  </a:lnTo>
                  <a:lnTo>
                    <a:pt x="2509" y="253"/>
                  </a:lnTo>
                  <a:lnTo>
                    <a:pt x="2504" y="242"/>
                  </a:lnTo>
                  <a:lnTo>
                    <a:pt x="2499" y="232"/>
                  </a:lnTo>
                  <a:lnTo>
                    <a:pt x="2492" y="222"/>
                  </a:lnTo>
                  <a:lnTo>
                    <a:pt x="2484" y="213"/>
                  </a:lnTo>
                  <a:lnTo>
                    <a:pt x="2474" y="203"/>
                  </a:lnTo>
                  <a:lnTo>
                    <a:pt x="2464" y="196"/>
                  </a:lnTo>
                  <a:lnTo>
                    <a:pt x="2452" y="190"/>
                  </a:lnTo>
                  <a:lnTo>
                    <a:pt x="2446" y="188"/>
                  </a:lnTo>
                  <a:lnTo>
                    <a:pt x="2440" y="187"/>
                  </a:lnTo>
                  <a:lnTo>
                    <a:pt x="2433" y="186"/>
                  </a:lnTo>
                  <a:lnTo>
                    <a:pt x="2424" y="185"/>
                  </a:lnTo>
                  <a:lnTo>
                    <a:pt x="2417" y="186"/>
                  </a:lnTo>
                  <a:lnTo>
                    <a:pt x="2408" y="187"/>
                  </a:lnTo>
                  <a:lnTo>
                    <a:pt x="2400" y="190"/>
                  </a:lnTo>
                  <a:lnTo>
                    <a:pt x="2391" y="193"/>
                  </a:lnTo>
                  <a:lnTo>
                    <a:pt x="2391" y="193"/>
                  </a:lnTo>
                  <a:lnTo>
                    <a:pt x="2394" y="191"/>
                  </a:lnTo>
                  <a:lnTo>
                    <a:pt x="2398" y="188"/>
                  </a:lnTo>
                  <a:lnTo>
                    <a:pt x="2406" y="180"/>
                  </a:lnTo>
                  <a:lnTo>
                    <a:pt x="2415" y="168"/>
                  </a:lnTo>
                  <a:lnTo>
                    <a:pt x="2423" y="153"/>
                  </a:lnTo>
                  <a:lnTo>
                    <a:pt x="2427" y="144"/>
                  </a:lnTo>
                  <a:lnTo>
                    <a:pt x="2432" y="136"/>
                  </a:lnTo>
                  <a:lnTo>
                    <a:pt x="2435" y="127"/>
                  </a:lnTo>
                  <a:lnTo>
                    <a:pt x="2437" y="117"/>
                  </a:lnTo>
                  <a:lnTo>
                    <a:pt x="2438" y="106"/>
                  </a:lnTo>
                  <a:lnTo>
                    <a:pt x="2439" y="97"/>
                  </a:lnTo>
                  <a:lnTo>
                    <a:pt x="2438" y="86"/>
                  </a:lnTo>
                  <a:lnTo>
                    <a:pt x="2436" y="76"/>
                  </a:lnTo>
                  <a:lnTo>
                    <a:pt x="2436" y="76"/>
                  </a:lnTo>
                  <a:lnTo>
                    <a:pt x="2434" y="66"/>
                  </a:lnTo>
                  <a:lnTo>
                    <a:pt x="2429" y="57"/>
                  </a:lnTo>
                  <a:lnTo>
                    <a:pt x="2426" y="49"/>
                  </a:lnTo>
                  <a:lnTo>
                    <a:pt x="2422" y="41"/>
                  </a:lnTo>
                  <a:lnTo>
                    <a:pt x="2413" y="28"/>
                  </a:lnTo>
                  <a:lnTo>
                    <a:pt x="2404" y="17"/>
                  </a:lnTo>
                  <a:lnTo>
                    <a:pt x="2396" y="9"/>
                  </a:lnTo>
                  <a:lnTo>
                    <a:pt x="2389" y="4"/>
                  </a:lnTo>
                  <a:lnTo>
                    <a:pt x="2382" y="0"/>
                  </a:lnTo>
                  <a:lnTo>
                    <a:pt x="2279" y="593"/>
                  </a:lnTo>
                  <a:lnTo>
                    <a:pt x="2548" y="712"/>
                  </a:lnTo>
                  <a:lnTo>
                    <a:pt x="2548" y="712"/>
                  </a:lnTo>
                  <a:lnTo>
                    <a:pt x="2572" y="693"/>
                  </a:lnTo>
                  <a:lnTo>
                    <a:pt x="2594" y="677"/>
                  </a:lnTo>
                  <a:lnTo>
                    <a:pt x="2615" y="665"/>
                  </a:lnTo>
                  <a:lnTo>
                    <a:pt x="2633" y="656"/>
                  </a:lnTo>
                  <a:lnTo>
                    <a:pt x="2633" y="656"/>
                  </a:lnTo>
                  <a:lnTo>
                    <a:pt x="2646" y="650"/>
                  </a:lnTo>
                  <a:lnTo>
                    <a:pt x="2661" y="646"/>
                  </a:lnTo>
                  <a:lnTo>
                    <a:pt x="2675" y="642"/>
                  </a:lnTo>
                  <a:lnTo>
                    <a:pt x="2688" y="639"/>
                  </a:lnTo>
                  <a:lnTo>
                    <a:pt x="2702" y="637"/>
                  </a:lnTo>
                  <a:lnTo>
                    <a:pt x="2716" y="636"/>
                  </a:lnTo>
                  <a:lnTo>
                    <a:pt x="2729" y="635"/>
                  </a:lnTo>
                  <a:lnTo>
                    <a:pt x="2743" y="635"/>
                  </a:lnTo>
                  <a:lnTo>
                    <a:pt x="2757" y="636"/>
                  </a:lnTo>
                  <a:lnTo>
                    <a:pt x="2770" y="638"/>
                  </a:lnTo>
                  <a:lnTo>
                    <a:pt x="2783" y="640"/>
                  </a:lnTo>
                  <a:lnTo>
                    <a:pt x="2796" y="643"/>
                  </a:lnTo>
                  <a:lnTo>
                    <a:pt x="2821" y="650"/>
                  </a:lnTo>
                  <a:lnTo>
                    <a:pt x="2845" y="658"/>
                  </a:lnTo>
                  <a:lnTo>
                    <a:pt x="2845" y="658"/>
                  </a:lnTo>
                  <a:lnTo>
                    <a:pt x="2861" y="667"/>
                  </a:lnTo>
                  <a:lnTo>
                    <a:pt x="2875" y="675"/>
                  </a:lnTo>
                  <a:lnTo>
                    <a:pt x="2889" y="683"/>
                  </a:lnTo>
                  <a:lnTo>
                    <a:pt x="2900" y="691"/>
                  </a:lnTo>
                  <a:lnTo>
                    <a:pt x="2910" y="699"/>
                  </a:lnTo>
                  <a:lnTo>
                    <a:pt x="2918" y="709"/>
                  </a:lnTo>
                  <a:lnTo>
                    <a:pt x="2925" y="717"/>
                  </a:lnTo>
                  <a:lnTo>
                    <a:pt x="2932" y="726"/>
                  </a:lnTo>
                  <a:lnTo>
                    <a:pt x="2937" y="735"/>
                  </a:lnTo>
                  <a:lnTo>
                    <a:pt x="2941" y="743"/>
                  </a:lnTo>
                  <a:lnTo>
                    <a:pt x="2944" y="753"/>
                  </a:lnTo>
                  <a:lnTo>
                    <a:pt x="2947" y="761"/>
                  </a:lnTo>
                  <a:lnTo>
                    <a:pt x="2950" y="778"/>
                  </a:lnTo>
                  <a:lnTo>
                    <a:pt x="2952" y="793"/>
                  </a:lnTo>
                  <a:lnTo>
                    <a:pt x="2952" y="793"/>
                  </a:lnTo>
                  <a:lnTo>
                    <a:pt x="2951" y="804"/>
                  </a:lnTo>
                  <a:lnTo>
                    <a:pt x="2949" y="815"/>
                  </a:lnTo>
                  <a:lnTo>
                    <a:pt x="2946" y="827"/>
                  </a:lnTo>
                  <a:lnTo>
                    <a:pt x="2942" y="839"/>
                  </a:lnTo>
                  <a:lnTo>
                    <a:pt x="2933" y="863"/>
                  </a:lnTo>
                  <a:lnTo>
                    <a:pt x="2925" y="877"/>
                  </a:lnTo>
                  <a:lnTo>
                    <a:pt x="3120" y="962"/>
                  </a:lnTo>
                  <a:close/>
                  <a:moveTo>
                    <a:pt x="4480" y="887"/>
                  </a:moveTo>
                  <a:lnTo>
                    <a:pt x="4715" y="773"/>
                  </a:lnTo>
                  <a:lnTo>
                    <a:pt x="4477" y="674"/>
                  </a:lnTo>
                  <a:lnTo>
                    <a:pt x="4477" y="674"/>
                  </a:lnTo>
                  <a:lnTo>
                    <a:pt x="4404" y="675"/>
                  </a:lnTo>
                  <a:lnTo>
                    <a:pt x="4312" y="676"/>
                  </a:lnTo>
                  <a:lnTo>
                    <a:pt x="4201" y="675"/>
                  </a:lnTo>
                  <a:lnTo>
                    <a:pt x="4076" y="673"/>
                  </a:lnTo>
                  <a:lnTo>
                    <a:pt x="3783" y="667"/>
                  </a:lnTo>
                  <a:lnTo>
                    <a:pt x="3449" y="660"/>
                  </a:lnTo>
                  <a:lnTo>
                    <a:pt x="3252" y="916"/>
                  </a:lnTo>
                  <a:lnTo>
                    <a:pt x="3252" y="916"/>
                  </a:lnTo>
                  <a:lnTo>
                    <a:pt x="3986" y="900"/>
                  </a:lnTo>
                  <a:lnTo>
                    <a:pt x="4276" y="894"/>
                  </a:lnTo>
                  <a:lnTo>
                    <a:pt x="4480" y="887"/>
                  </a:lnTo>
                  <a:close/>
                  <a:moveTo>
                    <a:pt x="4171" y="2139"/>
                  </a:moveTo>
                  <a:lnTo>
                    <a:pt x="4171" y="2139"/>
                  </a:lnTo>
                  <a:lnTo>
                    <a:pt x="4105" y="2106"/>
                  </a:lnTo>
                  <a:lnTo>
                    <a:pt x="4042" y="2073"/>
                  </a:lnTo>
                  <a:lnTo>
                    <a:pt x="3983" y="2042"/>
                  </a:lnTo>
                  <a:lnTo>
                    <a:pt x="3954" y="2025"/>
                  </a:lnTo>
                  <a:lnTo>
                    <a:pt x="3926" y="2008"/>
                  </a:lnTo>
                  <a:lnTo>
                    <a:pt x="3900" y="1991"/>
                  </a:lnTo>
                  <a:lnTo>
                    <a:pt x="3875" y="1973"/>
                  </a:lnTo>
                  <a:lnTo>
                    <a:pt x="3852" y="1954"/>
                  </a:lnTo>
                  <a:lnTo>
                    <a:pt x="3829" y="1934"/>
                  </a:lnTo>
                  <a:lnTo>
                    <a:pt x="3809" y="1914"/>
                  </a:lnTo>
                  <a:lnTo>
                    <a:pt x="3789" y="1893"/>
                  </a:lnTo>
                  <a:lnTo>
                    <a:pt x="3772" y="1869"/>
                  </a:lnTo>
                  <a:lnTo>
                    <a:pt x="3756" y="1845"/>
                  </a:lnTo>
                  <a:lnTo>
                    <a:pt x="3756" y="1845"/>
                  </a:lnTo>
                  <a:lnTo>
                    <a:pt x="3750" y="1832"/>
                  </a:lnTo>
                  <a:lnTo>
                    <a:pt x="3743" y="1819"/>
                  </a:lnTo>
                  <a:lnTo>
                    <a:pt x="3738" y="1805"/>
                  </a:lnTo>
                  <a:lnTo>
                    <a:pt x="3733" y="1790"/>
                  </a:lnTo>
                  <a:lnTo>
                    <a:pt x="3729" y="1775"/>
                  </a:lnTo>
                  <a:lnTo>
                    <a:pt x="3726" y="1760"/>
                  </a:lnTo>
                  <a:lnTo>
                    <a:pt x="3723" y="1743"/>
                  </a:lnTo>
                  <a:lnTo>
                    <a:pt x="3721" y="1727"/>
                  </a:lnTo>
                  <a:lnTo>
                    <a:pt x="3720" y="1711"/>
                  </a:lnTo>
                  <a:lnTo>
                    <a:pt x="3719" y="1693"/>
                  </a:lnTo>
                  <a:lnTo>
                    <a:pt x="3719" y="1677"/>
                  </a:lnTo>
                  <a:lnTo>
                    <a:pt x="3720" y="1659"/>
                  </a:lnTo>
                  <a:lnTo>
                    <a:pt x="3721" y="1641"/>
                  </a:lnTo>
                  <a:lnTo>
                    <a:pt x="3724" y="1624"/>
                  </a:lnTo>
                  <a:lnTo>
                    <a:pt x="3726" y="1606"/>
                  </a:lnTo>
                  <a:lnTo>
                    <a:pt x="3730" y="1589"/>
                  </a:lnTo>
                  <a:lnTo>
                    <a:pt x="3734" y="1571"/>
                  </a:lnTo>
                  <a:lnTo>
                    <a:pt x="3740" y="1554"/>
                  </a:lnTo>
                  <a:lnTo>
                    <a:pt x="3745" y="1537"/>
                  </a:lnTo>
                  <a:lnTo>
                    <a:pt x="3753" y="1519"/>
                  </a:lnTo>
                  <a:lnTo>
                    <a:pt x="3761" y="1503"/>
                  </a:lnTo>
                  <a:lnTo>
                    <a:pt x="3769" y="1487"/>
                  </a:lnTo>
                  <a:lnTo>
                    <a:pt x="3778" y="1470"/>
                  </a:lnTo>
                  <a:lnTo>
                    <a:pt x="3788" y="1454"/>
                  </a:lnTo>
                  <a:lnTo>
                    <a:pt x="3800" y="1439"/>
                  </a:lnTo>
                  <a:lnTo>
                    <a:pt x="3812" y="1424"/>
                  </a:lnTo>
                  <a:lnTo>
                    <a:pt x="3824" y="1410"/>
                  </a:lnTo>
                  <a:lnTo>
                    <a:pt x="3839" y="1396"/>
                  </a:lnTo>
                  <a:lnTo>
                    <a:pt x="3853" y="1382"/>
                  </a:lnTo>
                  <a:lnTo>
                    <a:pt x="3868" y="1370"/>
                  </a:lnTo>
                  <a:lnTo>
                    <a:pt x="3885" y="1358"/>
                  </a:lnTo>
                  <a:lnTo>
                    <a:pt x="3902" y="1347"/>
                  </a:lnTo>
                  <a:lnTo>
                    <a:pt x="3902" y="1347"/>
                  </a:lnTo>
                  <a:lnTo>
                    <a:pt x="3910" y="1355"/>
                  </a:lnTo>
                  <a:lnTo>
                    <a:pt x="3917" y="1363"/>
                  </a:lnTo>
                  <a:lnTo>
                    <a:pt x="3922" y="1370"/>
                  </a:lnTo>
                  <a:lnTo>
                    <a:pt x="3927" y="1378"/>
                  </a:lnTo>
                  <a:lnTo>
                    <a:pt x="3936" y="1394"/>
                  </a:lnTo>
                  <a:lnTo>
                    <a:pt x="3941" y="1408"/>
                  </a:lnTo>
                  <a:lnTo>
                    <a:pt x="3944" y="1420"/>
                  </a:lnTo>
                  <a:lnTo>
                    <a:pt x="3946" y="1429"/>
                  </a:lnTo>
                  <a:lnTo>
                    <a:pt x="3946" y="1438"/>
                  </a:lnTo>
                  <a:lnTo>
                    <a:pt x="3946" y="1438"/>
                  </a:lnTo>
                  <a:lnTo>
                    <a:pt x="3966" y="1438"/>
                  </a:lnTo>
                  <a:lnTo>
                    <a:pt x="3991" y="1438"/>
                  </a:lnTo>
                  <a:lnTo>
                    <a:pt x="4044" y="1434"/>
                  </a:lnTo>
                  <a:lnTo>
                    <a:pt x="4098" y="1432"/>
                  </a:lnTo>
                  <a:lnTo>
                    <a:pt x="4123" y="1431"/>
                  </a:lnTo>
                  <a:lnTo>
                    <a:pt x="4143" y="1431"/>
                  </a:lnTo>
                  <a:lnTo>
                    <a:pt x="4143" y="1431"/>
                  </a:lnTo>
                  <a:lnTo>
                    <a:pt x="4144" y="1417"/>
                  </a:lnTo>
                  <a:lnTo>
                    <a:pt x="4144" y="1400"/>
                  </a:lnTo>
                  <a:lnTo>
                    <a:pt x="4143" y="1382"/>
                  </a:lnTo>
                  <a:lnTo>
                    <a:pt x="4141" y="1364"/>
                  </a:lnTo>
                  <a:lnTo>
                    <a:pt x="4138" y="1344"/>
                  </a:lnTo>
                  <a:lnTo>
                    <a:pt x="4133" y="1325"/>
                  </a:lnTo>
                  <a:lnTo>
                    <a:pt x="4126" y="1307"/>
                  </a:lnTo>
                  <a:lnTo>
                    <a:pt x="4121" y="1297"/>
                  </a:lnTo>
                  <a:lnTo>
                    <a:pt x="4116" y="1288"/>
                  </a:lnTo>
                  <a:lnTo>
                    <a:pt x="4116" y="1288"/>
                  </a:lnTo>
                  <a:lnTo>
                    <a:pt x="4134" y="1302"/>
                  </a:lnTo>
                  <a:lnTo>
                    <a:pt x="4150" y="1315"/>
                  </a:lnTo>
                  <a:lnTo>
                    <a:pt x="4165" y="1328"/>
                  </a:lnTo>
                  <a:lnTo>
                    <a:pt x="4172" y="1335"/>
                  </a:lnTo>
                  <a:lnTo>
                    <a:pt x="4178" y="1343"/>
                  </a:lnTo>
                  <a:lnTo>
                    <a:pt x="4184" y="1352"/>
                  </a:lnTo>
                  <a:lnTo>
                    <a:pt x="4189" y="1361"/>
                  </a:lnTo>
                  <a:lnTo>
                    <a:pt x="4194" y="1370"/>
                  </a:lnTo>
                  <a:lnTo>
                    <a:pt x="4198" y="1380"/>
                  </a:lnTo>
                  <a:lnTo>
                    <a:pt x="4203" y="1392"/>
                  </a:lnTo>
                  <a:lnTo>
                    <a:pt x="4206" y="1404"/>
                  </a:lnTo>
                  <a:lnTo>
                    <a:pt x="4209" y="1417"/>
                  </a:lnTo>
                  <a:lnTo>
                    <a:pt x="4212" y="1431"/>
                  </a:lnTo>
                  <a:lnTo>
                    <a:pt x="4212" y="1431"/>
                  </a:lnTo>
                  <a:lnTo>
                    <a:pt x="4390" y="1438"/>
                  </a:lnTo>
                  <a:lnTo>
                    <a:pt x="4390" y="1438"/>
                  </a:lnTo>
                  <a:lnTo>
                    <a:pt x="4390" y="1421"/>
                  </a:lnTo>
                  <a:lnTo>
                    <a:pt x="4389" y="1406"/>
                  </a:lnTo>
                  <a:lnTo>
                    <a:pt x="4386" y="1391"/>
                  </a:lnTo>
                  <a:lnTo>
                    <a:pt x="4381" y="1376"/>
                  </a:lnTo>
                  <a:lnTo>
                    <a:pt x="4376" y="1363"/>
                  </a:lnTo>
                  <a:lnTo>
                    <a:pt x="4370" y="1350"/>
                  </a:lnTo>
                  <a:lnTo>
                    <a:pt x="4362" y="1338"/>
                  </a:lnTo>
                  <a:lnTo>
                    <a:pt x="4353" y="1326"/>
                  </a:lnTo>
                  <a:lnTo>
                    <a:pt x="4353" y="1326"/>
                  </a:lnTo>
                  <a:lnTo>
                    <a:pt x="4370" y="1334"/>
                  </a:lnTo>
                  <a:lnTo>
                    <a:pt x="4388" y="1342"/>
                  </a:lnTo>
                  <a:lnTo>
                    <a:pt x="4403" y="1352"/>
                  </a:lnTo>
                  <a:lnTo>
                    <a:pt x="4418" y="1361"/>
                  </a:lnTo>
                  <a:lnTo>
                    <a:pt x="4433" y="1371"/>
                  </a:lnTo>
                  <a:lnTo>
                    <a:pt x="4447" y="1381"/>
                  </a:lnTo>
                  <a:lnTo>
                    <a:pt x="4459" y="1392"/>
                  </a:lnTo>
                  <a:lnTo>
                    <a:pt x="4471" y="1403"/>
                  </a:lnTo>
                  <a:lnTo>
                    <a:pt x="4483" y="1414"/>
                  </a:lnTo>
                  <a:lnTo>
                    <a:pt x="4494" y="1426"/>
                  </a:lnTo>
                  <a:lnTo>
                    <a:pt x="4504" y="1439"/>
                  </a:lnTo>
                  <a:lnTo>
                    <a:pt x="4513" y="1451"/>
                  </a:lnTo>
                  <a:lnTo>
                    <a:pt x="4522" y="1463"/>
                  </a:lnTo>
                  <a:lnTo>
                    <a:pt x="4530" y="1475"/>
                  </a:lnTo>
                  <a:lnTo>
                    <a:pt x="4544" y="1501"/>
                  </a:lnTo>
                  <a:lnTo>
                    <a:pt x="4556" y="1526"/>
                  </a:lnTo>
                  <a:lnTo>
                    <a:pt x="4567" y="1551"/>
                  </a:lnTo>
                  <a:lnTo>
                    <a:pt x="4574" y="1577"/>
                  </a:lnTo>
                  <a:lnTo>
                    <a:pt x="4580" y="1600"/>
                  </a:lnTo>
                  <a:lnTo>
                    <a:pt x="4584" y="1624"/>
                  </a:lnTo>
                  <a:lnTo>
                    <a:pt x="4587" y="1646"/>
                  </a:lnTo>
                  <a:lnTo>
                    <a:pt x="4588" y="1667"/>
                  </a:lnTo>
                  <a:lnTo>
                    <a:pt x="4588" y="1685"/>
                  </a:lnTo>
                  <a:lnTo>
                    <a:pt x="4588" y="1685"/>
                  </a:lnTo>
                  <a:lnTo>
                    <a:pt x="4588" y="1711"/>
                  </a:lnTo>
                  <a:lnTo>
                    <a:pt x="4587" y="1737"/>
                  </a:lnTo>
                  <a:lnTo>
                    <a:pt x="4583" y="1762"/>
                  </a:lnTo>
                  <a:lnTo>
                    <a:pt x="4578" y="1787"/>
                  </a:lnTo>
                  <a:lnTo>
                    <a:pt x="4571" y="1811"/>
                  </a:lnTo>
                  <a:lnTo>
                    <a:pt x="4562" y="1834"/>
                  </a:lnTo>
                  <a:lnTo>
                    <a:pt x="4553" y="1857"/>
                  </a:lnTo>
                  <a:lnTo>
                    <a:pt x="4542" y="1878"/>
                  </a:lnTo>
                  <a:lnTo>
                    <a:pt x="4530" y="1900"/>
                  </a:lnTo>
                  <a:lnTo>
                    <a:pt x="4515" y="1919"/>
                  </a:lnTo>
                  <a:lnTo>
                    <a:pt x="4501" y="1939"/>
                  </a:lnTo>
                  <a:lnTo>
                    <a:pt x="4485" y="1956"/>
                  </a:lnTo>
                  <a:lnTo>
                    <a:pt x="4468" y="1972"/>
                  </a:lnTo>
                  <a:lnTo>
                    <a:pt x="4450" y="1988"/>
                  </a:lnTo>
                  <a:lnTo>
                    <a:pt x="4432" y="2002"/>
                  </a:lnTo>
                  <a:lnTo>
                    <a:pt x="4412" y="2015"/>
                  </a:lnTo>
                  <a:lnTo>
                    <a:pt x="4412" y="2015"/>
                  </a:lnTo>
                  <a:lnTo>
                    <a:pt x="4377" y="2036"/>
                  </a:lnTo>
                  <a:lnTo>
                    <a:pt x="4345" y="2054"/>
                  </a:lnTo>
                  <a:lnTo>
                    <a:pt x="4313" y="2071"/>
                  </a:lnTo>
                  <a:lnTo>
                    <a:pt x="4282" y="2087"/>
                  </a:lnTo>
                  <a:lnTo>
                    <a:pt x="4225" y="2114"/>
                  </a:lnTo>
                  <a:lnTo>
                    <a:pt x="4171" y="2139"/>
                  </a:lnTo>
                  <a:close/>
                  <a:moveTo>
                    <a:pt x="3989" y="3389"/>
                  </a:moveTo>
                  <a:lnTo>
                    <a:pt x="3989" y="3389"/>
                  </a:lnTo>
                  <a:lnTo>
                    <a:pt x="3970" y="3382"/>
                  </a:lnTo>
                  <a:lnTo>
                    <a:pt x="3970" y="3382"/>
                  </a:lnTo>
                  <a:lnTo>
                    <a:pt x="3967" y="3380"/>
                  </a:lnTo>
                  <a:lnTo>
                    <a:pt x="3967" y="3380"/>
                  </a:lnTo>
                  <a:lnTo>
                    <a:pt x="3989" y="3389"/>
                  </a:lnTo>
                  <a:close/>
                  <a:moveTo>
                    <a:pt x="2262" y="1056"/>
                  </a:moveTo>
                  <a:lnTo>
                    <a:pt x="2262" y="1056"/>
                  </a:lnTo>
                  <a:lnTo>
                    <a:pt x="2262" y="1057"/>
                  </a:lnTo>
                  <a:lnTo>
                    <a:pt x="2261" y="1059"/>
                  </a:lnTo>
                  <a:lnTo>
                    <a:pt x="2257" y="1061"/>
                  </a:lnTo>
                  <a:lnTo>
                    <a:pt x="2251" y="1064"/>
                  </a:lnTo>
                  <a:lnTo>
                    <a:pt x="2241" y="1066"/>
                  </a:lnTo>
                  <a:lnTo>
                    <a:pt x="2219" y="1072"/>
                  </a:lnTo>
                  <a:lnTo>
                    <a:pt x="2191" y="1077"/>
                  </a:lnTo>
                  <a:lnTo>
                    <a:pt x="2164" y="1081"/>
                  </a:lnTo>
                  <a:lnTo>
                    <a:pt x="2138" y="1083"/>
                  </a:lnTo>
                  <a:lnTo>
                    <a:pt x="2120" y="1083"/>
                  </a:lnTo>
                  <a:lnTo>
                    <a:pt x="2113" y="1082"/>
                  </a:lnTo>
                  <a:lnTo>
                    <a:pt x="2109" y="1081"/>
                  </a:lnTo>
                  <a:lnTo>
                    <a:pt x="2109" y="1081"/>
                  </a:lnTo>
                  <a:lnTo>
                    <a:pt x="2106" y="1079"/>
                  </a:lnTo>
                  <a:lnTo>
                    <a:pt x="2104" y="1075"/>
                  </a:lnTo>
                  <a:lnTo>
                    <a:pt x="2101" y="1064"/>
                  </a:lnTo>
                  <a:lnTo>
                    <a:pt x="2098" y="1052"/>
                  </a:lnTo>
                  <a:lnTo>
                    <a:pt x="2096" y="1038"/>
                  </a:lnTo>
                  <a:lnTo>
                    <a:pt x="2096" y="1023"/>
                  </a:lnTo>
                  <a:lnTo>
                    <a:pt x="2096" y="1010"/>
                  </a:lnTo>
                  <a:lnTo>
                    <a:pt x="2097" y="1000"/>
                  </a:lnTo>
                  <a:lnTo>
                    <a:pt x="2098" y="995"/>
                  </a:lnTo>
                  <a:lnTo>
                    <a:pt x="2100" y="992"/>
                  </a:lnTo>
                  <a:lnTo>
                    <a:pt x="2100" y="992"/>
                  </a:lnTo>
                  <a:lnTo>
                    <a:pt x="2101" y="991"/>
                  </a:lnTo>
                  <a:lnTo>
                    <a:pt x="2103" y="989"/>
                  </a:lnTo>
                  <a:lnTo>
                    <a:pt x="2109" y="988"/>
                  </a:lnTo>
                  <a:lnTo>
                    <a:pt x="2118" y="987"/>
                  </a:lnTo>
                  <a:lnTo>
                    <a:pt x="2128" y="987"/>
                  </a:lnTo>
                  <a:lnTo>
                    <a:pt x="2139" y="988"/>
                  </a:lnTo>
                  <a:lnTo>
                    <a:pt x="2151" y="990"/>
                  </a:lnTo>
                  <a:lnTo>
                    <a:pt x="2165" y="993"/>
                  </a:lnTo>
                  <a:lnTo>
                    <a:pt x="2179" y="997"/>
                  </a:lnTo>
                  <a:lnTo>
                    <a:pt x="2192" y="1002"/>
                  </a:lnTo>
                  <a:lnTo>
                    <a:pt x="2206" y="1007"/>
                  </a:lnTo>
                  <a:lnTo>
                    <a:pt x="2219" y="1014"/>
                  </a:lnTo>
                  <a:lnTo>
                    <a:pt x="2231" y="1021"/>
                  </a:lnTo>
                  <a:lnTo>
                    <a:pt x="2241" y="1029"/>
                  </a:lnTo>
                  <a:lnTo>
                    <a:pt x="2251" y="1038"/>
                  </a:lnTo>
                  <a:lnTo>
                    <a:pt x="2258" y="1047"/>
                  </a:lnTo>
                  <a:lnTo>
                    <a:pt x="2260" y="1051"/>
                  </a:lnTo>
                  <a:lnTo>
                    <a:pt x="2262" y="1056"/>
                  </a:lnTo>
                  <a:close/>
                  <a:moveTo>
                    <a:pt x="4842" y="2915"/>
                  </a:moveTo>
                  <a:lnTo>
                    <a:pt x="4842" y="2915"/>
                  </a:lnTo>
                  <a:lnTo>
                    <a:pt x="4862" y="2919"/>
                  </a:lnTo>
                  <a:lnTo>
                    <a:pt x="4881" y="2921"/>
                  </a:lnTo>
                  <a:lnTo>
                    <a:pt x="4900" y="2922"/>
                  </a:lnTo>
                  <a:lnTo>
                    <a:pt x="4916" y="2921"/>
                  </a:lnTo>
                  <a:lnTo>
                    <a:pt x="4932" y="2919"/>
                  </a:lnTo>
                  <a:lnTo>
                    <a:pt x="4946" y="2916"/>
                  </a:lnTo>
                  <a:lnTo>
                    <a:pt x="4958" y="2911"/>
                  </a:lnTo>
                  <a:lnTo>
                    <a:pt x="4969" y="2905"/>
                  </a:lnTo>
                  <a:lnTo>
                    <a:pt x="4969" y="2905"/>
                  </a:lnTo>
                  <a:lnTo>
                    <a:pt x="4967" y="2879"/>
                  </a:lnTo>
                  <a:lnTo>
                    <a:pt x="4960" y="2819"/>
                  </a:lnTo>
                  <a:lnTo>
                    <a:pt x="4951" y="2746"/>
                  </a:lnTo>
                  <a:lnTo>
                    <a:pt x="4946" y="2714"/>
                  </a:lnTo>
                  <a:lnTo>
                    <a:pt x="4940" y="2686"/>
                  </a:lnTo>
                  <a:lnTo>
                    <a:pt x="4940" y="2686"/>
                  </a:lnTo>
                  <a:lnTo>
                    <a:pt x="4922" y="2689"/>
                  </a:lnTo>
                  <a:lnTo>
                    <a:pt x="4902" y="2692"/>
                  </a:lnTo>
                  <a:lnTo>
                    <a:pt x="4891" y="2692"/>
                  </a:lnTo>
                  <a:lnTo>
                    <a:pt x="4879" y="2692"/>
                  </a:lnTo>
                  <a:lnTo>
                    <a:pt x="4867" y="2691"/>
                  </a:lnTo>
                  <a:lnTo>
                    <a:pt x="4855" y="2689"/>
                  </a:lnTo>
                  <a:lnTo>
                    <a:pt x="4843" y="2686"/>
                  </a:lnTo>
                  <a:lnTo>
                    <a:pt x="4830" y="2682"/>
                  </a:lnTo>
                  <a:lnTo>
                    <a:pt x="4818" y="2677"/>
                  </a:lnTo>
                  <a:lnTo>
                    <a:pt x="4806" y="2670"/>
                  </a:lnTo>
                  <a:lnTo>
                    <a:pt x="4794" y="2660"/>
                  </a:lnTo>
                  <a:lnTo>
                    <a:pt x="4782" y="2650"/>
                  </a:lnTo>
                  <a:lnTo>
                    <a:pt x="4771" y="2638"/>
                  </a:lnTo>
                  <a:lnTo>
                    <a:pt x="4761" y="2624"/>
                  </a:lnTo>
                  <a:lnTo>
                    <a:pt x="4761" y="2624"/>
                  </a:lnTo>
                  <a:lnTo>
                    <a:pt x="4743" y="2595"/>
                  </a:lnTo>
                  <a:lnTo>
                    <a:pt x="4724" y="2567"/>
                  </a:lnTo>
                  <a:lnTo>
                    <a:pt x="4724" y="2567"/>
                  </a:lnTo>
                  <a:lnTo>
                    <a:pt x="4703" y="2539"/>
                  </a:lnTo>
                  <a:lnTo>
                    <a:pt x="4680" y="2511"/>
                  </a:lnTo>
                  <a:lnTo>
                    <a:pt x="4658" y="2485"/>
                  </a:lnTo>
                  <a:lnTo>
                    <a:pt x="4634" y="2459"/>
                  </a:lnTo>
                  <a:lnTo>
                    <a:pt x="4611" y="2435"/>
                  </a:lnTo>
                  <a:lnTo>
                    <a:pt x="4586" y="2412"/>
                  </a:lnTo>
                  <a:lnTo>
                    <a:pt x="4562" y="2389"/>
                  </a:lnTo>
                  <a:lnTo>
                    <a:pt x="4538" y="2369"/>
                  </a:lnTo>
                  <a:lnTo>
                    <a:pt x="4513" y="2349"/>
                  </a:lnTo>
                  <a:lnTo>
                    <a:pt x="4489" y="2329"/>
                  </a:lnTo>
                  <a:lnTo>
                    <a:pt x="4463" y="2311"/>
                  </a:lnTo>
                  <a:lnTo>
                    <a:pt x="4439" y="2292"/>
                  </a:lnTo>
                  <a:lnTo>
                    <a:pt x="4413" y="2276"/>
                  </a:lnTo>
                  <a:lnTo>
                    <a:pt x="4389" y="2260"/>
                  </a:lnTo>
                  <a:lnTo>
                    <a:pt x="4337" y="2228"/>
                  </a:lnTo>
                  <a:lnTo>
                    <a:pt x="4337" y="2228"/>
                  </a:lnTo>
                  <a:lnTo>
                    <a:pt x="4381" y="2205"/>
                  </a:lnTo>
                  <a:lnTo>
                    <a:pt x="4422" y="2183"/>
                  </a:lnTo>
                  <a:lnTo>
                    <a:pt x="4459" y="2160"/>
                  </a:lnTo>
                  <a:lnTo>
                    <a:pt x="4492" y="2139"/>
                  </a:lnTo>
                  <a:lnTo>
                    <a:pt x="4523" y="2117"/>
                  </a:lnTo>
                  <a:lnTo>
                    <a:pt x="4549" y="2096"/>
                  </a:lnTo>
                  <a:lnTo>
                    <a:pt x="4574" y="2076"/>
                  </a:lnTo>
                  <a:lnTo>
                    <a:pt x="4595" y="2055"/>
                  </a:lnTo>
                  <a:lnTo>
                    <a:pt x="4615" y="2036"/>
                  </a:lnTo>
                  <a:lnTo>
                    <a:pt x="4632" y="2017"/>
                  </a:lnTo>
                  <a:lnTo>
                    <a:pt x="4647" y="1999"/>
                  </a:lnTo>
                  <a:lnTo>
                    <a:pt x="4661" y="1981"/>
                  </a:lnTo>
                  <a:lnTo>
                    <a:pt x="4673" y="1965"/>
                  </a:lnTo>
                  <a:lnTo>
                    <a:pt x="4683" y="1950"/>
                  </a:lnTo>
                  <a:lnTo>
                    <a:pt x="4700" y="1922"/>
                  </a:lnTo>
                  <a:lnTo>
                    <a:pt x="4700" y="1922"/>
                  </a:lnTo>
                  <a:lnTo>
                    <a:pt x="4708" y="1910"/>
                  </a:lnTo>
                  <a:lnTo>
                    <a:pt x="4714" y="1896"/>
                  </a:lnTo>
                  <a:lnTo>
                    <a:pt x="4721" y="1880"/>
                  </a:lnTo>
                  <a:lnTo>
                    <a:pt x="4727" y="1864"/>
                  </a:lnTo>
                  <a:lnTo>
                    <a:pt x="4733" y="1845"/>
                  </a:lnTo>
                  <a:lnTo>
                    <a:pt x="4739" y="1826"/>
                  </a:lnTo>
                  <a:lnTo>
                    <a:pt x="4743" y="1806"/>
                  </a:lnTo>
                  <a:lnTo>
                    <a:pt x="4749" y="1785"/>
                  </a:lnTo>
                  <a:lnTo>
                    <a:pt x="4753" y="1763"/>
                  </a:lnTo>
                  <a:lnTo>
                    <a:pt x="4756" y="1740"/>
                  </a:lnTo>
                  <a:lnTo>
                    <a:pt x="4758" y="1716"/>
                  </a:lnTo>
                  <a:lnTo>
                    <a:pt x="4759" y="1692"/>
                  </a:lnTo>
                  <a:lnTo>
                    <a:pt x="4760" y="1667"/>
                  </a:lnTo>
                  <a:lnTo>
                    <a:pt x="4759" y="1642"/>
                  </a:lnTo>
                  <a:lnTo>
                    <a:pt x="4758" y="1616"/>
                  </a:lnTo>
                  <a:lnTo>
                    <a:pt x="4755" y="1590"/>
                  </a:lnTo>
                  <a:lnTo>
                    <a:pt x="4751" y="1564"/>
                  </a:lnTo>
                  <a:lnTo>
                    <a:pt x="4745" y="1538"/>
                  </a:lnTo>
                  <a:lnTo>
                    <a:pt x="4738" y="1511"/>
                  </a:lnTo>
                  <a:lnTo>
                    <a:pt x="4730" y="1486"/>
                  </a:lnTo>
                  <a:lnTo>
                    <a:pt x="4720" y="1459"/>
                  </a:lnTo>
                  <a:lnTo>
                    <a:pt x="4709" y="1433"/>
                  </a:lnTo>
                  <a:lnTo>
                    <a:pt x="4695" y="1408"/>
                  </a:lnTo>
                  <a:lnTo>
                    <a:pt x="4681" y="1383"/>
                  </a:lnTo>
                  <a:lnTo>
                    <a:pt x="4665" y="1359"/>
                  </a:lnTo>
                  <a:lnTo>
                    <a:pt x="4646" y="1334"/>
                  </a:lnTo>
                  <a:lnTo>
                    <a:pt x="4625" y="1311"/>
                  </a:lnTo>
                  <a:lnTo>
                    <a:pt x="4602" y="1288"/>
                  </a:lnTo>
                  <a:lnTo>
                    <a:pt x="4578" y="1267"/>
                  </a:lnTo>
                  <a:lnTo>
                    <a:pt x="4551" y="1246"/>
                  </a:lnTo>
                  <a:lnTo>
                    <a:pt x="4522" y="1227"/>
                  </a:lnTo>
                  <a:lnTo>
                    <a:pt x="4490" y="1207"/>
                  </a:lnTo>
                  <a:lnTo>
                    <a:pt x="4490" y="1207"/>
                  </a:lnTo>
                  <a:lnTo>
                    <a:pt x="4466" y="1195"/>
                  </a:lnTo>
                  <a:lnTo>
                    <a:pt x="4443" y="1184"/>
                  </a:lnTo>
                  <a:lnTo>
                    <a:pt x="4419" y="1174"/>
                  </a:lnTo>
                  <a:lnTo>
                    <a:pt x="4396" y="1165"/>
                  </a:lnTo>
                  <a:lnTo>
                    <a:pt x="4372" y="1156"/>
                  </a:lnTo>
                  <a:lnTo>
                    <a:pt x="4348" y="1149"/>
                  </a:lnTo>
                  <a:lnTo>
                    <a:pt x="4325" y="1143"/>
                  </a:lnTo>
                  <a:lnTo>
                    <a:pt x="4302" y="1138"/>
                  </a:lnTo>
                  <a:lnTo>
                    <a:pt x="4278" y="1133"/>
                  </a:lnTo>
                  <a:lnTo>
                    <a:pt x="4256" y="1130"/>
                  </a:lnTo>
                  <a:lnTo>
                    <a:pt x="4233" y="1127"/>
                  </a:lnTo>
                  <a:lnTo>
                    <a:pt x="4211" y="1125"/>
                  </a:lnTo>
                  <a:lnTo>
                    <a:pt x="4188" y="1123"/>
                  </a:lnTo>
                  <a:lnTo>
                    <a:pt x="4167" y="1123"/>
                  </a:lnTo>
                  <a:lnTo>
                    <a:pt x="4145" y="1123"/>
                  </a:lnTo>
                  <a:lnTo>
                    <a:pt x="4124" y="1123"/>
                  </a:lnTo>
                  <a:lnTo>
                    <a:pt x="4083" y="1126"/>
                  </a:lnTo>
                  <a:lnTo>
                    <a:pt x="4044" y="1130"/>
                  </a:lnTo>
                  <a:lnTo>
                    <a:pt x="4007" y="1136"/>
                  </a:lnTo>
                  <a:lnTo>
                    <a:pt x="3973" y="1144"/>
                  </a:lnTo>
                  <a:lnTo>
                    <a:pt x="3941" y="1152"/>
                  </a:lnTo>
                  <a:lnTo>
                    <a:pt x="3912" y="1161"/>
                  </a:lnTo>
                  <a:lnTo>
                    <a:pt x="3887" y="1172"/>
                  </a:lnTo>
                  <a:lnTo>
                    <a:pt x="3864" y="1181"/>
                  </a:lnTo>
                  <a:lnTo>
                    <a:pt x="3864" y="1181"/>
                  </a:lnTo>
                  <a:lnTo>
                    <a:pt x="3844" y="1191"/>
                  </a:lnTo>
                  <a:lnTo>
                    <a:pt x="3824" y="1201"/>
                  </a:lnTo>
                  <a:lnTo>
                    <a:pt x="3806" y="1213"/>
                  </a:lnTo>
                  <a:lnTo>
                    <a:pt x="3787" y="1224"/>
                  </a:lnTo>
                  <a:lnTo>
                    <a:pt x="3769" y="1237"/>
                  </a:lnTo>
                  <a:lnTo>
                    <a:pt x="3752" y="1249"/>
                  </a:lnTo>
                  <a:lnTo>
                    <a:pt x="3735" y="1264"/>
                  </a:lnTo>
                  <a:lnTo>
                    <a:pt x="3719" y="1278"/>
                  </a:lnTo>
                  <a:lnTo>
                    <a:pt x="3703" y="1293"/>
                  </a:lnTo>
                  <a:lnTo>
                    <a:pt x="3687" y="1309"/>
                  </a:lnTo>
                  <a:lnTo>
                    <a:pt x="3673" y="1325"/>
                  </a:lnTo>
                  <a:lnTo>
                    <a:pt x="3659" y="1341"/>
                  </a:lnTo>
                  <a:lnTo>
                    <a:pt x="3645" y="1359"/>
                  </a:lnTo>
                  <a:lnTo>
                    <a:pt x="3633" y="1377"/>
                  </a:lnTo>
                  <a:lnTo>
                    <a:pt x="3621" y="1396"/>
                  </a:lnTo>
                  <a:lnTo>
                    <a:pt x="3609" y="1415"/>
                  </a:lnTo>
                  <a:lnTo>
                    <a:pt x="3599" y="1434"/>
                  </a:lnTo>
                  <a:lnTo>
                    <a:pt x="3589" y="1455"/>
                  </a:lnTo>
                  <a:lnTo>
                    <a:pt x="3581" y="1475"/>
                  </a:lnTo>
                  <a:lnTo>
                    <a:pt x="3573" y="1497"/>
                  </a:lnTo>
                  <a:lnTo>
                    <a:pt x="3565" y="1518"/>
                  </a:lnTo>
                  <a:lnTo>
                    <a:pt x="3559" y="1541"/>
                  </a:lnTo>
                  <a:lnTo>
                    <a:pt x="3554" y="1563"/>
                  </a:lnTo>
                  <a:lnTo>
                    <a:pt x="3550" y="1586"/>
                  </a:lnTo>
                  <a:lnTo>
                    <a:pt x="3547" y="1609"/>
                  </a:lnTo>
                  <a:lnTo>
                    <a:pt x="3545" y="1634"/>
                  </a:lnTo>
                  <a:lnTo>
                    <a:pt x="3544" y="1658"/>
                  </a:lnTo>
                  <a:lnTo>
                    <a:pt x="3543" y="1683"/>
                  </a:lnTo>
                  <a:lnTo>
                    <a:pt x="3544" y="1708"/>
                  </a:lnTo>
                  <a:lnTo>
                    <a:pt x="3546" y="1734"/>
                  </a:lnTo>
                  <a:lnTo>
                    <a:pt x="3550" y="1760"/>
                  </a:lnTo>
                  <a:lnTo>
                    <a:pt x="3554" y="1786"/>
                  </a:lnTo>
                  <a:lnTo>
                    <a:pt x="3554" y="1786"/>
                  </a:lnTo>
                  <a:lnTo>
                    <a:pt x="3559" y="1810"/>
                  </a:lnTo>
                  <a:lnTo>
                    <a:pt x="3564" y="1831"/>
                  </a:lnTo>
                  <a:lnTo>
                    <a:pt x="3571" y="1853"/>
                  </a:lnTo>
                  <a:lnTo>
                    <a:pt x="3577" y="1873"/>
                  </a:lnTo>
                  <a:lnTo>
                    <a:pt x="3585" y="1893"/>
                  </a:lnTo>
                  <a:lnTo>
                    <a:pt x="3592" y="1911"/>
                  </a:lnTo>
                  <a:lnTo>
                    <a:pt x="3601" y="1929"/>
                  </a:lnTo>
                  <a:lnTo>
                    <a:pt x="3610" y="1947"/>
                  </a:lnTo>
                  <a:lnTo>
                    <a:pt x="3620" y="1963"/>
                  </a:lnTo>
                  <a:lnTo>
                    <a:pt x="3631" y="1978"/>
                  </a:lnTo>
                  <a:lnTo>
                    <a:pt x="3641" y="1994"/>
                  </a:lnTo>
                  <a:lnTo>
                    <a:pt x="3652" y="2009"/>
                  </a:lnTo>
                  <a:lnTo>
                    <a:pt x="3665" y="2023"/>
                  </a:lnTo>
                  <a:lnTo>
                    <a:pt x="3677" y="2037"/>
                  </a:lnTo>
                  <a:lnTo>
                    <a:pt x="3690" y="2050"/>
                  </a:lnTo>
                  <a:lnTo>
                    <a:pt x="3704" y="2062"/>
                  </a:lnTo>
                  <a:lnTo>
                    <a:pt x="3732" y="2087"/>
                  </a:lnTo>
                  <a:lnTo>
                    <a:pt x="3763" y="2109"/>
                  </a:lnTo>
                  <a:lnTo>
                    <a:pt x="3795" y="2131"/>
                  </a:lnTo>
                  <a:lnTo>
                    <a:pt x="3828" y="2151"/>
                  </a:lnTo>
                  <a:lnTo>
                    <a:pt x="3863" y="2172"/>
                  </a:lnTo>
                  <a:lnTo>
                    <a:pt x="3899" y="2191"/>
                  </a:lnTo>
                  <a:lnTo>
                    <a:pt x="3976" y="2229"/>
                  </a:lnTo>
                  <a:lnTo>
                    <a:pt x="3976" y="2229"/>
                  </a:lnTo>
                  <a:lnTo>
                    <a:pt x="3945" y="2246"/>
                  </a:lnTo>
                  <a:lnTo>
                    <a:pt x="3916" y="2263"/>
                  </a:lnTo>
                  <a:lnTo>
                    <a:pt x="3890" y="2280"/>
                  </a:lnTo>
                  <a:lnTo>
                    <a:pt x="3864" y="2298"/>
                  </a:lnTo>
                  <a:lnTo>
                    <a:pt x="3840" y="2318"/>
                  </a:lnTo>
                  <a:lnTo>
                    <a:pt x="3817" y="2337"/>
                  </a:lnTo>
                  <a:lnTo>
                    <a:pt x="3797" y="2358"/>
                  </a:lnTo>
                  <a:lnTo>
                    <a:pt x="3778" y="2379"/>
                  </a:lnTo>
                  <a:lnTo>
                    <a:pt x="3761" y="2403"/>
                  </a:lnTo>
                  <a:lnTo>
                    <a:pt x="3754" y="2415"/>
                  </a:lnTo>
                  <a:lnTo>
                    <a:pt x="3746" y="2427"/>
                  </a:lnTo>
                  <a:lnTo>
                    <a:pt x="3739" y="2440"/>
                  </a:lnTo>
                  <a:lnTo>
                    <a:pt x="3733" y="2453"/>
                  </a:lnTo>
                  <a:lnTo>
                    <a:pt x="3728" y="2466"/>
                  </a:lnTo>
                  <a:lnTo>
                    <a:pt x="3723" y="2480"/>
                  </a:lnTo>
                  <a:lnTo>
                    <a:pt x="3718" y="2495"/>
                  </a:lnTo>
                  <a:lnTo>
                    <a:pt x="3714" y="2510"/>
                  </a:lnTo>
                  <a:lnTo>
                    <a:pt x="3711" y="2525"/>
                  </a:lnTo>
                  <a:lnTo>
                    <a:pt x="3708" y="2541"/>
                  </a:lnTo>
                  <a:lnTo>
                    <a:pt x="3706" y="2557"/>
                  </a:lnTo>
                  <a:lnTo>
                    <a:pt x="3705" y="2574"/>
                  </a:lnTo>
                  <a:lnTo>
                    <a:pt x="3704" y="2592"/>
                  </a:lnTo>
                  <a:lnTo>
                    <a:pt x="3703" y="2609"/>
                  </a:lnTo>
                  <a:lnTo>
                    <a:pt x="3703" y="2609"/>
                  </a:lnTo>
                  <a:lnTo>
                    <a:pt x="3704" y="2632"/>
                  </a:lnTo>
                  <a:lnTo>
                    <a:pt x="3707" y="2655"/>
                  </a:lnTo>
                  <a:lnTo>
                    <a:pt x="3711" y="2678"/>
                  </a:lnTo>
                  <a:lnTo>
                    <a:pt x="3716" y="2701"/>
                  </a:lnTo>
                  <a:lnTo>
                    <a:pt x="3729" y="2749"/>
                  </a:lnTo>
                  <a:lnTo>
                    <a:pt x="3736" y="2775"/>
                  </a:lnTo>
                  <a:lnTo>
                    <a:pt x="3742" y="2801"/>
                  </a:lnTo>
                  <a:lnTo>
                    <a:pt x="3749" y="2830"/>
                  </a:lnTo>
                  <a:lnTo>
                    <a:pt x="3753" y="2859"/>
                  </a:lnTo>
                  <a:lnTo>
                    <a:pt x="3757" y="2889"/>
                  </a:lnTo>
                  <a:lnTo>
                    <a:pt x="3758" y="2922"/>
                  </a:lnTo>
                  <a:lnTo>
                    <a:pt x="3758" y="2957"/>
                  </a:lnTo>
                  <a:lnTo>
                    <a:pt x="3757" y="2975"/>
                  </a:lnTo>
                  <a:lnTo>
                    <a:pt x="3755" y="2994"/>
                  </a:lnTo>
                  <a:lnTo>
                    <a:pt x="3753" y="3012"/>
                  </a:lnTo>
                  <a:lnTo>
                    <a:pt x="3750" y="3033"/>
                  </a:lnTo>
                  <a:lnTo>
                    <a:pt x="3745" y="3053"/>
                  </a:lnTo>
                  <a:lnTo>
                    <a:pt x="3741" y="3073"/>
                  </a:lnTo>
                  <a:lnTo>
                    <a:pt x="3741" y="3073"/>
                  </a:lnTo>
                  <a:lnTo>
                    <a:pt x="3741" y="3075"/>
                  </a:lnTo>
                  <a:lnTo>
                    <a:pt x="3741" y="3076"/>
                  </a:lnTo>
                  <a:lnTo>
                    <a:pt x="3743" y="3076"/>
                  </a:lnTo>
                  <a:lnTo>
                    <a:pt x="3745" y="3078"/>
                  </a:lnTo>
                  <a:lnTo>
                    <a:pt x="3753" y="3075"/>
                  </a:lnTo>
                  <a:lnTo>
                    <a:pt x="3762" y="3073"/>
                  </a:lnTo>
                  <a:lnTo>
                    <a:pt x="3785" y="3063"/>
                  </a:lnTo>
                  <a:lnTo>
                    <a:pt x="3814" y="3051"/>
                  </a:lnTo>
                  <a:lnTo>
                    <a:pt x="3842" y="3036"/>
                  </a:lnTo>
                  <a:lnTo>
                    <a:pt x="3867" y="3022"/>
                  </a:lnTo>
                  <a:lnTo>
                    <a:pt x="3886" y="3011"/>
                  </a:lnTo>
                  <a:lnTo>
                    <a:pt x="3891" y="3007"/>
                  </a:lnTo>
                  <a:lnTo>
                    <a:pt x="3894" y="3005"/>
                  </a:lnTo>
                  <a:lnTo>
                    <a:pt x="3894" y="3005"/>
                  </a:lnTo>
                  <a:lnTo>
                    <a:pt x="3903" y="2981"/>
                  </a:lnTo>
                  <a:lnTo>
                    <a:pt x="3910" y="2958"/>
                  </a:lnTo>
                  <a:lnTo>
                    <a:pt x="3916" y="2934"/>
                  </a:lnTo>
                  <a:lnTo>
                    <a:pt x="3921" y="2910"/>
                  </a:lnTo>
                  <a:lnTo>
                    <a:pt x="3925" y="2886"/>
                  </a:lnTo>
                  <a:lnTo>
                    <a:pt x="3928" y="2863"/>
                  </a:lnTo>
                  <a:lnTo>
                    <a:pt x="3930" y="2840"/>
                  </a:lnTo>
                  <a:lnTo>
                    <a:pt x="3932" y="2818"/>
                  </a:lnTo>
                  <a:lnTo>
                    <a:pt x="3932" y="2779"/>
                  </a:lnTo>
                  <a:lnTo>
                    <a:pt x="3931" y="2748"/>
                  </a:lnTo>
                  <a:lnTo>
                    <a:pt x="3928" y="2721"/>
                  </a:lnTo>
                  <a:lnTo>
                    <a:pt x="3928" y="2721"/>
                  </a:lnTo>
                  <a:lnTo>
                    <a:pt x="3939" y="2730"/>
                  </a:lnTo>
                  <a:lnTo>
                    <a:pt x="3947" y="2741"/>
                  </a:lnTo>
                  <a:lnTo>
                    <a:pt x="3954" y="2753"/>
                  </a:lnTo>
                  <a:lnTo>
                    <a:pt x="3960" y="2767"/>
                  </a:lnTo>
                  <a:lnTo>
                    <a:pt x="3964" y="2782"/>
                  </a:lnTo>
                  <a:lnTo>
                    <a:pt x="3968" y="2797"/>
                  </a:lnTo>
                  <a:lnTo>
                    <a:pt x="3971" y="2814"/>
                  </a:lnTo>
                  <a:lnTo>
                    <a:pt x="3973" y="2830"/>
                  </a:lnTo>
                  <a:lnTo>
                    <a:pt x="3975" y="2847"/>
                  </a:lnTo>
                  <a:lnTo>
                    <a:pt x="3976" y="2865"/>
                  </a:lnTo>
                  <a:lnTo>
                    <a:pt x="3976" y="2881"/>
                  </a:lnTo>
                  <a:lnTo>
                    <a:pt x="3975" y="2899"/>
                  </a:lnTo>
                  <a:lnTo>
                    <a:pt x="3971" y="2930"/>
                  </a:lnTo>
                  <a:lnTo>
                    <a:pt x="3965" y="2959"/>
                  </a:lnTo>
                  <a:lnTo>
                    <a:pt x="3965" y="2959"/>
                  </a:lnTo>
                  <a:lnTo>
                    <a:pt x="3982" y="2950"/>
                  </a:lnTo>
                  <a:lnTo>
                    <a:pt x="3998" y="2938"/>
                  </a:lnTo>
                  <a:lnTo>
                    <a:pt x="4016" y="2925"/>
                  </a:lnTo>
                  <a:lnTo>
                    <a:pt x="4036" y="2911"/>
                  </a:lnTo>
                  <a:lnTo>
                    <a:pt x="4053" y="2896"/>
                  </a:lnTo>
                  <a:lnTo>
                    <a:pt x="4061" y="2888"/>
                  </a:lnTo>
                  <a:lnTo>
                    <a:pt x="4068" y="2881"/>
                  </a:lnTo>
                  <a:lnTo>
                    <a:pt x="4072" y="2874"/>
                  </a:lnTo>
                  <a:lnTo>
                    <a:pt x="4075" y="2868"/>
                  </a:lnTo>
                  <a:lnTo>
                    <a:pt x="4075" y="2868"/>
                  </a:lnTo>
                  <a:lnTo>
                    <a:pt x="4083" y="2838"/>
                  </a:lnTo>
                  <a:lnTo>
                    <a:pt x="4090" y="2810"/>
                  </a:lnTo>
                  <a:lnTo>
                    <a:pt x="4094" y="2783"/>
                  </a:lnTo>
                  <a:lnTo>
                    <a:pt x="4096" y="2757"/>
                  </a:lnTo>
                  <a:lnTo>
                    <a:pt x="4096" y="2733"/>
                  </a:lnTo>
                  <a:lnTo>
                    <a:pt x="4095" y="2709"/>
                  </a:lnTo>
                  <a:lnTo>
                    <a:pt x="4093" y="2687"/>
                  </a:lnTo>
                  <a:lnTo>
                    <a:pt x="4090" y="2665"/>
                  </a:lnTo>
                  <a:lnTo>
                    <a:pt x="4085" y="2645"/>
                  </a:lnTo>
                  <a:lnTo>
                    <a:pt x="4080" y="2626"/>
                  </a:lnTo>
                  <a:lnTo>
                    <a:pt x="4075" y="2607"/>
                  </a:lnTo>
                  <a:lnTo>
                    <a:pt x="4069" y="2590"/>
                  </a:lnTo>
                  <a:lnTo>
                    <a:pt x="4055" y="2556"/>
                  </a:lnTo>
                  <a:lnTo>
                    <a:pt x="4043" y="2524"/>
                  </a:lnTo>
                  <a:lnTo>
                    <a:pt x="4043" y="2524"/>
                  </a:lnTo>
                  <a:lnTo>
                    <a:pt x="4038" y="2509"/>
                  </a:lnTo>
                  <a:lnTo>
                    <a:pt x="4035" y="2494"/>
                  </a:lnTo>
                  <a:lnTo>
                    <a:pt x="4034" y="2479"/>
                  </a:lnTo>
                  <a:lnTo>
                    <a:pt x="4035" y="2464"/>
                  </a:lnTo>
                  <a:lnTo>
                    <a:pt x="4037" y="2450"/>
                  </a:lnTo>
                  <a:lnTo>
                    <a:pt x="4041" y="2435"/>
                  </a:lnTo>
                  <a:lnTo>
                    <a:pt x="4046" y="2421"/>
                  </a:lnTo>
                  <a:lnTo>
                    <a:pt x="4053" y="2408"/>
                  </a:lnTo>
                  <a:lnTo>
                    <a:pt x="4061" y="2395"/>
                  </a:lnTo>
                  <a:lnTo>
                    <a:pt x="4071" y="2381"/>
                  </a:lnTo>
                  <a:lnTo>
                    <a:pt x="4081" y="2369"/>
                  </a:lnTo>
                  <a:lnTo>
                    <a:pt x="4092" y="2358"/>
                  </a:lnTo>
                  <a:lnTo>
                    <a:pt x="4103" y="2346"/>
                  </a:lnTo>
                  <a:lnTo>
                    <a:pt x="4117" y="2335"/>
                  </a:lnTo>
                  <a:lnTo>
                    <a:pt x="4130" y="2326"/>
                  </a:lnTo>
                  <a:lnTo>
                    <a:pt x="4145" y="2317"/>
                  </a:lnTo>
                  <a:lnTo>
                    <a:pt x="4145" y="2317"/>
                  </a:lnTo>
                  <a:lnTo>
                    <a:pt x="4180" y="2336"/>
                  </a:lnTo>
                  <a:lnTo>
                    <a:pt x="4215" y="2357"/>
                  </a:lnTo>
                  <a:lnTo>
                    <a:pt x="4251" y="2378"/>
                  </a:lnTo>
                  <a:lnTo>
                    <a:pt x="4286" y="2402"/>
                  </a:lnTo>
                  <a:lnTo>
                    <a:pt x="4286" y="2402"/>
                  </a:lnTo>
                  <a:lnTo>
                    <a:pt x="4307" y="2416"/>
                  </a:lnTo>
                  <a:lnTo>
                    <a:pt x="4341" y="2441"/>
                  </a:lnTo>
                  <a:lnTo>
                    <a:pt x="4361" y="2456"/>
                  </a:lnTo>
                  <a:lnTo>
                    <a:pt x="4382" y="2474"/>
                  </a:lnTo>
                  <a:lnTo>
                    <a:pt x="4405" y="2494"/>
                  </a:lnTo>
                  <a:lnTo>
                    <a:pt x="4430" y="2515"/>
                  </a:lnTo>
                  <a:lnTo>
                    <a:pt x="4453" y="2539"/>
                  </a:lnTo>
                  <a:lnTo>
                    <a:pt x="4478" y="2563"/>
                  </a:lnTo>
                  <a:lnTo>
                    <a:pt x="4501" y="2590"/>
                  </a:lnTo>
                  <a:lnTo>
                    <a:pt x="4524" y="2618"/>
                  </a:lnTo>
                  <a:lnTo>
                    <a:pt x="4545" y="2647"/>
                  </a:lnTo>
                  <a:lnTo>
                    <a:pt x="4564" y="2678"/>
                  </a:lnTo>
                  <a:lnTo>
                    <a:pt x="4574" y="2693"/>
                  </a:lnTo>
                  <a:lnTo>
                    <a:pt x="4582" y="2709"/>
                  </a:lnTo>
                  <a:lnTo>
                    <a:pt x="4590" y="2726"/>
                  </a:lnTo>
                  <a:lnTo>
                    <a:pt x="4596" y="2742"/>
                  </a:lnTo>
                  <a:lnTo>
                    <a:pt x="4596" y="2742"/>
                  </a:lnTo>
                  <a:lnTo>
                    <a:pt x="4606" y="2768"/>
                  </a:lnTo>
                  <a:lnTo>
                    <a:pt x="4616" y="2792"/>
                  </a:lnTo>
                  <a:lnTo>
                    <a:pt x="4624" y="2817"/>
                  </a:lnTo>
                  <a:lnTo>
                    <a:pt x="4630" y="2840"/>
                  </a:lnTo>
                  <a:lnTo>
                    <a:pt x="4636" y="2864"/>
                  </a:lnTo>
                  <a:lnTo>
                    <a:pt x="4641" y="2886"/>
                  </a:lnTo>
                  <a:lnTo>
                    <a:pt x="4645" y="2908"/>
                  </a:lnTo>
                  <a:lnTo>
                    <a:pt x="4649" y="2928"/>
                  </a:lnTo>
                  <a:lnTo>
                    <a:pt x="4651" y="2949"/>
                  </a:lnTo>
                  <a:lnTo>
                    <a:pt x="4653" y="2968"/>
                  </a:lnTo>
                  <a:lnTo>
                    <a:pt x="4654" y="2987"/>
                  </a:lnTo>
                  <a:lnTo>
                    <a:pt x="4655" y="3005"/>
                  </a:lnTo>
                  <a:lnTo>
                    <a:pt x="4654" y="3039"/>
                  </a:lnTo>
                  <a:lnTo>
                    <a:pt x="4652" y="3070"/>
                  </a:lnTo>
                  <a:lnTo>
                    <a:pt x="4648" y="3099"/>
                  </a:lnTo>
                  <a:lnTo>
                    <a:pt x="4642" y="3126"/>
                  </a:lnTo>
                  <a:lnTo>
                    <a:pt x="4635" y="3149"/>
                  </a:lnTo>
                  <a:lnTo>
                    <a:pt x="4628" y="3171"/>
                  </a:lnTo>
                  <a:lnTo>
                    <a:pt x="4620" y="3189"/>
                  </a:lnTo>
                  <a:lnTo>
                    <a:pt x="4612" y="3206"/>
                  </a:lnTo>
                  <a:lnTo>
                    <a:pt x="4603" y="3221"/>
                  </a:lnTo>
                  <a:lnTo>
                    <a:pt x="4596" y="3232"/>
                  </a:lnTo>
                  <a:lnTo>
                    <a:pt x="4596" y="3232"/>
                  </a:lnTo>
                  <a:lnTo>
                    <a:pt x="4582" y="3252"/>
                  </a:lnTo>
                  <a:lnTo>
                    <a:pt x="4568" y="3273"/>
                  </a:lnTo>
                  <a:lnTo>
                    <a:pt x="4553" y="3291"/>
                  </a:lnTo>
                  <a:lnTo>
                    <a:pt x="4538" y="3310"/>
                  </a:lnTo>
                  <a:lnTo>
                    <a:pt x="4522" y="3327"/>
                  </a:lnTo>
                  <a:lnTo>
                    <a:pt x="4505" y="3343"/>
                  </a:lnTo>
                  <a:lnTo>
                    <a:pt x="4487" y="3359"/>
                  </a:lnTo>
                  <a:lnTo>
                    <a:pt x="4469" y="3373"/>
                  </a:lnTo>
                  <a:lnTo>
                    <a:pt x="4450" y="3386"/>
                  </a:lnTo>
                  <a:lnTo>
                    <a:pt x="4430" y="3398"/>
                  </a:lnTo>
                  <a:lnTo>
                    <a:pt x="4409" y="3409"/>
                  </a:lnTo>
                  <a:lnTo>
                    <a:pt x="4388" y="3418"/>
                  </a:lnTo>
                  <a:lnTo>
                    <a:pt x="4364" y="3426"/>
                  </a:lnTo>
                  <a:lnTo>
                    <a:pt x="4341" y="3433"/>
                  </a:lnTo>
                  <a:lnTo>
                    <a:pt x="4316" y="3438"/>
                  </a:lnTo>
                  <a:lnTo>
                    <a:pt x="4290" y="3441"/>
                  </a:lnTo>
                  <a:lnTo>
                    <a:pt x="4290" y="3441"/>
                  </a:lnTo>
                  <a:lnTo>
                    <a:pt x="4283" y="3440"/>
                  </a:lnTo>
                  <a:lnTo>
                    <a:pt x="4275" y="3440"/>
                  </a:lnTo>
                  <a:lnTo>
                    <a:pt x="4275" y="3440"/>
                  </a:lnTo>
                  <a:lnTo>
                    <a:pt x="4242" y="3441"/>
                  </a:lnTo>
                  <a:lnTo>
                    <a:pt x="4213" y="3441"/>
                  </a:lnTo>
                  <a:lnTo>
                    <a:pt x="4185" y="3440"/>
                  </a:lnTo>
                  <a:lnTo>
                    <a:pt x="4159" y="3437"/>
                  </a:lnTo>
                  <a:lnTo>
                    <a:pt x="4159" y="3437"/>
                  </a:lnTo>
                  <a:lnTo>
                    <a:pt x="4131" y="3432"/>
                  </a:lnTo>
                  <a:lnTo>
                    <a:pt x="4103" y="3427"/>
                  </a:lnTo>
                  <a:lnTo>
                    <a:pt x="4077" y="3420"/>
                  </a:lnTo>
                  <a:lnTo>
                    <a:pt x="4052" y="3413"/>
                  </a:lnTo>
                  <a:lnTo>
                    <a:pt x="4052" y="3413"/>
                  </a:lnTo>
                  <a:lnTo>
                    <a:pt x="4009" y="3398"/>
                  </a:lnTo>
                  <a:lnTo>
                    <a:pt x="3965" y="3379"/>
                  </a:lnTo>
                  <a:lnTo>
                    <a:pt x="3965" y="3379"/>
                  </a:lnTo>
                  <a:lnTo>
                    <a:pt x="3925" y="3359"/>
                  </a:lnTo>
                  <a:lnTo>
                    <a:pt x="3874" y="3331"/>
                  </a:lnTo>
                  <a:lnTo>
                    <a:pt x="3846" y="3314"/>
                  </a:lnTo>
                  <a:lnTo>
                    <a:pt x="3815" y="3294"/>
                  </a:lnTo>
                  <a:lnTo>
                    <a:pt x="3782" y="3274"/>
                  </a:lnTo>
                  <a:lnTo>
                    <a:pt x="3748" y="3250"/>
                  </a:lnTo>
                  <a:lnTo>
                    <a:pt x="3712" y="3226"/>
                  </a:lnTo>
                  <a:lnTo>
                    <a:pt x="3676" y="3198"/>
                  </a:lnTo>
                  <a:lnTo>
                    <a:pt x="3638" y="3170"/>
                  </a:lnTo>
                  <a:lnTo>
                    <a:pt x="3601" y="3139"/>
                  </a:lnTo>
                  <a:lnTo>
                    <a:pt x="3563" y="3106"/>
                  </a:lnTo>
                  <a:lnTo>
                    <a:pt x="3526" y="3071"/>
                  </a:lnTo>
                  <a:lnTo>
                    <a:pt x="3488" y="3035"/>
                  </a:lnTo>
                  <a:lnTo>
                    <a:pt x="3451" y="2997"/>
                  </a:lnTo>
                  <a:lnTo>
                    <a:pt x="3451" y="2997"/>
                  </a:lnTo>
                  <a:lnTo>
                    <a:pt x="3394" y="2933"/>
                  </a:lnTo>
                  <a:lnTo>
                    <a:pt x="3342" y="2874"/>
                  </a:lnTo>
                  <a:lnTo>
                    <a:pt x="3295" y="2819"/>
                  </a:lnTo>
                  <a:lnTo>
                    <a:pt x="3253" y="2769"/>
                  </a:lnTo>
                  <a:lnTo>
                    <a:pt x="3215" y="2722"/>
                  </a:lnTo>
                  <a:lnTo>
                    <a:pt x="3180" y="2679"/>
                  </a:lnTo>
                  <a:lnTo>
                    <a:pt x="3120" y="2602"/>
                  </a:lnTo>
                  <a:lnTo>
                    <a:pt x="3120" y="2602"/>
                  </a:lnTo>
                  <a:lnTo>
                    <a:pt x="3138" y="2609"/>
                  </a:lnTo>
                  <a:lnTo>
                    <a:pt x="3156" y="2615"/>
                  </a:lnTo>
                  <a:lnTo>
                    <a:pt x="3175" y="2620"/>
                  </a:lnTo>
                  <a:lnTo>
                    <a:pt x="3193" y="2625"/>
                  </a:lnTo>
                  <a:lnTo>
                    <a:pt x="3211" y="2628"/>
                  </a:lnTo>
                  <a:lnTo>
                    <a:pt x="3229" y="2630"/>
                  </a:lnTo>
                  <a:lnTo>
                    <a:pt x="3262" y="2633"/>
                  </a:lnTo>
                  <a:lnTo>
                    <a:pt x="3289" y="2633"/>
                  </a:lnTo>
                  <a:lnTo>
                    <a:pt x="3312" y="2632"/>
                  </a:lnTo>
                  <a:lnTo>
                    <a:pt x="3332" y="2630"/>
                  </a:lnTo>
                  <a:lnTo>
                    <a:pt x="3332" y="2630"/>
                  </a:lnTo>
                  <a:lnTo>
                    <a:pt x="3336" y="2580"/>
                  </a:lnTo>
                  <a:lnTo>
                    <a:pt x="3338" y="2535"/>
                  </a:lnTo>
                  <a:lnTo>
                    <a:pt x="3340" y="2495"/>
                  </a:lnTo>
                  <a:lnTo>
                    <a:pt x="3346" y="2360"/>
                  </a:lnTo>
                  <a:lnTo>
                    <a:pt x="3346" y="2360"/>
                  </a:lnTo>
                  <a:lnTo>
                    <a:pt x="3349" y="2323"/>
                  </a:lnTo>
                  <a:lnTo>
                    <a:pt x="3351" y="2288"/>
                  </a:lnTo>
                  <a:lnTo>
                    <a:pt x="3352" y="2251"/>
                  </a:lnTo>
                  <a:lnTo>
                    <a:pt x="3352" y="2251"/>
                  </a:lnTo>
                  <a:lnTo>
                    <a:pt x="3340" y="2250"/>
                  </a:lnTo>
                  <a:lnTo>
                    <a:pt x="3307" y="2246"/>
                  </a:lnTo>
                  <a:lnTo>
                    <a:pt x="3285" y="2243"/>
                  </a:lnTo>
                  <a:lnTo>
                    <a:pt x="3260" y="2238"/>
                  </a:lnTo>
                  <a:lnTo>
                    <a:pt x="3233" y="2233"/>
                  </a:lnTo>
                  <a:lnTo>
                    <a:pt x="3206" y="2226"/>
                  </a:lnTo>
                  <a:lnTo>
                    <a:pt x="3176" y="2217"/>
                  </a:lnTo>
                  <a:lnTo>
                    <a:pt x="3147" y="2206"/>
                  </a:lnTo>
                  <a:lnTo>
                    <a:pt x="3120" y="2194"/>
                  </a:lnTo>
                  <a:lnTo>
                    <a:pt x="3106" y="2188"/>
                  </a:lnTo>
                  <a:lnTo>
                    <a:pt x="3093" y="2181"/>
                  </a:lnTo>
                  <a:lnTo>
                    <a:pt x="3081" y="2173"/>
                  </a:lnTo>
                  <a:lnTo>
                    <a:pt x="3070" y="2164"/>
                  </a:lnTo>
                  <a:lnTo>
                    <a:pt x="3058" y="2155"/>
                  </a:lnTo>
                  <a:lnTo>
                    <a:pt x="3049" y="2146"/>
                  </a:lnTo>
                  <a:lnTo>
                    <a:pt x="3040" y="2136"/>
                  </a:lnTo>
                  <a:lnTo>
                    <a:pt x="3032" y="2125"/>
                  </a:lnTo>
                  <a:lnTo>
                    <a:pt x="3025" y="2113"/>
                  </a:lnTo>
                  <a:lnTo>
                    <a:pt x="3019" y="2101"/>
                  </a:lnTo>
                  <a:lnTo>
                    <a:pt x="3019" y="2101"/>
                  </a:lnTo>
                  <a:lnTo>
                    <a:pt x="3030" y="2107"/>
                  </a:lnTo>
                  <a:lnTo>
                    <a:pt x="3042" y="2112"/>
                  </a:lnTo>
                  <a:lnTo>
                    <a:pt x="3059" y="2119"/>
                  </a:lnTo>
                  <a:lnTo>
                    <a:pt x="3081" y="2127"/>
                  </a:lnTo>
                  <a:lnTo>
                    <a:pt x="3106" y="2134"/>
                  </a:lnTo>
                  <a:lnTo>
                    <a:pt x="3136" y="2139"/>
                  </a:lnTo>
                  <a:lnTo>
                    <a:pt x="3152" y="2141"/>
                  </a:lnTo>
                  <a:lnTo>
                    <a:pt x="3169" y="2142"/>
                  </a:lnTo>
                  <a:lnTo>
                    <a:pt x="3169" y="2142"/>
                  </a:lnTo>
                  <a:lnTo>
                    <a:pt x="3201" y="2143"/>
                  </a:lnTo>
                  <a:lnTo>
                    <a:pt x="3234" y="2143"/>
                  </a:lnTo>
                  <a:lnTo>
                    <a:pt x="3266" y="2141"/>
                  </a:lnTo>
                  <a:lnTo>
                    <a:pt x="3295" y="2139"/>
                  </a:lnTo>
                  <a:lnTo>
                    <a:pt x="3340" y="2133"/>
                  </a:lnTo>
                  <a:lnTo>
                    <a:pt x="3357" y="2131"/>
                  </a:lnTo>
                  <a:lnTo>
                    <a:pt x="3357" y="2131"/>
                  </a:lnTo>
                  <a:lnTo>
                    <a:pt x="3359" y="2125"/>
                  </a:lnTo>
                  <a:lnTo>
                    <a:pt x="3361" y="2113"/>
                  </a:lnTo>
                  <a:lnTo>
                    <a:pt x="3364" y="2083"/>
                  </a:lnTo>
                  <a:lnTo>
                    <a:pt x="3367" y="2043"/>
                  </a:lnTo>
                  <a:lnTo>
                    <a:pt x="3369" y="1999"/>
                  </a:lnTo>
                  <a:lnTo>
                    <a:pt x="3373" y="1919"/>
                  </a:lnTo>
                  <a:lnTo>
                    <a:pt x="3375" y="1884"/>
                  </a:lnTo>
                  <a:lnTo>
                    <a:pt x="3375" y="1884"/>
                  </a:lnTo>
                  <a:lnTo>
                    <a:pt x="3376" y="1856"/>
                  </a:lnTo>
                  <a:lnTo>
                    <a:pt x="3377" y="1816"/>
                  </a:lnTo>
                  <a:lnTo>
                    <a:pt x="3377" y="1767"/>
                  </a:lnTo>
                  <a:lnTo>
                    <a:pt x="3377" y="1767"/>
                  </a:lnTo>
                  <a:lnTo>
                    <a:pt x="3369" y="1769"/>
                  </a:lnTo>
                  <a:lnTo>
                    <a:pt x="3359" y="1770"/>
                  </a:lnTo>
                  <a:lnTo>
                    <a:pt x="3338" y="1772"/>
                  </a:lnTo>
                  <a:lnTo>
                    <a:pt x="3315" y="1771"/>
                  </a:lnTo>
                  <a:lnTo>
                    <a:pt x="3290" y="1769"/>
                  </a:lnTo>
                  <a:lnTo>
                    <a:pt x="3264" y="1766"/>
                  </a:lnTo>
                  <a:lnTo>
                    <a:pt x="3236" y="1762"/>
                  </a:lnTo>
                  <a:lnTo>
                    <a:pt x="3208" y="1756"/>
                  </a:lnTo>
                  <a:lnTo>
                    <a:pt x="3178" y="1748"/>
                  </a:lnTo>
                  <a:lnTo>
                    <a:pt x="3178" y="1748"/>
                  </a:lnTo>
                  <a:lnTo>
                    <a:pt x="3158" y="1742"/>
                  </a:lnTo>
                  <a:lnTo>
                    <a:pt x="3135" y="1733"/>
                  </a:lnTo>
                  <a:lnTo>
                    <a:pt x="3112" y="1721"/>
                  </a:lnTo>
                  <a:lnTo>
                    <a:pt x="3088" y="1706"/>
                  </a:lnTo>
                  <a:lnTo>
                    <a:pt x="3064" y="1690"/>
                  </a:lnTo>
                  <a:lnTo>
                    <a:pt x="3053" y="1681"/>
                  </a:lnTo>
                  <a:lnTo>
                    <a:pt x="3043" y="1672"/>
                  </a:lnTo>
                  <a:lnTo>
                    <a:pt x="3034" y="1661"/>
                  </a:lnTo>
                  <a:lnTo>
                    <a:pt x="3025" y="1652"/>
                  </a:lnTo>
                  <a:lnTo>
                    <a:pt x="3017" y="1642"/>
                  </a:lnTo>
                  <a:lnTo>
                    <a:pt x="3010" y="1631"/>
                  </a:lnTo>
                  <a:lnTo>
                    <a:pt x="3010" y="1631"/>
                  </a:lnTo>
                  <a:lnTo>
                    <a:pt x="3022" y="1636"/>
                  </a:lnTo>
                  <a:lnTo>
                    <a:pt x="3035" y="1640"/>
                  </a:lnTo>
                  <a:lnTo>
                    <a:pt x="3052" y="1646"/>
                  </a:lnTo>
                  <a:lnTo>
                    <a:pt x="3075" y="1652"/>
                  </a:lnTo>
                  <a:lnTo>
                    <a:pt x="3101" y="1658"/>
                  </a:lnTo>
                  <a:lnTo>
                    <a:pt x="3132" y="1665"/>
                  </a:lnTo>
                  <a:lnTo>
                    <a:pt x="3167" y="1670"/>
                  </a:lnTo>
                  <a:lnTo>
                    <a:pt x="3167" y="1670"/>
                  </a:lnTo>
                  <a:lnTo>
                    <a:pt x="3187" y="1672"/>
                  </a:lnTo>
                  <a:lnTo>
                    <a:pt x="3207" y="1673"/>
                  </a:lnTo>
                  <a:lnTo>
                    <a:pt x="3226" y="1674"/>
                  </a:lnTo>
                  <a:lnTo>
                    <a:pt x="3245" y="1674"/>
                  </a:lnTo>
                  <a:lnTo>
                    <a:pt x="3283" y="1672"/>
                  </a:lnTo>
                  <a:lnTo>
                    <a:pt x="3317" y="1669"/>
                  </a:lnTo>
                  <a:lnTo>
                    <a:pt x="3346" y="1663"/>
                  </a:lnTo>
                  <a:lnTo>
                    <a:pt x="3369" y="1658"/>
                  </a:lnTo>
                  <a:lnTo>
                    <a:pt x="3377" y="1655"/>
                  </a:lnTo>
                  <a:lnTo>
                    <a:pt x="3383" y="1653"/>
                  </a:lnTo>
                  <a:lnTo>
                    <a:pt x="3388" y="1650"/>
                  </a:lnTo>
                  <a:lnTo>
                    <a:pt x="3390" y="1647"/>
                  </a:lnTo>
                  <a:lnTo>
                    <a:pt x="3390" y="1647"/>
                  </a:lnTo>
                  <a:lnTo>
                    <a:pt x="3392" y="1621"/>
                  </a:lnTo>
                  <a:lnTo>
                    <a:pt x="3393" y="1587"/>
                  </a:lnTo>
                  <a:lnTo>
                    <a:pt x="3394" y="1510"/>
                  </a:lnTo>
                  <a:lnTo>
                    <a:pt x="3394" y="1412"/>
                  </a:lnTo>
                  <a:lnTo>
                    <a:pt x="3394" y="1412"/>
                  </a:lnTo>
                  <a:lnTo>
                    <a:pt x="3399" y="1348"/>
                  </a:lnTo>
                  <a:lnTo>
                    <a:pt x="3400" y="1304"/>
                  </a:lnTo>
                  <a:lnTo>
                    <a:pt x="3400" y="1289"/>
                  </a:lnTo>
                  <a:lnTo>
                    <a:pt x="3399" y="1285"/>
                  </a:lnTo>
                  <a:lnTo>
                    <a:pt x="3398" y="1284"/>
                  </a:lnTo>
                  <a:lnTo>
                    <a:pt x="3398" y="1284"/>
                  </a:lnTo>
                  <a:lnTo>
                    <a:pt x="3392" y="1284"/>
                  </a:lnTo>
                  <a:lnTo>
                    <a:pt x="3381" y="1285"/>
                  </a:lnTo>
                  <a:lnTo>
                    <a:pt x="3368" y="1285"/>
                  </a:lnTo>
                  <a:lnTo>
                    <a:pt x="3354" y="1284"/>
                  </a:lnTo>
                  <a:lnTo>
                    <a:pt x="3336" y="1282"/>
                  </a:lnTo>
                  <a:lnTo>
                    <a:pt x="3317" y="1279"/>
                  </a:lnTo>
                  <a:lnTo>
                    <a:pt x="3297" y="1274"/>
                  </a:lnTo>
                  <a:lnTo>
                    <a:pt x="3274" y="1269"/>
                  </a:lnTo>
                  <a:lnTo>
                    <a:pt x="3251" y="1261"/>
                  </a:lnTo>
                  <a:lnTo>
                    <a:pt x="3226" y="1251"/>
                  </a:lnTo>
                  <a:lnTo>
                    <a:pt x="3200" y="1240"/>
                  </a:lnTo>
                  <a:lnTo>
                    <a:pt x="3175" y="1226"/>
                  </a:lnTo>
                  <a:lnTo>
                    <a:pt x="3149" y="1210"/>
                  </a:lnTo>
                  <a:lnTo>
                    <a:pt x="3123" y="1191"/>
                  </a:lnTo>
                  <a:lnTo>
                    <a:pt x="3110" y="1181"/>
                  </a:lnTo>
                  <a:lnTo>
                    <a:pt x="3097" y="1170"/>
                  </a:lnTo>
                  <a:lnTo>
                    <a:pt x="3085" y="1157"/>
                  </a:lnTo>
                  <a:lnTo>
                    <a:pt x="3073" y="1145"/>
                  </a:lnTo>
                  <a:lnTo>
                    <a:pt x="3073" y="1145"/>
                  </a:lnTo>
                  <a:lnTo>
                    <a:pt x="3071" y="1143"/>
                  </a:lnTo>
                  <a:lnTo>
                    <a:pt x="3065" y="1138"/>
                  </a:lnTo>
                  <a:lnTo>
                    <a:pt x="3059" y="1129"/>
                  </a:lnTo>
                  <a:lnTo>
                    <a:pt x="3056" y="1123"/>
                  </a:lnTo>
                  <a:lnTo>
                    <a:pt x="3053" y="1116"/>
                  </a:lnTo>
                  <a:lnTo>
                    <a:pt x="3051" y="1109"/>
                  </a:lnTo>
                  <a:lnTo>
                    <a:pt x="3050" y="1101"/>
                  </a:lnTo>
                  <a:lnTo>
                    <a:pt x="3049" y="1092"/>
                  </a:lnTo>
                  <a:lnTo>
                    <a:pt x="3050" y="1082"/>
                  </a:lnTo>
                  <a:lnTo>
                    <a:pt x="3053" y="1072"/>
                  </a:lnTo>
                  <a:lnTo>
                    <a:pt x="3056" y="1060"/>
                  </a:lnTo>
                  <a:lnTo>
                    <a:pt x="3062" y="1048"/>
                  </a:lnTo>
                  <a:lnTo>
                    <a:pt x="3071" y="1035"/>
                  </a:lnTo>
                  <a:lnTo>
                    <a:pt x="3071" y="1035"/>
                  </a:lnTo>
                  <a:lnTo>
                    <a:pt x="2806" y="916"/>
                  </a:lnTo>
                  <a:lnTo>
                    <a:pt x="2806" y="916"/>
                  </a:lnTo>
                  <a:lnTo>
                    <a:pt x="2815" y="907"/>
                  </a:lnTo>
                  <a:lnTo>
                    <a:pt x="2824" y="896"/>
                  </a:lnTo>
                  <a:lnTo>
                    <a:pt x="2834" y="881"/>
                  </a:lnTo>
                  <a:lnTo>
                    <a:pt x="2845" y="865"/>
                  </a:lnTo>
                  <a:lnTo>
                    <a:pt x="2850" y="856"/>
                  </a:lnTo>
                  <a:lnTo>
                    <a:pt x="2854" y="847"/>
                  </a:lnTo>
                  <a:lnTo>
                    <a:pt x="2858" y="836"/>
                  </a:lnTo>
                  <a:lnTo>
                    <a:pt x="2861" y="826"/>
                  </a:lnTo>
                  <a:lnTo>
                    <a:pt x="2863" y="816"/>
                  </a:lnTo>
                  <a:lnTo>
                    <a:pt x="2863" y="806"/>
                  </a:lnTo>
                  <a:lnTo>
                    <a:pt x="2863" y="806"/>
                  </a:lnTo>
                  <a:lnTo>
                    <a:pt x="2863" y="794"/>
                  </a:lnTo>
                  <a:lnTo>
                    <a:pt x="2860" y="784"/>
                  </a:lnTo>
                  <a:lnTo>
                    <a:pt x="2855" y="774"/>
                  </a:lnTo>
                  <a:lnTo>
                    <a:pt x="2849" y="765"/>
                  </a:lnTo>
                  <a:lnTo>
                    <a:pt x="2841" y="756"/>
                  </a:lnTo>
                  <a:lnTo>
                    <a:pt x="2830" y="748"/>
                  </a:lnTo>
                  <a:lnTo>
                    <a:pt x="2820" y="741"/>
                  </a:lnTo>
                  <a:lnTo>
                    <a:pt x="2808" y="735"/>
                  </a:lnTo>
                  <a:lnTo>
                    <a:pt x="2795" y="730"/>
                  </a:lnTo>
                  <a:lnTo>
                    <a:pt x="2781" y="726"/>
                  </a:lnTo>
                  <a:lnTo>
                    <a:pt x="2767" y="722"/>
                  </a:lnTo>
                  <a:lnTo>
                    <a:pt x="2753" y="720"/>
                  </a:lnTo>
                  <a:lnTo>
                    <a:pt x="2738" y="718"/>
                  </a:lnTo>
                  <a:lnTo>
                    <a:pt x="2723" y="718"/>
                  </a:lnTo>
                  <a:lnTo>
                    <a:pt x="2709" y="719"/>
                  </a:lnTo>
                  <a:lnTo>
                    <a:pt x="2694" y="721"/>
                  </a:lnTo>
                  <a:lnTo>
                    <a:pt x="2694" y="721"/>
                  </a:lnTo>
                  <a:lnTo>
                    <a:pt x="2681" y="724"/>
                  </a:lnTo>
                  <a:lnTo>
                    <a:pt x="2669" y="728"/>
                  </a:lnTo>
                  <a:lnTo>
                    <a:pt x="2656" y="733"/>
                  </a:lnTo>
                  <a:lnTo>
                    <a:pt x="2644" y="739"/>
                  </a:lnTo>
                  <a:lnTo>
                    <a:pt x="2634" y="746"/>
                  </a:lnTo>
                  <a:lnTo>
                    <a:pt x="2623" y="754"/>
                  </a:lnTo>
                  <a:lnTo>
                    <a:pt x="2604" y="769"/>
                  </a:lnTo>
                  <a:lnTo>
                    <a:pt x="2589" y="784"/>
                  </a:lnTo>
                  <a:lnTo>
                    <a:pt x="2578" y="796"/>
                  </a:lnTo>
                  <a:lnTo>
                    <a:pt x="2569" y="809"/>
                  </a:lnTo>
                  <a:lnTo>
                    <a:pt x="2238" y="662"/>
                  </a:lnTo>
                  <a:lnTo>
                    <a:pt x="1977" y="925"/>
                  </a:lnTo>
                  <a:lnTo>
                    <a:pt x="1977" y="925"/>
                  </a:lnTo>
                  <a:lnTo>
                    <a:pt x="1972" y="930"/>
                  </a:lnTo>
                  <a:lnTo>
                    <a:pt x="1966" y="942"/>
                  </a:lnTo>
                  <a:lnTo>
                    <a:pt x="1963" y="949"/>
                  </a:lnTo>
                  <a:lnTo>
                    <a:pt x="1961" y="957"/>
                  </a:lnTo>
                  <a:lnTo>
                    <a:pt x="1960" y="966"/>
                  </a:lnTo>
                  <a:lnTo>
                    <a:pt x="1960" y="975"/>
                  </a:lnTo>
                  <a:lnTo>
                    <a:pt x="1964" y="999"/>
                  </a:lnTo>
                  <a:lnTo>
                    <a:pt x="1964" y="999"/>
                  </a:lnTo>
                  <a:lnTo>
                    <a:pt x="1964" y="1005"/>
                  </a:lnTo>
                  <a:lnTo>
                    <a:pt x="1963" y="1011"/>
                  </a:lnTo>
                  <a:lnTo>
                    <a:pt x="1962" y="1016"/>
                  </a:lnTo>
                  <a:lnTo>
                    <a:pt x="1961" y="1020"/>
                  </a:lnTo>
                  <a:lnTo>
                    <a:pt x="1957" y="1028"/>
                  </a:lnTo>
                  <a:lnTo>
                    <a:pt x="1955" y="1032"/>
                  </a:lnTo>
                  <a:lnTo>
                    <a:pt x="1955" y="1032"/>
                  </a:lnTo>
                  <a:lnTo>
                    <a:pt x="1936" y="1054"/>
                  </a:lnTo>
                  <a:lnTo>
                    <a:pt x="1916" y="1078"/>
                  </a:lnTo>
                  <a:lnTo>
                    <a:pt x="1896" y="1100"/>
                  </a:lnTo>
                  <a:lnTo>
                    <a:pt x="1876" y="1123"/>
                  </a:lnTo>
                  <a:lnTo>
                    <a:pt x="1876" y="1123"/>
                  </a:lnTo>
                  <a:lnTo>
                    <a:pt x="1847" y="1161"/>
                  </a:lnTo>
                  <a:lnTo>
                    <a:pt x="1836" y="1177"/>
                  </a:lnTo>
                  <a:lnTo>
                    <a:pt x="1828" y="1189"/>
                  </a:lnTo>
                  <a:lnTo>
                    <a:pt x="1828" y="1189"/>
                  </a:lnTo>
                  <a:lnTo>
                    <a:pt x="1819" y="1204"/>
                  </a:lnTo>
                  <a:lnTo>
                    <a:pt x="1811" y="1220"/>
                  </a:lnTo>
                  <a:lnTo>
                    <a:pt x="1799" y="1245"/>
                  </a:lnTo>
                  <a:lnTo>
                    <a:pt x="1789" y="1269"/>
                  </a:lnTo>
                  <a:lnTo>
                    <a:pt x="1781" y="1290"/>
                  </a:lnTo>
                  <a:lnTo>
                    <a:pt x="1781" y="1290"/>
                  </a:lnTo>
                  <a:lnTo>
                    <a:pt x="1780" y="1293"/>
                  </a:lnTo>
                  <a:lnTo>
                    <a:pt x="1778" y="1304"/>
                  </a:lnTo>
                  <a:lnTo>
                    <a:pt x="1778" y="1311"/>
                  </a:lnTo>
                  <a:lnTo>
                    <a:pt x="1777" y="1319"/>
                  </a:lnTo>
                  <a:lnTo>
                    <a:pt x="1778" y="1328"/>
                  </a:lnTo>
                  <a:lnTo>
                    <a:pt x="1780" y="1339"/>
                  </a:lnTo>
                  <a:lnTo>
                    <a:pt x="1784" y="1352"/>
                  </a:lnTo>
                  <a:lnTo>
                    <a:pt x="1789" y="1365"/>
                  </a:lnTo>
                  <a:lnTo>
                    <a:pt x="1797" y="1378"/>
                  </a:lnTo>
                  <a:lnTo>
                    <a:pt x="1807" y="1394"/>
                  </a:lnTo>
                  <a:lnTo>
                    <a:pt x="1819" y="1410"/>
                  </a:lnTo>
                  <a:lnTo>
                    <a:pt x="1833" y="1426"/>
                  </a:lnTo>
                  <a:lnTo>
                    <a:pt x="1852" y="1444"/>
                  </a:lnTo>
                  <a:lnTo>
                    <a:pt x="1874" y="1462"/>
                  </a:lnTo>
                  <a:lnTo>
                    <a:pt x="1881" y="1468"/>
                  </a:lnTo>
                  <a:lnTo>
                    <a:pt x="1881" y="1468"/>
                  </a:lnTo>
                  <a:lnTo>
                    <a:pt x="1894" y="1451"/>
                  </a:lnTo>
                  <a:lnTo>
                    <a:pt x="1905" y="1462"/>
                  </a:lnTo>
                  <a:lnTo>
                    <a:pt x="1905" y="1462"/>
                  </a:lnTo>
                  <a:lnTo>
                    <a:pt x="1914" y="1471"/>
                  </a:lnTo>
                  <a:lnTo>
                    <a:pt x="1926" y="1482"/>
                  </a:lnTo>
                  <a:lnTo>
                    <a:pt x="1941" y="1494"/>
                  </a:lnTo>
                  <a:lnTo>
                    <a:pt x="1957" y="1504"/>
                  </a:lnTo>
                  <a:lnTo>
                    <a:pt x="1957" y="1504"/>
                  </a:lnTo>
                  <a:lnTo>
                    <a:pt x="1959" y="1497"/>
                  </a:lnTo>
                  <a:lnTo>
                    <a:pt x="1964" y="1477"/>
                  </a:lnTo>
                  <a:lnTo>
                    <a:pt x="1969" y="1464"/>
                  </a:lnTo>
                  <a:lnTo>
                    <a:pt x="1975" y="1451"/>
                  </a:lnTo>
                  <a:lnTo>
                    <a:pt x="1983" y="1437"/>
                  </a:lnTo>
                  <a:lnTo>
                    <a:pt x="1991" y="1422"/>
                  </a:lnTo>
                  <a:lnTo>
                    <a:pt x="1991" y="1422"/>
                  </a:lnTo>
                  <a:lnTo>
                    <a:pt x="2000" y="1410"/>
                  </a:lnTo>
                  <a:lnTo>
                    <a:pt x="2011" y="1398"/>
                  </a:lnTo>
                  <a:lnTo>
                    <a:pt x="2025" y="1384"/>
                  </a:lnTo>
                  <a:lnTo>
                    <a:pt x="2038" y="1371"/>
                  </a:lnTo>
                  <a:lnTo>
                    <a:pt x="2052" y="1359"/>
                  </a:lnTo>
                  <a:lnTo>
                    <a:pt x="2065" y="1348"/>
                  </a:lnTo>
                  <a:lnTo>
                    <a:pt x="2080" y="1337"/>
                  </a:lnTo>
                  <a:lnTo>
                    <a:pt x="2092" y="1329"/>
                  </a:lnTo>
                  <a:lnTo>
                    <a:pt x="2092" y="1329"/>
                  </a:lnTo>
                  <a:lnTo>
                    <a:pt x="2107" y="1320"/>
                  </a:lnTo>
                  <a:lnTo>
                    <a:pt x="2123" y="1312"/>
                  </a:lnTo>
                  <a:lnTo>
                    <a:pt x="2138" y="1305"/>
                  </a:lnTo>
                  <a:lnTo>
                    <a:pt x="2154" y="1298"/>
                  </a:lnTo>
                  <a:lnTo>
                    <a:pt x="2170" y="1294"/>
                  </a:lnTo>
                  <a:lnTo>
                    <a:pt x="2186" y="1291"/>
                  </a:lnTo>
                  <a:lnTo>
                    <a:pt x="2202" y="1288"/>
                  </a:lnTo>
                  <a:lnTo>
                    <a:pt x="2220" y="1287"/>
                  </a:lnTo>
                  <a:lnTo>
                    <a:pt x="2220" y="1287"/>
                  </a:lnTo>
                  <a:lnTo>
                    <a:pt x="2234" y="1288"/>
                  </a:lnTo>
                  <a:lnTo>
                    <a:pt x="2247" y="1289"/>
                  </a:lnTo>
                  <a:lnTo>
                    <a:pt x="2261" y="1292"/>
                  </a:lnTo>
                  <a:lnTo>
                    <a:pt x="2272" y="1297"/>
                  </a:lnTo>
                  <a:lnTo>
                    <a:pt x="2283" y="1304"/>
                  </a:lnTo>
                  <a:lnTo>
                    <a:pt x="2295" y="1311"/>
                  </a:lnTo>
                  <a:lnTo>
                    <a:pt x="2305" y="1320"/>
                  </a:lnTo>
                  <a:lnTo>
                    <a:pt x="2316" y="1330"/>
                  </a:lnTo>
                  <a:lnTo>
                    <a:pt x="2316" y="1330"/>
                  </a:lnTo>
                  <a:lnTo>
                    <a:pt x="2323" y="1338"/>
                  </a:lnTo>
                  <a:lnTo>
                    <a:pt x="2330" y="1349"/>
                  </a:lnTo>
                  <a:lnTo>
                    <a:pt x="2336" y="1360"/>
                  </a:lnTo>
                  <a:lnTo>
                    <a:pt x="2342" y="1372"/>
                  </a:lnTo>
                  <a:lnTo>
                    <a:pt x="2347" y="1384"/>
                  </a:lnTo>
                  <a:lnTo>
                    <a:pt x="2351" y="1398"/>
                  </a:lnTo>
                  <a:lnTo>
                    <a:pt x="2355" y="1412"/>
                  </a:lnTo>
                  <a:lnTo>
                    <a:pt x="2358" y="1426"/>
                  </a:lnTo>
                  <a:lnTo>
                    <a:pt x="2360" y="1440"/>
                  </a:lnTo>
                  <a:lnTo>
                    <a:pt x="2362" y="1454"/>
                  </a:lnTo>
                  <a:lnTo>
                    <a:pt x="2363" y="1467"/>
                  </a:lnTo>
                  <a:lnTo>
                    <a:pt x="2364" y="1480"/>
                  </a:lnTo>
                  <a:lnTo>
                    <a:pt x="2364" y="1493"/>
                  </a:lnTo>
                  <a:lnTo>
                    <a:pt x="2363" y="1504"/>
                  </a:lnTo>
                  <a:lnTo>
                    <a:pt x="2361" y="1514"/>
                  </a:lnTo>
                  <a:lnTo>
                    <a:pt x="2359" y="1523"/>
                  </a:lnTo>
                  <a:lnTo>
                    <a:pt x="2359" y="1523"/>
                  </a:lnTo>
                  <a:lnTo>
                    <a:pt x="2330" y="1505"/>
                  </a:lnTo>
                  <a:lnTo>
                    <a:pt x="2330" y="1505"/>
                  </a:lnTo>
                  <a:lnTo>
                    <a:pt x="2309" y="1494"/>
                  </a:lnTo>
                  <a:lnTo>
                    <a:pt x="2281" y="1484"/>
                  </a:lnTo>
                  <a:lnTo>
                    <a:pt x="2266" y="1477"/>
                  </a:lnTo>
                  <a:lnTo>
                    <a:pt x="2251" y="1473"/>
                  </a:lnTo>
                  <a:lnTo>
                    <a:pt x="2233" y="1469"/>
                  </a:lnTo>
                  <a:lnTo>
                    <a:pt x="2215" y="1465"/>
                  </a:lnTo>
                  <a:lnTo>
                    <a:pt x="2195" y="1463"/>
                  </a:lnTo>
                  <a:lnTo>
                    <a:pt x="2175" y="1462"/>
                  </a:lnTo>
                  <a:lnTo>
                    <a:pt x="2154" y="1462"/>
                  </a:lnTo>
                  <a:lnTo>
                    <a:pt x="2132" y="1464"/>
                  </a:lnTo>
                  <a:lnTo>
                    <a:pt x="2109" y="1467"/>
                  </a:lnTo>
                  <a:lnTo>
                    <a:pt x="2086" y="1472"/>
                  </a:lnTo>
                  <a:lnTo>
                    <a:pt x="2062" y="1480"/>
                  </a:lnTo>
                  <a:lnTo>
                    <a:pt x="2037" y="1491"/>
                  </a:lnTo>
                  <a:lnTo>
                    <a:pt x="2037" y="1491"/>
                  </a:lnTo>
                  <a:lnTo>
                    <a:pt x="1995" y="1509"/>
                  </a:lnTo>
                  <a:lnTo>
                    <a:pt x="1967" y="1521"/>
                  </a:lnTo>
                  <a:lnTo>
                    <a:pt x="1936" y="1534"/>
                  </a:lnTo>
                  <a:lnTo>
                    <a:pt x="1900" y="1548"/>
                  </a:lnTo>
                  <a:lnTo>
                    <a:pt x="1860" y="1562"/>
                  </a:lnTo>
                  <a:lnTo>
                    <a:pt x="1814" y="1578"/>
                  </a:lnTo>
                  <a:lnTo>
                    <a:pt x="1764" y="1593"/>
                  </a:lnTo>
                  <a:lnTo>
                    <a:pt x="1764" y="1593"/>
                  </a:lnTo>
                  <a:lnTo>
                    <a:pt x="1737" y="1600"/>
                  </a:lnTo>
                  <a:lnTo>
                    <a:pt x="1725" y="1602"/>
                  </a:lnTo>
                  <a:lnTo>
                    <a:pt x="1713" y="1603"/>
                  </a:lnTo>
                  <a:lnTo>
                    <a:pt x="1701" y="1603"/>
                  </a:lnTo>
                  <a:lnTo>
                    <a:pt x="1691" y="1603"/>
                  </a:lnTo>
                  <a:lnTo>
                    <a:pt x="1681" y="1602"/>
                  </a:lnTo>
                  <a:lnTo>
                    <a:pt x="1672" y="1600"/>
                  </a:lnTo>
                  <a:lnTo>
                    <a:pt x="1664" y="1597"/>
                  </a:lnTo>
                  <a:lnTo>
                    <a:pt x="1655" y="1592"/>
                  </a:lnTo>
                  <a:lnTo>
                    <a:pt x="1649" y="1587"/>
                  </a:lnTo>
                  <a:lnTo>
                    <a:pt x="1642" y="1581"/>
                  </a:lnTo>
                  <a:lnTo>
                    <a:pt x="1637" y="1574"/>
                  </a:lnTo>
                  <a:lnTo>
                    <a:pt x="1633" y="1564"/>
                  </a:lnTo>
                  <a:lnTo>
                    <a:pt x="1629" y="1554"/>
                  </a:lnTo>
                  <a:lnTo>
                    <a:pt x="1626" y="1543"/>
                  </a:lnTo>
                  <a:lnTo>
                    <a:pt x="1626" y="1543"/>
                  </a:lnTo>
                  <a:lnTo>
                    <a:pt x="1624" y="1533"/>
                  </a:lnTo>
                  <a:lnTo>
                    <a:pt x="1623" y="1522"/>
                  </a:lnTo>
                  <a:lnTo>
                    <a:pt x="1623" y="1513"/>
                  </a:lnTo>
                  <a:lnTo>
                    <a:pt x="1623" y="1504"/>
                  </a:lnTo>
                  <a:lnTo>
                    <a:pt x="1625" y="1488"/>
                  </a:lnTo>
                  <a:lnTo>
                    <a:pt x="1629" y="1473"/>
                  </a:lnTo>
                  <a:lnTo>
                    <a:pt x="1633" y="1462"/>
                  </a:lnTo>
                  <a:lnTo>
                    <a:pt x="1636" y="1454"/>
                  </a:lnTo>
                  <a:lnTo>
                    <a:pt x="1640" y="1446"/>
                  </a:lnTo>
                  <a:lnTo>
                    <a:pt x="1640" y="1446"/>
                  </a:lnTo>
                  <a:lnTo>
                    <a:pt x="1636" y="1447"/>
                  </a:lnTo>
                  <a:lnTo>
                    <a:pt x="1626" y="1450"/>
                  </a:lnTo>
                  <a:lnTo>
                    <a:pt x="1610" y="1456"/>
                  </a:lnTo>
                  <a:lnTo>
                    <a:pt x="1601" y="1459"/>
                  </a:lnTo>
                  <a:lnTo>
                    <a:pt x="1592" y="1464"/>
                  </a:lnTo>
                  <a:lnTo>
                    <a:pt x="1582" y="1470"/>
                  </a:lnTo>
                  <a:lnTo>
                    <a:pt x="1573" y="1476"/>
                  </a:lnTo>
                  <a:lnTo>
                    <a:pt x="1563" y="1485"/>
                  </a:lnTo>
                  <a:lnTo>
                    <a:pt x="1554" y="1494"/>
                  </a:lnTo>
                  <a:lnTo>
                    <a:pt x="1546" y="1504"/>
                  </a:lnTo>
                  <a:lnTo>
                    <a:pt x="1539" y="1515"/>
                  </a:lnTo>
                  <a:lnTo>
                    <a:pt x="1533" y="1529"/>
                  </a:lnTo>
                  <a:lnTo>
                    <a:pt x="1528" y="1543"/>
                  </a:lnTo>
                  <a:lnTo>
                    <a:pt x="1528" y="1543"/>
                  </a:lnTo>
                  <a:lnTo>
                    <a:pt x="1525" y="1558"/>
                  </a:lnTo>
                  <a:lnTo>
                    <a:pt x="1523" y="1574"/>
                  </a:lnTo>
                  <a:lnTo>
                    <a:pt x="1523" y="1589"/>
                  </a:lnTo>
                  <a:lnTo>
                    <a:pt x="1523" y="1603"/>
                  </a:lnTo>
                  <a:lnTo>
                    <a:pt x="1524" y="1616"/>
                  </a:lnTo>
                  <a:lnTo>
                    <a:pt x="1527" y="1631"/>
                  </a:lnTo>
                  <a:lnTo>
                    <a:pt x="1531" y="1643"/>
                  </a:lnTo>
                  <a:lnTo>
                    <a:pt x="1536" y="1655"/>
                  </a:lnTo>
                  <a:lnTo>
                    <a:pt x="1542" y="1668"/>
                  </a:lnTo>
                  <a:lnTo>
                    <a:pt x="1549" y="1678"/>
                  </a:lnTo>
                  <a:lnTo>
                    <a:pt x="1557" y="1688"/>
                  </a:lnTo>
                  <a:lnTo>
                    <a:pt x="1568" y="1696"/>
                  </a:lnTo>
                  <a:lnTo>
                    <a:pt x="1578" y="1704"/>
                  </a:lnTo>
                  <a:lnTo>
                    <a:pt x="1590" y="1711"/>
                  </a:lnTo>
                  <a:lnTo>
                    <a:pt x="1602" y="1717"/>
                  </a:lnTo>
                  <a:lnTo>
                    <a:pt x="1617" y="1721"/>
                  </a:lnTo>
                  <a:lnTo>
                    <a:pt x="1617" y="1721"/>
                  </a:lnTo>
                  <a:lnTo>
                    <a:pt x="1630" y="1724"/>
                  </a:lnTo>
                  <a:lnTo>
                    <a:pt x="1644" y="1725"/>
                  </a:lnTo>
                  <a:lnTo>
                    <a:pt x="1660" y="1724"/>
                  </a:lnTo>
                  <a:lnTo>
                    <a:pt x="1676" y="1722"/>
                  </a:lnTo>
                  <a:lnTo>
                    <a:pt x="1692" y="1720"/>
                  </a:lnTo>
                  <a:lnTo>
                    <a:pt x="1710" y="1716"/>
                  </a:lnTo>
                  <a:lnTo>
                    <a:pt x="1727" y="1711"/>
                  </a:lnTo>
                  <a:lnTo>
                    <a:pt x="1744" y="1705"/>
                  </a:lnTo>
                  <a:lnTo>
                    <a:pt x="1779" y="1691"/>
                  </a:lnTo>
                  <a:lnTo>
                    <a:pt x="1815" y="1676"/>
                  </a:lnTo>
                  <a:lnTo>
                    <a:pt x="1849" y="1659"/>
                  </a:lnTo>
                  <a:lnTo>
                    <a:pt x="1880" y="1643"/>
                  </a:lnTo>
                  <a:lnTo>
                    <a:pt x="1880" y="1643"/>
                  </a:lnTo>
                  <a:lnTo>
                    <a:pt x="1942" y="1611"/>
                  </a:lnTo>
                  <a:lnTo>
                    <a:pt x="1979" y="1593"/>
                  </a:lnTo>
                  <a:lnTo>
                    <a:pt x="2013" y="1577"/>
                  </a:lnTo>
                  <a:lnTo>
                    <a:pt x="2013" y="1577"/>
                  </a:lnTo>
                  <a:lnTo>
                    <a:pt x="2041" y="1565"/>
                  </a:lnTo>
                  <a:lnTo>
                    <a:pt x="2054" y="1561"/>
                  </a:lnTo>
                  <a:lnTo>
                    <a:pt x="2068" y="1557"/>
                  </a:lnTo>
                  <a:lnTo>
                    <a:pt x="2081" y="1554"/>
                  </a:lnTo>
                  <a:lnTo>
                    <a:pt x="2093" y="1552"/>
                  </a:lnTo>
                  <a:lnTo>
                    <a:pt x="2105" y="1550"/>
                  </a:lnTo>
                  <a:lnTo>
                    <a:pt x="2119" y="1550"/>
                  </a:lnTo>
                  <a:lnTo>
                    <a:pt x="2131" y="1550"/>
                  </a:lnTo>
                  <a:lnTo>
                    <a:pt x="2143" y="1551"/>
                  </a:lnTo>
                  <a:lnTo>
                    <a:pt x="2156" y="1553"/>
                  </a:lnTo>
                  <a:lnTo>
                    <a:pt x="2170" y="1555"/>
                  </a:lnTo>
                  <a:lnTo>
                    <a:pt x="2183" y="1559"/>
                  </a:lnTo>
                  <a:lnTo>
                    <a:pt x="2196" y="1563"/>
                  </a:lnTo>
                  <a:lnTo>
                    <a:pt x="2211" y="1569"/>
                  </a:lnTo>
                  <a:lnTo>
                    <a:pt x="2226" y="1576"/>
                  </a:lnTo>
                  <a:lnTo>
                    <a:pt x="2226" y="1576"/>
                  </a:lnTo>
                  <a:lnTo>
                    <a:pt x="2246" y="1586"/>
                  </a:lnTo>
                  <a:lnTo>
                    <a:pt x="2265" y="1596"/>
                  </a:lnTo>
                  <a:lnTo>
                    <a:pt x="2281" y="1607"/>
                  </a:lnTo>
                  <a:lnTo>
                    <a:pt x="2295" y="1616"/>
                  </a:lnTo>
                  <a:lnTo>
                    <a:pt x="2305" y="1626"/>
                  </a:lnTo>
                  <a:lnTo>
                    <a:pt x="2312" y="1633"/>
                  </a:lnTo>
                  <a:lnTo>
                    <a:pt x="2319" y="1639"/>
                  </a:lnTo>
                  <a:lnTo>
                    <a:pt x="2319" y="1639"/>
                  </a:lnTo>
                  <a:lnTo>
                    <a:pt x="2317" y="1642"/>
                  </a:lnTo>
                  <a:lnTo>
                    <a:pt x="2313" y="1649"/>
                  </a:lnTo>
                  <a:lnTo>
                    <a:pt x="2305" y="1660"/>
                  </a:lnTo>
                  <a:lnTo>
                    <a:pt x="2300" y="1667"/>
                  </a:lnTo>
                  <a:lnTo>
                    <a:pt x="2293" y="1674"/>
                  </a:lnTo>
                  <a:lnTo>
                    <a:pt x="2285" y="1680"/>
                  </a:lnTo>
                  <a:lnTo>
                    <a:pt x="2276" y="1687"/>
                  </a:lnTo>
                  <a:lnTo>
                    <a:pt x="2267" y="1693"/>
                  </a:lnTo>
                  <a:lnTo>
                    <a:pt x="2255" y="1698"/>
                  </a:lnTo>
                  <a:lnTo>
                    <a:pt x="2242" y="1703"/>
                  </a:lnTo>
                  <a:lnTo>
                    <a:pt x="2228" y="1707"/>
                  </a:lnTo>
                  <a:lnTo>
                    <a:pt x="2212" y="1711"/>
                  </a:lnTo>
                  <a:lnTo>
                    <a:pt x="2194" y="1712"/>
                  </a:lnTo>
                  <a:lnTo>
                    <a:pt x="2194" y="1712"/>
                  </a:lnTo>
                  <a:lnTo>
                    <a:pt x="2180" y="1713"/>
                  </a:lnTo>
                  <a:lnTo>
                    <a:pt x="2166" y="1712"/>
                  </a:lnTo>
                  <a:lnTo>
                    <a:pt x="2152" y="1710"/>
                  </a:lnTo>
                  <a:lnTo>
                    <a:pt x="2139" y="1706"/>
                  </a:lnTo>
                  <a:lnTo>
                    <a:pt x="2127" y="1703"/>
                  </a:lnTo>
                  <a:lnTo>
                    <a:pt x="2115" y="1699"/>
                  </a:lnTo>
                  <a:lnTo>
                    <a:pt x="2103" y="1695"/>
                  </a:lnTo>
                  <a:lnTo>
                    <a:pt x="2092" y="1689"/>
                  </a:lnTo>
                  <a:lnTo>
                    <a:pt x="2082" y="1684"/>
                  </a:lnTo>
                  <a:lnTo>
                    <a:pt x="2073" y="1678"/>
                  </a:lnTo>
                  <a:lnTo>
                    <a:pt x="2064" y="1672"/>
                  </a:lnTo>
                  <a:lnTo>
                    <a:pt x="2056" y="1665"/>
                  </a:lnTo>
                  <a:lnTo>
                    <a:pt x="2048" y="1657"/>
                  </a:lnTo>
                  <a:lnTo>
                    <a:pt x="2042" y="1650"/>
                  </a:lnTo>
                  <a:lnTo>
                    <a:pt x="2036" y="1643"/>
                  </a:lnTo>
                  <a:lnTo>
                    <a:pt x="2031" y="1636"/>
                  </a:lnTo>
                  <a:lnTo>
                    <a:pt x="2031" y="1636"/>
                  </a:lnTo>
                  <a:lnTo>
                    <a:pt x="2022" y="1658"/>
                  </a:lnTo>
                  <a:lnTo>
                    <a:pt x="2013" y="1676"/>
                  </a:lnTo>
                  <a:lnTo>
                    <a:pt x="2007" y="1689"/>
                  </a:lnTo>
                  <a:lnTo>
                    <a:pt x="2007" y="1689"/>
                  </a:lnTo>
                  <a:lnTo>
                    <a:pt x="2003" y="1697"/>
                  </a:lnTo>
                  <a:lnTo>
                    <a:pt x="2000" y="1704"/>
                  </a:lnTo>
                  <a:lnTo>
                    <a:pt x="1998" y="1713"/>
                  </a:lnTo>
                  <a:lnTo>
                    <a:pt x="1997" y="1719"/>
                  </a:lnTo>
                  <a:lnTo>
                    <a:pt x="1997" y="1726"/>
                  </a:lnTo>
                  <a:lnTo>
                    <a:pt x="1997" y="1732"/>
                  </a:lnTo>
                  <a:lnTo>
                    <a:pt x="1999" y="1744"/>
                  </a:lnTo>
                  <a:lnTo>
                    <a:pt x="2001" y="1756"/>
                  </a:lnTo>
                  <a:lnTo>
                    <a:pt x="2003" y="1766"/>
                  </a:lnTo>
                  <a:lnTo>
                    <a:pt x="2004" y="1777"/>
                  </a:lnTo>
                  <a:lnTo>
                    <a:pt x="2003" y="1783"/>
                  </a:lnTo>
                  <a:lnTo>
                    <a:pt x="2001" y="1788"/>
                  </a:lnTo>
                  <a:lnTo>
                    <a:pt x="2001" y="1788"/>
                  </a:lnTo>
                  <a:lnTo>
                    <a:pt x="1999" y="1794"/>
                  </a:lnTo>
                  <a:lnTo>
                    <a:pt x="1995" y="1800"/>
                  </a:lnTo>
                  <a:lnTo>
                    <a:pt x="1986" y="1813"/>
                  </a:lnTo>
                  <a:lnTo>
                    <a:pt x="1973" y="1825"/>
                  </a:lnTo>
                  <a:lnTo>
                    <a:pt x="1960" y="1837"/>
                  </a:lnTo>
                  <a:lnTo>
                    <a:pt x="1945" y="1849"/>
                  </a:lnTo>
                  <a:lnTo>
                    <a:pt x="1931" y="1860"/>
                  </a:lnTo>
                  <a:lnTo>
                    <a:pt x="1904" y="1878"/>
                  </a:lnTo>
                  <a:lnTo>
                    <a:pt x="1904" y="1878"/>
                  </a:lnTo>
                  <a:lnTo>
                    <a:pt x="1886" y="1889"/>
                  </a:lnTo>
                  <a:lnTo>
                    <a:pt x="1864" y="1901"/>
                  </a:lnTo>
                  <a:lnTo>
                    <a:pt x="1842" y="1911"/>
                  </a:lnTo>
                  <a:lnTo>
                    <a:pt x="1819" y="1919"/>
                  </a:lnTo>
                  <a:lnTo>
                    <a:pt x="1798" y="1926"/>
                  </a:lnTo>
                  <a:lnTo>
                    <a:pt x="1779" y="1932"/>
                  </a:lnTo>
                  <a:lnTo>
                    <a:pt x="1754" y="1940"/>
                  </a:lnTo>
                  <a:lnTo>
                    <a:pt x="1754" y="1940"/>
                  </a:lnTo>
                  <a:lnTo>
                    <a:pt x="1779" y="1998"/>
                  </a:lnTo>
                  <a:lnTo>
                    <a:pt x="1811" y="2066"/>
                  </a:lnTo>
                  <a:lnTo>
                    <a:pt x="1811" y="2066"/>
                  </a:lnTo>
                  <a:lnTo>
                    <a:pt x="1833" y="2111"/>
                  </a:lnTo>
                  <a:lnTo>
                    <a:pt x="1862" y="2166"/>
                  </a:lnTo>
                  <a:lnTo>
                    <a:pt x="1877" y="2193"/>
                  </a:lnTo>
                  <a:lnTo>
                    <a:pt x="1893" y="2219"/>
                  </a:lnTo>
                  <a:lnTo>
                    <a:pt x="1909" y="2240"/>
                  </a:lnTo>
                  <a:lnTo>
                    <a:pt x="1916" y="2250"/>
                  </a:lnTo>
                  <a:lnTo>
                    <a:pt x="1924" y="2259"/>
                  </a:lnTo>
                  <a:lnTo>
                    <a:pt x="1924" y="2259"/>
                  </a:lnTo>
                  <a:lnTo>
                    <a:pt x="1940" y="2254"/>
                  </a:lnTo>
                  <a:lnTo>
                    <a:pt x="1957" y="2249"/>
                  </a:lnTo>
                  <a:lnTo>
                    <a:pt x="1980" y="2243"/>
                  </a:lnTo>
                  <a:lnTo>
                    <a:pt x="2004" y="2235"/>
                  </a:lnTo>
                  <a:lnTo>
                    <a:pt x="2031" y="2225"/>
                  </a:lnTo>
                  <a:lnTo>
                    <a:pt x="2057" y="2213"/>
                  </a:lnTo>
                  <a:lnTo>
                    <a:pt x="2071" y="2206"/>
                  </a:lnTo>
                  <a:lnTo>
                    <a:pt x="2083" y="2199"/>
                  </a:lnTo>
                  <a:lnTo>
                    <a:pt x="2083" y="2199"/>
                  </a:lnTo>
                  <a:lnTo>
                    <a:pt x="2105" y="2186"/>
                  </a:lnTo>
                  <a:lnTo>
                    <a:pt x="2126" y="2172"/>
                  </a:lnTo>
                  <a:lnTo>
                    <a:pt x="2145" y="2157"/>
                  </a:lnTo>
                  <a:lnTo>
                    <a:pt x="2162" y="2142"/>
                  </a:lnTo>
                  <a:lnTo>
                    <a:pt x="2177" y="2128"/>
                  </a:lnTo>
                  <a:lnTo>
                    <a:pt x="2189" y="2113"/>
                  </a:lnTo>
                  <a:lnTo>
                    <a:pt x="2199" y="2099"/>
                  </a:lnTo>
                  <a:lnTo>
                    <a:pt x="2207" y="2086"/>
                  </a:lnTo>
                  <a:lnTo>
                    <a:pt x="2207" y="2086"/>
                  </a:lnTo>
                  <a:lnTo>
                    <a:pt x="2190" y="2122"/>
                  </a:lnTo>
                  <a:lnTo>
                    <a:pt x="2175" y="2155"/>
                  </a:lnTo>
                  <a:lnTo>
                    <a:pt x="2161" y="2185"/>
                  </a:lnTo>
                  <a:lnTo>
                    <a:pt x="2146" y="2213"/>
                  </a:lnTo>
                  <a:lnTo>
                    <a:pt x="2132" y="2238"/>
                  </a:lnTo>
                  <a:lnTo>
                    <a:pt x="2119" y="2261"/>
                  </a:lnTo>
                  <a:lnTo>
                    <a:pt x="2105" y="2281"/>
                  </a:lnTo>
                  <a:lnTo>
                    <a:pt x="2092" y="2299"/>
                  </a:lnTo>
                  <a:lnTo>
                    <a:pt x="2080" y="2317"/>
                  </a:lnTo>
                  <a:lnTo>
                    <a:pt x="2068" y="2331"/>
                  </a:lnTo>
                  <a:lnTo>
                    <a:pt x="2055" y="2344"/>
                  </a:lnTo>
                  <a:lnTo>
                    <a:pt x="2044" y="2356"/>
                  </a:lnTo>
                  <a:lnTo>
                    <a:pt x="2033" y="2367"/>
                  </a:lnTo>
                  <a:lnTo>
                    <a:pt x="2022" y="2376"/>
                  </a:lnTo>
                  <a:lnTo>
                    <a:pt x="2011" y="2383"/>
                  </a:lnTo>
                  <a:lnTo>
                    <a:pt x="2000" y="2391"/>
                  </a:lnTo>
                  <a:lnTo>
                    <a:pt x="2000" y="2391"/>
                  </a:lnTo>
                  <a:lnTo>
                    <a:pt x="1907" y="2452"/>
                  </a:lnTo>
                  <a:lnTo>
                    <a:pt x="1797" y="2524"/>
                  </a:lnTo>
                  <a:lnTo>
                    <a:pt x="1735" y="2563"/>
                  </a:lnTo>
                  <a:lnTo>
                    <a:pt x="1671" y="2602"/>
                  </a:lnTo>
                  <a:lnTo>
                    <a:pt x="1602" y="2642"/>
                  </a:lnTo>
                  <a:lnTo>
                    <a:pt x="1532" y="2682"/>
                  </a:lnTo>
                  <a:lnTo>
                    <a:pt x="1459" y="2720"/>
                  </a:lnTo>
                  <a:lnTo>
                    <a:pt x="1422" y="2739"/>
                  </a:lnTo>
                  <a:lnTo>
                    <a:pt x="1384" y="2756"/>
                  </a:lnTo>
                  <a:lnTo>
                    <a:pt x="1347" y="2774"/>
                  </a:lnTo>
                  <a:lnTo>
                    <a:pt x="1308" y="2791"/>
                  </a:lnTo>
                  <a:lnTo>
                    <a:pt x="1269" y="2808"/>
                  </a:lnTo>
                  <a:lnTo>
                    <a:pt x="1230" y="2823"/>
                  </a:lnTo>
                  <a:lnTo>
                    <a:pt x="1190" y="2837"/>
                  </a:lnTo>
                  <a:lnTo>
                    <a:pt x="1151" y="2851"/>
                  </a:lnTo>
                  <a:lnTo>
                    <a:pt x="1111" y="2864"/>
                  </a:lnTo>
                  <a:lnTo>
                    <a:pt x="1072" y="2875"/>
                  </a:lnTo>
                  <a:lnTo>
                    <a:pt x="1032" y="2885"/>
                  </a:lnTo>
                  <a:lnTo>
                    <a:pt x="992" y="2893"/>
                  </a:lnTo>
                  <a:lnTo>
                    <a:pt x="952" y="2902"/>
                  </a:lnTo>
                  <a:lnTo>
                    <a:pt x="913" y="2908"/>
                  </a:lnTo>
                  <a:lnTo>
                    <a:pt x="913" y="2908"/>
                  </a:lnTo>
                  <a:lnTo>
                    <a:pt x="901" y="2908"/>
                  </a:lnTo>
                  <a:lnTo>
                    <a:pt x="889" y="2907"/>
                  </a:lnTo>
                  <a:lnTo>
                    <a:pt x="876" y="2904"/>
                  </a:lnTo>
                  <a:lnTo>
                    <a:pt x="863" y="2901"/>
                  </a:lnTo>
                  <a:lnTo>
                    <a:pt x="850" y="2898"/>
                  </a:lnTo>
                  <a:lnTo>
                    <a:pt x="836" y="2892"/>
                  </a:lnTo>
                  <a:lnTo>
                    <a:pt x="809" y="2880"/>
                  </a:lnTo>
                  <a:lnTo>
                    <a:pt x="781" y="2866"/>
                  </a:lnTo>
                  <a:lnTo>
                    <a:pt x="754" y="2850"/>
                  </a:lnTo>
                  <a:lnTo>
                    <a:pt x="726" y="2832"/>
                  </a:lnTo>
                  <a:lnTo>
                    <a:pt x="698" y="2813"/>
                  </a:lnTo>
                  <a:lnTo>
                    <a:pt x="672" y="2792"/>
                  </a:lnTo>
                  <a:lnTo>
                    <a:pt x="646" y="2772"/>
                  </a:lnTo>
                  <a:lnTo>
                    <a:pt x="623" y="2751"/>
                  </a:lnTo>
                  <a:lnTo>
                    <a:pt x="600" y="2731"/>
                  </a:lnTo>
                  <a:lnTo>
                    <a:pt x="581" y="2711"/>
                  </a:lnTo>
                  <a:lnTo>
                    <a:pt x="563" y="2694"/>
                  </a:lnTo>
                  <a:lnTo>
                    <a:pt x="548" y="2679"/>
                  </a:lnTo>
                  <a:lnTo>
                    <a:pt x="537" y="2665"/>
                  </a:lnTo>
                  <a:lnTo>
                    <a:pt x="537" y="2665"/>
                  </a:lnTo>
                  <a:lnTo>
                    <a:pt x="533" y="2661"/>
                  </a:lnTo>
                  <a:lnTo>
                    <a:pt x="530" y="2657"/>
                  </a:lnTo>
                  <a:lnTo>
                    <a:pt x="520" y="2652"/>
                  </a:lnTo>
                  <a:lnTo>
                    <a:pt x="512" y="2650"/>
                  </a:lnTo>
                  <a:lnTo>
                    <a:pt x="502" y="2649"/>
                  </a:lnTo>
                  <a:lnTo>
                    <a:pt x="493" y="2649"/>
                  </a:lnTo>
                  <a:lnTo>
                    <a:pt x="483" y="2651"/>
                  </a:lnTo>
                  <a:lnTo>
                    <a:pt x="473" y="2654"/>
                  </a:lnTo>
                  <a:lnTo>
                    <a:pt x="464" y="2658"/>
                  </a:lnTo>
                  <a:lnTo>
                    <a:pt x="447" y="2666"/>
                  </a:lnTo>
                  <a:lnTo>
                    <a:pt x="433" y="2676"/>
                  </a:lnTo>
                  <a:lnTo>
                    <a:pt x="419" y="2686"/>
                  </a:lnTo>
                  <a:lnTo>
                    <a:pt x="419" y="2686"/>
                  </a:lnTo>
                  <a:lnTo>
                    <a:pt x="412" y="2685"/>
                  </a:lnTo>
                  <a:lnTo>
                    <a:pt x="393" y="2683"/>
                  </a:lnTo>
                  <a:lnTo>
                    <a:pt x="379" y="2683"/>
                  </a:lnTo>
                  <a:lnTo>
                    <a:pt x="364" y="2683"/>
                  </a:lnTo>
                  <a:lnTo>
                    <a:pt x="348" y="2684"/>
                  </a:lnTo>
                  <a:lnTo>
                    <a:pt x="329" y="2686"/>
                  </a:lnTo>
                  <a:lnTo>
                    <a:pt x="310" y="2689"/>
                  </a:lnTo>
                  <a:lnTo>
                    <a:pt x="290" y="2694"/>
                  </a:lnTo>
                  <a:lnTo>
                    <a:pt x="271" y="2700"/>
                  </a:lnTo>
                  <a:lnTo>
                    <a:pt x="252" y="2709"/>
                  </a:lnTo>
                  <a:lnTo>
                    <a:pt x="242" y="2715"/>
                  </a:lnTo>
                  <a:lnTo>
                    <a:pt x="233" y="2720"/>
                  </a:lnTo>
                  <a:lnTo>
                    <a:pt x="224" y="2726"/>
                  </a:lnTo>
                  <a:lnTo>
                    <a:pt x="216" y="2733"/>
                  </a:lnTo>
                  <a:lnTo>
                    <a:pt x="207" y="2741"/>
                  </a:lnTo>
                  <a:lnTo>
                    <a:pt x="199" y="2749"/>
                  </a:lnTo>
                  <a:lnTo>
                    <a:pt x="191" y="2759"/>
                  </a:lnTo>
                  <a:lnTo>
                    <a:pt x="184" y="2768"/>
                  </a:lnTo>
                  <a:lnTo>
                    <a:pt x="184" y="2768"/>
                  </a:lnTo>
                  <a:lnTo>
                    <a:pt x="183" y="2771"/>
                  </a:lnTo>
                  <a:lnTo>
                    <a:pt x="185" y="2773"/>
                  </a:lnTo>
                  <a:lnTo>
                    <a:pt x="188" y="2774"/>
                  </a:lnTo>
                  <a:lnTo>
                    <a:pt x="193" y="2774"/>
                  </a:lnTo>
                  <a:lnTo>
                    <a:pt x="210" y="2772"/>
                  </a:lnTo>
                  <a:lnTo>
                    <a:pt x="230" y="2770"/>
                  </a:lnTo>
                  <a:lnTo>
                    <a:pt x="255" y="2768"/>
                  </a:lnTo>
                  <a:lnTo>
                    <a:pt x="280" y="2767"/>
                  </a:lnTo>
                  <a:lnTo>
                    <a:pt x="293" y="2768"/>
                  </a:lnTo>
                  <a:lnTo>
                    <a:pt x="307" y="2769"/>
                  </a:lnTo>
                  <a:lnTo>
                    <a:pt x="319" y="2771"/>
                  </a:lnTo>
                  <a:lnTo>
                    <a:pt x="331" y="2774"/>
                  </a:lnTo>
                  <a:lnTo>
                    <a:pt x="331" y="2774"/>
                  </a:lnTo>
                  <a:lnTo>
                    <a:pt x="338" y="2777"/>
                  </a:lnTo>
                  <a:lnTo>
                    <a:pt x="343" y="2780"/>
                  </a:lnTo>
                  <a:lnTo>
                    <a:pt x="346" y="2783"/>
                  </a:lnTo>
                  <a:lnTo>
                    <a:pt x="347" y="2786"/>
                  </a:lnTo>
                  <a:lnTo>
                    <a:pt x="347" y="2789"/>
                  </a:lnTo>
                  <a:lnTo>
                    <a:pt x="345" y="2793"/>
                  </a:lnTo>
                  <a:lnTo>
                    <a:pt x="339" y="2801"/>
                  </a:lnTo>
                  <a:lnTo>
                    <a:pt x="332" y="2811"/>
                  </a:lnTo>
                  <a:lnTo>
                    <a:pt x="325" y="2822"/>
                  </a:lnTo>
                  <a:lnTo>
                    <a:pt x="321" y="2828"/>
                  </a:lnTo>
                  <a:lnTo>
                    <a:pt x="319" y="2834"/>
                  </a:lnTo>
                  <a:lnTo>
                    <a:pt x="317" y="2840"/>
                  </a:lnTo>
                  <a:lnTo>
                    <a:pt x="317" y="2847"/>
                  </a:lnTo>
                  <a:lnTo>
                    <a:pt x="317" y="2847"/>
                  </a:lnTo>
                  <a:lnTo>
                    <a:pt x="317" y="2853"/>
                  </a:lnTo>
                  <a:lnTo>
                    <a:pt x="319" y="2859"/>
                  </a:lnTo>
                  <a:lnTo>
                    <a:pt x="321" y="2864"/>
                  </a:lnTo>
                  <a:lnTo>
                    <a:pt x="324" y="2869"/>
                  </a:lnTo>
                  <a:lnTo>
                    <a:pt x="328" y="2874"/>
                  </a:lnTo>
                  <a:lnTo>
                    <a:pt x="333" y="2879"/>
                  </a:lnTo>
                  <a:lnTo>
                    <a:pt x="346" y="2889"/>
                  </a:lnTo>
                  <a:lnTo>
                    <a:pt x="361" y="2899"/>
                  </a:lnTo>
                  <a:lnTo>
                    <a:pt x="377" y="2908"/>
                  </a:lnTo>
                  <a:lnTo>
                    <a:pt x="397" y="2917"/>
                  </a:lnTo>
                  <a:lnTo>
                    <a:pt x="416" y="2925"/>
                  </a:lnTo>
                  <a:lnTo>
                    <a:pt x="458" y="2941"/>
                  </a:lnTo>
                  <a:lnTo>
                    <a:pt x="500" y="2955"/>
                  </a:lnTo>
                  <a:lnTo>
                    <a:pt x="571" y="2976"/>
                  </a:lnTo>
                  <a:lnTo>
                    <a:pt x="571" y="2976"/>
                  </a:lnTo>
                  <a:lnTo>
                    <a:pt x="579" y="2980"/>
                  </a:lnTo>
                  <a:lnTo>
                    <a:pt x="585" y="2984"/>
                  </a:lnTo>
                  <a:lnTo>
                    <a:pt x="588" y="2990"/>
                  </a:lnTo>
                  <a:lnTo>
                    <a:pt x="590" y="2995"/>
                  </a:lnTo>
                  <a:lnTo>
                    <a:pt x="590" y="2999"/>
                  </a:lnTo>
                  <a:lnTo>
                    <a:pt x="588" y="3003"/>
                  </a:lnTo>
                  <a:lnTo>
                    <a:pt x="585" y="3005"/>
                  </a:lnTo>
                  <a:lnTo>
                    <a:pt x="581" y="3006"/>
                  </a:lnTo>
                  <a:lnTo>
                    <a:pt x="581" y="3006"/>
                  </a:lnTo>
                  <a:lnTo>
                    <a:pt x="556" y="3005"/>
                  </a:lnTo>
                  <a:lnTo>
                    <a:pt x="532" y="3002"/>
                  </a:lnTo>
                  <a:lnTo>
                    <a:pt x="509" y="2999"/>
                  </a:lnTo>
                  <a:lnTo>
                    <a:pt x="488" y="2994"/>
                  </a:lnTo>
                  <a:lnTo>
                    <a:pt x="467" y="2989"/>
                  </a:lnTo>
                  <a:lnTo>
                    <a:pt x="448" y="2982"/>
                  </a:lnTo>
                  <a:lnTo>
                    <a:pt x="429" y="2976"/>
                  </a:lnTo>
                  <a:lnTo>
                    <a:pt x="412" y="2970"/>
                  </a:lnTo>
                  <a:lnTo>
                    <a:pt x="380" y="2957"/>
                  </a:lnTo>
                  <a:lnTo>
                    <a:pt x="352" y="2945"/>
                  </a:lnTo>
                  <a:lnTo>
                    <a:pt x="327" y="2933"/>
                  </a:lnTo>
                  <a:lnTo>
                    <a:pt x="316" y="2929"/>
                  </a:lnTo>
                  <a:lnTo>
                    <a:pt x="305" y="2925"/>
                  </a:lnTo>
                  <a:lnTo>
                    <a:pt x="305" y="2925"/>
                  </a:lnTo>
                  <a:lnTo>
                    <a:pt x="286" y="2920"/>
                  </a:lnTo>
                  <a:lnTo>
                    <a:pt x="268" y="2916"/>
                  </a:lnTo>
                  <a:lnTo>
                    <a:pt x="253" y="2913"/>
                  </a:lnTo>
                  <a:lnTo>
                    <a:pt x="237" y="2911"/>
                  </a:lnTo>
                  <a:lnTo>
                    <a:pt x="224" y="2910"/>
                  </a:lnTo>
                  <a:lnTo>
                    <a:pt x="213" y="2911"/>
                  </a:lnTo>
                  <a:lnTo>
                    <a:pt x="202" y="2912"/>
                  </a:lnTo>
                  <a:lnTo>
                    <a:pt x="192" y="2914"/>
                  </a:lnTo>
                  <a:lnTo>
                    <a:pt x="185" y="2918"/>
                  </a:lnTo>
                  <a:lnTo>
                    <a:pt x="178" y="2922"/>
                  </a:lnTo>
                  <a:lnTo>
                    <a:pt x="172" y="2927"/>
                  </a:lnTo>
                  <a:lnTo>
                    <a:pt x="167" y="2933"/>
                  </a:lnTo>
                  <a:lnTo>
                    <a:pt x="163" y="2939"/>
                  </a:lnTo>
                  <a:lnTo>
                    <a:pt x="160" y="2948"/>
                  </a:lnTo>
                  <a:lnTo>
                    <a:pt x="156" y="2956"/>
                  </a:lnTo>
                  <a:lnTo>
                    <a:pt x="155" y="2965"/>
                  </a:lnTo>
                  <a:lnTo>
                    <a:pt x="155" y="2965"/>
                  </a:lnTo>
                  <a:lnTo>
                    <a:pt x="154" y="2968"/>
                  </a:lnTo>
                  <a:lnTo>
                    <a:pt x="152" y="2971"/>
                  </a:lnTo>
                  <a:lnTo>
                    <a:pt x="150" y="2974"/>
                  </a:lnTo>
                  <a:lnTo>
                    <a:pt x="147" y="2976"/>
                  </a:lnTo>
                  <a:lnTo>
                    <a:pt x="140" y="2980"/>
                  </a:lnTo>
                  <a:lnTo>
                    <a:pt x="132" y="2985"/>
                  </a:lnTo>
                  <a:lnTo>
                    <a:pt x="109" y="2995"/>
                  </a:lnTo>
                  <a:lnTo>
                    <a:pt x="97" y="3001"/>
                  </a:lnTo>
                  <a:lnTo>
                    <a:pt x="84" y="3009"/>
                  </a:lnTo>
                  <a:lnTo>
                    <a:pt x="71" y="3019"/>
                  </a:lnTo>
                  <a:lnTo>
                    <a:pt x="57" y="3033"/>
                  </a:lnTo>
                  <a:lnTo>
                    <a:pt x="51" y="3040"/>
                  </a:lnTo>
                  <a:lnTo>
                    <a:pt x="45" y="3048"/>
                  </a:lnTo>
                  <a:lnTo>
                    <a:pt x="39" y="3058"/>
                  </a:lnTo>
                  <a:lnTo>
                    <a:pt x="33" y="3068"/>
                  </a:lnTo>
                  <a:lnTo>
                    <a:pt x="28" y="3080"/>
                  </a:lnTo>
                  <a:lnTo>
                    <a:pt x="22" y="3092"/>
                  </a:lnTo>
                  <a:lnTo>
                    <a:pt x="17" y="3106"/>
                  </a:lnTo>
                  <a:lnTo>
                    <a:pt x="13" y="3120"/>
                  </a:lnTo>
                  <a:lnTo>
                    <a:pt x="9" y="3137"/>
                  </a:lnTo>
                  <a:lnTo>
                    <a:pt x="6" y="3154"/>
                  </a:lnTo>
                  <a:lnTo>
                    <a:pt x="3" y="3174"/>
                  </a:lnTo>
                  <a:lnTo>
                    <a:pt x="0" y="3194"/>
                  </a:lnTo>
                  <a:lnTo>
                    <a:pt x="0" y="3194"/>
                  </a:lnTo>
                  <a:lnTo>
                    <a:pt x="1" y="3195"/>
                  </a:lnTo>
                  <a:lnTo>
                    <a:pt x="2" y="3196"/>
                  </a:lnTo>
                  <a:lnTo>
                    <a:pt x="6" y="3194"/>
                  </a:lnTo>
                  <a:lnTo>
                    <a:pt x="12" y="3189"/>
                  </a:lnTo>
                  <a:lnTo>
                    <a:pt x="20" y="3181"/>
                  </a:lnTo>
                  <a:lnTo>
                    <a:pt x="43" y="3158"/>
                  </a:lnTo>
                  <a:lnTo>
                    <a:pt x="69" y="3134"/>
                  </a:lnTo>
                  <a:lnTo>
                    <a:pt x="82" y="3121"/>
                  </a:lnTo>
                  <a:lnTo>
                    <a:pt x="95" y="3110"/>
                  </a:lnTo>
                  <a:lnTo>
                    <a:pt x="107" y="3101"/>
                  </a:lnTo>
                  <a:lnTo>
                    <a:pt x="119" y="3094"/>
                  </a:lnTo>
                  <a:lnTo>
                    <a:pt x="124" y="3091"/>
                  </a:lnTo>
                  <a:lnTo>
                    <a:pt x="129" y="3090"/>
                  </a:lnTo>
                  <a:lnTo>
                    <a:pt x="133" y="3089"/>
                  </a:lnTo>
                  <a:lnTo>
                    <a:pt x="137" y="3089"/>
                  </a:lnTo>
                  <a:lnTo>
                    <a:pt x="140" y="3091"/>
                  </a:lnTo>
                  <a:lnTo>
                    <a:pt x="143" y="3093"/>
                  </a:lnTo>
                  <a:lnTo>
                    <a:pt x="144" y="3097"/>
                  </a:lnTo>
                  <a:lnTo>
                    <a:pt x="146" y="3101"/>
                  </a:lnTo>
                  <a:lnTo>
                    <a:pt x="146" y="3101"/>
                  </a:lnTo>
                  <a:lnTo>
                    <a:pt x="149" y="3117"/>
                  </a:lnTo>
                  <a:lnTo>
                    <a:pt x="154" y="3132"/>
                  </a:lnTo>
                  <a:lnTo>
                    <a:pt x="162" y="3145"/>
                  </a:lnTo>
                  <a:lnTo>
                    <a:pt x="170" y="3155"/>
                  </a:lnTo>
                  <a:lnTo>
                    <a:pt x="179" y="3165"/>
                  </a:lnTo>
                  <a:lnTo>
                    <a:pt x="189" y="3173"/>
                  </a:lnTo>
                  <a:lnTo>
                    <a:pt x="200" y="3180"/>
                  </a:lnTo>
                  <a:lnTo>
                    <a:pt x="214" y="3185"/>
                  </a:lnTo>
                  <a:lnTo>
                    <a:pt x="227" y="3189"/>
                  </a:lnTo>
                  <a:lnTo>
                    <a:pt x="241" y="3191"/>
                  </a:lnTo>
                  <a:lnTo>
                    <a:pt x="256" y="3193"/>
                  </a:lnTo>
                  <a:lnTo>
                    <a:pt x="271" y="3194"/>
                  </a:lnTo>
                  <a:lnTo>
                    <a:pt x="287" y="3195"/>
                  </a:lnTo>
                  <a:lnTo>
                    <a:pt x="304" y="3194"/>
                  </a:lnTo>
                  <a:lnTo>
                    <a:pt x="337" y="3192"/>
                  </a:lnTo>
                  <a:lnTo>
                    <a:pt x="371" y="3188"/>
                  </a:lnTo>
                  <a:lnTo>
                    <a:pt x="405" y="3183"/>
                  </a:lnTo>
                  <a:lnTo>
                    <a:pt x="438" y="3178"/>
                  </a:lnTo>
                  <a:lnTo>
                    <a:pt x="468" y="3174"/>
                  </a:lnTo>
                  <a:lnTo>
                    <a:pt x="496" y="3172"/>
                  </a:lnTo>
                  <a:lnTo>
                    <a:pt x="509" y="3171"/>
                  </a:lnTo>
                  <a:lnTo>
                    <a:pt x="520" y="3171"/>
                  </a:lnTo>
                  <a:lnTo>
                    <a:pt x="531" y="3172"/>
                  </a:lnTo>
                  <a:lnTo>
                    <a:pt x="541" y="3174"/>
                  </a:lnTo>
                  <a:lnTo>
                    <a:pt x="549" y="3177"/>
                  </a:lnTo>
                  <a:lnTo>
                    <a:pt x="555" y="3181"/>
                  </a:lnTo>
                  <a:lnTo>
                    <a:pt x="555" y="3181"/>
                  </a:lnTo>
                  <a:lnTo>
                    <a:pt x="558" y="3184"/>
                  </a:lnTo>
                  <a:lnTo>
                    <a:pt x="559" y="3186"/>
                  </a:lnTo>
                  <a:lnTo>
                    <a:pt x="557" y="3189"/>
                  </a:lnTo>
                  <a:lnTo>
                    <a:pt x="554" y="3191"/>
                  </a:lnTo>
                  <a:lnTo>
                    <a:pt x="549" y="3194"/>
                  </a:lnTo>
                  <a:lnTo>
                    <a:pt x="542" y="3196"/>
                  </a:lnTo>
                  <a:lnTo>
                    <a:pt x="525" y="3200"/>
                  </a:lnTo>
                  <a:lnTo>
                    <a:pt x="475" y="3209"/>
                  </a:lnTo>
                  <a:lnTo>
                    <a:pt x="447" y="3215"/>
                  </a:lnTo>
                  <a:lnTo>
                    <a:pt x="417" y="3221"/>
                  </a:lnTo>
                  <a:lnTo>
                    <a:pt x="388" y="3228"/>
                  </a:lnTo>
                  <a:lnTo>
                    <a:pt x="359" y="3236"/>
                  </a:lnTo>
                  <a:lnTo>
                    <a:pt x="346" y="3240"/>
                  </a:lnTo>
                  <a:lnTo>
                    <a:pt x="333" y="3245"/>
                  </a:lnTo>
                  <a:lnTo>
                    <a:pt x="322" y="3250"/>
                  </a:lnTo>
                  <a:lnTo>
                    <a:pt x="312" y="3256"/>
                  </a:lnTo>
                  <a:lnTo>
                    <a:pt x="303" y="3263"/>
                  </a:lnTo>
                  <a:lnTo>
                    <a:pt x="294" y="3269"/>
                  </a:lnTo>
                  <a:lnTo>
                    <a:pt x="288" y="3276"/>
                  </a:lnTo>
                  <a:lnTo>
                    <a:pt x="284" y="3284"/>
                  </a:lnTo>
                  <a:lnTo>
                    <a:pt x="282" y="3292"/>
                  </a:lnTo>
                  <a:lnTo>
                    <a:pt x="281" y="3300"/>
                  </a:lnTo>
                  <a:lnTo>
                    <a:pt x="283" y="3311"/>
                  </a:lnTo>
                  <a:lnTo>
                    <a:pt x="287" y="3321"/>
                  </a:lnTo>
                  <a:lnTo>
                    <a:pt x="287" y="3321"/>
                  </a:lnTo>
                  <a:lnTo>
                    <a:pt x="287" y="3322"/>
                  </a:lnTo>
                  <a:lnTo>
                    <a:pt x="286" y="3325"/>
                  </a:lnTo>
                  <a:lnTo>
                    <a:pt x="283" y="3331"/>
                  </a:lnTo>
                  <a:lnTo>
                    <a:pt x="268" y="3348"/>
                  </a:lnTo>
                  <a:lnTo>
                    <a:pt x="258" y="3361"/>
                  </a:lnTo>
                  <a:lnTo>
                    <a:pt x="247" y="3374"/>
                  </a:lnTo>
                  <a:lnTo>
                    <a:pt x="237" y="3389"/>
                  </a:lnTo>
                  <a:lnTo>
                    <a:pt x="228" y="3406"/>
                  </a:lnTo>
                  <a:lnTo>
                    <a:pt x="220" y="3423"/>
                  </a:lnTo>
                  <a:lnTo>
                    <a:pt x="217" y="3432"/>
                  </a:lnTo>
                  <a:lnTo>
                    <a:pt x="214" y="3443"/>
                  </a:lnTo>
                  <a:lnTo>
                    <a:pt x="213" y="3452"/>
                  </a:lnTo>
                  <a:lnTo>
                    <a:pt x="212" y="3463"/>
                  </a:lnTo>
                  <a:lnTo>
                    <a:pt x="212" y="3473"/>
                  </a:lnTo>
                  <a:lnTo>
                    <a:pt x="213" y="3483"/>
                  </a:lnTo>
                  <a:lnTo>
                    <a:pt x="215" y="3495"/>
                  </a:lnTo>
                  <a:lnTo>
                    <a:pt x="219" y="3506"/>
                  </a:lnTo>
                  <a:lnTo>
                    <a:pt x="223" y="3518"/>
                  </a:lnTo>
                  <a:lnTo>
                    <a:pt x="229" y="3529"/>
                  </a:lnTo>
                  <a:lnTo>
                    <a:pt x="237" y="3542"/>
                  </a:lnTo>
                  <a:lnTo>
                    <a:pt x="246" y="3554"/>
                  </a:lnTo>
                  <a:lnTo>
                    <a:pt x="257" y="3566"/>
                  </a:lnTo>
                  <a:lnTo>
                    <a:pt x="270" y="3579"/>
                  </a:lnTo>
                  <a:lnTo>
                    <a:pt x="270" y="3579"/>
                  </a:lnTo>
                  <a:lnTo>
                    <a:pt x="270" y="3572"/>
                  </a:lnTo>
                  <a:lnTo>
                    <a:pt x="272" y="3555"/>
                  </a:lnTo>
                  <a:lnTo>
                    <a:pt x="277" y="3530"/>
                  </a:lnTo>
                  <a:lnTo>
                    <a:pt x="281" y="3517"/>
                  </a:lnTo>
                  <a:lnTo>
                    <a:pt x="285" y="3503"/>
                  </a:lnTo>
                  <a:lnTo>
                    <a:pt x="291" y="3490"/>
                  </a:lnTo>
                  <a:lnTo>
                    <a:pt x="298" y="3476"/>
                  </a:lnTo>
                  <a:lnTo>
                    <a:pt x="306" y="3463"/>
                  </a:lnTo>
                  <a:lnTo>
                    <a:pt x="315" y="3453"/>
                  </a:lnTo>
                  <a:lnTo>
                    <a:pt x="321" y="3448"/>
                  </a:lnTo>
                  <a:lnTo>
                    <a:pt x="326" y="3444"/>
                  </a:lnTo>
                  <a:lnTo>
                    <a:pt x="332" y="3439"/>
                  </a:lnTo>
                  <a:lnTo>
                    <a:pt x="339" y="3436"/>
                  </a:lnTo>
                  <a:lnTo>
                    <a:pt x="346" y="3434"/>
                  </a:lnTo>
                  <a:lnTo>
                    <a:pt x="354" y="3432"/>
                  </a:lnTo>
                  <a:lnTo>
                    <a:pt x="361" y="3432"/>
                  </a:lnTo>
                  <a:lnTo>
                    <a:pt x="369" y="3432"/>
                  </a:lnTo>
                  <a:lnTo>
                    <a:pt x="369" y="3432"/>
                  </a:lnTo>
                  <a:lnTo>
                    <a:pt x="383" y="3433"/>
                  </a:lnTo>
                  <a:lnTo>
                    <a:pt x="396" y="3436"/>
                  </a:lnTo>
                  <a:lnTo>
                    <a:pt x="408" y="3440"/>
                  </a:lnTo>
                  <a:lnTo>
                    <a:pt x="420" y="3445"/>
                  </a:lnTo>
                  <a:lnTo>
                    <a:pt x="443" y="3455"/>
                  </a:lnTo>
                  <a:lnTo>
                    <a:pt x="454" y="3459"/>
                  </a:lnTo>
                  <a:lnTo>
                    <a:pt x="465" y="3463"/>
                  </a:lnTo>
                  <a:lnTo>
                    <a:pt x="476" y="3466"/>
                  </a:lnTo>
                  <a:lnTo>
                    <a:pt x="489" y="3468"/>
                  </a:lnTo>
                  <a:lnTo>
                    <a:pt x="501" y="3469"/>
                  </a:lnTo>
                  <a:lnTo>
                    <a:pt x="514" y="3467"/>
                  </a:lnTo>
                  <a:lnTo>
                    <a:pt x="528" y="3464"/>
                  </a:lnTo>
                  <a:lnTo>
                    <a:pt x="542" y="3458"/>
                  </a:lnTo>
                  <a:lnTo>
                    <a:pt x="558" y="3450"/>
                  </a:lnTo>
                  <a:lnTo>
                    <a:pt x="575" y="3437"/>
                  </a:lnTo>
                  <a:lnTo>
                    <a:pt x="575" y="3437"/>
                  </a:lnTo>
                  <a:lnTo>
                    <a:pt x="588" y="3428"/>
                  </a:lnTo>
                  <a:lnTo>
                    <a:pt x="600" y="3417"/>
                  </a:lnTo>
                  <a:lnTo>
                    <a:pt x="614" y="3405"/>
                  </a:lnTo>
                  <a:lnTo>
                    <a:pt x="630" y="3392"/>
                  </a:lnTo>
                  <a:lnTo>
                    <a:pt x="651" y="3380"/>
                  </a:lnTo>
                  <a:lnTo>
                    <a:pt x="664" y="3373"/>
                  </a:lnTo>
                  <a:lnTo>
                    <a:pt x="678" y="3367"/>
                  </a:lnTo>
                  <a:lnTo>
                    <a:pt x="693" y="3360"/>
                  </a:lnTo>
                  <a:lnTo>
                    <a:pt x="712" y="3354"/>
                  </a:lnTo>
                  <a:lnTo>
                    <a:pt x="732" y="3346"/>
                  </a:lnTo>
                  <a:lnTo>
                    <a:pt x="754" y="3339"/>
                  </a:lnTo>
                  <a:lnTo>
                    <a:pt x="754" y="3339"/>
                  </a:lnTo>
                  <a:lnTo>
                    <a:pt x="756" y="3339"/>
                  </a:lnTo>
                  <a:lnTo>
                    <a:pt x="757" y="3340"/>
                  </a:lnTo>
                  <a:lnTo>
                    <a:pt x="760" y="3345"/>
                  </a:lnTo>
                  <a:lnTo>
                    <a:pt x="762" y="3354"/>
                  </a:lnTo>
                  <a:lnTo>
                    <a:pt x="765" y="3363"/>
                  </a:lnTo>
                  <a:lnTo>
                    <a:pt x="768" y="3375"/>
                  </a:lnTo>
                  <a:lnTo>
                    <a:pt x="772" y="3387"/>
                  </a:lnTo>
                  <a:lnTo>
                    <a:pt x="777" y="3400"/>
                  </a:lnTo>
                  <a:lnTo>
                    <a:pt x="783" y="3412"/>
                  </a:lnTo>
                  <a:lnTo>
                    <a:pt x="783" y="3412"/>
                  </a:lnTo>
                  <a:lnTo>
                    <a:pt x="786" y="3415"/>
                  </a:lnTo>
                  <a:lnTo>
                    <a:pt x="789" y="3417"/>
                  </a:lnTo>
                  <a:lnTo>
                    <a:pt x="797" y="3422"/>
                  </a:lnTo>
                  <a:lnTo>
                    <a:pt x="805" y="3425"/>
                  </a:lnTo>
                  <a:lnTo>
                    <a:pt x="813" y="3429"/>
                  </a:lnTo>
                  <a:lnTo>
                    <a:pt x="821" y="3432"/>
                  </a:lnTo>
                  <a:lnTo>
                    <a:pt x="827" y="3435"/>
                  </a:lnTo>
                  <a:lnTo>
                    <a:pt x="830" y="3437"/>
                  </a:lnTo>
                  <a:lnTo>
                    <a:pt x="831" y="3439"/>
                  </a:lnTo>
                  <a:lnTo>
                    <a:pt x="833" y="3443"/>
                  </a:lnTo>
                  <a:lnTo>
                    <a:pt x="833" y="3446"/>
                  </a:lnTo>
                  <a:lnTo>
                    <a:pt x="833" y="3446"/>
                  </a:lnTo>
                  <a:lnTo>
                    <a:pt x="832" y="3456"/>
                  </a:lnTo>
                  <a:lnTo>
                    <a:pt x="830" y="3467"/>
                  </a:lnTo>
                  <a:lnTo>
                    <a:pt x="826" y="3477"/>
                  </a:lnTo>
                  <a:lnTo>
                    <a:pt x="822" y="3486"/>
                  </a:lnTo>
                  <a:lnTo>
                    <a:pt x="817" y="3496"/>
                  </a:lnTo>
                  <a:lnTo>
                    <a:pt x="811" y="3505"/>
                  </a:lnTo>
                  <a:lnTo>
                    <a:pt x="798" y="3521"/>
                  </a:lnTo>
                  <a:lnTo>
                    <a:pt x="784" y="3535"/>
                  </a:lnTo>
                  <a:lnTo>
                    <a:pt x="773" y="3546"/>
                  </a:lnTo>
                  <a:lnTo>
                    <a:pt x="765" y="3552"/>
                  </a:lnTo>
                  <a:lnTo>
                    <a:pt x="763" y="3555"/>
                  </a:lnTo>
                  <a:lnTo>
                    <a:pt x="763" y="3555"/>
                  </a:lnTo>
                  <a:lnTo>
                    <a:pt x="767" y="3558"/>
                  </a:lnTo>
                  <a:lnTo>
                    <a:pt x="778" y="3561"/>
                  </a:lnTo>
                  <a:lnTo>
                    <a:pt x="785" y="3562"/>
                  </a:lnTo>
                  <a:lnTo>
                    <a:pt x="794" y="3563"/>
                  </a:lnTo>
                  <a:lnTo>
                    <a:pt x="804" y="3563"/>
                  </a:lnTo>
                  <a:lnTo>
                    <a:pt x="815" y="3561"/>
                  </a:lnTo>
                  <a:lnTo>
                    <a:pt x="826" y="3558"/>
                  </a:lnTo>
                  <a:lnTo>
                    <a:pt x="839" y="3553"/>
                  </a:lnTo>
                  <a:lnTo>
                    <a:pt x="852" y="3546"/>
                  </a:lnTo>
                  <a:lnTo>
                    <a:pt x="865" y="3536"/>
                  </a:lnTo>
                  <a:lnTo>
                    <a:pt x="879" y="3522"/>
                  </a:lnTo>
                  <a:lnTo>
                    <a:pt x="894" y="3506"/>
                  </a:lnTo>
                  <a:lnTo>
                    <a:pt x="907" y="3486"/>
                  </a:lnTo>
                  <a:lnTo>
                    <a:pt x="921" y="3463"/>
                  </a:lnTo>
                  <a:lnTo>
                    <a:pt x="921" y="3463"/>
                  </a:lnTo>
                  <a:lnTo>
                    <a:pt x="924" y="3459"/>
                  </a:lnTo>
                  <a:lnTo>
                    <a:pt x="927" y="3455"/>
                  </a:lnTo>
                  <a:lnTo>
                    <a:pt x="930" y="3453"/>
                  </a:lnTo>
                  <a:lnTo>
                    <a:pt x="935" y="3451"/>
                  </a:lnTo>
                  <a:lnTo>
                    <a:pt x="939" y="3450"/>
                  </a:lnTo>
                  <a:lnTo>
                    <a:pt x="943" y="3450"/>
                  </a:lnTo>
                  <a:lnTo>
                    <a:pt x="951" y="3450"/>
                  </a:lnTo>
                  <a:lnTo>
                    <a:pt x="970" y="3452"/>
                  </a:lnTo>
                  <a:lnTo>
                    <a:pt x="982" y="3452"/>
                  </a:lnTo>
                  <a:lnTo>
                    <a:pt x="987" y="3451"/>
                  </a:lnTo>
                  <a:lnTo>
                    <a:pt x="992" y="3450"/>
                  </a:lnTo>
                  <a:lnTo>
                    <a:pt x="992" y="3450"/>
                  </a:lnTo>
                  <a:lnTo>
                    <a:pt x="1010" y="3444"/>
                  </a:lnTo>
                  <a:lnTo>
                    <a:pt x="1017" y="3439"/>
                  </a:lnTo>
                  <a:lnTo>
                    <a:pt x="1024" y="3435"/>
                  </a:lnTo>
                  <a:lnTo>
                    <a:pt x="1029" y="3432"/>
                  </a:lnTo>
                  <a:lnTo>
                    <a:pt x="1033" y="3428"/>
                  </a:lnTo>
                  <a:lnTo>
                    <a:pt x="1036" y="3424"/>
                  </a:lnTo>
                  <a:lnTo>
                    <a:pt x="1039" y="3419"/>
                  </a:lnTo>
                  <a:lnTo>
                    <a:pt x="1041" y="3415"/>
                  </a:lnTo>
                  <a:lnTo>
                    <a:pt x="1042" y="3410"/>
                  </a:lnTo>
                  <a:lnTo>
                    <a:pt x="1043" y="3401"/>
                  </a:lnTo>
                  <a:lnTo>
                    <a:pt x="1042" y="3390"/>
                  </a:lnTo>
                  <a:lnTo>
                    <a:pt x="1040" y="3380"/>
                  </a:lnTo>
                  <a:lnTo>
                    <a:pt x="1035" y="3358"/>
                  </a:lnTo>
                  <a:lnTo>
                    <a:pt x="1034" y="3347"/>
                  </a:lnTo>
                  <a:lnTo>
                    <a:pt x="1033" y="3335"/>
                  </a:lnTo>
                  <a:lnTo>
                    <a:pt x="1034" y="3324"/>
                  </a:lnTo>
                  <a:lnTo>
                    <a:pt x="1036" y="3319"/>
                  </a:lnTo>
                  <a:lnTo>
                    <a:pt x="1038" y="3313"/>
                  </a:lnTo>
                  <a:lnTo>
                    <a:pt x="1040" y="3308"/>
                  </a:lnTo>
                  <a:lnTo>
                    <a:pt x="1044" y="3302"/>
                  </a:lnTo>
                  <a:lnTo>
                    <a:pt x="1048" y="3296"/>
                  </a:lnTo>
                  <a:lnTo>
                    <a:pt x="1054" y="3291"/>
                  </a:lnTo>
                  <a:lnTo>
                    <a:pt x="1054" y="3291"/>
                  </a:lnTo>
                  <a:lnTo>
                    <a:pt x="1069" y="3278"/>
                  </a:lnTo>
                  <a:lnTo>
                    <a:pt x="1084" y="3265"/>
                  </a:lnTo>
                  <a:lnTo>
                    <a:pt x="1099" y="3253"/>
                  </a:lnTo>
                  <a:lnTo>
                    <a:pt x="1115" y="3241"/>
                  </a:lnTo>
                  <a:lnTo>
                    <a:pt x="1146" y="3221"/>
                  </a:lnTo>
                  <a:lnTo>
                    <a:pt x="1178" y="3202"/>
                  </a:lnTo>
                  <a:lnTo>
                    <a:pt x="1210" y="3186"/>
                  </a:lnTo>
                  <a:lnTo>
                    <a:pt x="1241" y="3171"/>
                  </a:lnTo>
                  <a:lnTo>
                    <a:pt x="1273" y="3156"/>
                  </a:lnTo>
                  <a:lnTo>
                    <a:pt x="1304" y="3144"/>
                  </a:lnTo>
                  <a:lnTo>
                    <a:pt x="1304" y="3144"/>
                  </a:lnTo>
                  <a:lnTo>
                    <a:pt x="1303" y="3148"/>
                  </a:lnTo>
                  <a:lnTo>
                    <a:pt x="1299" y="3160"/>
                  </a:lnTo>
                  <a:lnTo>
                    <a:pt x="1294" y="3180"/>
                  </a:lnTo>
                  <a:lnTo>
                    <a:pt x="1291" y="3203"/>
                  </a:lnTo>
                  <a:lnTo>
                    <a:pt x="1290" y="3218"/>
                  </a:lnTo>
                  <a:lnTo>
                    <a:pt x="1290" y="3232"/>
                  </a:lnTo>
                  <a:lnTo>
                    <a:pt x="1291" y="3247"/>
                  </a:lnTo>
                  <a:lnTo>
                    <a:pt x="1292" y="3264"/>
                  </a:lnTo>
                  <a:lnTo>
                    <a:pt x="1296" y="3280"/>
                  </a:lnTo>
                  <a:lnTo>
                    <a:pt x="1301" y="3296"/>
                  </a:lnTo>
                  <a:lnTo>
                    <a:pt x="1306" y="3314"/>
                  </a:lnTo>
                  <a:lnTo>
                    <a:pt x="1314" y="3331"/>
                  </a:lnTo>
                  <a:lnTo>
                    <a:pt x="1640" y="3247"/>
                  </a:lnTo>
                  <a:lnTo>
                    <a:pt x="1640" y="3247"/>
                  </a:lnTo>
                  <a:lnTo>
                    <a:pt x="1634" y="3231"/>
                  </a:lnTo>
                  <a:lnTo>
                    <a:pt x="1631" y="3215"/>
                  </a:lnTo>
                  <a:lnTo>
                    <a:pt x="1629" y="3197"/>
                  </a:lnTo>
                  <a:lnTo>
                    <a:pt x="1629" y="3180"/>
                  </a:lnTo>
                  <a:lnTo>
                    <a:pt x="1631" y="3162"/>
                  </a:lnTo>
                  <a:lnTo>
                    <a:pt x="1634" y="3145"/>
                  </a:lnTo>
                  <a:lnTo>
                    <a:pt x="1638" y="3128"/>
                  </a:lnTo>
                  <a:lnTo>
                    <a:pt x="1644" y="3109"/>
                  </a:lnTo>
                  <a:lnTo>
                    <a:pt x="1651" y="3092"/>
                  </a:lnTo>
                  <a:lnTo>
                    <a:pt x="1660" y="3073"/>
                  </a:lnTo>
                  <a:lnTo>
                    <a:pt x="1669" y="3056"/>
                  </a:lnTo>
                  <a:lnTo>
                    <a:pt x="1679" y="3039"/>
                  </a:lnTo>
                  <a:lnTo>
                    <a:pt x="1689" y="3021"/>
                  </a:lnTo>
                  <a:lnTo>
                    <a:pt x="1701" y="3004"/>
                  </a:lnTo>
                  <a:lnTo>
                    <a:pt x="1725" y="2972"/>
                  </a:lnTo>
                  <a:lnTo>
                    <a:pt x="1725" y="2972"/>
                  </a:lnTo>
                  <a:lnTo>
                    <a:pt x="1726" y="2971"/>
                  </a:lnTo>
                  <a:lnTo>
                    <a:pt x="1727" y="2971"/>
                  </a:lnTo>
                  <a:lnTo>
                    <a:pt x="1728" y="2975"/>
                  </a:lnTo>
                  <a:lnTo>
                    <a:pt x="1725" y="2997"/>
                  </a:lnTo>
                  <a:lnTo>
                    <a:pt x="1721" y="3030"/>
                  </a:lnTo>
                  <a:lnTo>
                    <a:pt x="1715" y="3072"/>
                  </a:lnTo>
                  <a:lnTo>
                    <a:pt x="1713" y="3095"/>
                  </a:lnTo>
                  <a:lnTo>
                    <a:pt x="1711" y="3118"/>
                  </a:lnTo>
                  <a:lnTo>
                    <a:pt x="1711" y="3140"/>
                  </a:lnTo>
                  <a:lnTo>
                    <a:pt x="1711" y="3161"/>
                  </a:lnTo>
                  <a:lnTo>
                    <a:pt x="1713" y="3181"/>
                  </a:lnTo>
                  <a:lnTo>
                    <a:pt x="1716" y="3198"/>
                  </a:lnTo>
                  <a:lnTo>
                    <a:pt x="1719" y="3206"/>
                  </a:lnTo>
                  <a:lnTo>
                    <a:pt x="1722" y="3213"/>
                  </a:lnTo>
                  <a:lnTo>
                    <a:pt x="1726" y="3219"/>
                  </a:lnTo>
                  <a:lnTo>
                    <a:pt x="1730" y="3224"/>
                  </a:lnTo>
                  <a:lnTo>
                    <a:pt x="2050" y="3141"/>
                  </a:lnTo>
                  <a:lnTo>
                    <a:pt x="2050" y="3141"/>
                  </a:lnTo>
                  <a:lnTo>
                    <a:pt x="2046" y="3131"/>
                  </a:lnTo>
                  <a:lnTo>
                    <a:pt x="2043" y="3119"/>
                  </a:lnTo>
                  <a:lnTo>
                    <a:pt x="2041" y="3108"/>
                  </a:lnTo>
                  <a:lnTo>
                    <a:pt x="2039" y="3096"/>
                  </a:lnTo>
                  <a:lnTo>
                    <a:pt x="2038" y="3084"/>
                  </a:lnTo>
                  <a:lnTo>
                    <a:pt x="2038" y="3071"/>
                  </a:lnTo>
                  <a:lnTo>
                    <a:pt x="2039" y="3045"/>
                  </a:lnTo>
                  <a:lnTo>
                    <a:pt x="2043" y="3018"/>
                  </a:lnTo>
                  <a:lnTo>
                    <a:pt x="2048" y="2992"/>
                  </a:lnTo>
                  <a:lnTo>
                    <a:pt x="2055" y="2965"/>
                  </a:lnTo>
                  <a:lnTo>
                    <a:pt x="2064" y="2941"/>
                  </a:lnTo>
                  <a:lnTo>
                    <a:pt x="2064" y="2941"/>
                  </a:lnTo>
                  <a:lnTo>
                    <a:pt x="2072" y="2968"/>
                  </a:lnTo>
                  <a:lnTo>
                    <a:pt x="2079" y="2997"/>
                  </a:lnTo>
                  <a:lnTo>
                    <a:pt x="2088" y="3024"/>
                  </a:lnTo>
                  <a:lnTo>
                    <a:pt x="2098" y="3052"/>
                  </a:lnTo>
                  <a:lnTo>
                    <a:pt x="2108" y="3079"/>
                  </a:lnTo>
                  <a:lnTo>
                    <a:pt x="2121" y="3105"/>
                  </a:lnTo>
                  <a:lnTo>
                    <a:pt x="2135" y="3131"/>
                  </a:lnTo>
                  <a:lnTo>
                    <a:pt x="2149" y="3156"/>
                  </a:lnTo>
                  <a:lnTo>
                    <a:pt x="2166" y="3181"/>
                  </a:lnTo>
                  <a:lnTo>
                    <a:pt x="2183" y="3203"/>
                  </a:lnTo>
                  <a:lnTo>
                    <a:pt x="2201" y="3225"/>
                  </a:lnTo>
                  <a:lnTo>
                    <a:pt x="2222" y="3245"/>
                  </a:lnTo>
                  <a:lnTo>
                    <a:pt x="2244" y="3265"/>
                  </a:lnTo>
                  <a:lnTo>
                    <a:pt x="2268" y="3281"/>
                  </a:lnTo>
                  <a:lnTo>
                    <a:pt x="2280" y="3289"/>
                  </a:lnTo>
                  <a:lnTo>
                    <a:pt x="2292" y="3296"/>
                  </a:lnTo>
                  <a:lnTo>
                    <a:pt x="2306" y="3303"/>
                  </a:lnTo>
                  <a:lnTo>
                    <a:pt x="2320" y="3310"/>
                  </a:lnTo>
                  <a:lnTo>
                    <a:pt x="2320" y="3310"/>
                  </a:lnTo>
                  <a:lnTo>
                    <a:pt x="2365" y="3329"/>
                  </a:lnTo>
                  <a:lnTo>
                    <a:pt x="2410" y="3347"/>
                  </a:lnTo>
                  <a:lnTo>
                    <a:pt x="2454" y="3364"/>
                  </a:lnTo>
                  <a:lnTo>
                    <a:pt x="2499" y="3380"/>
                  </a:lnTo>
                  <a:lnTo>
                    <a:pt x="2544" y="3395"/>
                  </a:lnTo>
                  <a:lnTo>
                    <a:pt x="2589" y="3411"/>
                  </a:lnTo>
                  <a:lnTo>
                    <a:pt x="2683" y="3440"/>
                  </a:lnTo>
                  <a:lnTo>
                    <a:pt x="2782" y="3469"/>
                  </a:lnTo>
                  <a:lnTo>
                    <a:pt x="2889" y="3500"/>
                  </a:lnTo>
                  <a:lnTo>
                    <a:pt x="3005" y="3534"/>
                  </a:lnTo>
                  <a:lnTo>
                    <a:pt x="3133" y="3570"/>
                  </a:lnTo>
                  <a:lnTo>
                    <a:pt x="3133" y="3570"/>
                  </a:lnTo>
                  <a:lnTo>
                    <a:pt x="3205" y="3593"/>
                  </a:lnTo>
                  <a:lnTo>
                    <a:pt x="3273" y="3616"/>
                  </a:lnTo>
                  <a:lnTo>
                    <a:pt x="3305" y="3628"/>
                  </a:lnTo>
                  <a:lnTo>
                    <a:pt x="3333" y="3639"/>
                  </a:lnTo>
                  <a:lnTo>
                    <a:pt x="3358" y="3649"/>
                  </a:lnTo>
                  <a:lnTo>
                    <a:pt x="3377" y="3658"/>
                  </a:lnTo>
                  <a:lnTo>
                    <a:pt x="3377" y="3658"/>
                  </a:lnTo>
                  <a:lnTo>
                    <a:pt x="3383" y="3661"/>
                  </a:lnTo>
                  <a:lnTo>
                    <a:pt x="3389" y="3665"/>
                  </a:lnTo>
                  <a:lnTo>
                    <a:pt x="3393" y="3668"/>
                  </a:lnTo>
                  <a:lnTo>
                    <a:pt x="3397" y="3673"/>
                  </a:lnTo>
                  <a:lnTo>
                    <a:pt x="3399" y="3677"/>
                  </a:lnTo>
                  <a:lnTo>
                    <a:pt x="3401" y="3682"/>
                  </a:lnTo>
                  <a:lnTo>
                    <a:pt x="3402" y="3686"/>
                  </a:lnTo>
                  <a:lnTo>
                    <a:pt x="3402" y="3690"/>
                  </a:lnTo>
                  <a:lnTo>
                    <a:pt x="3401" y="3699"/>
                  </a:lnTo>
                  <a:lnTo>
                    <a:pt x="3397" y="3708"/>
                  </a:lnTo>
                  <a:lnTo>
                    <a:pt x="3392" y="3717"/>
                  </a:lnTo>
                  <a:lnTo>
                    <a:pt x="3386" y="3726"/>
                  </a:lnTo>
                  <a:lnTo>
                    <a:pt x="3378" y="3734"/>
                  </a:lnTo>
                  <a:lnTo>
                    <a:pt x="3371" y="3742"/>
                  </a:lnTo>
                  <a:lnTo>
                    <a:pt x="3357" y="3754"/>
                  </a:lnTo>
                  <a:lnTo>
                    <a:pt x="3346" y="3764"/>
                  </a:lnTo>
                  <a:lnTo>
                    <a:pt x="3341" y="3767"/>
                  </a:lnTo>
                  <a:lnTo>
                    <a:pt x="3341" y="3767"/>
                  </a:lnTo>
                  <a:lnTo>
                    <a:pt x="3355" y="3775"/>
                  </a:lnTo>
                  <a:lnTo>
                    <a:pt x="3371" y="3783"/>
                  </a:lnTo>
                  <a:lnTo>
                    <a:pt x="3411" y="3801"/>
                  </a:lnTo>
                  <a:lnTo>
                    <a:pt x="3435" y="3814"/>
                  </a:lnTo>
                  <a:lnTo>
                    <a:pt x="3461" y="3829"/>
                  </a:lnTo>
                  <a:lnTo>
                    <a:pt x="3492" y="3848"/>
                  </a:lnTo>
                  <a:lnTo>
                    <a:pt x="3527" y="3873"/>
                  </a:lnTo>
                  <a:lnTo>
                    <a:pt x="3527" y="3873"/>
                  </a:lnTo>
                  <a:lnTo>
                    <a:pt x="3545" y="3888"/>
                  </a:lnTo>
                  <a:lnTo>
                    <a:pt x="3563" y="3906"/>
                  </a:lnTo>
                  <a:lnTo>
                    <a:pt x="3580" y="3925"/>
                  </a:lnTo>
                  <a:lnTo>
                    <a:pt x="3595" y="3946"/>
                  </a:lnTo>
                  <a:lnTo>
                    <a:pt x="3608" y="3967"/>
                  </a:lnTo>
                  <a:lnTo>
                    <a:pt x="3622" y="3991"/>
                  </a:lnTo>
                  <a:lnTo>
                    <a:pt x="3634" y="4014"/>
                  </a:lnTo>
                  <a:lnTo>
                    <a:pt x="3645" y="4040"/>
                  </a:lnTo>
                  <a:lnTo>
                    <a:pt x="3655" y="4066"/>
                  </a:lnTo>
                  <a:lnTo>
                    <a:pt x="3665" y="4094"/>
                  </a:lnTo>
                  <a:lnTo>
                    <a:pt x="3674" y="4122"/>
                  </a:lnTo>
                  <a:lnTo>
                    <a:pt x="3682" y="4151"/>
                  </a:lnTo>
                  <a:lnTo>
                    <a:pt x="3698" y="4211"/>
                  </a:lnTo>
                  <a:lnTo>
                    <a:pt x="3714" y="4274"/>
                  </a:lnTo>
                  <a:lnTo>
                    <a:pt x="3714" y="4274"/>
                  </a:lnTo>
                  <a:lnTo>
                    <a:pt x="3725" y="4324"/>
                  </a:lnTo>
                  <a:lnTo>
                    <a:pt x="3734" y="4377"/>
                  </a:lnTo>
                  <a:lnTo>
                    <a:pt x="3742" y="4430"/>
                  </a:lnTo>
                  <a:lnTo>
                    <a:pt x="3744" y="4457"/>
                  </a:lnTo>
                  <a:lnTo>
                    <a:pt x="3746" y="4481"/>
                  </a:lnTo>
                  <a:lnTo>
                    <a:pt x="3748" y="4506"/>
                  </a:lnTo>
                  <a:lnTo>
                    <a:pt x="3749" y="4529"/>
                  </a:lnTo>
                  <a:lnTo>
                    <a:pt x="3748" y="4551"/>
                  </a:lnTo>
                  <a:lnTo>
                    <a:pt x="3745" y="4571"/>
                  </a:lnTo>
                  <a:lnTo>
                    <a:pt x="3742" y="4590"/>
                  </a:lnTo>
                  <a:lnTo>
                    <a:pt x="3737" y="4606"/>
                  </a:lnTo>
                  <a:lnTo>
                    <a:pt x="3731" y="4619"/>
                  </a:lnTo>
                  <a:lnTo>
                    <a:pt x="3728" y="4625"/>
                  </a:lnTo>
                  <a:lnTo>
                    <a:pt x="3724" y="4631"/>
                  </a:lnTo>
                  <a:lnTo>
                    <a:pt x="3724" y="4631"/>
                  </a:lnTo>
                  <a:lnTo>
                    <a:pt x="3715" y="4641"/>
                  </a:lnTo>
                  <a:lnTo>
                    <a:pt x="3705" y="4651"/>
                  </a:lnTo>
                  <a:lnTo>
                    <a:pt x="3691" y="4660"/>
                  </a:lnTo>
                  <a:lnTo>
                    <a:pt x="3683" y="4665"/>
                  </a:lnTo>
                  <a:lnTo>
                    <a:pt x="3673" y="4670"/>
                  </a:lnTo>
                  <a:lnTo>
                    <a:pt x="3663" y="4676"/>
                  </a:lnTo>
                  <a:lnTo>
                    <a:pt x="3650" y="4681"/>
                  </a:lnTo>
                  <a:lnTo>
                    <a:pt x="3621" y="4690"/>
                  </a:lnTo>
                  <a:lnTo>
                    <a:pt x="3582" y="4700"/>
                  </a:lnTo>
                  <a:lnTo>
                    <a:pt x="3535" y="4710"/>
                  </a:lnTo>
                  <a:lnTo>
                    <a:pt x="3560" y="4833"/>
                  </a:lnTo>
                  <a:lnTo>
                    <a:pt x="3560" y="4833"/>
                  </a:lnTo>
                  <a:lnTo>
                    <a:pt x="3579" y="4834"/>
                  </a:lnTo>
                  <a:lnTo>
                    <a:pt x="3597" y="4834"/>
                  </a:lnTo>
                  <a:lnTo>
                    <a:pt x="3615" y="4833"/>
                  </a:lnTo>
                  <a:lnTo>
                    <a:pt x="3631" y="4831"/>
                  </a:lnTo>
                  <a:lnTo>
                    <a:pt x="3646" y="4829"/>
                  </a:lnTo>
                  <a:lnTo>
                    <a:pt x="3662" y="4826"/>
                  </a:lnTo>
                  <a:lnTo>
                    <a:pt x="3688" y="4819"/>
                  </a:lnTo>
                  <a:lnTo>
                    <a:pt x="3711" y="4812"/>
                  </a:lnTo>
                  <a:lnTo>
                    <a:pt x="3728" y="4805"/>
                  </a:lnTo>
                  <a:lnTo>
                    <a:pt x="3742" y="4799"/>
                  </a:lnTo>
                  <a:lnTo>
                    <a:pt x="3742" y="4799"/>
                  </a:lnTo>
                  <a:lnTo>
                    <a:pt x="3736" y="4805"/>
                  </a:lnTo>
                  <a:lnTo>
                    <a:pt x="3730" y="4813"/>
                  </a:lnTo>
                  <a:lnTo>
                    <a:pt x="3722" y="4823"/>
                  </a:lnTo>
                  <a:lnTo>
                    <a:pt x="3722" y="4823"/>
                  </a:lnTo>
                  <a:lnTo>
                    <a:pt x="3711" y="4839"/>
                  </a:lnTo>
                  <a:lnTo>
                    <a:pt x="3700" y="4856"/>
                  </a:lnTo>
                  <a:lnTo>
                    <a:pt x="3692" y="4871"/>
                  </a:lnTo>
                  <a:lnTo>
                    <a:pt x="3685" y="4886"/>
                  </a:lnTo>
                  <a:lnTo>
                    <a:pt x="3680" y="4902"/>
                  </a:lnTo>
                  <a:lnTo>
                    <a:pt x="3675" y="4919"/>
                  </a:lnTo>
                  <a:lnTo>
                    <a:pt x="3672" y="4936"/>
                  </a:lnTo>
                  <a:lnTo>
                    <a:pt x="3669" y="4957"/>
                  </a:lnTo>
                  <a:lnTo>
                    <a:pt x="3799" y="5041"/>
                  </a:lnTo>
                  <a:lnTo>
                    <a:pt x="3799" y="5041"/>
                  </a:lnTo>
                  <a:lnTo>
                    <a:pt x="3812" y="5000"/>
                  </a:lnTo>
                  <a:lnTo>
                    <a:pt x="3826" y="4960"/>
                  </a:lnTo>
                  <a:lnTo>
                    <a:pt x="3841" y="4924"/>
                  </a:lnTo>
                  <a:lnTo>
                    <a:pt x="3855" y="4891"/>
                  </a:lnTo>
                  <a:lnTo>
                    <a:pt x="3870" y="4864"/>
                  </a:lnTo>
                  <a:lnTo>
                    <a:pt x="3877" y="4851"/>
                  </a:lnTo>
                  <a:lnTo>
                    <a:pt x="3885" y="4841"/>
                  </a:lnTo>
                  <a:lnTo>
                    <a:pt x="3892" y="4832"/>
                  </a:lnTo>
                  <a:lnTo>
                    <a:pt x="3899" y="4825"/>
                  </a:lnTo>
                  <a:lnTo>
                    <a:pt x="3906" y="4820"/>
                  </a:lnTo>
                  <a:lnTo>
                    <a:pt x="3913" y="4816"/>
                  </a:lnTo>
                  <a:lnTo>
                    <a:pt x="3913" y="4816"/>
                  </a:lnTo>
                  <a:lnTo>
                    <a:pt x="3919" y="4814"/>
                  </a:lnTo>
                  <a:lnTo>
                    <a:pt x="3926" y="4814"/>
                  </a:lnTo>
                  <a:lnTo>
                    <a:pt x="3935" y="4814"/>
                  </a:lnTo>
                  <a:lnTo>
                    <a:pt x="3944" y="4815"/>
                  </a:lnTo>
                  <a:lnTo>
                    <a:pt x="3954" y="4817"/>
                  </a:lnTo>
                  <a:lnTo>
                    <a:pt x="3965" y="4819"/>
                  </a:lnTo>
                  <a:lnTo>
                    <a:pt x="3990" y="4828"/>
                  </a:lnTo>
                  <a:lnTo>
                    <a:pt x="4017" y="4839"/>
                  </a:lnTo>
                  <a:lnTo>
                    <a:pt x="4047" y="4854"/>
                  </a:lnTo>
                  <a:lnTo>
                    <a:pt x="4078" y="4874"/>
                  </a:lnTo>
                  <a:lnTo>
                    <a:pt x="4110" y="4895"/>
                  </a:lnTo>
                  <a:lnTo>
                    <a:pt x="4127" y="4908"/>
                  </a:lnTo>
                  <a:lnTo>
                    <a:pt x="4143" y="4921"/>
                  </a:lnTo>
                  <a:lnTo>
                    <a:pt x="4160" y="4935"/>
                  </a:lnTo>
                  <a:lnTo>
                    <a:pt x="4176" y="4950"/>
                  </a:lnTo>
                  <a:lnTo>
                    <a:pt x="4192" y="4965"/>
                  </a:lnTo>
                  <a:lnTo>
                    <a:pt x="4208" y="4981"/>
                  </a:lnTo>
                  <a:lnTo>
                    <a:pt x="4224" y="4999"/>
                  </a:lnTo>
                  <a:lnTo>
                    <a:pt x="4239" y="5017"/>
                  </a:lnTo>
                  <a:lnTo>
                    <a:pt x="4254" y="5035"/>
                  </a:lnTo>
                  <a:lnTo>
                    <a:pt x="4268" y="5055"/>
                  </a:lnTo>
                  <a:lnTo>
                    <a:pt x="4282" y="5075"/>
                  </a:lnTo>
                  <a:lnTo>
                    <a:pt x="4296" y="5097"/>
                  </a:lnTo>
                  <a:lnTo>
                    <a:pt x="4308" y="5118"/>
                  </a:lnTo>
                  <a:lnTo>
                    <a:pt x="4320" y="5141"/>
                  </a:lnTo>
                  <a:lnTo>
                    <a:pt x="4331" y="5164"/>
                  </a:lnTo>
                  <a:lnTo>
                    <a:pt x="4342" y="5189"/>
                  </a:lnTo>
                  <a:lnTo>
                    <a:pt x="4342" y="5189"/>
                  </a:lnTo>
                  <a:lnTo>
                    <a:pt x="4347" y="5203"/>
                  </a:lnTo>
                  <a:lnTo>
                    <a:pt x="4352" y="5220"/>
                  </a:lnTo>
                  <a:lnTo>
                    <a:pt x="4356" y="5236"/>
                  </a:lnTo>
                  <a:lnTo>
                    <a:pt x="4360" y="5253"/>
                  </a:lnTo>
                  <a:lnTo>
                    <a:pt x="4363" y="5272"/>
                  </a:lnTo>
                  <a:lnTo>
                    <a:pt x="4366" y="5290"/>
                  </a:lnTo>
                  <a:lnTo>
                    <a:pt x="4370" y="5329"/>
                  </a:lnTo>
                  <a:lnTo>
                    <a:pt x="4372" y="5368"/>
                  </a:lnTo>
                  <a:lnTo>
                    <a:pt x="4371" y="5409"/>
                  </a:lnTo>
                  <a:lnTo>
                    <a:pt x="4370" y="5429"/>
                  </a:lnTo>
                  <a:lnTo>
                    <a:pt x="4369" y="5449"/>
                  </a:lnTo>
                  <a:lnTo>
                    <a:pt x="4366" y="5469"/>
                  </a:lnTo>
                  <a:lnTo>
                    <a:pt x="4363" y="5488"/>
                  </a:lnTo>
                  <a:lnTo>
                    <a:pt x="4360" y="5508"/>
                  </a:lnTo>
                  <a:lnTo>
                    <a:pt x="4356" y="5526"/>
                  </a:lnTo>
                  <a:lnTo>
                    <a:pt x="4351" y="5545"/>
                  </a:lnTo>
                  <a:lnTo>
                    <a:pt x="4345" y="5562"/>
                  </a:lnTo>
                  <a:lnTo>
                    <a:pt x="4339" y="5579"/>
                  </a:lnTo>
                  <a:lnTo>
                    <a:pt x="4332" y="5595"/>
                  </a:lnTo>
                  <a:lnTo>
                    <a:pt x="4324" y="5610"/>
                  </a:lnTo>
                  <a:lnTo>
                    <a:pt x="4316" y="5624"/>
                  </a:lnTo>
                  <a:lnTo>
                    <a:pt x="4307" y="5638"/>
                  </a:lnTo>
                  <a:lnTo>
                    <a:pt x="4298" y="5650"/>
                  </a:lnTo>
                  <a:lnTo>
                    <a:pt x="4287" y="5661"/>
                  </a:lnTo>
                  <a:lnTo>
                    <a:pt x="4276" y="5670"/>
                  </a:lnTo>
                  <a:lnTo>
                    <a:pt x="4264" y="5679"/>
                  </a:lnTo>
                  <a:lnTo>
                    <a:pt x="4252" y="5686"/>
                  </a:lnTo>
                  <a:lnTo>
                    <a:pt x="4238" y="5691"/>
                  </a:lnTo>
                  <a:lnTo>
                    <a:pt x="4224" y="5694"/>
                  </a:lnTo>
                  <a:lnTo>
                    <a:pt x="4224" y="5694"/>
                  </a:lnTo>
                  <a:lnTo>
                    <a:pt x="4216" y="5695"/>
                  </a:lnTo>
                  <a:lnTo>
                    <a:pt x="4208" y="5695"/>
                  </a:lnTo>
                  <a:lnTo>
                    <a:pt x="4198" y="5694"/>
                  </a:lnTo>
                  <a:lnTo>
                    <a:pt x="4188" y="5692"/>
                  </a:lnTo>
                  <a:lnTo>
                    <a:pt x="4168" y="5687"/>
                  </a:lnTo>
                  <a:lnTo>
                    <a:pt x="4145" y="5679"/>
                  </a:lnTo>
                  <a:lnTo>
                    <a:pt x="4123" y="5668"/>
                  </a:lnTo>
                  <a:lnTo>
                    <a:pt x="4099" y="5657"/>
                  </a:lnTo>
                  <a:lnTo>
                    <a:pt x="4051" y="5635"/>
                  </a:lnTo>
                  <a:lnTo>
                    <a:pt x="4028" y="5623"/>
                  </a:lnTo>
                  <a:lnTo>
                    <a:pt x="4005" y="5614"/>
                  </a:lnTo>
                  <a:lnTo>
                    <a:pt x="3984" y="5607"/>
                  </a:lnTo>
                  <a:lnTo>
                    <a:pt x="3964" y="5602"/>
                  </a:lnTo>
                  <a:lnTo>
                    <a:pt x="3955" y="5601"/>
                  </a:lnTo>
                  <a:lnTo>
                    <a:pt x="3947" y="5600"/>
                  </a:lnTo>
                  <a:lnTo>
                    <a:pt x="3939" y="5601"/>
                  </a:lnTo>
                  <a:lnTo>
                    <a:pt x="3932" y="5602"/>
                  </a:lnTo>
                  <a:lnTo>
                    <a:pt x="3924" y="5605"/>
                  </a:lnTo>
                  <a:lnTo>
                    <a:pt x="3919" y="5609"/>
                  </a:lnTo>
                  <a:lnTo>
                    <a:pt x="3914" y="5614"/>
                  </a:lnTo>
                  <a:lnTo>
                    <a:pt x="3909" y="5620"/>
                  </a:lnTo>
                  <a:lnTo>
                    <a:pt x="3909" y="5620"/>
                  </a:lnTo>
                  <a:lnTo>
                    <a:pt x="3905" y="5627"/>
                  </a:lnTo>
                  <a:lnTo>
                    <a:pt x="3900" y="5635"/>
                  </a:lnTo>
                  <a:lnTo>
                    <a:pt x="3893" y="5641"/>
                  </a:lnTo>
                  <a:lnTo>
                    <a:pt x="3886" y="5647"/>
                  </a:lnTo>
                  <a:lnTo>
                    <a:pt x="3869" y="5658"/>
                  </a:lnTo>
                  <a:lnTo>
                    <a:pt x="3851" y="5668"/>
                  </a:lnTo>
                  <a:lnTo>
                    <a:pt x="3810" y="5690"/>
                  </a:lnTo>
                  <a:lnTo>
                    <a:pt x="3789" y="5701"/>
                  </a:lnTo>
                  <a:lnTo>
                    <a:pt x="3770" y="5714"/>
                  </a:lnTo>
                  <a:lnTo>
                    <a:pt x="3761" y="5720"/>
                  </a:lnTo>
                  <a:lnTo>
                    <a:pt x="3752" y="5729"/>
                  </a:lnTo>
                  <a:lnTo>
                    <a:pt x="3743" y="5736"/>
                  </a:lnTo>
                  <a:lnTo>
                    <a:pt x="3735" y="5745"/>
                  </a:lnTo>
                  <a:lnTo>
                    <a:pt x="3728" y="5754"/>
                  </a:lnTo>
                  <a:lnTo>
                    <a:pt x="3722" y="5764"/>
                  </a:lnTo>
                  <a:lnTo>
                    <a:pt x="3717" y="5775"/>
                  </a:lnTo>
                  <a:lnTo>
                    <a:pt x="3713" y="5787"/>
                  </a:lnTo>
                  <a:lnTo>
                    <a:pt x="3710" y="5799"/>
                  </a:lnTo>
                  <a:lnTo>
                    <a:pt x="3708" y="5813"/>
                  </a:lnTo>
                  <a:lnTo>
                    <a:pt x="3707" y="5827"/>
                  </a:lnTo>
                  <a:lnTo>
                    <a:pt x="3707" y="5843"/>
                  </a:lnTo>
                  <a:lnTo>
                    <a:pt x="3709" y="5860"/>
                  </a:lnTo>
                  <a:lnTo>
                    <a:pt x="3713" y="5877"/>
                  </a:lnTo>
                  <a:lnTo>
                    <a:pt x="3718" y="5896"/>
                  </a:lnTo>
                  <a:lnTo>
                    <a:pt x="3724" y="5917"/>
                  </a:lnTo>
                  <a:lnTo>
                    <a:pt x="3724" y="5917"/>
                  </a:lnTo>
                  <a:lnTo>
                    <a:pt x="3741" y="5896"/>
                  </a:lnTo>
                  <a:lnTo>
                    <a:pt x="3759" y="5875"/>
                  </a:lnTo>
                  <a:lnTo>
                    <a:pt x="3776" y="5856"/>
                  </a:lnTo>
                  <a:lnTo>
                    <a:pt x="3794" y="5840"/>
                  </a:lnTo>
                  <a:lnTo>
                    <a:pt x="3802" y="5833"/>
                  </a:lnTo>
                  <a:lnTo>
                    <a:pt x="3811" y="5827"/>
                  </a:lnTo>
                  <a:lnTo>
                    <a:pt x="3819" y="5821"/>
                  </a:lnTo>
                  <a:lnTo>
                    <a:pt x="3827" y="5817"/>
                  </a:lnTo>
                  <a:lnTo>
                    <a:pt x="3835" y="5815"/>
                  </a:lnTo>
                  <a:lnTo>
                    <a:pt x="3843" y="5813"/>
                  </a:lnTo>
                  <a:lnTo>
                    <a:pt x="3850" y="5813"/>
                  </a:lnTo>
                  <a:lnTo>
                    <a:pt x="3857" y="5815"/>
                  </a:lnTo>
                  <a:lnTo>
                    <a:pt x="3857" y="5815"/>
                  </a:lnTo>
                  <a:lnTo>
                    <a:pt x="3861" y="5817"/>
                  </a:lnTo>
                  <a:lnTo>
                    <a:pt x="3864" y="5819"/>
                  </a:lnTo>
                  <a:lnTo>
                    <a:pt x="3870" y="5825"/>
                  </a:lnTo>
                  <a:lnTo>
                    <a:pt x="3875" y="5833"/>
                  </a:lnTo>
                  <a:lnTo>
                    <a:pt x="3879" y="5841"/>
                  </a:lnTo>
                  <a:lnTo>
                    <a:pt x="3888" y="5862"/>
                  </a:lnTo>
                  <a:lnTo>
                    <a:pt x="3894" y="5872"/>
                  </a:lnTo>
                  <a:lnTo>
                    <a:pt x="3901" y="5882"/>
                  </a:lnTo>
                  <a:lnTo>
                    <a:pt x="3901" y="5882"/>
                  </a:lnTo>
                  <a:lnTo>
                    <a:pt x="3904" y="5885"/>
                  </a:lnTo>
                  <a:lnTo>
                    <a:pt x="3908" y="5887"/>
                  </a:lnTo>
                  <a:lnTo>
                    <a:pt x="3913" y="5889"/>
                  </a:lnTo>
                  <a:lnTo>
                    <a:pt x="3919" y="5890"/>
                  </a:lnTo>
                  <a:lnTo>
                    <a:pt x="3934" y="5892"/>
                  </a:lnTo>
                  <a:lnTo>
                    <a:pt x="3950" y="5892"/>
                  </a:lnTo>
                  <a:lnTo>
                    <a:pt x="3968" y="5891"/>
                  </a:lnTo>
                  <a:lnTo>
                    <a:pt x="3989" y="5889"/>
                  </a:lnTo>
                  <a:lnTo>
                    <a:pt x="4032" y="5885"/>
                  </a:lnTo>
                  <a:lnTo>
                    <a:pt x="4074" y="5881"/>
                  </a:lnTo>
                  <a:lnTo>
                    <a:pt x="4093" y="5879"/>
                  </a:lnTo>
                  <a:lnTo>
                    <a:pt x="4110" y="5879"/>
                  </a:lnTo>
                  <a:lnTo>
                    <a:pt x="4126" y="5879"/>
                  </a:lnTo>
                  <a:lnTo>
                    <a:pt x="4137" y="5881"/>
                  </a:lnTo>
                  <a:lnTo>
                    <a:pt x="4142" y="5883"/>
                  </a:lnTo>
                  <a:lnTo>
                    <a:pt x="4146" y="5885"/>
                  </a:lnTo>
                  <a:lnTo>
                    <a:pt x="4148" y="5887"/>
                  </a:lnTo>
                  <a:lnTo>
                    <a:pt x="4150" y="5890"/>
                  </a:lnTo>
                  <a:lnTo>
                    <a:pt x="4150" y="5890"/>
                  </a:lnTo>
                  <a:lnTo>
                    <a:pt x="4151" y="5893"/>
                  </a:lnTo>
                  <a:lnTo>
                    <a:pt x="4150" y="5896"/>
                  </a:lnTo>
                  <a:lnTo>
                    <a:pt x="4149" y="5898"/>
                  </a:lnTo>
                  <a:lnTo>
                    <a:pt x="4148" y="5900"/>
                  </a:lnTo>
                  <a:lnTo>
                    <a:pt x="4143" y="5904"/>
                  </a:lnTo>
                  <a:lnTo>
                    <a:pt x="4136" y="5905"/>
                  </a:lnTo>
                  <a:lnTo>
                    <a:pt x="4118" y="5908"/>
                  </a:lnTo>
                  <a:lnTo>
                    <a:pt x="4100" y="5910"/>
                  </a:lnTo>
                  <a:lnTo>
                    <a:pt x="4100" y="5910"/>
                  </a:lnTo>
                  <a:lnTo>
                    <a:pt x="4021" y="5924"/>
                  </a:lnTo>
                  <a:lnTo>
                    <a:pt x="3981" y="5931"/>
                  </a:lnTo>
                  <a:lnTo>
                    <a:pt x="3943" y="5939"/>
                  </a:lnTo>
                  <a:lnTo>
                    <a:pt x="3925" y="5944"/>
                  </a:lnTo>
                  <a:lnTo>
                    <a:pt x="3909" y="5950"/>
                  </a:lnTo>
                  <a:lnTo>
                    <a:pt x="3894" y="5956"/>
                  </a:lnTo>
                  <a:lnTo>
                    <a:pt x="3881" y="5962"/>
                  </a:lnTo>
                  <a:lnTo>
                    <a:pt x="3869" y="5968"/>
                  </a:lnTo>
                  <a:lnTo>
                    <a:pt x="3860" y="5976"/>
                  </a:lnTo>
                  <a:lnTo>
                    <a:pt x="3853" y="5984"/>
                  </a:lnTo>
                  <a:lnTo>
                    <a:pt x="3850" y="5988"/>
                  </a:lnTo>
                  <a:lnTo>
                    <a:pt x="3848" y="5993"/>
                  </a:lnTo>
                  <a:lnTo>
                    <a:pt x="3848" y="5993"/>
                  </a:lnTo>
                  <a:lnTo>
                    <a:pt x="3846" y="6000"/>
                  </a:lnTo>
                  <a:lnTo>
                    <a:pt x="3846" y="6004"/>
                  </a:lnTo>
                  <a:lnTo>
                    <a:pt x="3847" y="6014"/>
                  </a:lnTo>
                  <a:lnTo>
                    <a:pt x="3847" y="6019"/>
                  </a:lnTo>
                  <a:lnTo>
                    <a:pt x="3846" y="6025"/>
                  </a:lnTo>
                  <a:lnTo>
                    <a:pt x="3845" y="6033"/>
                  </a:lnTo>
                  <a:lnTo>
                    <a:pt x="3842" y="6044"/>
                  </a:lnTo>
                  <a:lnTo>
                    <a:pt x="3842" y="6044"/>
                  </a:lnTo>
                  <a:lnTo>
                    <a:pt x="3837" y="6055"/>
                  </a:lnTo>
                  <a:lnTo>
                    <a:pt x="3831" y="6064"/>
                  </a:lnTo>
                  <a:lnTo>
                    <a:pt x="3823" y="6072"/>
                  </a:lnTo>
                  <a:lnTo>
                    <a:pt x="3815" y="6080"/>
                  </a:lnTo>
                  <a:lnTo>
                    <a:pt x="3796" y="6096"/>
                  </a:lnTo>
                  <a:lnTo>
                    <a:pt x="3786" y="6104"/>
                  </a:lnTo>
                  <a:lnTo>
                    <a:pt x="3776" y="6113"/>
                  </a:lnTo>
                  <a:lnTo>
                    <a:pt x="3767" y="6122"/>
                  </a:lnTo>
                  <a:lnTo>
                    <a:pt x="3758" y="6134"/>
                  </a:lnTo>
                  <a:lnTo>
                    <a:pt x="3750" y="6147"/>
                  </a:lnTo>
                  <a:lnTo>
                    <a:pt x="3742" y="6161"/>
                  </a:lnTo>
                  <a:lnTo>
                    <a:pt x="3736" y="6179"/>
                  </a:lnTo>
                  <a:lnTo>
                    <a:pt x="3732" y="6198"/>
                  </a:lnTo>
                  <a:lnTo>
                    <a:pt x="3730" y="6220"/>
                  </a:lnTo>
                  <a:lnTo>
                    <a:pt x="3730" y="6246"/>
                  </a:lnTo>
                  <a:lnTo>
                    <a:pt x="3730" y="6246"/>
                  </a:lnTo>
                  <a:lnTo>
                    <a:pt x="3732" y="6259"/>
                  </a:lnTo>
                  <a:lnTo>
                    <a:pt x="3735" y="6272"/>
                  </a:lnTo>
                  <a:lnTo>
                    <a:pt x="3739" y="6284"/>
                  </a:lnTo>
                  <a:lnTo>
                    <a:pt x="3744" y="6296"/>
                  </a:lnTo>
                  <a:lnTo>
                    <a:pt x="3751" y="6306"/>
                  </a:lnTo>
                  <a:lnTo>
                    <a:pt x="3757" y="6318"/>
                  </a:lnTo>
                  <a:lnTo>
                    <a:pt x="3763" y="6327"/>
                  </a:lnTo>
                  <a:lnTo>
                    <a:pt x="3770" y="6336"/>
                  </a:lnTo>
                  <a:lnTo>
                    <a:pt x="3784" y="6351"/>
                  </a:lnTo>
                  <a:lnTo>
                    <a:pt x="3797" y="6363"/>
                  </a:lnTo>
                  <a:lnTo>
                    <a:pt x="3807" y="6370"/>
                  </a:lnTo>
                  <a:lnTo>
                    <a:pt x="3810" y="6372"/>
                  </a:lnTo>
                  <a:lnTo>
                    <a:pt x="3813" y="6373"/>
                  </a:lnTo>
                  <a:lnTo>
                    <a:pt x="3813" y="6373"/>
                  </a:lnTo>
                  <a:lnTo>
                    <a:pt x="3814" y="6372"/>
                  </a:lnTo>
                  <a:lnTo>
                    <a:pt x="3815" y="6371"/>
                  </a:lnTo>
                  <a:lnTo>
                    <a:pt x="3816" y="6366"/>
                  </a:lnTo>
                  <a:lnTo>
                    <a:pt x="3818" y="6358"/>
                  </a:lnTo>
                  <a:lnTo>
                    <a:pt x="3818" y="6348"/>
                  </a:lnTo>
                  <a:lnTo>
                    <a:pt x="3820" y="6324"/>
                  </a:lnTo>
                  <a:lnTo>
                    <a:pt x="3823" y="6295"/>
                  </a:lnTo>
                  <a:lnTo>
                    <a:pt x="3825" y="6281"/>
                  </a:lnTo>
                  <a:lnTo>
                    <a:pt x="3828" y="6265"/>
                  </a:lnTo>
                  <a:lnTo>
                    <a:pt x="3831" y="6252"/>
                  </a:lnTo>
                  <a:lnTo>
                    <a:pt x="3836" y="6239"/>
                  </a:lnTo>
                  <a:lnTo>
                    <a:pt x="3843" y="6228"/>
                  </a:lnTo>
                  <a:lnTo>
                    <a:pt x="3847" y="6224"/>
                  </a:lnTo>
                  <a:lnTo>
                    <a:pt x="3851" y="6218"/>
                  </a:lnTo>
                  <a:lnTo>
                    <a:pt x="3855" y="6215"/>
                  </a:lnTo>
                  <a:lnTo>
                    <a:pt x="3860" y="6212"/>
                  </a:lnTo>
                  <a:lnTo>
                    <a:pt x="3865" y="6209"/>
                  </a:lnTo>
                  <a:lnTo>
                    <a:pt x="3871" y="6208"/>
                  </a:lnTo>
                  <a:lnTo>
                    <a:pt x="3871" y="6208"/>
                  </a:lnTo>
                  <a:lnTo>
                    <a:pt x="3877" y="6207"/>
                  </a:lnTo>
                  <a:lnTo>
                    <a:pt x="3882" y="6208"/>
                  </a:lnTo>
                  <a:lnTo>
                    <a:pt x="3888" y="6210"/>
                  </a:lnTo>
                  <a:lnTo>
                    <a:pt x="3892" y="6214"/>
                  </a:lnTo>
                  <a:lnTo>
                    <a:pt x="3902" y="6223"/>
                  </a:lnTo>
                  <a:lnTo>
                    <a:pt x="3911" y="6233"/>
                  </a:lnTo>
                  <a:lnTo>
                    <a:pt x="3921" y="6243"/>
                  </a:lnTo>
                  <a:lnTo>
                    <a:pt x="3926" y="6248"/>
                  </a:lnTo>
                  <a:lnTo>
                    <a:pt x="3933" y="6252"/>
                  </a:lnTo>
                  <a:lnTo>
                    <a:pt x="3940" y="6256"/>
                  </a:lnTo>
                  <a:lnTo>
                    <a:pt x="3946" y="6259"/>
                  </a:lnTo>
                  <a:lnTo>
                    <a:pt x="3954" y="6260"/>
                  </a:lnTo>
                  <a:lnTo>
                    <a:pt x="3962" y="6261"/>
                  </a:lnTo>
                  <a:lnTo>
                    <a:pt x="3962" y="6261"/>
                  </a:lnTo>
                  <a:lnTo>
                    <a:pt x="3970" y="6260"/>
                  </a:lnTo>
                  <a:lnTo>
                    <a:pt x="3979" y="6257"/>
                  </a:lnTo>
                  <a:lnTo>
                    <a:pt x="3987" y="6254"/>
                  </a:lnTo>
                  <a:lnTo>
                    <a:pt x="3996" y="6250"/>
                  </a:lnTo>
                  <a:lnTo>
                    <a:pt x="4005" y="6244"/>
                  </a:lnTo>
                  <a:lnTo>
                    <a:pt x="4014" y="6238"/>
                  </a:lnTo>
                  <a:lnTo>
                    <a:pt x="4035" y="6221"/>
                  </a:lnTo>
                  <a:lnTo>
                    <a:pt x="4055" y="6204"/>
                  </a:lnTo>
                  <a:lnTo>
                    <a:pt x="4077" y="6184"/>
                  </a:lnTo>
                  <a:lnTo>
                    <a:pt x="4122" y="6141"/>
                  </a:lnTo>
                  <a:lnTo>
                    <a:pt x="4144" y="6119"/>
                  </a:lnTo>
                  <a:lnTo>
                    <a:pt x="4166" y="6099"/>
                  </a:lnTo>
                  <a:lnTo>
                    <a:pt x="4187" y="6079"/>
                  </a:lnTo>
                  <a:lnTo>
                    <a:pt x="4208" y="6064"/>
                  </a:lnTo>
                  <a:lnTo>
                    <a:pt x="4227" y="6051"/>
                  </a:lnTo>
                  <a:lnTo>
                    <a:pt x="4236" y="6046"/>
                  </a:lnTo>
                  <a:lnTo>
                    <a:pt x="4245" y="6042"/>
                  </a:lnTo>
                  <a:lnTo>
                    <a:pt x="4254" y="6038"/>
                  </a:lnTo>
                  <a:lnTo>
                    <a:pt x="4262" y="6036"/>
                  </a:lnTo>
                  <a:lnTo>
                    <a:pt x="4270" y="6036"/>
                  </a:lnTo>
                  <a:lnTo>
                    <a:pt x="4277" y="6037"/>
                  </a:lnTo>
                  <a:lnTo>
                    <a:pt x="4277" y="6037"/>
                  </a:lnTo>
                  <a:lnTo>
                    <a:pt x="4278" y="6038"/>
                  </a:lnTo>
                  <a:lnTo>
                    <a:pt x="4279" y="6041"/>
                  </a:lnTo>
                  <a:lnTo>
                    <a:pt x="4278" y="6044"/>
                  </a:lnTo>
                  <a:lnTo>
                    <a:pt x="4277" y="6046"/>
                  </a:lnTo>
                  <a:lnTo>
                    <a:pt x="4272" y="6053"/>
                  </a:lnTo>
                  <a:lnTo>
                    <a:pt x="4264" y="6061"/>
                  </a:lnTo>
                  <a:lnTo>
                    <a:pt x="4241" y="6082"/>
                  </a:lnTo>
                  <a:lnTo>
                    <a:pt x="4212" y="6109"/>
                  </a:lnTo>
                  <a:lnTo>
                    <a:pt x="4181" y="6139"/>
                  </a:lnTo>
                  <a:lnTo>
                    <a:pt x="4167" y="6154"/>
                  </a:lnTo>
                  <a:lnTo>
                    <a:pt x="4152" y="6170"/>
                  </a:lnTo>
                  <a:lnTo>
                    <a:pt x="4140" y="6187"/>
                  </a:lnTo>
                  <a:lnTo>
                    <a:pt x="4129" y="6204"/>
                  </a:lnTo>
                  <a:lnTo>
                    <a:pt x="4121" y="6220"/>
                  </a:lnTo>
                  <a:lnTo>
                    <a:pt x="4118" y="6229"/>
                  </a:lnTo>
                  <a:lnTo>
                    <a:pt x="4116" y="6238"/>
                  </a:lnTo>
                  <a:lnTo>
                    <a:pt x="4116" y="6238"/>
                  </a:lnTo>
                  <a:lnTo>
                    <a:pt x="4114" y="6250"/>
                  </a:lnTo>
                  <a:lnTo>
                    <a:pt x="4114" y="6261"/>
                  </a:lnTo>
                  <a:lnTo>
                    <a:pt x="4115" y="6273"/>
                  </a:lnTo>
                  <a:lnTo>
                    <a:pt x="4119" y="6282"/>
                  </a:lnTo>
                  <a:lnTo>
                    <a:pt x="4123" y="6290"/>
                  </a:lnTo>
                  <a:lnTo>
                    <a:pt x="4129" y="6298"/>
                  </a:lnTo>
                  <a:lnTo>
                    <a:pt x="4135" y="6305"/>
                  </a:lnTo>
                  <a:lnTo>
                    <a:pt x="4142" y="6311"/>
                  </a:lnTo>
                  <a:lnTo>
                    <a:pt x="4157" y="6325"/>
                  </a:lnTo>
                  <a:lnTo>
                    <a:pt x="4163" y="6331"/>
                  </a:lnTo>
                  <a:lnTo>
                    <a:pt x="4169" y="6338"/>
                  </a:lnTo>
                  <a:lnTo>
                    <a:pt x="4175" y="6345"/>
                  </a:lnTo>
                  <a:lnTo>
                    <a:pt x="4179" y="6352"/>
                  </a:lnTo>
                  <a:lnTo>
                    <a:pt x="4182" y="6361"/>
                  </a:lnTo>
                  <a:lnTo>
                    <a:pt x="4183" y="6370"/>
                  </a:lnTo>
                  <a:lnTo>
                    <a:pt x="4183" y="6370"/>
                  </a:lnTo>
                  <a:lnTo>
                    <a:pt x="4184" y="6380"/>
                  </a:lnTo>
                  <a:lnTo>
                    <a:pt x="4186" y="6391"/>
                  </a:lnTo>
                  <a:lnTo>
                    <a:pt x="4189" y="6400"/>
                  </a:lnTo>
                  <a:lnTo>
                    <a:pt x="4193" y="6411"/>
                  </a:lnTo>
                  <a:lnTo>
                    <a:pt x="4198" y="6420"/>
                  </a:lnTo>
                  <a:lnTo>
                    <a:pt x="4205" y="6429"/>
                  </a:lnTo>
                  <a:lnTo>
                    <a:pt x="4212" y="6437"/>
                  </a:lnTo>
                  <a:lnTo>
                    <a:pt x="4220" y="6445"/>
                  </a:lnTo>
                  <a:lnTo>
                    <a:pt x="4228" y="6454"/>
                  </a:lnTo>
                  <a:lnTo>
                    <a:pt x="4237" y="6461"/>
                  </a:lnTo>
                  <a:lnTo>
                    <a:pt x="4257" y="6474"/>
                  </a:lnTo>
                  <a:lnTo>
                    <a:pt x="4278" y="6486"/>
                  </a:lnTo>
                  <a:lnTo>
                    <a:pt x="4300" y="6497"/>
                  </a:lnTo>
                  <a:lnTo>
                    <a:pt x="4322" y="6506"/>
                  </a:lnTo>
                  <a:lnTo>
                    <a:pt x="4344" y="6514"/>
                  </a:lnTo>
                  <a:lnTo>
                    <a:pt x="4364" y="6519"/>
                  </a:lnTo>
                  <a:lnTo>
                    <a:pt x="4382" y="6524"/>
                  </a:lnTo>
                  <a:lnTo>
                    <a:pt x="4399" y="6526"/>
                  </a:lnTo>
                  <a:lnTo>
                    <a:pt x="4412" y="6527"/>
                  </a:lnTo>
                  <a:lnTo>
                    <a:pt x="4421" y="6527"/>
                  </a:lnTo>
                  <a:lnTo>
                    <a:pt x="4424" y="6526"/>
                  </a:lnTo>
                  <a:lnTo>
                    <a:pt x="4426" y="6525"/>
                  </a:lnTo>
                  <a:lnTo>
                    <a:pt x="4426" y="6525"/>
                  </a:lnTo>
                  <a:lnTo>
                    <a:pt x="4427" y="6523"/>
                  </a:lnTo>
                  <a:lnTo>
                    <a:pt x="4427" y="6521"/>
                  </a:lnTo>
                  <a:lnTo>
                    <a:pt x="4425" y="6515"/>
                  </a:lnTo>
                  <a:lnTo>
                    <a:pt x="4420" y="6508"/>
                  </a:lnTo>
                  <a:lnTo>
                    <a:pt x="4412" y="6498"/>
                  </a:lnTo>
                  <a:lnTo>
                    <a:pt x="4393" y="6475"/>
                  </a:lnTo>
                  <a:lnTo>
                    <a:pt x="4369" y="6448"/>
                  </a:lnTo>
                  <a:lnTo>
                    <a:pt x="4358" y="6435"/>
                  </a:lnTo>
                  <a:lnTo>
                    <a:pt x="4348" y="6421"/>
                  </a:lnTo>
                  <a:lnTo>
                    <a:pt x="4339" y="6407"/>
                  </a:lnTo>
                  <a:lnTo>
                    <a:pt x="4330" y="6393"/>
                  </a:lnTo>
                  <a:lnTo>
                    <a:pt x="4325" y="6380"/>
                  </a:lnTo>
                  <a:lnTo>
                    <a:pt x="4324" y="6374"/>
                  </a:lnTo>
                  <a:lnTo>
                    <a:pt x="4323" y="6368"/>
                  </a:lnTo>
                  <a:lnTo>
                    <a:pt x="4323" y="6362"/>
                  </a:lnTo>
                  <a:lnTo>
                    <a:pt x="4324" y="6356"/>
                  </a:lnTo>
                  <a:lnTo>
                    <a:pt x="4326" y="6351"/>
                  </a:lnTo>
                  <a:lnTo>
                    <a:pt x="4329" y="6346"/>
                  </a:lnTo>
                  <a:lnTo>
                    <a:pt x="4329" y="6346"/>
                  </a:lnTo>
                  <a:lnTo>
                    <a:pt x="4333" y="6342"/>
                  </a:lnTo>
                  <a:lnTo>
                    <a:pt x="4337" y="6339"/>
                  </a:lnTo>
                  <a:lnTo>
                    <a:pt x="4343" y="6338"/>
                  </a:lnTo>
                  <a:lnTo>
                    <a:pt x="4347" y="6337"/>
                  </a:lnTo>
                  <a:lnTo>
                    <a:pt x="4352" y="6337"/>
                  </a:lnTo>
                  <a:lnTo>
                    <a:pt x="4358" y="6338"/>
                  </a:lnTo>
                  <a:lnTo>
                    <a:pt x="4370" y="6340"/>
                  </a:lnTo>
                  <a:lnTo>
                    <a:pt x="4384" y="6343"/>
                  </a:lnTo>
                  <a:lnTo>
                    <a:pt x="4392" y="6344"/>
                  </a:lnTo>
                  <a:lnTo>
                    <a:pt x="4399" y="6344"/>
                  </a:lnTo>
                  <a:lnTo>
                    <a:pt x="4408" y="6344"/>
                  </a:lnTo>
                  <a:lnTo>
                    <a:pt x="4416" y="6343"/>
                  </a:lnTo>
                  <a:lnTo>
                    <a:pt x="4425" y="6341"/>
                  </a:lnTo>
                  <a:lnTo>
                    <a:pt x="4436" y="6337"/>
                  </a:lnTo>
                  <a:lnTo>
                    <a:pt x="4436" y="6337"/>
                  </a:lnTo>
                  <a:lnTo>
                    <a:pt x="4437" y="6335"/>
                  </a:lnTo>
                  <a:lnTo>
                    <a:pt x="4438" y="6332"/>
                  </a:lnTo>
                  <a:lnTo>
                    <a:pt x="4438" y="6325"/>
                  </a:lnTo>
                  <a:lnTo>
                    <a:pt x="4436" y="6314"/>
                  </a:lnTo>
                  <a:lnTo>
                    <a:pt x="4434" y="6299"/>
                  </a:lnTo>
                  <a:lnTo>
                    <a:pt x="4431" y="6283"/>
                  </a:lnTo>
                  <a:lnTo>
                    <a:pt x="4428" y="6264"/>
                  </a:lnTo>
                  <a:lnTo>
                    <a:pt x="4426" y="6243"/>
                  </a:lnTo>
                  <a:lnTo>
                    <a:pt x="4426" y="6219"/>
                  </a:lnTo>
                  <a:lnTo>
                    <a:pt x="4428" y="6195"/>
                  </a:lnTo>
                  <a:lnTo>
                    <a:pt x="4431" y="6182"/>
                  </a:lnTo>
                  <a:lnTo>
                    <a:pt x="4434" y="6167"/>
                  </a:lnTo>
                  <a:lnTo>
                    <a:pt x="4437" y="6154"/>
                  </a:lnTo>
                  <a:lnTo>
                    <a:pt x="4441" y="6139"/>
                  </a:lnTo>
                  <a:lnTo>
                    <a:pt x="4446" y="6124"/>
                  </a:lnTo>
                  <a:lnTo>
                    <a:pt x="4453" y="6109"/>
                  </a:lnTo>
                  <a:lnTo>
                    <a:pt x="4460" y="6094"/>
                  </a:lnTo>
                  <a:lnTo>
                    <a:pt x="4469" y="6078"/>
                  </a:lnTo>
                  <a:lnTo>
                    <a:pt x="4479" y="6062"/>
                  </a:lnTo>
                  <a:lnTo>
                    <a:pt x="4490" y="6046"/>
                  </a:lnTo>
                  <a:lnTo>
                    <a:pt x="4503" y="6029"/>
                  </a:lnTo>
                  <a:lnTo>
                    <a:pt x="4516" y="6013"/>
                  </a:lnTo>
                  <a:lnTo>
                    <a:pt x="4533" y="5996"/>
                  </a:lnTo>
                  <a:lnTo>
                    <a:pt x="4550" y="5979"/>
                  </a:lnTo>
                  <a:lnTo>
                    <a:pt x="4550" y="5979"/>
                  </a:lnTo>
                  <a:lnTo>
                    <a:pt x="4557" y="5990"/>
                  </a:lnTo>
                  <a:lnTo>
                    <a:pt x="4566" y="6002"/>
                  </a:lnTo>
                  <a:lnTo>
                    <a:pt x="4578" y="6015"/>
                  </a:lnTo>
                  <a:lnTo>
                    <a:pt x="4586" y="6022"/>
                  </a:lnTo>
                  <a:lnTo>
                    <a:pt x="4594" y="6029"/>
                  </a:lnTo>
                  <a:lnTo>
                    <a:pt x="4603" y="6035"/>
                  </a:lnTo>
                  <a:lnTo>
                    <a:pt x="4614" y="6043"/>
                  </a:lnTo>
                  <a:lnTo>
                    <a:pt x="4624" y="6048"/>
                  </a:lnTo>
                  <a:lnTo>
                    <a:pt x="4636" y="6052"/>
                  </a:lnTo>
                  <a:lnTo>
                    <a:pt x="4648" y="6056"/>
                  </a:lnTo>
                  <a:lnTo>
                    <a:pt x="4662" y="6058"/>
                  </a:lnTo>
                  <a:lnTo>
                    <a:pt x="4662" y="6058"/>
                  </a:lnTo>
                  <a:lnTo>
                    <a:pt x="4668" y="6059"/>
                  </a:lnTo>
                  <a:lnTo>
                    <a:pt x="4673" y="6061"/>
                  </a:lnTo>
                  <a:lnTo>
                    <a:pt x="4677" y="6064"/>
                  </a:lnTo>
                  <a:lnTo>
                    <a:pt x="4681" y="6067"/>
                  </a:lnTo>
                  <a:lnTo>
                    <a:pt x="4685" y="6071"/>
                  </a:lnTo>
                  <a:lnTo>
                    <a:pt x="4688" y="6075"/>
                  </a:lnTo>
                  <a:lnTo>
                    <a:pt x="4692" y="6087"/>
                  </a:lnTo>
                  <a:lnTo>
                    <a:pt x="4696" y="6099"/>
                  </a:lnTo>
                  <a:lnTo>
                    <a:pt x="4698" y="6112"/>
                  </a:lnTo>
                  <a:lnTo>
                    <a:pt x="4698" y="6125"/>
                  </a:lnTo>
                  <a:lnTo>
                    <a:pt x="4698" y="6140"/>
                  </a:lnTo>
                  <a:lnTo>
                    <a:pt x="4696" y="6168"/>
                  </a:lnTo>
                  <a:lnTo>
                    <a:pt x="4694" y="6193"/>
                  </a:lnTo>
                  <a:lnTo>
                    <a:pt x="4692" y="6210"/>
                  </a:lnTo>
                  <a:lnTo>
                    <a:pt x="4692" y="6215"/>
                  </a:lnTo>
                  <a:lnTo>
                    <a:pt x="4693" y="6216"/>
                  </a:lnTo>
                  <a:lnTo>
                    <a:pt x="4694" y="6216"/>
                  </a:lnTo>
                  <a:lnTo>
                    <a:pt x="4694" y="6216"/>
                  </a:lnTo>
                  <a:lnTo>
                    <a:pt x="4697" y="6215"/>
                  </a:lnTo>
                  <a:lnTo>
                    <a:pt x="4702" y="6212"/>
                  </a:lnTo>
                  <a:lnTo>
                    <a:pt x="4708" y="6207"/>
                  </a:lnTo>
                  <a:lnTo>
                    <a:pt x="4714" y="6200"/>
                  </a:lnTo>
                  <a:lnTo>
                    <a:pt x="4721" y="6191"/>
                  </a:lnTo>
                  <a:lnTo>
                    <a:pt x="4729" y="6181"/>
                  </a:lnTo>
                  <a:lnTo>
                    <a:pt x="4736" y="6167"/>
                  </a:lnTo>
                  <a:lnTo>
                    <a:pt x="4743" y="6154"/>
                  </a:lnTo>
                  <a:lnTo>
                    <a:pt x="4751" y="6139"/>
                  </a:lnTo>
                  <a:lnTo>
                    <a:pt x="4758" y="6121"/>
                  </a:lnTo>
                  <a:lnTo>
                    <a:pt x="4763" y="6104"/>
                  </a:lnTo>
                  <a:lnTo>
                    <a:pt x="4768" y="6084"/>
                  </a:lnTo>
                  <a:lnTo>
                    <a:pt x="4771" y="6064"/>
                  </a:lnTo>
                  <a:lnTo>
                    <a:pt x="4773" y="6044"/>
                  </a:lnTo>
                  <a:lnTo>
                    <a:pt x="4772" y="6022"/>
                  </a:lnTo>
                  <a:lnTo>
                    <a:pt x="4770" y="6000"/>
                  </a:lnTo>
                  <a:lnTo>
                    <a:pt x="4770" y="6000"/>
                  </a:lnTo>
                  <a:lnTo>
                    <a:pt x="4778" y="5992"/>
                  </a:lnTo>
                  <a:lnTo>
                    <a:pt x="4798" y="5975"/>
                  </a:lnTo>
                  <a:lnTo>
                    <a:pt x="4809" y="5964"/>
                  </a:lnTo>
                  <a:lnTo>
                    <a:pt x="4819" y="5952"/>
                  </a:lnTo>
                  <a:lnTo>
                    <a:pt x="4827" y="5938"/>
                  </a:lnTo>
                  <a:lnTo>
                    <a:pt x="4830" y="5932"/>
                  </a:lnTo>
                  <a:lnTo>
                    <a:pt x="4832" y="5926"/>
                  </a:lnTo>
                  <a:lnTo>
                    <a:pt x="4832" y="5926"/>
                  </a:lnTo>
                  <a:lnTo>
                    <a:pt x="4834" y="5917"/>
                  </a:lnTo>
                  <a:lnTo>
                    <a:pt x="4835" y="5908"/>
                  </a:lnTo>
                  <a:lnTo>
                    <a:pt x="4836" y="5899"/>
                  </a:lnTo>
                  <a:lnTo>
                    <a:pt x="4835" y="5892"/>
                  </a:lnTo>
                  <a:lnTo>
                    <a:pt x="4834" y="5886"/>
                  </a:lnTo>
                  <a:lnTo>
                    <a:pt x="4832" y="5880"/>
                  </a:lnTo>
                  <a:lnTo>
                    <a:pt x="4830" y="5875"/>
                  </a:lnTo>
                  <a:lnTo>
                    <a:pt x="4827" y="5870"/>
                  </a:lnTo>
                  <a:lnTo>
                    <a:pt x="4819" y="5861"/>
                  </a:lnTo>
                  <a:lnTo>
                    <a:pt x="4810" y="5851"/>
                  </a:lnTo>
                  <a:lnTo>
                    <a:pt x="4800" y="5842"/>
                  </a:lnTo>
                  <a:lnTo>
                    <a:pt x="4789" y="5831"/>
                  </a:lnTo>
                  <a:lnTo>
                    <a:pt x="4778" y="5818"/>
                  </a:lnTo>
                  <a:lnTo>
                    <a:pt x="4772" y="5810"/>
                  </a:lnTo>
                  <a:lnTo>
                    <a:pt x="4767" y="5801"/>
                  </a:lnTo>
                  <a:lnTo>
                    <a:pt x="4762" y="5792"/>
                  </a:lnTo>
                  <a:lnTo>
                    <a:pt x="4757" y="5782"/>
                  </a:lnTo>
                  <a:lnTo>
                    <a:pt x="4753" y="5770"/>
                  </a:lnTo>
                  <a:lnTo>
                    <a:pt x="4749" y="5757"/>
                  </a:lnTo>
                  <a:lnTo>
                    <a:pt x="4744" y="5743"/>
                  </a:lnTo>
                  <a:lnTo>
                    <a:pt x="4741" y="5727"/>
                  </a:lnTo>
                  <a:lnTo>
                    <a:pt x="4738" y="5710"/>
                  </a:lnTo>
                  <a:lnTo>
                    <a:pt x="4736" y="5691"/>
                  </a:lnTo>
                  <a:lnTo>
                    <a:pt x="4735" y="5670"/>
                  </a:lnTo>
                  <a:lnTo>
                    <a:pt x="4734" y="5648"/>
                  </a:lnTo>
                  <a:lnTo>
                    <a:pt x="4734" y="5623"/>
                  </a:lnTo>
                  <a:lnTo>
                    <a:pt x="4735" y="5597"/>
                  </a:lnTo>
                  <a:lnTo>
                    <a:pt x="4735" y="5597"/>
                  </a:lnTo>
                  <a:lnTo>
                    <a:pt x="4735" y="5579"/>
                  </a:lnTo>
                  <a:lnTo>
                    <a:pt x="4734" y="5573"/>
                  </a:lnTo>
                  <a:lnTo>
                    <a:pt x="4733" y="5568"/>
                  </a:lnTo>
                  <a:lnTo>
                    <a:pt x="4731" y="5563"/>
                  </a:lnTo>
                  <a:lnTo>
                    <a:pt x="4729" y="5559"/>
                  </a:lnTo>
                  <a:lnTo>
                    <a:pt x="4727" y="5556"/>
                  </a:lnTo>
                  <a:lnTo>
                    <a:pt x="4724" y="5553"/>
                  </a:lnTo>
                  <a:lnTo>
                    <a:pt x="4716" y="5547"/>
                  </a:lnTo>
                  <a:lnTo>
                    <a:pt x="4706" y="5540"/>
                  </a:lnTo>
                  <a:lnTo>
                    <a:pt x="4693" y="5530"/>
                  </a:lnTo>
                  <a:lnTo>
                    <a:pt x="4679" y="5518"/>
                  </a:lnTo>
                  <a:lnTo>
                    <a:pt x="4679" y="5518"/>
                  </a:lnTo>
                  <a:lnTo>
                    <a:pt x="4671" y="5508"/>
                  </a:lnTo>
                  <a:lnTo>
                    <a:pt x="4664" y="5498"/>
                  </a:lnTo>
                  <a:lnTo>
                    <a:pt x="4659" y="5487"/>
                  </a:lnTo>
                  <a:lnTo>
                    <a:pt x="4655" y="5477"/>
                  </a:lnTo>
                  <a:lnTo>
                    <a:pt x="4654" y="5469"/>
                  </a:lnTo>
                  <a:lnTo>
                    <a:pt x="4654" y="5466"/>
                  </a:lnTo>
                  <a:lnTo>
                    <a:pt x="4654" y="5464"/>
                  </a:lnTo>
                  <a:lnTo>
                    <a:pt x="4657" y="5462"/>
                  </a:lnTo>
                  <a:lnTo>
                    <a:pt x="4659" y="5461"/>
                  </a:lnTo>
                  <a:lnTo>
                    <a:pt x="4661" y="5461"/>
                  </a:lnTo>
                  <a:lnTo>
                    <a:pt x="4665" y="5462"/>
                  </a:lnTo>
                  <a:lnTo>
                    <a:pt x="4665" y="5462"/>
                  </a:lnTo>
                  <a:lnTo>
                    <a:pt x="4679" y="5468"/>
                  </a:lnTo>
                  <a:lnTo>
                    <a:pt x="4693" y="5472"/>
                  </a:lnTo>
                  <a:lnTo>
                    <a:pt x="4708" y="5475"/>
                  </a:lnTo>
                  <a:lnTo>
                    <a:pt x="4723" y="5476"/>
                  </a:lnTo>
                  <a:lnTo>
                    <a:pt x="4737" y="5477"/>
                  </a:lnTo>
                  <a:lnTo>
                    <a:pt x="4752" y="5478"/>
                  </a:lnTo>
                  <a:lnTo>
                    <a:pt x="4765" y="5477"/>
                  </a:lnTo>
                  <a:lnTo>
                    <a:pt x="4778" y="5476"/>
                  </a:lnTo>
                  <a:lnTo>
                    <a:pt x="4802" y="5473"/>
                  </a:lnTo>
                  <a:lnTo>
                    <a:pt x="4819" y="5469"/>
                  </a:lnTo>
                  <a:lnTo>
                    <a:pt x="4835" y="5465"/>
                  </a:lnTo>
                  <a:lnTo>
                    <a:pt x="4835" y="5465"/>
                  </a:lnTo>
                  <a:lnTo>
                    <a:pt x="4844" y="5369"/>
                  </a:lnTo>
                  <a:lnTo>
                    <a:pt x="4849" y="5294"/>
                  </a:lnTo>
                  <a:lnTo>
                    <a:pt x="4851" y="5239"/>
                  </a:lnTo>
                  <a:lnTo>
                    <a:pt x="4851" y="5201"/>
                  </a:lnTo>
                  <a:lnTo>
                    <a:pt x="4849" y="5176"/>
                  </a:lnTo>
                  <a:lnTo>
                    <a:pt x="4847" y="5161"/>
                  </a:lnTo>
                  <a:lnTo>
                    <a:pt x="4845" y="5155"/>
                  </a:lnTo>
                  <a:lnTo>
                    <a:pt x="4844" y="5153"/>
                  </a:lnTo>
                  <a:lnTo>
                    <a:pt x="4844" y="5153"/>
                  </a:lnTo>
                  <a:lnTo>
                    <a:pt x="4825" y="5154"/>
                  </a:lnTo>
                  <a:lnTo>
                    <a:pt x="4808" y="5153"/>
                  </a:lnTo>
                  <a:lnTo>
                    <a:pt x="4791" y="5152"/>
                  </a:lnTo>
                  <a:lnTo>
                    <a:pt x="4776" y="5151"/>
                  </a:lnTo>
                  <a:lnTo>
                    <a:pt x="4763" y="5149"/>
                  </a:lnTo>
                  <a:lnTo>
                    <a:pt x="4750" y="5146"/>
                  </a:lnTo>
                  <a:lnTo>
                    <a:pt x="4737" y="5143"/>
                  </a:lnTo>
                  <a:lnTo>
                    <a:pt x="4726" y="5139"/>
                  </a:lnTo>
                  <a:lnTo>
                    <a:pt x="4716" y="5135"/>
                  </a:lnTo>
                  <a:lnTo>
                    <a:pt x="4707" y="5131"/>
                  </a:lnTo>
                  <a:lnTo>
                    <a:pt x="4698" y="5125"/>
                  </a:lnTo>
                  <a:lnTo>
                    <a:pt x="4690" y="5120"/>
                  </a:lnTo>
                  <a:lnTo>
                    <a:pt x="4683" y="5114"/>
                  </a:lnTo>
                  <a:lnTo>
                    <a:pt x="4676" y="5109"/>
                  </a:lnTo>
                  <a:lnTo>
                    <a:pt x="4665" y="5096"/>
                  </a:lnTo>
                  <a:lnTo>
                    <a:pt x="4665" y="5096"/>
                  </a:lnTo>
                  <a:lnTo>
                    <a:pt x="4677" y="5099"/>
                  </a:lnTo>
                  <a:lnTo>
                    <a:pt x="4690" y="5101"/>
                  </a:lnTo>
                  <a:lnTo>
                    <a:pt x="4717" y="5103"/>
                  </a:lnTo>
                  <a:lnTo>
                    <a:pt x="4742" y="5103"/>
                  </a:lnTo>
                  <a:lnTo>
                    <a:pt x="4768" y="5101"/>
                  </a:lnTo>
                  <a:lnTo>
                    <a:pt x="4790" y="5097"/>
                  </a:lnTo>
                  <a:lnTo>
                    <a:pt x="4812" y="5091"/>
                  </a:lnTo>
                  <a:lnTo>
                    <a:pt x="4821" y="5088"/>
                  </a:lnTo>
                  <a:lnTo>
                    <a:pt x="4829" y="5084"/>
                  </a:lnTo>
                  <a:lnTo>
                    <a:pt x="4838" y="5078"/>
                  </a:lnTo>
                  <a:lnTo>
                    <a:pt x="4844" y="5074"/>
                  </a:lnTo>
                  <a:lnTo>
                    <a:pt x="4844" y="5074"/>
                  </a:lnTo>
                  <a:lnTo>
                    <a:pt x="4843" y="5026"/>
                  </a:lnTo>
                  <a:lnTo>
                    <a:pt x="4841" y="4978"/>
                  </a:lnTo>
                  <a:lnTo>
                    <a:pt x="4838" y="4923"/>
                  </a:lnTo>
                  <a:lnTo>
                    <a:pt x="4833" y="4868"/>
                  </a:lnTo>
                  <a:lnTo>
                    <a:pt x="4831" y="4843"/>
                  </a:lnTo>
                  <a:lnTo>
                    <a:pt x="4828" y="4821"/>
                  </a:lnTo>
                  <a:lnTo>
                    <a:pt x="4825" y="4802"/>
                  </a:lnTo>
                  <a:lnTo>
                    <a:pt x="4822" y="4788"/>
                  </a:lnTo>
                  <a:lnTo>
                    <a:pt x="4820" y="4783"/>
                  </a:lnTo>
                  <a:lnTo>
                    <a:pt x="4818" y="4780"/>
                  </a:lnTo>
                  <a:lnTo>
                    <a:pt x="4816" y="4778"/>
                  </a:lnTo>
                  <a:lnTo>
                    <a:pt x="4814" y="4778"/>
                  </a:lnTo>
                  <a:lnTo>
                    <a:pt x="4814" y="4778"/>
                  </a:lnTo>
                  <a:lnTo>
                    <a:pt x="4786" y="4785"/>
                  </a:lnTo>
                  <a:lnTo>
                    <a:pt x="4760" y="4790"/>
                  </a:lnTo>
                  <a:lnTo>
                    <a:pt x="4746" y="4791"/>
                  </a:lnTo>
                  <a:lnTo>
                    <a:pt x="4734" y="4792"/>
                  </a:lnTo>
                  <a:lnTo>
                    <a:pt x="4722" y="4792"/>
                  </a:lnTo>
                  <a:lnTo>
                    <a:pt x="4711" y="4791"/>
                  </a:lnTo>
                  <a:lnTo>
                    <a:pt x="4698" y="4789"/>
                  </a:lnTo>
                  <a:lnTo>
                    <a:pt x="4687" y="4787"/>
                  </a:lnTo>
                  <a:lnTo>
                    <a:pt x="4675" y="4784"/>
                  </a:lnTo>
                  <a:lnTo>
                    <a:pt x="4664" y="4780"/>
                  </a:lnTo>
                  <a:lnTo>
                    <a:pt x="4652" y="4775"/>
                  </a:lnTo>
                  <a:lnTo>
                    <a:pt x="4640" y="4770"/>
                  </a:lnTo>
                  <a:lnTo>
                    <a:pt x="4629" y="4762"/>
                  </a:lnTo>
                  <a:lnTo>
                    <a:pt x="4618" y="4755"/>
                  </a:lnTo>
                  <a:lnTo>
                    <a:pt x="4618" y="4755"/>
                  </a:lnTo>
                  <a:lnTo>
                    <a:pt x="4613" y="4752"/>
                  </a:lnTo>
                  <a:lnTo>
                    <a:pt x="4608" y="4748"/>
                  </a:lnTo>
                  <a:lnTo>
                    <a:pt x="4602" y="4740"/>
                  </a:lnTo>
                  <a:lnTo>
                    <a:pt x="4597" y="4731"/>
                  </a:lnTo>
                  <a:lnTo>
                    <a:pt x="4594" y="4721"/>
                  </a:lnTo>
                  <a:lnTo>
                    <a:pt x="4592" y="4709"/>
                  </a:lnTo>
                  <a:lnTo>
                    <a:pt x="4591" y="4699"/>
                  </a:lnTo>
                  <a:lnTo>
                    <a:pt x="4590" y="4677"/>
                  </a:lnTo>
                  <a:lnTo>
                    <a:pt x="4589" y="4655"/>
                  </a:lnTo>
                  <a:lnTo>
                    <a:pt x="4587" y="4646"/>
                  </a:lnTo>
                  <a:lnTo>
                    <a:pt x="4585" y="4638"/>
                  </a:lnTo>
                  <a:lnTo>
                    <a:pt x="4581" y="4631"/>
                  </a:lnTo>
                  <a:lnTo>
                    <a:pt x="4575" y="4624"/>
                  </a:lnTo>
                  <a:lnTo>
                    <a:pt x="4571" y="4621"/>
                  </a:lnTo>
                  <a:lnTo>
                    <a:pt x="4567" y="4619"/>
                  </a:lnTo>
                  <a:lnTo>
                    <a:pt x="4561" y="4618"/>
                  </a:lnTo>
                  <a:lnTo>
                    <a:pt x="4556" y="4617"/>
                  </a:lnTo>
                  <a:lnTo>
                    <a:pt x="4556" y="4617"/>
                  </a:lnTo>
                  <a:lnTo>
                    <a:pt x="4534" y="4610"/>
                  </a:lnTo>
                  <a:lnTo>
                    <a:pt x="4511" y="4603"/>
                  </a:lnTo>
                  <a:lnTo>
                    <a:pt x="4489" y="4595"/>
                  </a:lnTo>
                  <a:lnTo>
                    <a:pt x="4468" y="4585"/>
                  </a:lnTo>
                  <a:lnTo>
                    <a:pt x="4448" y="4575"/>
                  </a:lnTo>
                  <a:lnTo>
                    <a:pt x="4428" y="4564"/>
                  </a:lnTo>
                  <a:lnTo>
                    <a:pt x="4410" y="4554"/>
                  </a:lnTo>
                  <a:lnTo>
                    <a:pt x="4394" y="4543"/>
                  </a:lnTo>
                  <a:lnTo>
                    <a:pt x="4377" y="4531"/>
                  </a:lnTo>
                  <a:lnTo>
                    <a:pt x="4363" y="4521"/>
                  </a:lnTo>
                  <a:lnTo>
                    <a:pt x="4337" y="4501"/>
                  </a:lnTo>
                  <a:lnTo>
                    <a:pt x="4318" y="4482"/>
                  </a:lnTo>
                  <a:lnTo>
                    <a:pt x="4306" y="4467"/>
                  </a:lnTo>
                  <a:lnTo>
                    <a:pt x="4306" y="4467"/>
                  </a:lnTo>
                  <a:lnTo>
                    <a:pt x="4297" y="4455"/>
                  </a:lnTo>
                  <a:lnTo>
                    <a:pt x="4288" y="4442"/>
                  </a:lnTo>
                  <a:lnTo>
                    <a:pt x="4282" y="4431"/>
                  </a:lnTo>
                  <a:lnTo>
                    <a:pt x="4277" y="4420"/>
                  </a:lnTo>
                  <a:lnTo>
                    <a:pt x="4273" y="4410"/>
                  </a:lnTo>
                  <a:lnTo>
                    <a:pt x="4270" y="4401"/>
                  </a:lnTo>
                  <a:lnTo>
                    <a:pt x="4266" y="4384"/>
                  </a:lnTo>
                  <a:lnTo>
                    <a:pt x="4265" y="4371"/>
                  </a:lnTo>
                  <a:lnTo>
                    <a:pt x="4265" y="4361"/>
                  </a:lnTo>
                  <a:lnTo>
                    <a:pt x="4266" y="4352"/>
                  </a:lnTo>
                  <a:lnTo>
                    <a:pt x="4266" y="4352"/>
                  </a:lnTo>
                  <a:lnTo>
                    <a:pt x="4284" y="4362"/>
                  </a:lnTo>
                  <a:lnTo>
                    <a:pt x="4302" y="4368"/>
                  </a:lnTo>
                  <a:lnTo>
                    <a:pt x="4321" y="4373"/>
                  </a:lnTo>
                  <a:lnTo>
                    <a:pt x="4340" y="4376"/>
                  </a:lnTo>
                  <a:lnTo>
                    <a:pt x="4358" y="4378"/>
                  </a:lnTo>
                  <a:lnTo>
                    <a:pt x="4377" y="4377"/>
                  </a:lnTo>
                  <a:lnTo>
                    <a:pt x="4396" y="4374"/>
                  </a:lnTo>
                  <a:lnTo>
                    <a:pt x="4414" y="4370"/>
                  </a:lnTo>
                  <a:lnTo>
                    <a:pt x="4434" y="4130"/>
                  </a:lnTo>
                  <a:lnTo>
                    <a:pt x="4434" y="4130"/>
                  </a:lnTo>
                  <a:lnTo>
                    <a:pt x="4425" y="4129"/>
                  </a:lnTo>
                  <a:lnTo>
                    <a:pt x="4405" y="4126"/>
                  </a:lnTo>
                  <a:lnTo>
                    <a:pt x="4392" y="4123"/>
                  </a:lnTo>
                  <a:lnTo>
                    <a:pt x="4377" y="4119"/>
                  </a:lnTo>
                  <a:lnTo>
                    <a:pt x="4362" y="4115"/>
                  </a:lnTo>
                  <a:lnTo>
                    <a:pt x="4348" y="4109"/>
                  </a:lnTo>
                  <a:lnTo>
                    <a:pt x="4348" y="4109"/>
                  </a:lnTo>
                  <a:lnTo>
                    <a:pt x="4339" y="4105"/>
                  </a:lnTo>
                  <a:lnTo>
                    <a:pt x="4331" y="4100"/>
                  </a:lnTo>
                  <a:lnTo>
                    <a:pt x="4323" y="4094"/>
                  </a:lnTo>
                  <a:lnTo>
                    <a:pt x="4316" y="4088"/>
                  </a:lnTo>
                  <a:lnTo>
                    <a:pt x="4302" y="4074"/>
                  </a:lnTo>
                  <a:lnTo>
                    <a:pt x="4289" y="4061"/>
                  </a:lnTo>
                  <a:lnTo>
                    <a:pt x="4280" y="4048"/>
                  </a:lnTo>
                  <a:lnTo>
                    <a:pt x="4273" y="4038"/>
                  </a:lnTo>
                  <a:lnTo>
                    <a:pt x="4267" y="4028"/>
                  </a:lnTo>
                  <a:lnTo>
                    <a:pt x="4267" y="4028"/>
                  </a:lnTo>
                  <a:lnTo>
                    <a:pt x="4274" y="4031"/>
                  </a:lnTo>
                  <a:lnTo>
                    <a:pt x="4293" y="4039"/>
                  </a:lnTo>
                  <a:lnTo>
                    <a:pt x="4321" y="4047"/>
                  </a:lnTo>
                  <a:lnTo>
                    <a:pt x="4339" y="4051"/>
                  </a:lnTo>
                  <a:lnTo>
                    <a:pt x="4356" y="4054"/>
                  </a:lnTo>
                  <a:lnTo>
                    <a:pt x="4356" y="4054"/>
                  </a:lnTo>
                  <a:lnTo>
                    <a:pt x="4375" y="4056"/>
                  </a:lnTo>
                  <a:lnTo>
                    <a:pt x="4392" y="4057"/>
                  </a:lnTo>
                  <a:lnTo>
                    <a:pt x="4407" y="4055"/>
                  </a:lnTo>
                  <a:lnTo>
                    <a:pt x="4419" y="4053"/>
                  </a:lnTo>
                  <a:lnTo>
                    <a:pt x="4430" y="4051"/>
                  </a:lnTo>
                  <a:lnTo>
                    <a:pt x="4438" y="4049"/>
                  </a:lnTo>
                  <a:lnTo>
                    <a:pt x="4444" y="4046"/>
                  </a:lnTo>
                  <a:lnTo>
                    <a:pt x="4477" y="3775"/>
                  </a:lnTo>
                  <a:lnTo>
                    <a:pt x="4477" y="3775"/>
                  </a:lnTo>
                  <a:lnTo>
                    <a:pt x="4451" y="3776"/>
                  </a:lnTo>
                  <a:lnTo>
                    <a:pt x="4427" y="3775"/>
                  </a:lnTo>
                  <a:lnTo>
                    <a:pt x="4408" y="3773"/>
                  </a:lnTo>
                  <a:lnTo>
                    <a:pt x="4392" y="3768"/>
                  </a:lnTo>
                  <a:lnTo>
                    <a:pt x="4377" y="3762"/>
                  </a:lnTo>
                  <a:lnTo>
                    <a:pt x="4365" y="3755"/>
                  </a:lnTo>
                  <a:lnTo>
                    <a:pt x="4356" y="3747"/>
                  </a:lnTo>
                  <a:lnTo>
                    <a:pt x="4348" y="3739"/>
                  </a:lnTo>
                  <a:lnTo>
                    <a:pt x="4343" y="3731"/>
                  </a:lnTo>
                  <a:lnTo>
                    <a:pt x="4337" y="3722"/>
                  </a:lnTo>
                  <a:lnTo>
                    <a:pt x="4335" y="3713"/>
                  </a:lnTo>
                  <a:lnTo>
                    <a:pt x="4333" y="3705"/>
                  </a:lnTo>
                  <a:lnTo>
                    <a:pt x="4332" y="3697"/>
                  </a:lnTo>
                  <a:lnTo>
                    <a:pt x="4331" y="3691"/>
                  </a:lnTo>
                  <a:lnTo>
                    <a:pt x="4332" y="3682"/>
                  </a:lnTo>
                  <a:lnTo>
                    <a:pt x="4332" y="3682"/>
                  </a:lnTo>
                  <a:lnTo>
                    <a:pt x="4357" y="3677"/>
                  </a:lnTo>
                  <a:lnTo>
                    <a:pt x="4381" y="3671"/>
                  </a:lnTo>
                  <a:lnTo>
                    <a:pt x="4405" y="3663"/>
                  </a:lnTo>
                  <a:lnTo>
                    <a:pt x="4428" y="3656"/>
                  </a:lnTo>
                  <a:lnTo>
                    <a:pt x="4451" y="3647"/>
                  </a:lnTo>
                  <a:lnTo>
                    <a:pt x="4473" y="3637"/>
                  </a:lnTo>
                  <a:lnTo>
                    <a:pt x="4495" y="3626"/>
                  </a:lnTo>
                  <a:lnTo>
                    <a:pt x="4515" y="3613"/>
                  </a:lnTo>
                  <a:lnTo>
                    <a:pt x="4536" y="3601"/>
                  </a:lnTo>
                  <a:lnTo>
                    <a:pt x="4555" y="3588"/>
                  </a:lnTo>
                  <a:lnTo>
                    <a:pt x="4574" y="3573"/>
                  </a:lnTo>
                  <a:lnTo>
                    <a:pt x="4592" y="3558"/>
                  </a:lnTo>
                  <a:lnTo>
                    <a:pt x="4609" y="3543"/>
                  </a:lnTo>
                  <a:lnTo>
                    <a:pt x="4627" y="3526"/>
                  </a:lnTo>
                  <a:lnTo>
                    <a:pt x="4642" y="3510"/>
                  </a:lnTo>
                  <a:lnTo>
                    <a:pt x="4659" y="3493"/>
                  </a:lnTo>
                  <a:lnTo>
                    <a:pt x="4673" y="3474"/>
                  </a:lnTo>
                  <a:lnTo>
                    <a:pt x="4688" y="3456"/>
                  </a:lnTo>
                  <a:lnTo>
                    <a:pt x="4702" y="3437"/>
                  </a:lnTo>
                  <a:lnTo>
                    <a:pt x="4715" y="3418"/>
                  </a:lnTo>
                  <a:lnTo>
                    <a:pt x="4727" y="3399"/>
                  </a:lnTo>
                  <a:lnTo>
                    <a:pt x="4738" y="3379"/>
                  </a:lnTo>
                  <a:lnTo>
                    <a:pt x="4750" y="3360"/>
                  </a:lnTo>
                  <a:lnTo>
                    <a:pt x="4760" y="3339"/>
                  </a:lnTo>
                  <a:lnTo>
                    <a:pt x="4770" y="3319"/>
                  </a:lnTo>
                  <a:lnTo>
                    <a:pt x="4779" y="3298"/>
                  </a:lnTo>
                  <a:lnTo>
                    <a:pt x="4787" y="3278"/>
                  </a:lnTo>
                  <a:lnTo>
                    <a:pt x="4796" y="3257"/>
                  </a:lnTo>
                  <a:lnTo>
                    <a:pt x="4803" y="3237"/>
                  </a:lnTo>
                  <a:lnTo>
                    <a:pt x="4809" y="3217"/>
                  </a:lnTo>
                  <a:lnTo>
                    <a:pt x="4815" y="3196"/>
                  </a:lnTo>
                  <a:lnTo>
                    <a:pt x="4820" y="3177"/>
                  </a:lnTo>
                  <a:lnTo>
                    <a:pt x="4820" y="3177"/>
                  </a:lnTo>
                  <a:lnTo>
                    <a:pt x="4831" y="3183"/>
                  </a:lnTo>
                  <a:lnTo>
                    <a:pt x="4847" y="3189"/>
                  </a:lnTo>
                  <a:lnTo>
                    <a:pt x="4864" y="3195"/>
                  </a:lnTo>
                  <a:lnTo>
                    <a:pt x="4882" y="3200"/>
                  </a:lnTo>
                  <a:lnTo>
                    <a:pt x="4903" y="3203"/>
                  </a:lnTo>
                  <a:lnTo>
                    <a:pt x="4913" y="3204"/>
                  </a:lnTo>
                  <a:lnTo>
                    <a:pt x="4923" y="3205"/>
                  </a:lnTo>
                  <a:lnTo>
                    <a:pt x="4935" y="3204"/>
                  </a:lnTo>
                  <a:lnTo>
                    <a:pt x="4945" y="3203"/>
                  </a:lnTo>
                  <a:lnTo>
                    <a:pt x="4955" y="3201"/>
                  </a:lnTo>
                  <a:lnTo>
                    <a:pt x="4965" y="3198"/>
                  </a:lnTo>
                  <a:lnTo>
                    <a:pt x="4965" y="3198"/>
                  </a:lnTo>
                  <a:lnTo>
                    <a:pt x="4967" y="3170"/>
                  </a:lnTo>
                  <a:lnTo>
                    <a:pt x="4970" y="3103"/>
                  </a:lnTo>
                  <a:lnTo>
                    <a:pt x="4972" y="3067"/>
                  </a:lnTo>
                  <a:lnTo>
                    <a:pt x="4973" y="3033"/>
                  </a:lnTo>
                  <a:lnTo>
                    <a:pt x="4972" y="3005"/>
                  </a:lnTo>
                  <a:lnTo>
                    <a:pt x="4972" y="2995"/>
                  </a:lnTo>
                  <a:lnTo>
                    <a:pt x="4970" y="2989"/>
                  </a:lnTo>
                  <a:lnTo>
                    <a:pt x="4970" y="2989"/>
                  </a:lnTo>
                  <a:lnTo>
                    <a:pt x="4955" y="2987"/>
                  </a:lnTo>
                  <a:lnTo>
                    <a:pt x="4938" y="2984"/>
                  </a:lnTo>
                  <a:lnTo>
                    <a:pt x="4919" y="2979"/>
                  </a:lnTo>
                  <a:lnTo>
                    <a:pt x="4911" y="2976"/>
                  </a:lnTo>
                  <a:lnTo>
                    <a:pt x="4902" y="2973"/>
                  </a:lnTo>
                  <a:lnTo>
                    <a:pt x="4893" y="2968"/>
                  </a:lnTo>
                  <a:lnTo>
                    <a:pt x="4885" y="2964"/>
                  </a:lnTo>
                  <a:lnTo>
                    <a:pt x="4876" y="2958"/>
                  </a:lnTo>
                  <a:lnTo>
                    <a:pt x="4868" y="2951"/>
                  </a:lnTo>
                  <a:lnTo>
                    <a:pt x="4861" y="2944"/>
                  </a:lnTo>
                  <a:lnTo>
                    <a:pt x="4854" y="2935"/>
                  </a:lnTo>
                  <a:lnTo>
                    <a:pt x="4848" y="2926"/>
                  </a:lnTo>
                  <a:lnTo>
                    <a:pt x="4842" y="29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7" name="Freeform 30"/>
            <p:cNvSpPr>
              <a:spLocks/>
            </p:cNvSpPr>
            <p:nvPr userDrawn="1"/>
          </p:nvSpPr>
          <p:spPr bwMode="auto">
            <a:xfrm>
              <a:off x="5923211" y="1166979"/>
              <a:ext cx="371475" cy="98425"/>
            </a:xfrm>
            <a:custGeom>
              <a:avLst/>
              <a:gdLst>
                <a:gd name="T0" fmla="*/ 87 w 2807"/>
                <a:gd name="T1" fmla="*/ 343 h 743"/>
                <a:gd name="T2" fmla="*/ 203 w 2807"/>
                <a:gd name="T3" fmla="*/ 417 h 743"/>
                <a:gd name="T4" fmla="*/ 319 w 2807"/>
                <a:gd name="T5" fmla="*/ 479 h 743"/>
                <a:gd name="T6" fmla="*/ 430 w 2807"/>
                <a:gd name="T7" fmla="*/ 529 h 743"/>
                <a:gd name="T8" fmla="*/ 603 w 2807"/>
                <a:gd name="T9" fmla="*/ 595 h 743"/>
                <a:gd name="T10" fmla="*/ 724 w 2807"/>
                <a:gd name="T11" fmla="*/ 633 h 743"/>
                <a:gd name="T12" fmla="*/ 857 w 2807"/>
                <a:gd name="T13" fmla="*/ 666 h 743"/>
                <a:gd name="T14" fmla="*/ 1001 w 2807"/>
                <a:gd name="T15" fmla="*/ 696 h 743"/>
                <a:gd name="T16" fmla="*/ 1157 w 2807"/>
                <a:gd name="T17" fmla="*/ 719 h 743"/>
                <a:gd name="T18" fmla="*/ 1324 w 2807"/>
                <a:gd name="T19" fmla="*/ 736 h 743"/>
                <a:gd name="T20" fmla="*/ 1502 w 2807"/>
                <a:gd name="T21" fmla="*/ 743 h 743"/>
                <a:gd name="T22" fmla="*/ 1689 w 2807"/>
                <a:gd name="T23" fmla="*/ 738 h 743"/>
                <a:gd name="T24" fmla="*/ 1819 w 2807"/>
                <a:gd name="T25" fmla="*/ 729 h 743"/>
                <a:gd name="T26" fmla="*/ 1999 w 2807"/>
                <a:gd name="T27" fmla="*/ 706 h 743"/>
                <a:gd name="T28" fmla="*/ 2159 w 2807"/>
                <a:gd name="T29" fmla="*/ 678 h 743"/>
                <a:gd name="T30" fmla="*/ 2302 w 2807"/>
                <a:gd name="T31" fmla="*/ 643 h 743"/>
                <a:gd name="T32" fmla="*/ 2426 w 2807"/>
                <a:gd name="T33" fmla="*/ 605 h 743"/>
                <a:gd name="T34" fmla="*/ 2533 w 2807"/>
                <a:gd name="T35" fmla="*/ 566 h 743"/>
                <a:gd name="T36" fmla="*/ 2672 w 2807"/>
                <a:gd name="T37" fmla="*/ 505 h 743"/>
                <a:gd name="T38" fmla="*/ 2773 w 2807"/>
                <a:gd name="T39" fmla="*/ 449 h 743"/>
                <a:gd name="T40" fmla="*/ 2807 w 2807"/>
                <a:gd name="T41" fmla="*/ 426 h 743"/>
                <a:gd name="T42" fmla="*/ 2745 w 2807"/>
                <a:gd name="T43" fmla="*/ 402 h 743"/>
                <a:gd name="T44" fmla="*/ 2688 w 2807"/>
                <a:gd name="T45" fmla="*/ 372 h 743"/>
                <a:gd name="T46" fmla="*/ 2586 w 2807"/>
                <a:gd name="T47" fmla="*/ 303 h 743"/>
                <a:gd name="T48" fmla="*/ 2529 w 2807"/>
                <a:gd name="T49" fmla="*/ 256 h 743"/>
                <a:gd name="T50" fmla="*/ 2518 w 2807"/>
                <a:gd name="T51" fmla="*/ 294 h 743"/>
                <a:gd name="T52" fmla="*/ 2507 w 2807"/>
                <a:gd name="T53" fmla="*/ 381 h 743"/>
                <a:gd name="T54" fmla="*/ 2499 w 2807"/>
                <a:gd name="T55" fmla="*/ 413 h 743"/>
                <a:gd name="T56" fmla="*/ 2443 w 2807"/>
                <a:gd name="T57" fmla="*/ 391 h 743"/>
                <a:gd name="T58" fmla="*/ 2423 w 2807"/>
                <a:gd name="T59" fmla="*/ 381 h 743"/>
                <a:gd name="T60" fmla="*/ 2392 w 2807"/>
                <a:gd name="T61" fmla="*/ 357 h 743"/>
                <a:gd name="T62" fmla="*/ 2361 w 2807"/>
                <a:gd name="T63" fmla="*/ 324 h 743"/>
                <a:gd name="T64" fmla="*/ 2334 w 2807"/>
                <a:gd name="T65" fmla="*/ 283 h 743"/>
                <a:gd name="T66" fmla="*/ 2316 w 2807"/>
                <a:gd name="T67" fmla="*/ 235 h 743"/>
                <a:gd name="T68" fmla="*/ 2310 w 2807"/>
                <a:gd name="T69" fmla="*/ 199 h 743"/>
                <a:gd name="T70" fmla="*/ 2252 w 2807"/>
                <a:gd name="T71" fmla="*/ 195 h 743"/>
                <a:gd name="T72" fmla="*/ 2110 w 2807"/>
                <a:gd name="T73" fmla="*/ 243 h 743"/>
                <a:gd name="T74" fmla="*/ 1984 w 2807"/>
                <a:gd name="T75" fmla="*/ 277 h 743"/>
                <a:gd name="T76" fmla="*/ 1843 w 2807"/>
                <a:gd name="T77" fmla="*/ 303 h 743"/>
                <a:gd name="T78" fmla="*/ 1697 w 2807"/>
                <a:gd name="T79" fmla="*/ 319 h 743"/>
                <a:gd name="T80" fmla="*/ 1558 w 2807"/>
                <a:gd name="T81" fmla="*/ 322 h 743"/>
                <a:gd name="T82" fmla="*/ 1293 w 2807"/>
                <a:gd name="T83" fmla="*/ 312 h 743"/>
                <a:gd name="T84" fmla="*/ 1030 w 2807"/>
                <a:gd name="T85" fmla="*/ 282 h 743"/>
                <a:gd name="T86" fmla="*/ 855 w 2807"/>
                <a:gd name="T87" fmla="*/ 251 h 743"/>
                <a:gd name="T88" fmla="*/ 725 w 2807"/>
                <a:gd name="T89" fmla="*/ 221 h 743"/>
                <a:gd name="T90" fmla="*/ 594 w 2807"/>
                <a:gd name="T91" fmla="*/ 185 h 743"/>
                <a:gd name="T92" fmla="*/ 465 w 2807"/>
                <a:gd name="T93" fmla="*/ 143 h 743"/>
                <a:gd name="T94" fmla="*/ 336 w 2807"/>
                <a:gd name="T95" fmla="*/ 94 h 743"/>
                <a:gd name="T96" fmla="*/ 251 w 2807"/>
                <a:gd name="T97" fmla="*/ 58 h 743"/>
                <a:gd name="T98" fmla="*/ 122 w 2807"/>
                <a:gd name="T99" fmla="*/ 0 h 743"/>
                <a:gd name="T100" fmla="*/ 119 w 2807"/>
                <a:gd name="T101" fmla="*/ 19 h 743"/>
                <a:gd name="T102" fmla="*/ 121 w 2807"/>
                <a:gd name="T103" fmla="*/ 51 h 743"/>
                <a:gd name="T104" fmla="*/ 136 w 2807"/>
                <a:gd name="T105" fmla="*/ 96 h 743"/>
                <a:gd name="T106" fmla="*/ 171 w 2807"/>
                <a:gd name="T107" fmla="*/ 156 h 743"/>
                <a:gd name="T108" fmla="*/ 207 w 2807"/>
                <a:gd name="T109" fmla="*/ 204 h 743"/>
                <a:gd name="T110" fmla="*/ 151 w 2807"/>
                <a:gd name="T111" fmla="*/ 199 h 743"/>
                <a:gd name="T112" fmla="*/ 98 w 2807"/>
                <a:gd name="T113" fmla="*/ 204 h 743"/>
                <a:gd name="T114" fmla="*/ 69 w 2807"/>
                <a:gd name="T115" fmla="*/ 215 h 743"/>
                <a:gd name="T116" fmla="*/ 32 w 2807"/>
                <a:gd name="T117" fmla="*/ 244 h 743"/>
                <a:gd name="T118" fmla="*/ 7 w 2807"/>
                <a:gd name="T119" fmla="*/ 272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07" h="743">
                  <a:moveTo>
                    <a:pt x="0" y="284"/>
                  </a:moveTo>
                  <a:lnTo>
                    <a:pt x="0" y="284"/>
                  </a:lnTo>
                  <a:lnTo>
                    <a:pt x="87" y="343"/>
                  </a:lnTo>
                  <a:lnTo>
                    <a:pt x="127" y="369"/>
                  </a:lnTo>
                  <a:lnTo>
                    <a:pt x="166" y="394"/>
                  </a:lnTo>
                  <a:lnTo>
                    <a:pt x="203" y="417"/>
                  </a:lnTo>
                  <a:lnTo>
                    <a:pt x="241" y="438"/>
                  </a:lnTo>
                  <a:lnTo>
                    <a:pt x="280" y="460"/>
                  </a:lnTo>
                  <a:lnTo>
                    <a:pt x="319" y="479"/>
                  </a:lnTo>
                  <a:lnTo>
                    <a:pt x="319" y="479"/>
                  </a:lnTo>
                  <a:lnTo>
                    <a:pt x="372" y="504"/>
                  </a:lnTo>
                  <a:lnTo>
                    <a:pt x="430" y="529"/>
                  </a:lnTo>
                  <a:lnTo>
                    <a:pt x="495" y="556"/>
                  </a:lnTo>
                  <a:lnTo>
                    <a:pt x="565" y="581"/>
                  </a:lnTo>
                  <a:lnTo>
                    <a:pt x="603" y="595"/>
                  </a:lnTo>
                  <a:lnTo>
                    <a:pt x="642" y="607"/>
                  </a:lnTo>
                  <a:lnTo>
                    <a:pt x="682" y="620"/>
                  </a:lnTo>
                  <a:lnTo>
                    <a:pt x="724" y="633"/>
                  </a:lnTo>
                  <a:lnTo>
                    <a:pt x="767" y="644"/>
                  </a:lnTo>
                  <a:lnTo>
                    <a:pt x="811" y="655"/>
                  </a:lnTo>
                  <a:lnTo>
                    <a:pt x="857" y="666"/>
                  </a:lnTo>
                  <a:lnTo>
                    <a:pt x="903" y="677"/>
                  </a:lnTo>
                  <a:lnTo>
                    <a:pt x="952" y="687"/>
                  </a:lnTo>
                  <a:lnTo>
                    <a:pt x="1001" y="696"/>
                  </a:lnTo>
                  <a:lnTo>
                    <a:pt x="1052" y="705"/>
                  </a:lnTo>
                  <a:lnTo>
                    <a:pt x="1104" y="713"/>
                  </a:lnTo>
                  <a:lnTo>
                    <a:pt x="1157" y="719"/>
                  </a:lnTo>
                  <a:lnTo>
                    <a:pt x="1212" y="727"/>
                  </a:lnTo>
                  <a:lnTo>
                    <a:pt x="1267" y="732"/>
                  </a:lnTo>
                  <a:lnTo>
                    <a:pt x="1324" y="736"/>
                  </a:lnTo>
                  <a:lnTo>
                    <a:pt x="1382" y="739"/>
                  </a:lnTo>
                  <a:lnTo>
                    <a:pt x="1442" y="741"/>
                  </a:lnTo>
                  <a:lnTo>
                    <a:pt x="1502" y="743"/>
                  </a:lnTo>
                  <a:lnTo>
                    <a:pt x="1563" y="742"/>
                  </a:lnTo>
                  <a:lnTo>
                    <a:pt x="1626" y="741"/>
                  </a:lnTo>
                  <a:lnTo>
                    <a:pt x="1689" y="738"/>
                  </a:lnTo>
                  <a:lnTo>
                    <a:pt x="1754" y="734"/>
                  </a:lnTo>
                  <a:lnTo>
                    <a:pt x="1819" y="729"/>
                  </a:lnTo>
                  <a:lnTo>
                    <a:pt x="1819" y="729"/>
                  </a:lnTo>
                  <a:lnTo>
                    <a:pt x="1881" y="723"/>
                  </a:lnTo>
                  <a:lnTo>
                    <a:pt x="1941" y="714"/>
                  </a:lnTo>
                  <a:lnTo>
                    <a:pt x="1999" y="706"/>
                  </a:lnTo>
                  <a:lnTo>
                    <a:pt x="2054" y="697"/>
                  </a:lnTo>
                  <a:lnTo>
                    <a:pt x="2108" y="688"/>
                  </a:lnTo>
                  <a:lnTo>
                    <a:pt x="2159" y="678"/>
                  </a:lnTo>
                  <a:lnTo>
                    <a:pt x="2209" y="666"/>
                  </a:lnTo>
                  <a:lnTo>
                    <a:pt x="2257" y="655"/>
                  </a:lnTo>
                  <a:lnTo>
                    <a:pt x="2302" y="643"/>
                  </a:lnTo>
                  <a:lnTo>
                    <a:pt x="2346" y="631"/>
                  </a:lnTo>
                  <a:lnTo>
                    <a:pt x="2387" y="618"/>
                  </a:lnTo>
                  <a:lnTo>
                    <a:pt x="2426" y="605"/>
                  </a:lnTo>
                  <a:lnTo>
                    <a:pt x="2464" y="593"/>
                  </a:lnTo>
                  <a:lnTo>
                    <a:pt x="2500" y="579"/>
                  </a:lnTo>
                  <a:lnTo>
                    <a:pt x="2533" y="566"/>
                  </a:lnTo>
                  <a:lnTo>
                    <a:pt x="2564" y="554"/>
                  </a:lnTo>
                  <a:lnTo>
                    <a:pt x="2622" y="528"/>
                  </a:lnTo>
                  <a:lnTo>
                    <a:pt x="2672" y="505"/>
                  </a:lnTo>
                  <a:lnTo>
                    <a:pt x="2713" y="483"/>
                  </a:lnTo>
                  <a:lnTo>
                    <a:pt x="2747" y="465"/>
                  </a:lnTo>
                  <a:lnTo>
                    <a:pt x="2773" y="449"/>
                  </a:lnTo>
                  <a:lnTo>
                    <a:pt x="2792" y="436"/>
                  </a:lnTo>
                  <a:lnTo>
                    <a:pt x="2807" y="426"/>
                  </a:lnTo>
                  <a:lnTo>
                    <a:pt x="2807" y="426"/>
                  </a:lnTo>
                  <a:lnTo>
                    <a:pt x="2786" y="419"/>
                  </a:lnTo>
                  <a:lnTo>
                    <a:pt x="2766" y="410"/>
                  </a:lnTo>
                  <a:lnTo>
                    <a:pt x="2745" y="402"/>
                  </a:lnTo>
                  <a:lnTo>
                    <a:pt x="2726" y="391"/>
                  </a:lnTo>
                  <a:lnTo>
                    <a:pt x="2706" y="382"/>
                  </a:lnTo>
                  <a:lnTo>
                    <a:pt x="2688" y="372"/>
                  </a:lnTo>
                  <a:lnTo>
                    <a:pt x="2651" y="349"/>
                  </a:lnTo>
                  <a:lnTo>
                    <a:pt x="2618" y="327"/>
                  </a:lnTo>
                  <a:lnTo>
                    <a:pt x="2586" y="303"/>
                  </a:lnTo>
                  <a:lnTo>
                    <a:pt x="2556" y="280"/>
                  </a:lnTo>
                  <a:lnTo>
                    <a:pt x="2529" y="256"/>
                  </a:lnTo>
                  <a:lnTo>
                    <a:pt x="2529" y="256"/>
                  </a:lnTo>
                  <a:lnTo>
                    <a:pt x="2524" y="266"/>
                  </a:lnTo>
                  <a:lnTo>
                    <a:pt x="2521" y="279"/>
                  </a:lnTo>
                  <a:lnTo>
                    <a:pt x="2518" y="294"/>
                  </a:lnTo>
                  <a:lnTo>
                    <a:pt x="2515" y="312"/>
                  </a:lnTo>
                  <a:lnTo>
                    <a:pt x="2515" y="312"/>
                  </a:lnTo>
                  <a:lnTo>
                    <a:pt x="2507" y="381"/>
                  </a:lnTo>
                  <a:lnTo>
                    <a:pt x="2503" y="414"/>
                  </a:lnTo>
                  <a:lnTo>
                    <a:pt x="2503" y="414"/>
                  </a:lnTo>
                  <a:lnTo>
                    <a:pt x="2499" y="413"/>
                  </a:lnTo>
                  <a:lnTo>
                    <a:pt x="2489" y="410"/>
                  </a:lnTo>
                  <a:lnTo>
                    <a:pt x="2470" y="403"/>
                  </a:lnTo>
                  <a:lnTo>
                    <a:pt x="2443" y="391"/>
                  </a:lnTo>
                  <a:lnTo>
                    <a:pt x="2443" y="391"/>
                  </a:lnTo>
                  <a:lnTo>
                    <a:pt x="2433" y="387"/>
                  </a:lnTo>
                  <a:lnTo>
                    <a:pt x="2423" y="381"/>
                  </a:lnTo>
                  <a:lnTo>
                    <a:pt x="2413" y="374"/>
                  </a:lnTo>
                  <a:lnTo>
                    <a:pt x="2403" y="366"/>
                  </a:lnTo>
                  <a:lnTo>
                    <a:pt x="2392" y="357"/>
                  </a:lnTo>
                  <a:lnTo>
                    <a:pt x="2381" y="347"/>
                  </a:lnTo>
                  <a:lnTo>
                    <a:pt x="2371" y="336"/>
                  </a:lnTo>
                  <a:lnTo>
                    <a:pt x="2361" y="324"/>
                  </a:lnTo>
                  <a:lnTo>
                    <a:pt x="2351" y="312"/>
                  </a:lnTo>
                  <a:lnTo>
                    <a:pt x="2342" y="297"/>
                  </a:lnTo>
                  <a:lnTo>
                    <a:pt x="2334" y="283"/>
                  </a:lnTo>
                  <a:lnTo>
                    <a:pt x="2326" y="268"/>
                  </a:lnTo>
                  <a:lnTo>
                    <a:pt x="2320" y="251"/>
                  </a:lnTo>
                  <a:lnTo>
                    <a:pt x="2316" y="235"/>
                  </a:lnTo>
                  <a:lnTo>
                    <a:pt x="2312" y="216"/>
                  </a:lnTo>
                  <a:lnTo>
                    <a:pt x="2310" y="199"/>
                  </a:lnTo>
                  <a:lnTo>
                    <a:pt x="2310" y="199"/>
                  </a:lnTo>
                  <a:lnTo>
                    <a:pt x="2309" y="174"/>
                  </a:lnTo>
                  <a:lnTo>
                    <a:pt x="2309" y="174"/>
                  </a:lnTo>
                  <a:lnTo>
                    <a:pt x="2252" y="195"/>
                  </a:lnTo>
                  <a:lnTo>
                    <a:pt x="2186" y="218"/>
                  </a:lnTo>
                  <a:lnTo>
                    <a:pt x="2149" y="231"/>
                  </a:lnTo>
                  <a:lnTo>
                    <a:pt x="2110" y="243"/>
                  </a:lnTo>
                  <a:lnTo>
                    <a:pt x="2069" y="254"/>
                  </a:lnTo>
                  <a:lnTo>
                    <a:pt x="2028" y="266"/>
                  </a:lnTo>
                  <a:lnTo>
                    <a:pt x="1984" y="277"/>
                  </a:lnTo>
                  <a:lnTo>
                    <a:pt x="1938" y="286"/>
                  </a:lnTo>
                  <a:lnTo>
                    <a:pt x="1892" y="295"/>
                  </a:lnTo>
                  <a:lnTo>
                    <a:pt x="1843" y="303"/>
                  </a:lnTo>
                  <a:lnTo>
                    <a:pt x="1795" y="311"/>
                  </a:lnTo>
                  <a:lnTo>
                    <a:pt x="1746" y="316"/>
                  </a:lnTo>
                  <a:lnTo>
                    <a:pt x="1697" y="319"/>
                  </a:lnTo>
                  <a:lnTo>
                    <a:pt x="1647" y="321"/>
                  </a:lnTo>
                  <a:lnTo>
                    <a:pt x="1647" y="321"/>
                  </a:lnTo>
                  <a:lnTo>
                    <a:pt x="1558" y="322"/>
                  </a:lnTo>
                  <a:lnTo>
                    <a:pt x="1470" y="321"/>
                  </a:lnTo>
                  <a:lnTo>
                    <a:pt x="1382" y="317"/>
                  </a:lnTo>
                  <a:lnTo>
                    <a:pt x="1293" y="312"/>
                  </a:lnTo>
                  <a:lnTo>
                    <a:pt x="1205" y="304"/>
                  </a:lnTo>
                  <a:lnTo>
                    <a:pt x="1118" y="294"/>
                  </a:lnTo>
                  <a:lnTo>
                    <a:pt x="1030" y="282"/>
                  </a:lnTo>
                  <a:lnTo>
                    <a:pt x="943" y="268"/>
                  </a:lnTo>
                  <a:lnTo>
                    <a:pt x="899" y="259"/>
                  </a:lnTo>
                  <a:lnTo>
                    <a:pt x="855" y="251"/>
                  </a:lnTo>
                  <a:lnTo>
                    <a:pt x="812" y="241"/>
                  </a:lnTo>
                  <a:lnTo>
                    <a:pt x="768" y="231"/>
                  </a:lnTo>
                  <a:lnTo>
                    <a:pt x="725" y="221"/>
                  </a:lnTo>
                  <a:lnTo>
                    <a:pt x="681" y="209"/>
                  </a:lnTo>
                  <a:lnTo>
                    <a:pt x="638" y="197"/>
                  </a:lnTo>
                  <a:lnTo>
                    <a:pt x="594" y="185"/>
                  </a:lnTo>
                  <a:lnTo>
                    <a:pt x="551" y="171"/>
                  </a:lnTo>
                  <a:lnTo>
                    <a:pt x="508" y="157"/>
                  </a:lnTo>
                  <a:lnTo>
                    <a:pt x="465" y="143"/>
                  </a:lnTo>
                  <a:lnTo>
                    <a:pt x="422" y="127"/>
                  </a:lnTo>
                  <a:lnTo>
                    <a:pt x="379" y="111"/>
                  </a:lnTo>
                  <a:lnTo>
                    <a:pt x="336" y="94"/>
                  </a:lnTo>
                  <a:lnTo>
                    <a:pt x="294" y="76"/>
                  </a:lnTo>
                  <a:lnTo>
                    <a:pt x="251" y="58"/>
                  </a:lnTo>
                  <a:lnTo>
                    <a:pt x="251" y="58"/>
                  </a:lnTo>
                  <a:lnTo>
                    <a:pt x="165" y="19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1" y="3"/>
                  </a:lnTo>
                  <a:lnTo>
                    <a:pt x="119" y="12"/>
                  </a:lnTo>
                  <a:lnTo>
                    <a:pt x="119" y="19"/>
                  </a:lnTo>
                  <a:lnTo>
                    <a:pt x="119" y="28"/>
                  </a:lnTo>
                  <a:lnTo>
                    <a:pt x="119" y="39"/>
                  </a:lnTo>
                  <a:lnTo>
                    <a:pt x="121" y="51"/>
                  </a:lnTo>
                  <a:lnTo>
                    <a:pt x="125" y="64"/>
                  </a:lnTo>
                  <a:lnTo>
                    <a:pt x="129" y="79"/>
                  </a:lnTo>
                  <a:lnTo>
                    <a:pt x="136" y="96"/>
                  </a:lnTo>
                  <a:lnTo>
                    <a:pt x="145" y="114"/>
                  </a:lnTo>
                  <a:lnTo>
                    <a:pt x="156" y="135"/>
                  </a:lnTo>
                  <a:lnTo>
                    <a:pt x="171" y="156"/>
                  </a:lnTo>
                  <a:lnTo>
                    <a:pt x="187" y="180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189" y="201"/>
                  </a:lnTo>
                  <a:lnTo>
                    <a:pt x="170" y="199"/>
                  </a:lnTo>
                  <a:lnTo>
                    <a:pt x="151" y="199"/>
                  </a:lnTo>
                  <a:lnTo>
                    <a:pt x="132" y="199"/>
                  </a:lnTo>
                  <a:lnTo>
                    <a:pt x="114" y="201"/>
                  </a:lnTo>
                  <a:lnTo>
                    <a:pt x="98" y="204"/>
                  </a:lnTo>
                  <a:lnTo>
                    <a:pt x="83" y="209"/>
                  </a:lnTo>
                  <a:lnTo>
                    <a:pt x="69" y="215"/>
                  </a:lnTo>
                  <a:lnTo>
                    <a:pt x="69" y="215"/>
                  </a:lnTo>
                  <a:lnTo>
                    <a:pt x="55" y="224"/>
                  </a:lnTo>
                  <a:lnTo>
                    <a:pt x="42" y="234"/>
                  </a:lnTo>
                  <a:lnTo>
                    <a:pt x="32" y="244"/>
                  </a:lnTo>
                  <a:lnTo>
                    <a:pt x="21" y="253"/>
                  </a:lnTo>
                  <a:lnTo>
                    <a:pt x="13" y="262"/>
                  </a:lnTo>
                  <a:lnTo>
                    <a:pt x="7" y="272"/>
                  </a:lnTo>
                  <a:lnTo>
                    <a:pt x="0" y="28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8" name="Freeform 31"/>
            <p:cNvSpPr>
              <a:spLocks/>
            </p:cNvSpPr>
            <p:nvPr userDrawn="1"/>
          </p:nvSpPr>
          <p:spPr bwMode="auto">
            <a:xfrm>
              <a:off x="5840661" y="854242"/>
              <a:ext cx="377825" cy="271463"/>
            </a:xfrm>
            <a:custGeom>
              <a:avLst/>
              <a:gdLst>
                <a:gd name="T0" fmla="*/ 2491 w 2863"/>
                <a:gd name="T1" fmla="*/ 103 h 2054"/>
                <a:gd name="T2" fmla="*/ 2575 w 2863"/>
                <a:gd name="T3" fmla="*/ 23 h 2054"/>
                <a:gd name="T4" fmla="*/ 2196 w 2863"/>
                <a:gd name="T5" fmla="*/ 132 h 2054"/>
                <a:gd name="T6" fmla="*/ 1671 w 2863"/>
                <a:gd name="T7" fmla="*/ 429 h 2054"/>
                <a:gd name="T8" fmla="*/ 1528 w 2863"/>
                <a:gd name="T9" fmla="*/ 462 h 2054"/>
                <a:gd name="T10" fmla="*/ 1416 w 2863"/>
                <a:gd name="T11" fmla="*/ 568 h 2054"/>
                <a:gd name="T12" fmla="*/ 1409 w 2863"/>
                <a:gd name="T13" fmla="*/ 634 h 2054"/>
                <a:gd name="T14" fmla="*/ 1479 w 2863"/>
                <a:gd name="T15" fmla="*/ 748 h 2054"/>
                <a:gd name="T16" fmla="*/ 1586 w 2863"/>
                <a:gd name="T17" fmla="*/ 787 h 2054"/>
                <a:gd name="T18" fmla="*/ 1476 w 2863"/>
                <a:gd name="T19" fmla="*/ 974 h 2054"/>
                <a:gd name="T20" fmla="*/ 1133 w 2863"/>
                <a:gd name="T21" fmla="*/ 1199 h 2054"/>
                <a:gd name="T22" fmla="*/ 799 w 2863"/>
                <a:gd name="T23" fmla="*/ 1254 h 2054"/>
                <a:gd name="T24" fmla="*/ 634 w 2863"/>
                <a:gd name="T25" fmla="*/ 1102 h 2054"/>
                <a:gd name="T26" fmla="*/ 539 w 2863"/>
                <a:gd name="T27" fmla="*/ 1015 h 2054"/>
                <a:gd name="T28" fmla="*/ 406 w 2863"/>
                <a:gd name="T29" fmla="*/ 1023 h 2054"/>
                <a:gd name="T30" fmla="*/ 231 w 2863"/>
                <a:gd name="T31" fmla="*/ 1090 h 2054"/>
                <a:gd name="T32" fmla="*/ 382 w 2863"/>
                <a:gd name="T33" fmla="*/ 1121 h 2054"/>
                <a:gd name="T34" fmla="*/ 351 w 2863"/>
                <a:gd name="T35" fmla="*/ 1168 h 2054"/>
                <a:gd name="T36" fmla="*/ 418 w 2863"/>
                <a:gd name="T37" fmla="*/ 1270 h 2054"/>
                <a:gd name="T38" fmla="*/ 608 w 2863"/>
                <a:gd name="T39" fmla="*/ 1387 h 2054"/>
                <a:gd name="T40" fmla="*/ 314 w 2863"/>
                <a:gd name="T41" fmla="*/ 1296 h 2054"/>
                <a:gd name="T42" fmla="*/ 234 w 2863"/>
                <a:gd name="T43" fmla="*/ 1324 h 2054"/>
                <a:gd name="T44" fmla="*/ 77 w 2863"/>
                <a:gd name="T45" fmla="*/ 1367 h 2054"/>
                <a:gd name="T46" fmla="*/ 0 w 2863"/>
                <a:gd name="T47" fmla="*/ 1480 h 2054"/>
                <a:gd name="T48" fmla="*/ 63 w 2863"/>
                <a:gd name="T49" fmla="*/ 1501 h 2054"/>
                <a:gd name="T50" fmla="*/ 166 w 2863"/>
                <a:gd name="T51" fmla="*/ 1461 h 2054"/>
                <a:gd name="T52" fmla="*/ 187 w 2863"/>
                <a:gd name="T53" fmla="*/ 1573 h 2054"/>
                <a:gd name="T54" fmla="*/ 354 w 2863"/>
                <a:gd name="T55" fmla="*/ 1597 h 2054"/>
                <a:gd name="T56" fmla="*/ 616 w 2863"/>
                <a:gd name="T57" fmla="*/ 1588 h 2054"/>
                <a:gd name="T58" fmla="*/ 382 w 2863"/>
                <a:gd name="T59" fmla="*/ 1636 h 2054"/>
                <a:gd name="T60" fmla="*/ 295 w 2863"/>
                <a:gd name="T61" fmla="*/ 1696 h 2054"/>
                <a:gd name="T62" fmla="*/ 254 w 2863"/>
                <a:gd name="T63" fmla="*/ 1795 h 2054"/>
                <a:gd name="T64" fmla="*/ 239 w 2863"/>
                <a:gd name="T65" fmla="*/ 1953 h 2054"/>
                <a:gd name="T66" fmla="*/ 335 w 2863"/>
                <a:gd name="T67" fmla="*/ 2045 h 2054"/>
                <a:gd name="T68" fmla="*/ 341 w 2863"/>
                <a:gd name="T69" fmla="*/ 1906 h 2054"/>
                <a:gd name="T70" fmla="*/ 417 w 2863"/>
                <a:gd name="T71" fmla="*/ 1946 h 2054"/>
                <a:gd name="T72" fmla="*/ 509 w 2863"/>
                <a:gd name="T73" fmla="*/ 1935 h 2054"/>
                <a:gd name="T74" fmla="*/ 732 w 2863"/>
                <a:gd name="T75" fmla="*/ 1733 h 2054"/>
                <a:gd name="T76" fmla="*/ 874 w 2863"/>
                <a:gd name="T77" fmla="*/ 1691 h 2054"/>
                <a:gd name="T78" fmla="*/ 870 w 2863"/>
                <a:gd name="T79" fmla="*/ 1786 h 2054"/>
                <a:gd name="T80" fmla="*/ 945 w 2863"/>
                <a:gd name="T81" fmla="*/ 1834 h 2054"/>
                <a:gd name="T82" fmla="*/ 875 w 2863"/>
                <a:gd name="T83" fmla="*/ 1948 h 2054"/>
                <a:gd name="T84" fmla="*/ 1004 w 2863"/>
                <a:gd name="T85" fmla="*/ 1919 h 2054"/>
                <a:gd name="T86" fmla="*/ 1100 w 2863"/>
                <a:gd name="T87" fmla="*/ 1787 h 2054"/>
                <a:gd name="T88" fmla="*/ 1159 w 2863"/>
                <a:gd name="T89" fmla="*/ 1734 h 2054"/>
                <a:gd name="T90" fmla="*/ 1183 w 2863"/>
                <a:gd name="T91" fmla="*/ 1628 h 2054"/>
                <a:gd name="T92" fmla="*/ 1338 w 2863"/>
                <a:gd name="T93" fmla="*/ 1564 h 2054"/>
                <a:gd name="T94" fmla="*/ 1370 w 2863"/>
                <a:gd name="T95" fmla="*/ 1465 h 2054"/>
                <a:gd name="T96" fmla="*/ 1461 w 2863"/>
                <a:gd name="T97" fmla="*/ 1462 h 2054"/>
                <a:gd name="T98" fmla="*/ 1684 w 2863"/>
                <a:gd name="T99" fmla="*/ 1556 h 2054"/>
                <a:gd name="T100" fmla="*/ 1888 w 2863"/>
                <a:gd name="T101" fmla="*/ 1440 h 2054"/>
                <a:gd name="T102" fmla="*/ 1799 w 2863"/>
                <a:gd name="T103" fmla="*/ 1308 h 2054"/>
                <a:gd name="T104" fmla="*/ 1857 w 2863"/>
                <a:gd name="T105" fmla="*/ 1327 h 2054"/>
                <a:gd name="T106" fmla="*/ 2183 w 2863"/>
                <a:gd name="T107" fmla="*/ 1273 h 2054"/>
                <a:gd name="T108" fmla="*/ 2142 w 2863"/>
                <a:gd name="T109" fmla="*/ 1164 h 2054"/>
                <a:gd name="T110" fmla="*/ 2112 w 2863"/>
                <a:gd name="T111" fmla="*/ 1069 h 2054"/>
                <a:gd name="T112" fmla="*/ 2121 w 2863"/>
                <a:gd name="T113" fmla="*/ 977 h 2054"/>
                <a:gd name="T114" fmla="*/ 2085 w 2863"/>
                <a:gd name="T115" fmla="*/ 807 h 2054"/>
                <a:gd name="T116" fmla="*/ 2859 w 2863"/>
                <a:gd name="T117" fmla="*/ 408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63" h="2054">
                  <a:moveTo>
                    <a:pt x="2759" y="252"/>
                  </a:moveTo>
                  <a:lnTo>
                    <a:pt x="2759" y="252"/>
                  </a:lnTo>
                  <a:lnTo>
                    <a:pt x="2742" y="239"/>
                  </a:lnTo>
                  <a:lnTo>
                    <a:pt x="2725" y="227"/>
                  </a:lnTo>
                  <a:lnTo>
                    <a:pt x="2708" y="214"/>
                  </a:lnTo>
                  <a:lnTo>
                    <a:pt x="2690" y="203"/>
                  </a:lnTo>
                  <a:lnTo>
                    <a:pt x="2655" y="184"/>
                  </a:lnTo>
                  <a:lnTo>
                    <a:pt x="2621" y="165"/>
                  </a:lnTo>
                  <a:lnTo>
                    <a:pt x="2586" y="148"/>
                  </a:lnTo>
                  <a:lnTo>
                    <a:pt x="2553" y="133"/>
                  </a:lnTo>
                  <a:lnTo>
                    <a:pt x="2522" y="118"/>
                  </a:lnTo>
                  <a:lnTo>
                    <a:pt x="2491" y="103"/>
                  </a:lnTo>
                  <a:lnTo>
                    <a:pt x="2491" y="103"/>
                  </a:lnTo>
                  <a:lnTo>
                    <a:pt x="2507" y="93"/>
                  </a:lnTo>
                  <a:lnTo>
                    <a:pt x="2523" y="82"/>
                  </a:lnTo>
                  <a:lnTo>
                    <a:pt x="2540" y="68"/>
                  </a:lnTo>
                  <a:lnTo>
                    <a:pt x="2556" y="54"/>
                  </a:lnTo>
                  <a:lnTo>
                    <a:pt x="2570" y="41"/>
                  </a:lnTo>
                  <a:lnTo>
                    <a:pt x="2574" y="35"/>
                  </a:lnTo>
                  <a:lnTo>
                    <a:pt x="2577" y="30"/>
                  </a:lnTo>
                  <a:lnTo>
                    <a:pt x="2577" y="26"/>
                  </a:lnTo>
                  <a:lnTo>
                    <a:pt x="2577" y="24"/>
                  </a:lnTo>
                  <a:lnTo>
                    <a:pt x="2575" y="23"/>
                  </a:lnTo>
                  <a:lnTo>
                    <a:pt x="2575" y="23"/>
                  </a:lnTo>
                  <a:lnTo>
                    <a:pt x="2562" y="16"/>
                  </a:lnTo>
                  <a:lnTo>
                    <a:pt x="2550" y="10"/>
                  </a:lnTo>
                  <a:lnTo>
                    <a:pt x="2538" y="6"/>
                  </a:lnTo>
                  <a:lnTo>
                    <a:pt x="2527" y="4"/>
                  </a:lnTo>
                  <a:lnTo>
                    <a:pt x="2508" y="1"/>
                  </a:lnTo>
                  <a:lnTo>
                    <a:pt x="2501" y="0"/>
                  </a:lnTo>
                  <a:lnTo>
                    <a:pt x="2501" y="0"/>
                  </a:lnTo>
                  <a:lnTo>
                    <a:pt x="2440" y="24"/>
                  </a:lnTo>
                  <a:lnTo>
                    <a:pt x="2377" y="50"/>
                  </a:lnTo>
                  <a:lnTo>
                    <a:pt x="2317" y="76"/>
                  </a:lnTo>
                  <a:lnTo>
                    <a:pt x="2256" y="103"/>
                  </a:lnTo>
                  <a:lnTo>
                    <a:pt x="2196" y="132"/>
                  </a:lnTo>
                  <a:lnTo>
                    <a:pt x="2138" y="160"/>
                  </a:lnTo>
                  <a:lnTo>
                    <a:pt x="2081" y="189"/>
                  </a:lnTo>
                  <a:lnTo>
                    <a:pt x="2026" y="219"/>
                  </a:lnTo>
                  <a:lnTo>
                    <a:pt x="1972" y="247"/>
                  </a:lnTo>
                  <a:lnTo>
                    <a:pt x="1921" y="276"/>
                  </a:lnTo>
                  <a:lnTo>
                    <a:pt x="1872" y="303"/>
                  </a:lnTo>
                  <a:lnTo>
                    <a:pt x="1825" y="331"/>
                  </a:lnTo>
                  <a:lnTo>
                    <a:pt x="1782" y="358"/>
                  </a:lnTo>
                  <a:lnTo>
                    <a:pt x="1741" y="383"/>
                  </a:lnTo>
                  <a:lnTo>
                    <a:pt x="1705" y="407"/>
                  </a:lnTo>
                  <a:lnTo>
                    <a:pt x="1671" y="429"/>
                  </a:lnTo>
                  <a:lnTo>
                    <a:pt x="1671" y="429"/>
                  </a:lnTo>
                  <a:lnTo>
                    <a:pt x="1666" y="432"/>
                  </a:lnTo>
                  <a:lnTo>
                    <a:pt x="1666" y="432"/>
                  </a:lnTo>
                  <a:lnTo>
                    <a:pt x="1654" y="439"/>
                  </a:lnTo>
                  <a:lnTo>
                    <a:pt x="1643" y="446"/>
                  </a:lnTo>
                  <a:lnTo>
                    <a:pt x="1632" y="451"/>
                  </a:lnTo>
                  <a:lnTo>
                    <a:pt x="1620" y="455"/>
                  </a:lnTo>
                  <a:lnTo>
                    <a:pt x="1608" y="458"/>
                  </a:lnTo>
                  <a:lnTo>
                    <a:pt x="1597" y="461"/>
                  </a:lnTo>
                  <a:lnTo>
                    <a:pt x="1585" y="462"/>
                  </a:lnTo>
                  <a:lnTo>
                    <a:pt x="1574" y="463"/>
                  </a:lnTo>
                  <a:lnTo>
                    <a:pt x="1550" y="464"/>
                  </a:lnTo>
                  <a:lnTo>
                    <a:pt x="1528" y="462"/>
                  </a:lnTo>
                  <a:lnTo>
                    <a:pt x="1505" y="459"/>
                  </a:lnTo>
                  <a:lnTo>
                    <a:pt x="1485" y="454"/>
                  </a:lnTo>
                  <a:lnTo>
                    <a:pt x="1465" y="449"/>
                  </a:lnTo>
                  <a:lnTo>
                    <a:pt x="1448" y="442"/>
                  </a:lnTo>
                  <a:lnTo>
                    <a:pt x="1433" y="436"/>
                  </a:lnTo>
                  <a:lnTo>
                    <a:pt x="1418" y="430"/>
                  </a:lnTo>
                  <a:lnTo>
                    <a:pt x="1399" y="420"/>
                  </a:lnTo>
                  <a:lnTo>
                    <a:pt x="1393" y="416"/>
                  </a:lnTo>
                  <a:lnTo>
                    <a:pt x="1372" y="544"/>
                  </a:lnTo>
                  <a:lnTo>
                    <a:pt x="1372" y="544"/>
                  </a:lnTo>
                  <a:lnTo>
                    <a:pt x="1395" y="557"/>
                  </a:lnTo>
                  <a:lnTo>
                    <a:pt x="1416" y="568"/>
                  </a:lnTo>
                  <a:lnTo>
                    <a:pt x="1437" y="577"/>
                  </a:lnTo>
                  <a:lnTo>
                    <a:pt x="1454" y="586"/>
                  </a:lnTo>
                  <a:lnTo>
                    <a:pt x="1470" y="592"/>
                  </a:lnTo>
                  <a:lnTo>
                    <a:pt x="1486" y="596"/>
                  </a:lnTo>
                  <a:lnTo>
                    <a:pt x="1499" y="600"/>
                  </a:lnTo>
                  <a:lnTo>
                    <a:pt x="1510" y="602"/>
                  </a:lnTo>
                  <a:lnTo>
                    <a:pt x="1510" y="602"/>
                  </a:lnTo>
                  <a:lnTo>
                    <a:pt x="1491" y="606"/>
                  </a:lnTo>
                  <a:lnTo>
                    <a:pt x="1470" y="611"/>
                  </a:lnTo>
                  <a:lnTo>
                    <a:pt x="1450" y="617"/>
                  </a:lnTo>
                  <a:lnTo>
                    <a:pt x="1428" y="625"/>
                  </a:lnTo>
                  <a:lnTo>
                    <a:pt x="1409" y="634"/>
                  </a:lnTo>
                  <a:lnTo>
                    <a:pt x="1391" y="645"/>
                  </a:lnTo>
                  <a:lnTo>
                    <a:pt x="1381" y="650"/>
                  </a:lnTo>
                  <a:lnTo>
                    <a:pt x="1373" y="656"/>
                  </a:lnTo>
                  <a:lnTo>
                    <a:pt x="1366" y="663"/>
                  </a:lnTo>
                  <a:lnTo>
                    <a:pt x="1360" y="670"/>
                  </a:lnTo>
                  <a:lnTo>
                    <a:pt x="1404" y="788"/>
                  </a:lnTo>
                  <a:lnTo>
                    <a:pt x="1404" y="788"/>
                  </a:lnTo>
                  <a:lnTo>
                    <a:pt x="1416" y="779"/>
                  </a:lnTo>
                  <a:lnTo>
                    <a:pt x="1432" y="770"/>
                  </a:lnTo>
                  <a:lnTo>
                    <a:pt x="1453" y="758"/>
                  </a:lnTo>
                  <a:lnTo>
                    <a:pt x="1465" y="753"/>
                  </a:lnTo>
                  <a:lnTo>
                    <a:pt x="1479" y="748"/>
                  </a:lnTo>
                  <a:lnTo>
                    <a:pt x="1494" y="743"/>
                  </a:lnTo>
                  <a:lnTo>
                    <a:pt x="1509" y="738"/>
                  </a:lnTo>
                  <a:lnTo>
                    <a:pt x="1527" y="734"/>
                  </a:lnTo>
                  <a:lnTo>
                    <a:pt x="1545" y="731"/>
                  </a:lnTo>
                  <a:lnTo>
                    <a:pt x="1564" y="729"/>
                  </a:lnTo>
                  <a:lnTo>
                    <a:pt x="1585" y="728"/>
                  </a:lnTo>
                  <a:lnTo>
                    <a:pt x="1585" y="728"/>
                  </a:lnTo>
                  <a:lnTo>
                    <a:pt x="1588" y="744"/>
                  </a:lnTo>
                  <a:lnTo>
                    <a:pt x="1588" y="744"/>
                  </a:lnTo>
                  <a:lnTo>
                    <a:pt x="1588" y="758"/>
                  </a:lnTo>
                  <a:lnTo>
                    <a:pt x="1588" y="773"/>
                  </a:lnTo>
                  <a:lnTo>
                    <a:pt x="1586" y="787"/>
                  </a:lnTo>
                  <a:lnTo>
                    <a:pt x="1583" y="802"/>
                  </a:lnTo>
                  <a:lnTo>
                    <a:pt x="1578" y="818"/>
                  </a:lnTo>
                  <a:lnTo>
                    <a:pt x="1573" y="833"/>
                  </a:lnTo>
                  <a:lnTo>
                    <a:pt x="1565" y="848"/>
                  </a:lnTo>
                  <a:lnTo>
                    <a:pt x="1557" y="864"/>
                  </a:lnTo>
                  <a:lnTo>
                    <a:pt x="1549" y="880"/>
                  </a:lnTo>
                  <a:lnTo>
                    <a:pt x="1539" y="895"/>
                  </a:lnTo>
                  <a:lnTo>
                    <a:pt x="1528" y="912"/>
                  </a:lnTo>
                  <a:lnTo>
                    <a:pt x="1516" y="927"/>
                  </a:lnTo>
                  <a:lnTo>
                    <a:pt x="1503" y="943"/>
                  </a:lnTo>
                  <a:lnTo>
                    <a:pt x="1490" y="959"/>
                  </a:lnTo>
                  <a:lnTo>
                    <a:pt x="1476" y="974"/>
                  </a:lnTo>
                  <a:lnTo>
                    <a:pt x="1461" y="989"/>
                  </a:lnTo>
                  <a:lnTo>
                    <a:pt x="1429" y="1020"/>
                  </a:lnTo>
                  <a:lnTo>
                    <a:pt x="1396" y="1049"/>
                  </a:lnTo>
                  <a:lnTo>
                    <a:pt x="1360" y="1076"/>
                  </a:lnTo>
                  <a:lnTo>
                    <a:pt x="1323" y="1102"/>
                  </a:lnTo>
                  <a:lnTo>
                    <a:pt x="1285" y="1126"/>
                  </a:lnTo>
                  <a:lnTo>
                    <a:pt x="1247" y="1148"/>
                  </a:lnTo>
                  <a:lnTo>
                    <a:pt x="1209" y="1167"/>
                  </a:lnTo>
                  <a:lnTo>
                    <a:pt x="1189" y="1177"/>
                  </a:lnTo>
                  <a:lnTo>
                    <a:pt x="1171" y="1185"/>
                  </a:lnTo>
                  <a:lnTo>
                    <a:pt x="1171" y="1185"/>
                  </a:lnTo>
                  <a:lnTo>
                    <a:pt x="1133" y="1199"/>
                  </a:lnTo>
                  <a:lnTo>
                    <a:pt x="1095" y="1211"/>
                  </a:lnTo>
                  <a:lnTo>
                    <a:pt x="1060" y="1223"/>
                  </a:lnTo>
                  <a:lnTo>
                    <a:pt x="1026" y="1232"/>
                  </a:lnTo>
                  <a:lnTo>
                    <a:pt x="993" y="1240"/>
                  </a:lnTo>
                  <a:lnTo>
                    <a:pt x="962" y="1246"/>
                  </a:lnTo>
                  <a:lnTo>
                    <a:pt x="933" y="1250"/>
                  </a:lnTo>
                  <a:lnTo>
                    <a:pt x="905" y="1254"/>
                  </a:lnTo>
                  <a:lnTo>
                    <a:pt x="879" y="1256"/>
                  </a:lnTo>
                  <a:lnTo>
                    <a:pt x="856" y="1257"/>
                  </a:lnTo>
                  <a:lnTo>
                    <a:pt x="834" y="1257"/>
                  </a:lnTo>
                  <a:lnTo>
                    <a:pt x="815" y="1256"/>
                  </a:lnTo>
                  <a:lnTo>
                    <a:pt x="799" y="1254"/>
                  </a:lnTo>
                  <a:lnTo>
                    <a:pt x="785" y="1251"/>
                  </a:lnTo>
                  <a:lnTo>
                    <a:pt x="774" y="1247"/>
                  </a:lnTo>
                  <a:lnTo>
                    <a:pt x="765" y="1243"/>
                  </a:lnTo>
                  <a:lnTo>
                    <a:pt x="765" y="1243"/>
                  </a:lnTo>
                  <a:lnTo>
                    <a:pt x="741" y="1227"/>
                  </a:lnTo>
                  <a:lnTo>
                    <a:pt x="720" y="1209"/>
                  </a:lnTo>
                  <a:lnTo>
                    <a:pt x="701" y="1191"/>
                  </a:lnTo>
                  <a:lnTo>
                    <a:pt x="685" y="1172"/>
                  </a:lnTo>
                  <a:lnTo>
                    <a:pt x="670" y="1155"/>
                  </a:lnTo>
                  <a:lnTo>
                    <a:pt x="656" y="1137"/>
                  </a:lnTo>
                  <a:lnTo>
                    <a:pt x="645" y="1119"/>
                  </a:lnTo>
                  <a:lnTo>
                    <a:pt x="634" y="1102"/>
                  </a:lnTo>
                  <a:lnTo>
                    <a:pt x="615" y="1071"/>
                  </a:lnTo>
                  <a:lnTo>
                    <a:pt x="605" y="1057"/>
                  </a:lnTo>
                  <a:lnTo>
                    <a:pt x="596" y="1045"/>
                  </a:lnTo>
                  <a:lnTo>
                    <a:pt x="587" y="1033"/>
                  </a:lnTo>
                  <a:lnTo>
                    <a:pt x="577" y="1025"/>
                  </a:lnTo>
                  <a:lnTo>
                    <a:pt x="565" y="1018"/>
                  </a:lnTo>
                  <a:lnTo>
                    <a:pt x="559" y="1015"/>
                  </a:lnTo>
                  <a:lnTo>
                    <a:pt x="553" y="1013"/>
                  </a:lnTo>
                  <a:lnTo>
                    <a:pt x="553" y="1013"/>
                  </a:lnTo>
                  <a:lnTo>
                    <a:pt x="549" y="1013"/>
                  </a:lnTo>
                  <a:lnTo>
                    <a:pt x="546" y="1013"/>
                  </a:lnTo>
                  <a:lnTo>
                    <a:pt x="539" y="1015"/>
                  </a:lnTo>
                  <a:lnTo>
                    <a:pt x="532" y="1018"/>
                  </a:lnTo>
                  <a:lnTo>
                    <a:pt x="524" y="1022"/>
                  </a:lnTo>
                  <a:lnTo>
                    <a:pt x="516" y="1026"/>
                  </a:lnTo>
                  <a:lnTo>
                    <a:pt x="507" y="1029"/>
                  </a:lnTo>
                  <a:lnTo>
                    <a:pt x="499" y="1031"/>
                  </a:lnTo>
                  <a:lnTo>
                    <a:pt x="494" y="1031"/>
                  </a:lnTo>
                  <a:lnTo>
                    <a:pt x="489" y="1031"/>
                  </a:lnTo>
                  <a:lnTo>
                    <a:pt x="489" y="1031"/>
                  </a:lnTo>
                  <a:lnTo>
                    <a:pt x="468" y="1028"/>
                  </a:lnTo>
                  <a:lnTo>
                    <a:pt x="448" y="1025"/>
                  </a:lnTo>
                  <a:lnTo>
                    <a:pt x="427" y="1024"/>
                  </a:lnTo>
                  <a:lnTo>
                    <a:pt x="406" y="1023"/>
                  </a:lnTo>
                  <a:lnTo>
                    <a:pt x="386" y="1023"/>
                  </a:lnTo>
                  <a:lnTo>
                    <a:pt x="366" y="1025"/>
                  </a:lnTo>
                  <a:lnTo>
                    <a:pt x="347" y="1027"/>
                  </a:lnTo>
                  <a:lnTo>
                    <a:pt x="327" y="1031"/>
                  </a:lnTo>
                  <a:lnTo>
                    <a:pt x="309" y="1035"/>
                  </a:lnTo>
                  <a:lnTo>
                    <a:pt x="292" y="1043"/>
                  </a:lnTo>
                  <a:lnTo>
                    <a:pt x="276" y="1050"/>
                  </a:lnTo>
                  <a:lnTo>
                    <a:pt x="262" y="1059"/>
                  </a:lnTo>
                  <a:lnTo>
                    <a:pt x="248" y="1070"/>
                  </a:lnTo>
                  <a:lnTo>
                    <a:pt x="242" y="1076"/>
                  </a:lnTo>
                  <a:lnTo>
                    <a:pt x="236" y="1082"/>
                  </a:lnTo>
                  <a:lnTo>
                    <a:pt x="231" y="1090"/>
                  </a:lnTo>
                  <a:lnTo>
                    <a:pt x="227" y="1098"/>
                  </a:lnTo>
                  <a:lnTo>
                    <a:pt x="223" y="1105"/>
                  </a:lnTo>
                  <a:lnTo>
                    <a:pt x="219" y="1114"/>
                  </a:lnTo>
                  <a:lnTo>
                    <a:pt x="219" y="1114"/>
                  </a:lnTo>
                  <a:lnTo>
                    <a:pt x="257" y="1112"/>
                  </a:lnTo>
                  <a:lnTo>
                    <a:pt x="292" y="1111"/>
                  </a:lnTo>
                  <a:lnTo>
                    <a:pt x="312" y="1111"/>
                  </a:lnTo>
                  <a:lnTo>
                    <a:pt x="331" y="1112"/>
                  </a:lnTo>
                  <a:lnTo>
                    <a:pt x="349" y="1113"/>
                  </a:lnTo>
                  <a:lnTo>
                    <a:pt x="364" y="1116"/>
                  </a:lnTo>
                  <a:lnTo>
                    <a:pt x="377" y="1119"/>
                  </a:lnTo>
                  <a:lnTo>
                    <a:pt x="382" y="1121"/>
                  </a:lnTo>
                  <a:lnTo>
                    <a:pt x="387" y="1123"/>
                  </a:lnTo>
                  <a:lnTo>
                    <a:pt x="389" y="1126"/>
                  </a:lnTo>
                  <a:lnTo>
                    <a:pt x="391" y="1130"/>
                  </a:lnTo>
                  <a:lnTo>
                    <a:pt x="391" y="1133"/>
                  </a:lnTo>
                  <a:lnTo>
                    <a:pt x="389" y="1137"/>
                  </a:lnTo>
                  <a:lnTo>
                    <a:pt x="386" y="1141"/>
                  </a:lnTo>
                  <a:lnTo>
                    <a:pt x="381" y="1146"/>
                  </a:lnTo>
                  <a:lnTo>
                    <a:pt x="374" y="1151"/>
                  </a:lnTo>
                  <a:lnTo>
                    <a:pt x="366" y="1156"/>
                  </a:lnTo>
                  <a:lnTo>
                    <a:pt x="366" y="1156"/>
                  </a:lnTo>
                  <a:lnTo>
                    <a:pt x="357" y="1162"/>
                  </a:lnTo>
                  <a:lnTo>
                    <a:pt x="351" y="1168"/>
                  </a:lnTo>
                  <a:lnTo>
                    <a:pt x="346" y="1175"/>
                  </a:lnTo>
                  <a:lnTo>
                    <a:pt x="344" y="1182"/>
                  </a:lnTo>
                  <a:lnTo>
                    <a:pt x="343" y="1189"/>
                  </a:lnTo>
                  <a:lnTo>
                    <a:pt x="344" y="1195"/>
                  </a:lnTo>
                  <a:lnTo>
                    <a:pt x="346" y="1202"/>
                  </a:lnTo>
                  <a:lnTo>
                    <a:pt x="349" y="1209"/>
                  </a:lnTo>
                  <a:lnTo>
                    <a:pt x="354" y="1217"/>
                  </a:lnTo>
                  <a:lnTo>
                    <a:pt x="360" y="1225"/>
                  </a:lnTo>
                  <a:lnTo>
                    <a:pt x="368" y="1232"/>
                  </a:lnTo>
                  <a:lnTo>
                    <a:pt x="376" y="1239"/>
                  </a:lnTo>
                  <a:lnTo>
                    <a:pt x="396" y="1254"/>
                  </a:lnTo>
                  <a:lnTo>
                    <a:pt x="418" y="1270"/>
                  </a:lnTo>
                  <a:lnTo>
                    <a:pt x="442" y="1285"/>
                  </a:lnTo>
                  <a:lnTo>
                    <a:pt x="467" y="1299"/>
                  </a:lnTo>
                  <a:lnTo>
                    <a:pt x="519" y="1327"/>
                  </a:lnTo>
                  <a:lnTo>
                    <a:pt x="565" y="1350"/>
                  </a:lnTo>
                  <a:lnTo>
                    <a:pt x="585" y="1361"/>
                  </a:lnTo>
                  <a:lnTo>
                    <a:pt x="601" y="1370"/>
                  </a:lnTo>
                  <a:lnTo>
                    <a:pt x="601" y="1370"/>
                  </a:lnTo>
                  <a:lnTo>
                    <a:pt x="608" y="1375"/>
                  </a:lnTo>
                  <a:lnTo>
                    <a:pt x="611" y="1379"/>
                  </a:lnTo>
                  <a:lnTo>
                    <a:pt x="613" y="1382"/>
                  </a:lnTo>
                  <a:lnTo>
                    <a:pt x="611" y="1385"/>
                  </a:lnTo>
                  <a:lnTo>
                    <a:pt x="608" y="1387"/>
                  </a:lnTo>
                  <a:lnTo>
                    <a:pt x="604" y="1389"/>
                  </a:lnTo>
                  <a:lnTo>
                    <a:pt x="598" y="1390"/>
                  </a:lnTo>
                  <a:lnTo>
                    <a:pt x="598" y="1390"/>
                  </a:lnTo>
                  <a:lnTo>
                    <a:pt x="588" y="1390"/>
                  </a:lnTo>
                  <a:lnTo>
                    <a:pt x="576" y="1388"/>
                  </a:lnTo>
                  <a:lnTo>
                    <a:pt x="561" y="1385"/>
                  </a:lnTo>
                  <a:lnTo>
                    <a:pt x="545" y="1380"/>
                  </a:lnTo>
                  <a:lnTo>
                    <a:pt x="509" y="1369"/>
                  </a:lnTo>
                  <a:lnTo>
                    <a:pt x="469" y="1354"/>
                  </a:lnTo>
                  <a:lnTo>
                    <a:pt x="387" y="1323"/>
                  </a:lnTo>
                  <a:lnTo>
                    <a:pt x="349" y="1307"/>
                  </a:lnTo>
                  <a:lnTo>
                    <a:pt x="314" y="1296"/>
                  </a:lnTo>
                  <a:lnTo>
                    <a:pt x="314" y="1296"/>
                  </a:lnTo>
                  <a:lnTo>
                    <a:pt x="303" y="1293"/>
                  </a:lnTo>
                  <a:lnTo>
                    <a:pt x="292" y="1291"/>
                  </a:lnTo>
                  <a:lnTo>
                    <a:pt x="283" y="1291"/>
                  </a:lnTo>
                  <a:lnTo>
                    <a:pt x="275" y="1292"/>
                  </a:lnTo>
                  <a:lnTo>
                    <a:pt x="268" y="1294"/>
                  </a:lnTo>
                  <a:lnTo>
                    <a:pt x="262" y="1297"/>
                  </a:lnTo>
                  <a:lnTo>
                    <a:pt x="257" y="1300"/>
                  </a:lnTo>
                  <a:lnTo>
                    <a:pt x="253" y="1303"/>
                  </a:lnTo>
                  <a:lnTo>
                    <a:pt x="244" y="1312"/>
                  </a:lnTo>
                  <a:lnTo>
                    <a:pt x="238" y="1319"/>
                  </a:lnTo>
                  <a:lnTo>
                    <a:pt x="234" y="1324"/>
                  </a:lnTo>
                  <a:lnTo>
                    <a:pt x="231" y="1325"/>
                  </a:lnTo>
                  <a:lnTo>
                    <a:pt x="229" y="1326"/>
                  </a:lnTo>
                  <a:lnTo>
                    <a:pt x="229" y="1326"/>
                  </a:lnTo>
                  <a:lnTo>
                    <a:pt x="220" y="1325"/>
                  </a:lnTo>
                  <a:lnTo>
                    <a:pt x="210" y="1324"/>
                  </a:lnTo>
                  <a:lnTo>
                    <a:pt x="198" y="1325"/>
                  </a:lnTo>
                  <a:lnTo>
                    <a:pt x="188" y="1325"/>
                  </a:lnTo>
                  <a:lnTo>
                    <a:pt x="166" y="1329"/>
                  </a:lnTo>
                  <a:lnTo>
                    <a:pt x="143" y="1335"/>
                  </a:lnTo>
                  <a:lnTo>
                    <a:pt x="121" y="1343"/>
                  </a:lnTo>
                  <a:lnTo>
                    <a:pt x="98" y="1353"/>
                  </a:lnTo>
                  <a:lnTo>
                    <a:pt x="77" y="1367"/>
                  </a:lnTo>
                  <a:lnTo>
                    <a:pt x="66" y="1374"/>
                  </a:lnTo>
                  <a:lnTo>
                    <a:pt x="57" y="1381"/>
                  </a:lnTo>
                  <a:lnTo>
                    <a:pt x="48" y="1389"/>
                  </a:lnTo>
                  <a:lnTo>
                    <a:pt x="40" y="1397"/>
                  </a:lnTo>
                  <a:lnTo>
                    <a:pt x="32" y="1407"/>
                  </a:lnTo>
                  <a:lnTo>
                    <a:pt x="25" y="1416"/>
                  </a:lnTo>
                  <a:lnTo>
                    <a:pt x="18" y="1426"/>
                  </a:lnTo>
                  <a:lnTo>
                    <a:pt x="12" y="1435"/>
                  </a:lnTo>
                  <a:lnTo>
                    <a:pt x="8" y="1446"/>
                  </a:lnTo>
                  <a:lnTo>
                    <a:pt x="4" y="1458"/>
                  </a:lnTo>
                  <a:lnTo>
                    <a:pt x="2" y="1469"/>
                  </a:lnTo>
                  <a:lnTo>
                    <a:pt x="0" y="1480"/>
                  </a:lnTo>
                  <a:lnTo>
                    <a:pt x="0" y="1492"/>
                  </a:lnTo>
                  <a:lnTo>
                    <a:pt x="0" y="1505"/>
                  </a:lnTo>
                  <a:lnTo>
                    <a:pt x="3" y="1518"/>
                  </a:lnTo>
                  <a:lnTo>
                    <a:pt x="6" y="1530"/>
                  </a:lnTo>
                  <a:lnTo>
                    <a:pt x="11" y="1544"/>
                  </a:lnTo>
                  <a:lnTo>
                    <a:pt x="17" y="1558"/>
                  </a:lnTo>
                  <a:lnTo>
                    <a:pt x="17" y="1558"/>
                  </a:lnTo>
                  <a:lnTo>
                    <a:pt x="20" y="1553"/>
                  </a:lnTo>
                  <a:lnTo>
                    <a:pt x="30" y="1540"/>
                  </a:lnTo>
                  <a:lnTo>
                    <a:pt x="45" y="1521"/>
                  </a:lnTo>
                  <a:lnTo>
                    <a:pt x="53" y="1511"/>
                  </a:lnTo>
                  <a:lnTo>
                    <a:pt x="63" y="1501"/>
                  </a:lnTo>
                  <a:lnTo>
                    <a:pt x="75" y="1490"/>
                  </a:lnTo>
                  <a:lnTo>
                    <a:pt x="86" y="1481"/>
                  </a:lnTo>
                  <a:lnTo>
                    <a:pt x="98" y="1473"/>
                  </a:lnTo>
                  <a:lnTo>
                    <a:pt x="111" y="1466"/>
                  </a:lnTo>
                  <a:lnTo>
                    <a:pt x="125" y="1461"/>
                  </a:lnTo>
                  <a:lnTo>
                    <a:pt x="131" y="1459"/>
                  </a:lnTo>
                  <a:lnTo>
                    <a:pt x="138" y="1458"/>
                  </a:lnTo>
                  <a:lnTo>
                    <a:pt x="145" y="1458"/>
                  </a:lnTo>
                  <a:lnTo>
                    <a:pt x="151" y="1458"/>
                  </a:lnTo>
                  <a:lnTo>
                    <a:pt x="159" y="1459"/>
                  </a:lnTo>
                  <a:lnTo>
                    <a:pt x="166" y="1461"/>
                  </a:lnTo>
                  <a:lnTo>
                    <a:pt x="166" y="1461"/>
                  </a:lnTo>
                  <a:lnTo>
                    <a:pt x="171" y="1463"/>
                  </a:lnTo>
                  <a:lnTo>
                    <a:pt x="174" y="1467"/>
                  </a:lnTo>
                  <a:lnTo>
                    <a:pt x="175" y="1473"/>
                  </a:lnTo>
                  <a:lnTo>
                    <a:pt x="176" y="1479"/>
                  </a:lnTo>
                  <a:lnTo>
                    <a:pt x="176" y="1496"/>
                  </a:lnTo>
                  <a:lnTo>
                    <a:pt x="174" y="1514"/>
                  </a:lnTo>
                  <a:lnTo>
                    <a:pt x="174" y="1524"/>
                  </a:lnTo>
                  <a:lnTo>
                    <a:pt x="174" y="1534"/>
                  </a:lnTo>
                  <a:lnTo>
                    <a:pt x="176" y="1545"/>
                  </a:lnTo>
                  <a:lnTo>
                    <a:pt x="178" y="1554"/>
                  </a:lnTo>
                  <a:lnTo>
                    <a:pt x="182" y="1564"/>
                  </a:lnTo>
                  <a:lnTo>
                    <a:pt x="187" y="1573"/>
                  </a:lnTo>
                  <a:lnTo>
                    <a:pt x="195" y="1581"/>
                  </a:lnTo>
                  <a:lnTo>
                    <a:pt x="205" y="1589"/>
                  </a:lnTo>
                  <a:lnTo>
                    <a:pt x="205" y="1589"/>
                  </a:lnTo>
                  <a:lnTo>
                    <a:pt x="213" y="1593"/>
                  </a:lnTo>
                  <a:lnTo>
                    <a:pt x="221" y="1596"/>
                  </a:lnTo>
                  <a:lnTo>
                    <a:pt x="231" y="1599"/>
                  </a:lnTo>
                  <a:lnTo>
                    <a:pt x="242" y="1600"/>
                  </a:lnTo>
                  <a:lnTo>
                    <a:pt x="254" y="1602"/>
                  </a:lnTo>
                  <a:lnTo>
                    <a:pt x="267" y="1602"/>
                  </a:lnTo>
                  <a:lnTo>
                    <a:pt x="293" y="1602"/>
                  </a:lnTo>
                  <a:lnTo>
                    <a:pt x="323" y="1600"/>
                  </a:lnTo>
                  <a:lnTo>
                    <a:pt x="354" y="1597"/>
                  </a:lnTo>
                  <a:lnTo>
                    <a:pt x="418" y="1589"/>
                  </a:lnTo>
                  <a:lnTo>
                    <a:pt x="481" y="1580"/>
                  </a:lnTo>
                  <a:lnTo>
                    <a:pt x="510" y="1576"/>
                  </a:lnTo>
                  <a:lnTo>
                    <a:pt x="538" y="1574"/>
                  </a:lnTo>
                  <a:lnTo>
                    <a:pt x="562" y="1573"/>
                  </a:lnTo>
                  <a:lnTo>
                    <a:pt x="583" y="1574"/>
                  </a:lnTo>
                  <a:lnTo>
                    <a:pt x="592" y="1575"/>
                  </a:lnTo>
                  <a:lnTo>
                    <a:pt x="600" y="1577"/>
                  </a:lnTo>
                  <a:lnTo>
                    <a:pt x="607" y="1580"/>
                  </a:lnTo>
                  <a:lnTo>
                    <a:pt x="613" y="1585"/>
                  </a:lnTo>
                  <a:lnTo>
                    <a:pt x="613" y="1585"/>
                  </a:lnTo>
                  <a:lnTo>
                    <a:pt x="616" y="1588"/>
                  </a:lnTo>
                  <a:lnTo>
                    <a:pt x="617" y="1591"/>
                  </a:lnTo>
                  <a:lnTo>
                    <a:pt x="616" y="1593"/>
                  </a:lnTo>
                  <a:lnTo>
                    <a:pt x="611" y="1596"/>
                  </a:lnTo>
                  <a:lnTo>
                    <a:pt x="607" y="1598"/>
                  </a:lnTo>
                  <a:lnTo>
                    <a:pt x="600" y="1601"/>
                  </a:lnTo>
                  <a:lnTo>
                    <a:pt x="583" y="1605"/>
                  </a:lnTo>
                  <a:lnTo>
                    <a:pt x="560" y="1609"/>
                  </a:lnTo>
                  <a:lnTo>
                    <a:pt x="535" y="1612"/>
                  </a:lnTo>
                  <a:lnTo>
                    <a:pt x="474" y="1620"/>
                  </a:lnTo>
                  <a:lnTo>
                    <a:pt x="443" y="1624"/>
                  </a:lnTo>
                  <a:lnTo>
                    <a:pt x="412" y="1629"/>
                  </a:lnTo>
                  <a:lnTo>
                    <a:pt x="382" y="1636"/>
                  </a:lnTo>
                  <a:lnTo>
                    <a:pt x="356" y="1642"/>
                  </a:lnTo>
                  <a:lnTo>
                    <a:pt x="344" y="1646"/>
                  </a:lnTo>
                  <a:lnTo>
                    <a:pt x="332" y="1650"/>
                  </a:lnTo>
                  <a:lnTo>
                    <a:pt x="322" y="1654"/>
                  </a:lnTo>
                  <a:lnTo>
                    <a:pt x="314" y="1659"/>
                  </a:lnTo>
                  <a:lnTo>
                    <a:pt x="307" y="1664"/>
                  </a:lnTo>
                  <a:lnTo>
                    <a:pt x="302" y="1669"/>
                  </a:lnTo>
                  <a:lnTo>
                    <a:pt x="298" y="1676"/>
                  </a:lnTo>
                  <a:lnTo>
                    <a:pt x="296" y="1682"/>
                  </a:lnTo>
                  <a:lnTo>
                    <a:pt x="296" y="1682"/>
                  </a:lnTo>
                  <a:lnTo>
                    <a:pt x="295" y="1687"/>
                  </a:lnTo>
                  <a:lnTo>
                    <a:pt x="295" y="1696"/>
                  </a:lnTo>
                  <a:lnTo>
                    <a:pt x="296" y="1707"/>
                  </a:lnTo>
                  <a:lnTo>
                    <a:pt x="298" y="1713"/>
                  </a:lnTo>
                  <a:lnTo>
                    <a:pt x="300" y="1718"/>
                  </a:lnTo>
                  <a:lnTo>
                    <a:pt x="300" y="1718"/>
                  </a:lnTo>
                  <a:lnTo>
                    <a:pt x="301" y="1725"/>
                  </a:lnTo>
                  <a:lnTo>
                    <a:pt x="301" y="1731"/>
                  </a:lnTo>
                  <a:lnTo>
                    <a:pt x="298" y="1737"/>
                  </a:lnTo>
                  <a:lnTo>
                    <a:pt x="293" y="1743"/>
                  </a:lnTo>
                  <a:lnTo>
                    <a:pt x="283" y="1757"/>
                  </a:lnTo>
                  <a:lnTo>
                    <a:pt x="269" y="1775"/>
                  </a:lnTo>
                  <a:lnTo>
                    <a:pt x="261" y="1785"/>
                  </a:lnTo>
                  <a:lnTo>
                    <a:pt x="254" y="1795"/>
                  </a:lnTo>
                  <a:lnTo>
                    <a:pt x="246" y="1807"/>
                  </a:lnTo>
                  <a:lnTo>
                    <a:pt x="240" y="1820"/>
                  </a:lnTo>
                  <a:lnTo>
                    <a:pt x="234" y="1834"/>
                  </a:lnTo>
                  <a:lnTo>
                    <a:pt x="230" y="1849"/>
                  </a:lnTo>
                  <a:lnTo>
                    <a:pt x="226" y="1866"/>
                  </a:lnTo>
                  <a:lnTo>
                    <a:pt x="225" y="1884"/>
                  </a:lnTo>
                  <a:lnTo>
                    <a:pt x="225" y="1884"/>
                  </a:lnTo>
                  <a:lnTo>
                    <a:pt x="225" y="1893"/>
                  </a:lnTo>
                  <a:lnTo>
                    <a:pt x="225" y="1902"/>
                  </a:lnTo>
                  <a:lnTo>
                    <a:pt x="228" y="1920"/>
                  </a:lnTo>
                  <a:lnTo>
                    <a:pt x="233" y="1937"/>
                  </a:lnTo>
                  <a:lnTo>
                    <a:pt x="239" y="1953"/>
                  </a:lnTo>
                  <a:lnTo>
                    <a:pt x="247" y="1968"/>
                  </a:lnTo>
                  <a:lnTo>
                    <a:pt x="257" y="1982"/>
                  </a:lnTo>
                  <a:lnTo>
                    <a:pt x="267" y="1995"/>
                  </a:lnTo>
                  <a:lnTo>
                    <a:pt x="277" y="2007"/>
                  </a:lnTo>
                  <a:lnTo>
                    <a:pt x="287" y="2017"/>
                  </a:lnTo>
                  <a:lnTo>
                    <a:pt x="298" y="2026"/>
                  </a:lnTo>
                  <a:lnTo>
                    <a:pt x="315" y="2042"/>
                  </a:lnTo>
                  <a:lnTo>
                    <a:pt x="327" y="2050"/>
                  </a:lnTo>
                  <a:lnTo>
                    <a:pt x="332" y="2054"/>
                  </a:lnTo>
                  <a:lnTo>
                    <a:pt x="332" y="2054"/>
                  </a:lnTo>
                  <a:lnTo>
                    <a:pt x="334" y="2050"/>
                  </a:lnTo>
                  <a:lnTo>
                    <a:pt x="335" y="2045"/>
                  </a:lnTo>
                  <a:lnTo>
                    <a:pt x="335" y="2036"/>
                  </a:lnTo>
                  <a:lnTo>
                    <a:pt x="334" y="2027"/>
                  </a:lnTo>
                  <a:lnTo>
                    <a:pt x="331" y="2006"/>
                  </a:lnTo>
                  <a:lnTo>
                    <a:pt x="328" y="1980"/>
                  </a:lnTo>
                  <a:lnTo>
                    <a:pt x="327" y="1968"/>
                  </a:lnTo>
                  <a:lnTo>
                    <a:pt x="326" y="1955"/>
                  </a:lnTo>
                  <a:lnTo>
                    <a:pt x="326" y="1943"/>
                  </a:lnTo>
                  <a:lnTo>
                    <a:pt x="328" y="1932"/>
                  </a:lnTo>
                  <a:lnTo>
                    <a:pt x="330" y="1922"/>
                  </a:lnTo>
                  <a:lnTo>
                    <a:pt x="334" y="1913"/>
                  </a:lnTo>
                  <a:lnTo>
                    <a:pt x="337" y="1910"/>
                  </a:lnTo>
                  <a:lnTo>
                    <a:pt x="341" y="1906"/>
                  </a:lnTo>
                  <a:lnTo>
                    <a:pt x="344" y="1904"/>
                  </a:lnTo>
                  <a:lnTo>
                    <a:pt x="348" y="1901"/>
                  </a:lnTo>
                  <a:lnTo>
                    <a:pt x="348" y="1901"/>
                  </a:lnTo>
                  <a:lnTo>
                    <a:pt x="353" y="1900"/>
                  </a:lnTo>
                  <a:lnTo>
                    <a:pt x="357" y="1900"/>
                  </a:lnTo>
                  <a:lnTo>
                    <a:pt x="362" y="1901"/>
                  </a:lnTo>
                  <a:lnTo>
                    <a:pt x="366" y="1905"/>
                  </a:lnTo>
                  <a:lnTo>
                    <a:pt x="375" y="1912"/>
                  </a:lnTo>
                  <a:lnTo>
                    <a:pt x="386" y="1921"/>
                  </a:lnTo>
                  <a:lnTo>
                    <a:pt x="397" y="1932"/>
                  </a:lnTo>
                  <a:lnTo>
                    <a:pt x="410" y="1941"/>
                  </a:lnTo>
                  <a:lnTo>
                    <a:pt x="417" y="1946"/>
                  </a:lnTo>
                  <a:lnTo>
                    <a:pt x="424" y="1950"/>
                  </a:lnTo>
                  <a:lnTo>
                    <a:pt x="434" y="1953"/>
                  </a:lnTo>
                  <a:lnTo>
                    <a:pt x="442" y="1955"/>
                  </a:lnTo>
                  <a:lnTo>
                    <a:pt x="442" y="1955"/>
                  </a:lnTo>
                  <a:lnTo>
                    <a:pt x="451" y="1955"/>
                  </a:lnTo>
                  <a:lnTo>
                    <a:pt x="460" y="1955"/>
                  </a:lnTo>
                  <a:lnTo>
                    <a:pt x="468" y="1954"/>
                  </a:lnTo>
                  <a:lnTo>
                    <a:pt x="478" y="1952"/>
                  </a:lnTo>
                  <a:lnTo>
                    <a:pt x="486" y="1948"/>
                  </a:lnTo>
                  <a:lnTo>
                    <a:pt x="494" y="1944"/>
                  </a:lnTo>
                  <a:lnTo>
                    <a:pt x="501" y="1940"/>
                  </a:lnTo>
                  <a:lnTo>
                    <a:pt x="509" y="1935"/>
                  </a:lnTo>
                  <a:lnTo>
                    <a:pt x="525" y="1923"/>
                  </a:lnTo>
                  <a:lnTo>
                    <a:pt x="539" y="1909"/>
                  </a:lnTo>
                  <a:lnTo>
                    <a:pt x="554" y="1892"/>
                  </a:lnTo>
                  <a:lnTo>
                    <a:pt x="571" y="1875"/>
                  </a:lnTo>
                  <a:lnTo>
                    <a:pt x="604" y="1836"/>
                  </a:lnTo>
                  <a:lnTo>
                    <a:pt x="624" y="1817"/>
                  </a:lnTo>
                  <a:lnTo>
                    <a:pt x="644" y="1797"/>
                  </a:lnTo>
                  <a:lnTo>
                    <a:pt x="667" y="1777"/>
                  </a:lnTo>
                  <a:lnTo>
                    <a:pt x="691" y="1758"/>
                  </a:lnTo>
                  <a:lnTo>
                    <a:pt x="705" y="1749"/>
                  </a:lnTo>
                  <a:lnTo>
                    <a:pt x="718" y="1741"/>
                  </a:lnTo>
                  <a:lnTo>
                    <a:pt x="732" y="1733"/>
                  </a:lnTo>
                  <a:lnTo>
                    <a:pt x="747" y="1725"/>
                  </a:lnTo>
                  <a:lnTo>
                    <a:pt x="747" y="1725"/>
                  </a:lnTo>
                  <a:lnTo>
                    <a:pt x="787" y="1706"/>
                  </a:lnTo>
                  <a:lnTo>
                    <a:pt x="819" y="1694"/>
                  </a:lnTo>
                  <a:lnTo>
                    <a:pt x="831" y="1689"/>
                  </a:lnTo>
                  <a:lnTo>
                    <a:pt x="843" y="1686"/>
                  </a:lnTo>
                  <a:lnTo>
                    <a:pt x="852" y="1685"/>
                  </a:lnTo>
                  <a:lnTo>
                    <a:pt x="859" y="1684"/>
                  </a:lnTo>
                  <a:lnTo>
                    <a:pt x="865" y="1684"/>
                  </a:lnTo>
                  <a:lnTo>
                    <a:pt x="869" y="1686"/>
                  </a:lnTo>
                  <a:lnTo>
                    <a:pt x="872" y="1688"/>
                  </a:lnTo>
                  <a:lnTo>
                    <a:pt x="874" y="1691"/>
                  </a:lnTo>
                  <a:lnTo>
                    <a:pt x="876" y="1694"/>
                  </a:lnTo>
                  <a:lnTo>
                    <a:pt x="876" y="1698"/>
                  </a:lnTo>
                  <a:lnTo>
                    <a:pt x="875" y="1708"/>
                  </a:lnTo>
                  <a:lnTo>
                    <a:pt x="872" y="1720"/>
                  </a:lnTo>
                  <a:lnTo>
                    <a:pt x="868" y="1734"/>
                  </a:lnTo>
                  <a:lnTo>
                    <a:pt x="865" y="1747"/>
                  </a:lnTo>
                  <a:lnTo>
                    <a:pt x="863" y="1759"/>
                  </a:lnTo>
                  <a:lnTo>
                    <a:pt x="863" y="1765"/>
                  </a:lnTo>
                  <a:lnTo>
                    <a:pt x="863" y="1772"/>
                  </a:lnTo>
                  <a:lnTo>
                    <a:pt x="865" y="1777"/>
                  </a:lnTo>
                  <a:lnTo>
                    <a:pt x="867" y="1782"/>
                  </a:lnTo>
                  <a:lnTo>
                    <a:pt x="870" y="1786"/>
                  </a:lnTo>
                  <a:lnTo>
                    <a:pt x="875" y="1790"/>
                  </a:lnTo>
                  <a:lnTo>
                    <a:pt x="881" y="1793"/>
                  </a:lnTo>
                  <a:lnTo>
                    <a:pt x="889" y="1795"/>
                  </a:lnTo>
                  <a:lnTo>
                    <a:pt x="889" y="1795"/>
                  </a:lnTo>
                  <a:lnTo>
                    <a:pt x="901" y="1799"/>
                  </a:lnTo>
                  <a:lnTo>
                    <a:pt x="912" y="1802"/>
                  </a:lnTo>
                  <a:lnTo>
                    <a:pt x="921" y="1807"/>
                  </a:lnTo>
                  <a:lnTo>
                    <a:pt x="928" y="1811"/>
                  </a:lnTo>
                  <a:lnTo>
                    <a:pt x="935" y="1817"/>
                  </a:lnTo>
                  <a:lnTo>
                    <a:pt x="940" y="1822"/>
                  </a:lnTo>
                  <a:lnTo>
                    <a:pt x="943" y="1828"/>
                  </a:lnTo>
                  <a:lnTo>
                    <a:pt x="945" y="1834"/>
                  </a:lnTo>
                  <a:lnTo>
                    <a:pt x="947" y="1840"/>
                  </a:lnTo>
                  <a:lnTo>
                    <a:pt x="947" y="1846"/>
                  </a:lnTo>
                  <a:lnTo>
                    <a:pt x="946" y="1853"/>
                  </a:lnTo>
                  <a:lnTo>
                    <a:pt x="945" y="1860"/>
                  </a:lnTo>
                  <a:lnTo>
                    <a:pt x="943" y="1867"/>
                  </a:lnTo>
                  <a:lnTo>
                    <a:pt x="940" y="1874"/>
                  </a:lnTo>
                  <a:lnTo>
                    <a:pt x="932" y="1887"/>
                  </a:lnTo>
                  <a:lnTo>
                    <a:pt x="922" y="1900"/>
                  </a:lnTo>
                  <a:lnTo>
                    <a:pt x="912" y="1913"/>
                  </a:lnTo>
                  <a:lnTo>
                    <a:pt x="902" y="1924"/>
                  </a:lnTo>
                  <a:lnTo>
                    <a:pt x="892" y="1934"/>
                  </a:lnTo>
                  <a:lnTo>
                    <a:pt x="875" y="1948"/>
                  </a:lnTo>
                  <a:lnTo>
                    <a:pt x="869" y="1955"/>
                  </a:lnTo>
                  <a:lnTo>
                    <a:pt x="869" y="1955"/>
                  </a:lnTo>
                  <a:lnTo>
                    <a:pt x="877" y="1959"/>
                  </a:lnTo>
                  <a:lnTo>
                    <a:pt x="888" y="1961"/>
                  </a:lnTo>
                  <a:lnTo>
                    <a:pt x="899" y="1962"/>
                  </a:lnTo>
                  <a:lnTo>
                    <a:pt x="912" y="1961"/>
                  </a:lnTo>
                  <a:lnTo>
                    <a:pt x="926" y="1958"/>
                  </a:lnTo>
                  <a:lnTo>
                    <a:pt x="941" y="1954"/>
                  </a:lnTo>
                  <a:lnTo>
                    <a:pt x="957" y="1947"/>
                  </a:lnTo>
                  <a:lnTo>
                    <a:pt x="972" y="1939"/>
                  </a:lnTo>
                  <a:lnTo>
                    <a:pt x="989" y="1930"/>
                  </a:lnTo>
                  <a:lnTo>
                    <a:pt x="1004" y="1919"/>
                  </a:lnTo>
                  <a:lnTo>
                    <a:pt x="1019" y="1906"/>
                  </a:lnTo>
                  <a:lnTo>
                    <a:pt x="1035" y="1891"/>
                  </a:lnTo>
                  <a:lnTo>
                    <a:pt x="1048" y="1874"/>
                  </a:lnTo>
                  <a:lnTo>
                    <a:pt x="1061" y="1855"/>
                  </a:lnTo>
                  <a:lnTo>
                    <a:pt x="1073" y="1835"/>
                  </a:lnTo>
                  <a:lnTo>
                    <a:pt x="1083" y="1814"/>
                  </a:lnTo>
                  <a:lnTo>
                    <a:pt x="1083" y="1814"/>
                  </a:lnTo>
                  <a:lnTo>
                    <a:pt x="1086" y="1805"/>
                  </a:lnTo>
                  <a:lnTo>
                    <a:pt x="1089" y="1799"/>
                  </a:lnTo>
                  <a:lnTo>
                    <a:pt x="1092" y="1794"/>
                  </a:lnTo>
                  <a:lnTo>
                    <a:pt x="1096" y="1790"/>
                  </a:lnTo>
                  <a:lnTo>
                    <a:pt x="1100" y="1787"/>
                  </a:lnTo>
                  <a:lnTo>
                    <a:pt x="1103" y="1784"/>
                  </a:lnTo>
                  <a:lnTo>
                    <a:pt x="1111" y="1781"/>
                  </a:lnTo>
                  <a:lnTo>
                    <a:pt x="1120" y="1778"/>
                  </a:lnTo>
                  <a:lnTo>
                    <a:pt x="1129" y="1774"/>
                  </a:lnTo>
                  <a:lnTo>
                    <a:pt x="1138" y="1768"/>
                  </a:lnTo>
                  <a:lnTo>
                    <a:pt x="1143" y="1763"/>
                  </a:lnTo>
                  <a:lnTo>
                    <a:pt x="1148" y="1758"/>
                  </a:lnTo>
                  <a:lnTo>
                    <a:pt x="1148" y="1758"/>
                  </a:lnTo>
                  <a:lnTo>
                    <a:pt x="1151" y="1752"/>
                  </a:lnTo>
                  <a:lnTo>
                    <a:pt x="1154" y="1746"/>
                  </a:lnTo>
                  <a:lnTo>
                    <a:pt x="1158" y="1740"/>
                  </a:lnTo>
                  <a:lnTo>
                    <a:pt x="1159" y="1734"/>
                  </a:lnTo>
                  <a:lnTo>
                    <a:pt x="1160" y="1719"/>
                  </a:lnTo>
                  <a:lnTo>
                    <a:pt x="1160" y="1705"/>
                  </a:lnTo>
                  <a:lnTo>
                    <a:pt x="1160" y="1690"/>
                  </a:lnTo>
                  <a:lnTo>
                    <a:pt x="1160" y="1676"/>
                  </a:lnTo>
                  <a:lnTo>
                    <a:pt x="1162" y="1661"/>
                  </a:lnTo>
                  <a:lnTo>
                    <a:pt x="1164" y="1655"/>
                  </a:lnTo>
                  <a:lnTo>
                    <a:pt x="1166" y="1649"/>
                  </a:lnTo>
                  <a:lnTo>
                    <a:pt x="1166" y="1649"/>
                  </a:lnTo>
                  <a:lnTo>
                    <a:pt x="1170" y="1643"/>
                  </a:lnTo>
                  <a:lnTo>
                    <a:pt x="1174" y="1638"/>
                  </a:lnTo>
                  <a:lnTo>
                    <a:pt x="1178" y="1633"/>
                  </a:lnTo>
                  <a:lnTo>
                    <a:pt x="1183" y="1628"/>
                  </a:lnTo>
                  <a:lnTo>
                    <a:pt x="1195" y="1620"/>
                  </a:lnTo>
                  <a:lnTo>
                    <a:pt x="1209" y="1614"/>
                  </a:lnTo>
                  <a:lnTo>
                    <a:pt x="1223" y="1609"/>
                  </a:lnTo>
                  <a:lnTo>
                    <a:pt x="1237" y="1605"/>
                  </a:lnTo>
                  <a:lnTo>
                    <a:pt x="1268" y="1597"/>
                  </a:lnTo>
                  <a:lnTo>
                    <a:pt x="1298" y="1591"/>
                  </a:lnTo>
                  <a:lnTo>
                    <a:pt x="1310" y="1587"/>
                  </a:lnTo>
                  <a:lnTo>
                    <a:pt x="1321" y="1581"/>
                  </a:lnTo>
                  <a:lnTo>
                    <a:pt x="1329" y="1575"/>
                  </a:lnTo>
                  <a:lnTo>
                    <a:pt x="1333" y="1572"/>
                  </a:lnTo>
                  <a:lnTo>
                    <a:pt x="1335" y="1568"/>
                  </a:lnTo>
                  <a:lnTo>
                    <a:pt x="1338" y="1564"/>
                  </a:lnTo>
                  <a:lnTo>
                    <a:pt x="1340" y="1559"/>
                  </a:lnTo>
                  <a:lnTo>
                    <a:pt x="1340" y="1554"/>
                  </a:lnTo>
                  <a:lnTo>
                    <a:pt x="1340" y="1549"/>
                  </a:lnTo>
                  <a:lnTo>
                    <a:pt x="1340" y="1549"/>
                  </a:lnTo>
                  <a:lnTo>
                    <a:pt x="1338" y="1534"/>
                  </a:lnTo>
                  <a:lnTo>
                    <a:pt x="1338" y="1521"/>
                  </a:lnTo>
                  <a:lnTo>
                    <a:pt x="1341" y="1509"/>
                  </a:lnTo>
                  <a:lnTo>
                    <a:pt x="1345" y="1499"/>
                  </a:lnTo>
                  <a:lnTo>
                    <a:pt x="1350" y="1488"/>
                  </a:lnTo>
                  <a:lnTo>
                    <a:pt x="1355" y="1480"/>
                  </a:lnTo>
                  <a:lnTo>
                    <a:pt x="1362" y="1472"/>
                  </a:lnTo>
                  <a:lnTo>
                    <a:pt x="1370" y="1465"/>
                  </a:lnTo>
                  <a:lnTo>
                    <a:pt x="1378" y="1459"/>
                  </a:lnTo>
                  <a:lnTo>
                    <a:pt x="1388" y="1453"/>
                  </a:lnTo>
                  <a:lnTo>
                    <a:pt x="1406" y="1443"/>
                  </a:lnTo>
                  <a:lnTo>
                    <a:pt x="1424" y="1435"/>
                  </a:lnTo>
                  <a:lnTo>
                    <a:pt x="1441" y="1428"/>
                  </a:lnTo>
                  <a:lnTo>
                    <a:pt x="1441" y="1428"/>
                  </a:lnTo>
                  <a:lnTo>
                    <a:pt x="1443" y="1428"/>
                  </a:lnTo>
                  <a:lnTo>
                    <a:pt x="1444" y="1429"/>
                  </a:lnTo>
                  <a:lnTo>
                    <a:pt x="1447" y="1431"/>
                  </a:lnTo>
                  <a:lnTo>
                    <a:pt x="1449" y="1436"/>
                  </a:lnTo>
                  <a:lnTo>
                    <a:pt x="1453" y="1443"/>
                  </a:lnTo>
                  <a:lnTo>
                    <a:pt x="1461" y="1462"/>
                  </a:lnTo>
                  <a:lnTo>
                    <a:pt x="1467" y="1473"/>
                  </a:lnTo>
                  <a:lnTo>
                    <a:pt x="1474" y="1485"/>
                  </a:lnTo>
                  <a:lnTo>
                    <a:pt x="1484" y="1498"/>
                  </a:lnTo>
                  <a:lnTo>
                    <a:pt x="1494" y="1511"/>
                  </a:lnTo>
                  <a:lnTo>
                    <a:pt x="1506" y="1525"/>
                  </a:lnTo>
                  <a:lnTo>
                    <a:pt x="1522" y="1539"/>
                  </a:lnTo>
                  <a:lnTo>
                    <a:pt x="1539" y="1552"/>
                  </a:lnTo>
                  <a:lnTo>
                    <a:pt x="1559" y="1564"/>
                  </a:lnTo>
                  <a:lnTo>
                    <a:pt x="1583" y="1576"/>
                  </a:lnTo>
                  <a:lnTo>
                    <a:pt x="1609" y="1587"/>
                  </a:lnTo>
                  <a:lnTo>
                    <a:pt x="1609" y="1587"/>
                  </a:lnTo>
                  <a:lnTo>
                    <a:pt x="1684" y="1556"/>
                  </a:lnTo>
                  <a:lnTo>
                    <a:pt x="1730" y="1534"/>
                  </a:lnTo>
                  <a:lnTo>
                    <a:pt x="1757" y="1521"/>
                  </a:lnTo>
                  <a:lnTo>
                    <a:pt x="1786" y="1506"/>
                  </a:lnTo>
                  <a:lnTo>
                    <a:pt x="1786" y="1506"/>
                  </a:lnTo>
                  <a:lnTo>
                    <a:pt x="1818" y="1489"/>
                  </a:lnTo>
                  <a:lnTo>
                    <a:pt x="1848" y="1472"/>
                  </a:lnTo>
                  <a:lnTo>
                    <a:pt x="1860" y="1464"/>
                  </a:lnTo>
                  <a:lnTo>
                    <a:pt x="1871" y="1457"/>
                  </a:lnTo>
                  <a:lnTo>
                    <a:pt x="1881" y="1449"/>
                  </a:lnTo>
                  <a:lnTo>
                    <a:pt x="1889" y="1442"/>
                  </a:lnTo>
                  <a:lnTo>
                    <a:pt x="1889" y="1442"/>
                  </a:lnTo>
                  <a:lnTo>
                    <a:pt x="1888" y="1440"/>
                  </a:lnTo>
                  <a:lnTo>
                    <a:pt x="1887" y="1438"/>
                  </a:lnTo>
                  <a:lnTo>
                    <a:pt x="1879" y="1431"/>
                  </a:lnTo>
                  <a:lnTo>
                    <a:pt x="1868" y="1420"/>
                  </a:lnTo>
                  <a:lnTo>
                    <a:pt x="1855" y="1406"/>
                  </a:lnTo>
                  <a:lnTo>
                    <a:pt x="1840" y="1388"/>
                  </a:lnTo>
                  <a:lnTo>
                    <a:pt x="1825" y="1369"/>
                  </a:lnTo>
                  <a:lnTo>
                    <a:pt x="1818" y="1358"/>
                  </a:lnTo>
                  <a:lnTo>
                    <a:pt x="1812" y="1345"/>
                  </a:lnTo>
                  <a:lnTo>
                    <a:pt x="1807" y="1334"/>
                  </a:lnTo>
                  <a:lnTo>
                    <a:pt x="1802" y="1321"/>
                  </a:lnTo>
                  <a:lnTo>
                    <a:pt x="1802" y="1321"/>
                  </a:lnTo>
                  <a:lnTo>
                    <a:pt x="1799" y="1308"/>
                  </a:lnTo>
                  <a:lnTo>
                    <a:pt x="1796" y="1297"/>
                  </a:lnTo>
                  <a:lnTo>
                    <a:pt x="1794" y="1288"/>
                  </a:lnTo>
                  <a:lnTo>
                    <a:pt x="1794" y="1279"/>
                  </a:lnTo>
                  <a:lnTo>
                    <a:pt x="1794" y="1272"/>
                  </a:lnTo>
                  <a:lnTo>
                    <a:pt x="1794" y="1267"/>
                  </a:lnTo>
                  <a:lnTo>
                    <a:pt x="1795" y="1263"/>
                  </a:lnTo>
                  <a:lnTo>
                    <a:pt x="1796" y="1261"/>
                  </a:lnTo>
                  <a:lnTo>
                    <a:pt x="1796" y="1261"/>
                  </a:lnTo>
                  <a:lnTo>
                    <a:pt x="1809" y="1278"/>
                  </a:lnTo>
                  <a:lnTo>
                    <a:pt x="1824" y="1295"/>
                  </a:lnTo>
                  <a:lnTo>
                    <a:pt x="1845" y="1316"/>
                  </a:lnTo>
                  <a:lnTo>
                    <a:pt x="1857" y="1327"/>
                  </a:lnTo>
                  <a:lnTo>
                    <a:pt x="1869" y="1338"/>
                  </a:lnTo>
                  <a:lnTo>
                    <a:pt x="1883" y="1349"/>
                  </a:lnTo>
                  <a:lnTo>
                    <a:pt x="1899" y="1361"/>
                  </a:lnTo>
                  <a:lnTo>
                    <a:pt x="1915" y="1372"/>
                  </a:lnTo>
                  <a:lnTo>
                    <a:pt x="1932" y="1381"/>
                  </a:lnTo>
                  <a:lnTo>
                    <a:pt x="1949" y="1390"/>
                  </a:lnTo>
                  <a:lnTo>
                    <a:pt x="1967" y="1398"/>
                  </a:lnTo>
                  <a:lnTo>
                    <a:pt x="1967" y="1398"/>
                  </a:lnTo>
                  <a:lnTo>
                    <a:pt x="2021" y="1370"/>
                  </a:lnTo>
                  <a:lnTo>
                    <a:pt x="2075" y="1340"/>
                  </a:lnTo>
                  <a:lnTo>
                    <a:pt x="2129" y="1307"/>
                  </a:lnTo>
                  <a:lnTo>
                    <a:pt x="2183" y="1273"/>
                  </a:lnTo>
                  <a:lnTo>
                    <a:pt x="2183" y="1273"/>
                  </a:lnTo>
                  <a:lnTo>
                    <a:pt x="2218" y="1249"/>
                  </a:lnTo>
                  <a:lnTo>
                    <a:pt x="2218" y="1249"/>
                  </a:lnTo>
                  <a:lnTo>
                    <a:pt x="2219" y="1248"/>
                  </a:lnTo>
                  <a:lnTo>
                    <a:pt x="2219" y="1248"/>
                  </a:lnTo>
                  <a:lnTo>
                    <a:pt x="2220" y="1246"/>
                  </a:lnTo>
                  <a:lnTo>
                    <a:pt x="2219" y="1244"/>
                  </a:lnTo>
                  <a:lnTo>
                    <a:pt x="2215" y="1237"/>
                  </a:lnTo>
                  <a:lnTo>
                    <a:pt x="2207" y="1228"/>
                  </a:lnTo>
                  <a:lnTo>
                    <a:pt x="2196" y="1217"/>
                  </a:lnTo>
                  <a:lnTo>
                    <a:pt x="2171" y="1193"/>
                  </a:lnTo>
                  <a:lnTo>
                    <a:pt x="2142" y="1164"/>
                  </a:lnTo>
                  <a:lnTo>
                    <a:pt x="2129" y="1150"/>
                  </a:lnTo>
                  <a:lnTo>
                    <a:pt x="2118" y="1136"/>
                  </a:lnTo>
                  <a:lnTo>
                    <a:pt x="2108" y="1121"/>
                  </a:lnTo>
                  <a:lnTo>
                    <a:pt x="2104" y="1114"/>
                  </a:lnTo>
                  <a:lnTo>
                    <a:pt x="2101" y="1108"/>
                  </a:lnTo>
                  <a:lnTo>
                    <a:pt x="2100" y="1101"/>
                  </a:lnTo>
                  <a:lnTo>
                    <a:pt x="2099" y="1095"/>
                  </a:lnTo>
                  <a:lnTo>
                    <a:pt x="2099" y="1089"/>
                  </a:lnTo>
                  <a:lnTo>
                    <a:pt x="2100" y="1084"/>
                  </a:lnTo>
                  <a:lnTo>
                    <a:pt x="2102" y="1078"/>
                  </a:lnTo>
                  <a:lnTo>
                    <a:pt x="2106" y="1073"/>
                  </a:lnTo>
                  <a:lnTo>
                    <a:pt x="2112" y="1069"/>
                  </a:lnTo>
                  <a:lnTo>
                    <a:pt x="2119" y="1065"/>
                  </a:lnTo>
                  <a:lnTo>
                    <a:pt x="2119" y="1065"/>
                  </a:lnTo>
                  <a:lnTo>
                    <a:pt x="2125" y="1061"/>
                  </a:lnTo>
                  <a:lnTo>
                    <a:pt x="2130" y="1056"/>
                  </a:lnTo>
                  <a:lnTo>
                    <a:pt x="2133" y="1051"/>
                  </a:lnTo>
                  <a:lnTo>
                    <a:pt x="2135" y="1045"/>
                  </a:lnTo>
                  <a:lnTo>
                    <a:pt x="2136" y="1039"/>
                  </a:lnTo>
                  <a:lnTo>
                    <a:pt x="2136" y="1030"/>
                  </a:lnTo>
                  <a:lnTo>
                    <a:pt x="2136" y="1023"/>
                  </a:lnTo>
                  <a:lnTo>
                    <a:pt x="2134" y="1014"/>
                  </a:lnTo>
                  <a:lnTo>
                    <a:pt x="2129" y="997"/>
                  </a:lnTo>
                  <a:lnTo>
                    <a:pt x="2121" y="977"/>
                  </a:lnTo>
                  <a:lnTo>
                    <a:pt x="2102" y="935"/>
                  </a:lnTo>
                  <a:lnTo>
                    <a:pt x="2093" y="914"/>
                  </a:lnTo>
                  <a:lnTo>
                    <a:pt x="2085" y="893"/>
                  </a:lnTo>
                  <a:lnTo>
                    <a:pt x="2078" y="873"/>
                  </a:lnTo>
                  <a:lnTo>
                    <a:pt x="2076" y="863"/>
                  </a:lnTo>
                  <a:lnTo>
                    <a:pt x="2074" y="853"/>
                  </a:lnTo>
                  <a:lnTo>
                    <a:pt x="2074" y="844"/>
                  </a:lnTo>
                  <a:lnTo>
                    <a:pt x="2074" y="836"/>
                  </a:lnTo>
                  <a:lnTo>
                    <a:pt x="2075" y="828"/>
                  </a:lnTo>
                  <a:lnTo>
                    <a:pt x="2077" y="821"/>
                  </a:lnTo>
                  <a:lnTo>
                    <a:pt x="2080" y="814"/>
                  </a:lnTo>
                  <a:lnTo>
                    <a:pt x="2085" y="807"/>
                  </a:lnTo>
                  <a:lnTo>
                    <a:pt x="2091" y="801"/>
                  </a:lnTo>
                  <a:lnTo>
                    <a:pt x="2099" y="797"/>
                  </a:lnTo>
                  <a:lnTo>
                    <a:pt x="2099" y="797"/>
                  </a:lnTo>
                  <a:lnTo>
                    <a:pt x="2200" y="744"/>
                  </a:lnTo>
                  <a:lnTo>
                    <a:pt x="2306" y="693"/>
                  </a:lnTo>
                  <a:lnTo>
                    <a:pt x="2410" y="642"/>
                  </a:lnTo>
                  <a:lnTo>
                    <a:pt x="2513" y="592"/>
                  </a:lnTo>
                  <a:lnTo>
                    <a:pt x="2705" y="501"/>
                  </a:lnTo>
                  <a:lnTo>
                    <a:pt x="2788" y="461"/>
                  </a:lnTo>
                  <a:lnTo>
                    <a:pt x="2863" y="424"/>
                  </a:lnTo>
                  <a:lnTo>
                    <a:pt x="2863" y="424"/>
                  </a:lnTo>
                  <a:lnTo>
                    <a:pt x="2859" y="408"/>
                  </a:lnTo>
                  <a:lnTo>
                    <a:pt x="2853" y="389"/>
                  </a:lnTo>
                  <a:lnTo>
                    <a:pt x="2843" y="366"/>
                  </a:lnTo>
                  <a:lnTo>
                    <a:pt x="2836" y="354"/>
                  </a:lnTo>
                  <a:lnTo>
                    <a:pt x="2829" y="339"/>
                  </a:lnTo>
                  <a:lnTo>
                    <a:pt x="2821" y="325"/>
                  </a:lnTo>
                  <a:lnTo>
                    <a:pt x="2812" y="311"/>
                  </a:lnTo>
                  <a:lnTo>
                    <a:pt x="2801" y="296"/>
                  </a:lnTo>
                  <a:lnTo>
                    <a:pt x="2788" y="281"/>
                  </a:lnTo>
                  <a:lnTo>
                    <a:pt x="2774" y="267"/>
                  </a:lnTo>
                  <a:lnTo>
                    <a:pt x="2759" y="25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9" name="Freeform 32"/>
            <p:cNvSpPr>
              <a:spLocks/>
            </p:cNvSpPr>
            <p:nvPr userDrawn="1"/>
          </p:nvSpPr>
          <p:spPr bwMode="auto">
            <a:xfrm>
              <a:off x="5786686" y="1097129"/>
              <a:ext cx="161925" cy="153988"/>
            </a:xfrm>
            <a:custGeom>
              <a:avLst/>
              <a:gdLst>
                <a:gd name="T0" fmla="*/ 2 w 1226"/>
                <a:gd name="T1" fmla="*/ 386 h 1168"/>
                <a:gd name="T2" fmla="*/ 22 w 1226"/>
                <a:gd name="T3" fmla="*/ 434 h 1168"/>
                <a:gd name="T4" fmla="*/ 61 w 1226"/>
                <a:gd name="T5" fmla="*/ 466 h 1168"/>
                <a:gd name="T6" fmla="*/ 120 w 1226"/>
                <a:gd name="T7" fmla="*/ 479 h 1168"/>
                <a:gd name="T8" fmla="*/ 142 w 1226"/>
                <a:gd name="T9" fmla="*/ 469 h 1168"/>
                <a:gd name="T10" fmla="*/ 160 w 1226"/>
                <a:gd name="T11" fmla="*/ 436 h 1168"/>
                <a:gd name="T12" fmla="*/ 164 w 1226"/>
                <a:gd name="T13" fmla="*/ 370 h 1168"/>
                <a:gd name="T14" fmla="*/ 174 w 1226"/>
                <a:gd name="T15" fmla="*/ 344 h 1168"/>
                <a:gd name="T16" fmla="*/ 198 w 1226"/>
                <a:gd name="T17" fmla="*/ 331 h 1168"/>
                <a:gd name="T18" fmla="*/ 223 w 1226"/>
                <a:gd name="T19" fmla="*/ 318 h 1168"/>
                <a:gd name="T20" fmla="*/ 427 w 1226"/>
                <a:gd name="T21" fmla="*/ 416 h 1168"/>
                <a:gd name="T22" fmla="*/ 628 w 1226"/>
                <a:gd name="T23" fmla="*/ 534 h 1168"/>
                <a:gd name="T24" fmla="*/ 876 w 1226"/>
                <a:gd name="T25" fmla="*/ 703 h 1168"/>
                <a:gd name="T26" fmla="*/ 868 w 1226"/>
                <a:gd name="T27" fmla="*/ 783 h 1168"/>
                <a:gd name="T28" fmla="*/ 779 w 1226"/>
                <a:gd name="T29" fmla="*/ 957 h 1168"/>
                <a:gd name="T30" fmla="*/ 753 w 1226"/>
                <a:gd name="T31" fmla="*/ 1040 h 1168"/>
                <a:gd name="T32" fmla="*/ 754 w 1226"/>
                <a:gd name="T33" fmla="*/ 1090 h 1168"/>
                <a:gd name="T34" fmla="*/ 771 w 1226"/>
                <a:gd name="T35" fmla="*/ 1130 h 1168"/>
                <a:gd name="T36" fmla="*/ 801 w 1226"/>
                <a:gd name="T37" fmla="*/ 1157 h 1168"/>
                <a:gd name="T38" fmla="*/ 842 w 1226"/>
                <a:gd name="T39" fmla="*/ 1168 h 1168"/>
                <a:gd name="T40" fmla="*/ 880 w 1226"/>
                <a:gd name="T41" fmla="*/ 1163 h 1168"/>
                <a:gd name="T42" fmla="*/ 919 w 1226"/>
                <a:gd name="T43" fmla="*/ 1140 h 1168"/>
                <a:gd name="T44" fmla="*/ 944 w 1226"/>
                <a:gd name="T45" fmla="*/ 1107 h 1168"/>
                <a:gd name="T46" fmla="*/ 952 w 1226"/>
                <a:gd name="T47" fmla="*/ 1060 h 1168"/>
                <a:gd name="T48" fmla="*/ 930 w 1226"/>
                <a:gd name="T49" fmla="*/ 1010 h 1168"/>
                <a:gd name="T50" fmla="*/ 885 w 1226"/>
                <a:gd name="T51" fmla="*/ 989 h 1168"/>
                <a:gd name="T52" fmla="*/ 919 w 1226"/>
                <a:gd name="T53" fmla="*/ 879 h 1168"/>
                <a:gd name="T54" fmla="*/ 954 w 1226"/>
                <a:gd name="T55" fmla="*/ 807 h 1168"/>
                <a:gd name="T56" fmla="*/ 1024 w 1226"/>
                <a:gd name="T57" fmla="*/ 715 h 1168"/>
                <a:gd name="T58" fmla="*/ 1095 w 1226"/>
                <a:gd name="T59" fmla="*/ 673 h 1168"/>
                <a:gd name="T60" fmla="*/ 1125 w 1226"/>
                <a:gd name="T61" fmla="*/ 670 h 1168"/>
                <a:gd name="T62" fmla="*/ 1099 w 1226"/>
                <a:gd name="T63" fmla="*/ 633 h 1168"/>
                <a:gd name="T64" fmla="*/ 1083 w 1226"/>
                <a:gd name="T65" fmla="*/ 543 h 1168"/>
                <a:gd name="T66" fmla="*/ 1096 w 1226"/>
                <a:gd name="T67" fmla="*/ 477 h 1168"/>
                <a:gd name="T68" fmla="*/ 1132 w 1226"/>
                <a:gd name="T69" fmla="*/ 395 h 1168"/>
                <a:gd name="T70" fmla="*/ 1195 w 1226"/>
                <a:gd name="T71" fmla="*/ 258 h 1168"/>
                <a:gd name="T72" fmla="*/ 1225 w 1226"/>
                <a:gd name="T73" fmla="*/ 141 h 1168"/>
                <a:gd name="T74" fmla="*/ 1217 w 1226"/>
                <a:gd name="T75" fmla="*/ 95 h 1168"/>
                <a:gd name="T76" fmla="*/ 1187 w 1226"/>
                <a:gd name="T77" fmla="*/ 55 h 1168"/>
                <a:gd name="T78" fmla="*/ 1144 w 1226"/>
                <a:gd name="T79" fmla="*/ 34 h 1168"/>
                <a:gd name="T80" fmla="*/ 1104 w 1226"/>
                <a:gd name="T81" fmla="*/ 35 h 1168"/>
                <a:gd name="T82" fmla="*/ 1061 w 1226"/>
                <a:gd name="T83" fmla="*/ 57 h 1168"/>
                <a:gd name="T84" fmla="*/ 1033 w 1226"/>
                <a:gd name="T85" fmla="*/ 94 h 1168"/>
                <a:gd name="T86" fmla="*/ 1025 w 1226"/>
                <a:gd name="T87" fmla="*/ 139 h 1168"/>
                <a:gd name="T88" fmla="*/ 1048 w 1226"/>
                <a:gd name="T89" fmla="*/ 205 h 1168"/>
                <a:gd name="T90" fmla="*/ 1095 w 1226"/>
                <a:gd name="T91" fmla="*/ 230 h 1168"/>
                <a:gd name="T92" fmla="*/ 1107 w 1226"/>
                <a:gd name="T93" fmla="*/ 240 h 1168"/>
                <a:gd name="T94" fmla="*/ 1044 w 1226"/>
                <a:gd name="T95" fmla="*/ 390 h 1168"/>
                <a:gd name="T96" fmla="*/ 975 w 1226"/>
                <a:gd name="T97" fmla="*/ 431 h 1168"/>
                <a:gd name="T98" fmla="*/ 717 w 1226"/>
                <a:gd name="T99" fmla="*/ 289 h 1168"/>
                <a:gd name="T100" fmla="*/ 529 w 1226"/>
                <a:gd name="T101" fmla="*/ 205 h 1168"/>
                <a:gd name="T102" fmla="*/ 317 w 1226"/>
                <a:gd name="T103" fmla="*/ 140 h 1168"/>
                <a:gd name="T104" fmla="*/ 378 w 1226"/>
                <a:gd name="T105" fmla="*/ 31 h 1168"/>
                <a:gd name="T106" fmla="*/ 389 w 1226"/>
                <a:gd name="T107" fmla="*/ 0 h 1168"/>
                <a:gd name="T108" fmla="*/ 367 w 1226"/>
                <a:gd name="T109" fmla="*/ 10 h 1168"/>
                <a:gd name="T110" fmla="*/ 285 w 1226"/>
                <a:gd name="T111" fmla="*/ 57 h 1168"/>
                <a:gd name="T112" fmla="*/ 211 w 1226"/>
                <a:gd name="T113" fmla="*/ 85 h 1168"/>
                <a:gd name="T114" fmla="*/ 147 w 1226"/>
                <a:gd name="T115" fmla="*/ 85 h 1168"/>
                <a:gd name="T116" fmla="*/ 114 w 1226"/>
                <a:gd name="T117" fmla="*/ 85 h 1168"/>
                <a:gd name="T118" fmla="*/ 87 w 1226"/>
                <a:gd name="T119" fmla="*/ 134 h 1168"/>
                <a:gd name="T120" fmla="*/ 42 w 1226"/>
                <a:gd name="T121" fmla="*/ 261 h 1168"/>
                <a:gd name="T122" fmla="*/ 6 w 1226"/>
                <a:gd name="T123" fmla="*/ 327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6" h="1168">
                  <a:moveTo>
                    <a:pt x="1" y="345"/>
                  </a:moveTo>
                  <a:lnTo>
                    <a:pt x="1" y="345"/>
                  </a:lnTo>
                  <a:lnTo>
                    <a:pt x="0" y="359"/>
                  </a:lnTo>
                  <a:lnTo>
                    <a:pt x="0" y="370"/>
                  </a:lnTo>
                  <a:lnTo>
                    <a:pt x="2" y="386"/>
                  </a:lnTo>
                  <a:lnTo>
                    <a:pt x="5" y="401"/>
                  </a:lnTo>
                  <a:lnTo>
                    <a:pt x="8" y="409"/>
                  </a:lnTo>
                  <a:lnTo>
                    <a:pt x="11" y="417"/>
                  </a:lnTo>
                  <a:lnTo>
                    <a:pt x="16" y="425"/>
                  </a:lnTo>
                  <a:lnTo>
                    <a:pt x="22" y="434"/>
                  </a:lnTo>
                  <a:lnTo>
                    <a:pt x="28" y="442"/>
                  </a:lnTo>
                  <a:lnTo>
                    <a:pt x="36" y="449"/>
                  </a:lnTo>
                  <a:lnTo>
                    <a:pt x="36" y="449"/>
                  </a:lnTo>
                  <a:lnTo>
                    <a:pt x="48" y="458"/>
                  </a:lnTo>
                  <a:lnTo>
                    <a:pt x="61" y="466"/>
                  </a:lnTo>
                  <a:lnTo>
                    <a:pt x="76" y="473"/>
                  </a:lnTo>
                  <a:lnTo>
                    <a:pt x="91" y="478"/>
                  </a:lnTo>
                  <a:lnTo>
                    <a:pt x="105" y="480"/>
                  </a:lnTo>
                  <a:lnTo>
                    <a:pt x="113" y="480"/>
                  </a:lnTo>
                  <a:lnTo>
                    <a:pt x="120" y="479"/>
                  </a:lnTo>
                  <a:lnTo>
                    <a:pt x="126" y="478"/>
                  </a:lnTo>
                  <a:lnTo>
                    <a:pt x="132" y="476"/>
                  </a:lnTo>
                  <a:lnTo>
                    <a:pt x="137" y="473"/>
                  </a:lnTo>
                  <a:lnTo>
                    <a:pt x="142" y="469"/>
                  </a:lnTo>
                  <a:lnTo>
                    <a:pt x="142" y="469"/>
                  </a:lnTo>
                  <a:lnTo>
                    <a:pt x="147" y="464"/>
                  </a:lnTo>
                  <a:lnTo>
                    <a:pt x="152" y="457"/>
                  </a:lnTo>
                  <a:lnTo>
                    <a:pt x="155" y="451"/>
                  </a:lnTo>
                  <a:lnTo>
                    <a:pt x="158" y="444"/>
                  </a:lnTo>
                  <a:lnTo>
                    <a:pt x="160" y="436"/>
                  </a:lnTo>
                  <a:lnTo>
                    <a:pt x="161" y="428"/>
                  </a:lnTo>
                  <a:lnTo>
                    <a:pt x="162" y="411"/>
                  </a:lnTo>
                  <a:lnTo>
                    <a:pt x="162" y="395"/>
                  </a:lnTo>
                  <a:lnTo>
                    <a:pt x="163" y="378"/>
                  </a:lnTo>
                  <a:lnTo>
                    <a:pt x="164" y="370"/>
                  </a:lnTo>
                  <a:lnTo>
                    <a:pt x="166" y="362"/>
                  </a:lnTo>
                  <a:lnTo>
                    <a:pt x="168" y="355"/>
                  </a:lnTo>
                  <a:lnTo>
                    <a:pt x="172" y="347"/>
                  </a:lnTo>
                  <a:lnTo>
                    <a:pt x="172" y="347"/>
                  </a:lnTo>
                  <a:lnTo>
                    <a:pt x="174" y="344"/>
                  </a:lnTo>
                  <a:lnTo>
                    <a:pt x="178" y="341"/>
                  </a:lnTo>
                  <a:lnTo>
                    <a:pt x="187" y="335"/>
                  </a:lnTo>
                  <a:lnTo>
                    <a:pt x="195" y="332"/>
                  </a:lnTo>
                  <a:lnTo>
                    <a:pt x="198" y="331"/>
                  </a:lnTo>
                  <a:lnTo>
                    <a:pt x="198" y="331"/>
                  </a:lnTo>
                  <a:lnTo>
                    <a:pt x="205" y="329"/>
                  </a:lnTo>
                  <a:lnTo>
                    <a:pt x="211" y="326"/>
                  </a:lnTo>
                  <a:lnTo>
                    <a:pt x="217" y="323"/>
                  </a:lnTo>
                  <a:lnTo>
                    <a:pt x="223" y="318"/>
                  </a:lnTo>
                  <a:lnTo>
                    <a:pt x="223" y="318"/>
                  </a:lnTo>
                  <a:lnTo>
                    <a:pt x="264" y="337"/>
                  </a:lnTo>
                  <a:lnTo>
                    <a:pt x="305" y="355"/>
                  </a:lnTo>
                  <a:lnTo>
                    <a:pt x="347" y="374"/>
                  </a:lnTo>
                  <a:lnTo>
                    <a:pt x="388" y="395"/>
                  </a:lnTo>
                  <a:lnTo>
                    <a:pt x="427" y="416"/>
                  </a:lnTo>
                  <a:lnTo>
                    <a:pt x="468" y="439"/>
                  </a:lnTo>
                  <a:lnTo>
                    <a:pt x="509" y="461"/>
                  </a:lnTo>
                  <a:lnTo>
                    <a:pt x="549" y="485"/>
                  </a:lnTo>
                  <a:lnTo>
                    <a:pt x="589" y="509"/>
                  </a:lnTo>
                  <a:lnTo>
                    <a:pt x="628" y="534"/>
                  </a:lnTo>
                  <a:lnTo>
                    <a:pt x="706" y="584"/>
                  </a:lnTo>
                  <a:lnTo>
                    <a:pt x="782" y="636"/>
                  </a:lnTo>
                  <a:lnTo>
                    <a:pt x="857" y="689"/>
                  </a:lnTo>
                  <a:lnTo>
                    <a:pt x="857" y="689"/>
                  </a:lnTo>
                  <a:lnTo>
                    <a:pt x="876" y="703"/>
                  </a:lnTo>
                  <a:lnTo>
                    <a:pt x="894" y="714"/>
                  </a:lnTo>
                  <a:lnTo>
                    <a:pt x="894" y="714"/>
                  </a:lnTo>
                  <a:lnTo>
                    <a:pt x="887" y="736"/>
                  </a:lnTo>
                  <a:lnTo>
                    <a:pt x="878" y="759"/>
                  </a:lnTo>
                  <a:lnTo>
                    <a:pt x="868" y="783"/>
                  </a:lnTo>
                  <a:lnTo>
                    <a:pt x="856" y="809"/>
                  </a:lnTo>
                  <a:lnTo>
                    <a:pt x="856" y="809"/>
                  </a:lnTo>
                  <a:lnTo>
                    <a:pt x="816" y="885"/>
                  </a:lnTo>
                  <a:lnTo>
                    <a:pt x="797" y="921"/>
                  </a:lnTo>
                  <a:lnTo>
                    <a:pt x="779" y="957"/>
                  </a:lnTo>
                  <a:lnTo>
                    <a:pt x="772" y="975"/>
                  </a:lnTo>
                  <a:lnTo>
                    <a:pt x="766" y="992"/>
                  </a:lnTo>
                  <a:lnTo>
                    <a:pt x="760" y="1008"/>
                  </a:lnTo>
                  <a:lnTo>
                    <a:pt x="756" y="1025"/>
                  </a:lnTo>
                  <a:lnTo>
                    <a:pt x="753" y="1040"/>
                  </a:lnTo>
                  <a:lnTo>
                    <a:pt x="751" y="1054"/>
                  </a:lnTo>
                  <a:lnTo>
                    <a:pt x="751" y="1069"/>
                  </a:lnTo>
                  <a:lnTo>
                    <a:pt x="752" y="1081"/>
                  </a:lnTo>
                  <a:lnTo>
                    <a:pt x="752" y="1081"/>
                  </a:lnTo>
                  <a:lnTo>
                    <a:pt x="754" y="1090"/>
                  </a:lnTo>
                  <a:lnTo>
                    <a:pt x="756" y="1099"/>
                  </a:lnTo>
                  <a:lnTo>
                    <a:pt x="759" y="1107"/>
                  </a:lnTo>
                  <a:lnTo>
                    <a:pt x="762" y="1116"/>
                  </a:lnTo>
                  <a:lnTo>
                    <a:pt x="766" y="1123"/>
                  </a:lnTo>
                  <a:lnTo>
                    <a:pt x="771" y="1130"/>
                  </a:lnTo>
                  <a:lnTo>
                    <a:pt x="776" y="1136"/>
                  </a:lnTo>
                  <a:lnTo>
                    <a:pt x="781" y="1142"/>
                  </a:lnTo>
                  <a:lnTo>
                    <a:pt x="787" y="1147"/>
                  </a:lnTo>
                  <a:lnTo>
                    <a:pt x="794" y="1152"/>
                  </a:lnTo>
                  <a:lnTo>
                    <a:pt x="801" y="1157"/>
                  </a:lnTo>
                  <a:lnTo>
                    <a:pt x="808" y="1160"/>
                  </a:lnTo>
                  <a:lnTo>
                    <a:pt x="816" y="1163"/>
                  </a:lnTo>
                  <a:lnTo>
                    <a:pt x="824" y="1165"/>
                  </a:lnTo>
                  <a:lnTo>
                    <a:pt x="833" y="1167"/>
                  </a:lnTo>
                  <a:lnTo>
                    <a:pt x="842" y="1168"/>
                  </a:lnTo>
                  <a:lnTo>
                    <a:pt x="842" y="1168"/>
                  </a:lnTo>
                  <a:lnTo>
                    <a:pt x="852" y="1168"/>
                  </a:lnTo>
                  <a:lnTo>
                    <a:pt x="862" y="1167"/>
                  </a:lnTo>
                  <a:lnTo>
                    <a:pt x="871" y="1165"/>
                  </a:lnTo>
                  <a:lnTo>
                    <a:pt x="880" y="1163"/>
                  </a:lnTo>
                  <a:lnTo>
                    <a:pt x="889" y="1160"/>
                  </a:lnTo>
                  <a:lnTo>
                    <a:pt x="897" y="1155"/>
                  </a:lnTo>
                  <a:lnTo>
                    <a:pt x="905" y="1151"/>
                  </a:lnTo>
                  <a:lnTo>
                    <a:pt x="912" y="1146"/>
                  </a:lnTo>
                  <a:lnTo>
                    <a:pt x="919" y="1140"/>
                  </a:lnTo>
                  <a:lnTo>
                    <a:pt x="925" y="1135"/>
                  </a:lnTo>
                  <a:lnTo>
                    <a:pt x="931" y="1129"/>
                  </a:lnTo>
                  <a:lnTo>
                    <a:pt x="936" y="1122"/>
                  </a:lnTo>
                  <a:lnTo>
                    <a:pt x="940" y="1115"/>
                  </a:lnTo>
                  <a:lnTo>
                    <a:pt x="944" y="1107"/>
                  </a:lnTo>
                  <a:lnTo>
                    <a:pt x="947" y="1100"/>
                  </a:lnTo>
                  <a:lnTo>
                    <a:pt x="949" y="1092"/>
                  </a:lnTo>
                  <a:lnTo>
                    <a:pt x="949" y="1092"/>
                  </a:lnTo>
                  <a:lnTo>
                    <a:pt x="951" y="1076"/>
                  </a:lnTo>
                  <a:lnTo>
                    <a:pt x="952" y="1060"/>
                  </a:lnTo>
                  <a:lnTo>
                    <a:pt x="950" y="1048"/>
                  </a:lnTo>
                  <a:lnTo>
                    <a:pt x="947" y="1036"/>
                  </a:lnTo>
                  <a:lnTo>
                    <a:pt x="942" y="1027"/>
                  </a:lnTo>
                  <a:lnTo>
                    <a:pt x="937" y="1017"/>
                  </a:lnTo>
                  <a:lnTo>
                    <a:pt x="930" y="1010"/>
                  </a:lnTo>
                  <a:lnTo>
                    <a:pt x="922" y="1005"/>
                  </a:lnTo>
                  <a:lnTo>
                    <a:pt x="915" y="1000"/>
                  </a:lnTo>
                  <a:lnTo>
                    <a:pt x="908" y="996"/>
                  </a:lnTo>
                  <a:lnTo>
                    <a:pt x="894" y="991"/>
                  </a:lnTo>
                  <a:lnTo>
                    <a:pt x="885" y="989"/>
                  </a:lnTo>
                  <a:lnTo>
                    <a:pt x="880" y="989"/>
                  </a:lnTo>
                  <a:lnTo>
                    <a:pt x="880" y="989"/>
                  </a:lnTo>
                  <a:lnTo>
                    <a:pt x="896" y="944"/>
                  </a:lnTo>
                  <a:lnTo>
                    <a:pt x="908" y="908"/>
                  </a:lnTo>
                  <a:lnTo>
                    <a:pt x="919" y="879"/>
                  </a:lnTo>
                  <a:lnTo>
                    <a:pt x="919" y="879"/>
                  </a:lnTo>
                  <a:lnTo>
                    <a:pt x="927" y="859"/>
                  </a:lnTo>
                  <a:lnTo>
                    <a:pt x="937" y="841"/>
                  </a:lnTo>
                  <a:lnTo>
                    <a:pt x="945" y="823"/>
                  </a:lnTo>
                  <a:lnTo>
                    <a:pt x="954" y="807"/>
                  </a:lnTo>
                  <a:lnTo>
                    <a:pt x="962" y="792"/>
                  </a:lnTo>
                  <a:lnTo>
                    <a:pt x="971" y="777"/>
                  </a:lnTo>
                  <a:lnTo>
                    <a:pt x="989" y="753"/>
                  </a:lnTo>
                  <a:lnTo>
                    <a:pt x="1006" y="732"/>
                  </a:lnTo>
                  <a:lnTo>
                    <a:pt x="1024" y="715"/>
                  </a:lnTo>
                  <a:lnTo>
                    <a:pt x="1040" y="702"/>
                  </a:lnTo>
                  <a:lnTo>
                    <a:pt x="1055" y="690"/>
                  </a:lnTo>
                  <a:lnTo>
                    <a:pt x="1070" y="683"/>
                  </a:lnTo>
                  <a:lnTo>
                    <a:pt x="1083" y="677"/>
                  </a:lnTo>
                  <a:lnTo>
                    <a:pt x="1095" y="673"/>
                  </a:lnTo>
                  <a:lnTo>
                    <a:pt x="1105" y="671"/>
                  </a:lnTo>
                  <a:lnTo>
                    <a:pt x="1114" y="670"/>
                  </a:lnTo>
                  <a:lnTo>
                    <a:pt x="1120" y="670"/>
                  </a:lnTo>
                  <a:lnTo>
                    <a:pt x="1125" y="670"/>
                  </a:lnTo>
                  <a:lnTo>
                    <a:pt x="1125" y="670"/>
                  </a:lnTo>
                  <a:lnTo>
                    <a:pt x="1121" y="666"/>
                  </a:lnTo>
                  <a:lnTo>
                    <a:pt x="1116" y="661"/>
                  </a:lnTo>
                  <a:lnTo>
                    <a:pt x="1111" y="653"/>
                  </a:lnTo>
                  <a:lnTo>
                    <a:pt x="1104" y="644"/>
                  </a:lnTo>
                  <a:lnTo>
                    <a:pt x="1099" y="633"/>
                  </a:lnTo>
                  <a:lnTo>
                    <a:pt x="1093" y="620"/>
                  </a:lnTo>
                  <a:lnTo>
                    <a:pt x="1088" y="603"/>
                  </a:lnTo>
                  <a:lnTo>
                    <a:pt x="1085" y="586"/>
                  </a:lnTo>
                  <a:lnTo>
                    <a:pt x="1083" y="566"/>
                  </a:lnTo>
                  <a:lnTo>
                    <a:pt x="1083" y="543"/>
                  </a:lnTo>
                  <a:lnTo>
                    <a:pt x="1084" y="531"/>
                  </a:lnTo>
                  <a:lnTo>
                    <a:pt x="1086" y="519"/>
                  </a:lnTo>
                  <a:lnTo>
                    <a:pt x="1088" y="505"/>
                  </a:lnTo>
                  <a:lnTo>
                    <a:pt x="1092" y="491"/>
                  </a:lnTo>
                  <a:lnTo>
                    <a:pt x="1096" y="477"/>
                  </a:lnTo>
                  <a:lnTo>
                    <a:pt x="1101" y="461"/>
                  </a:lnTo>
                  <a:lnTo>
                    <a:pt x="1107" y="446"/>
                  </a:lnTo>
                  <a:lnTo>
                    <a:pt x="1115" y="430"/>
                  </a:lnTo>
                  <a:lnTo>
                    <a:pt x="1123" y="412"/>
                  </a:lnTo>
                  <a:lnTo>
                    <a:pt x="1132" y="395"/>
                  </a:lnTo>
                  <a:lnTo>
                    <a:pt x="1132" y="395"/>
                  </a:lnTo>
                  <a:lnTo>
                    <a:pt x="1152" y="358"/>
                  </a:lnTo>
                  <a:lnTo>
                    <a:pt x="1169" y="322"/>
                  </a:lnTo>
                  <a:lnTo>
                    <a:pt x="1184" y="289"/>
                  </a:lnTo>
                  <a:lnTo>
                    <a:pt x="1195" y="258"/>
                  </a:lnTo>
                  <a:lnTo>
                    <a:pt x="1206" y="227"/>
                  </a:lnTo>
                  <a:lnTo>
                    <a:pt x="1214" y="197"/>
                  </a:lnTo>
                  <a:lnTo>
                    <a:pt x="1220" y="169"/>
                  </a:lnTo>
                  <a:lnTo>
                    <a:pt x="1225" y="141"/>
                  </a:lnTo>
                  <a:lnTo>
                    <a:pt x="1225" y="141"/>
                  </a:lnTo>
                  <a:lnTo>
                    <a:pt x="1226" y="132"/>
                  </a:lnTo>
                  <a:lnTo>
                    <a:pt x="1225" y="123"/>
                  </a:lnTo>
                  <a:lnTo>
                    <a:pt x="1224" y="114"/>
                  </a:lnTo>
                  <a:lnTo>
                    <a:pt x="1221" y="104"/>
                  </a:lnTo>
                  <a:lnTo>
                    <a:pt x="1217" y="95"/>
                  </a:lnTo>
                  <a:lnTo>
                    <a:pt x="1213" y="87"/>
                  </a:lnTo>
                  <a:lnTo>
                    <a:pt x="1208" y="78"/>
                  </a:lnTo>
                  <a:lnTo>
                    <a:pt x="1202" y="70"/>
                  </a:lnTo>
                  <a:lnTo>
                    <a:pt x="1194" y="63"/>
                  </a:lnTo>
                  <a:lnTo>
                    <a:pt x="1187" y="55"/>
                  </a:lnTo>
                  <a:lnTo>
                    <a:pt x="1179" y="49"/>
                  </a:lnTo>
                  <a:lnTo>
                    <a:pt x="1171" y="44"/>
                  </a:lnTo>
                  <a:lnTo>
                    <a:pt x="1163" y="39"/>
                  </a:lnTo>
                  <a:lnTo>
                    <a:pt x="1153" y="36"/>
                  </a:lnTo>
                  <a:lnTo>
                    <a:pt x="1144" y="34"/>
                  </a:lnTo>
                  <a:lnTo>
                    <a:pt x="1134" y="32"/>
                  </a:lnTo>
                  <a:lnTo>
                    <a:pt x="1134" y="32"/>
                  </a:lnTo>
                  <a:lnTo>
                    <a:pt x="1124" y="32"/>
                  </a:lnTo>
                  <a:lnTo>
                    <a:pt x="1115" y="33"/>
                  </a:lnTo>
                  <a:lnTo>
                    <a:pt x="1104" y="35"/>
                  </a:lnTo>
                  <a:lnTo>
                    <a:pt x="1095" y="38"/>
                  </a:lnTo>
                  <a:lnTo>
                    <a:pt x="1086" y="42"/>
                  </a:lnTo>
                  <a:lnTo>
                    <a:pt x="1078" y="46"/>
                  </a:lnTo>
                  <a:lnTo>
                    <a:pt x="1070" y="52"/>
                  </a:lnTo>
                  <a:lnTo>
                    <a:pt x="1061" y="57"/>
                  </a:lnTo>
                  <a:lnTo>
                    <a:pt x="1054" y="65"/>
                  </a:lnTo>
                  <a:lnTo>
                    <a:pt x="1048" y="71"/>
                  </a:lnTo>
                  <a:lnTo>
                    <a:pt x="1042" y="78"/>
                  </a:lnTo>
                  <a:lnTo>
                    <a:pt x="1037" y="86"/>
                  </a:lnTo>
                  <a:lnTo>
                    <a:pt x="1033" y="94"/>
                  </a:lnTo>
                  <a:lnTo>
                    <a:pt x="1029" y="102"/>
                  </a:lnTo>
                  <a:lnTo>
                    <a:pt x="1027" y="111"/>
                  </a:lnTo>
                  <a:lnTo>
                    <a:pt x="1026" y="119"/>
                  </a:lnTo>
                  <a:lnTo>
                    <a:pt x="1026" y="119"/>
                  </a:lnTo>
                  <a:lnTo>
                    <a:pt x="1025" y="139"/>
                  </a:lnTo>
                  <a:lnTo>
                    <a:pt x="1026" y="158"/>
                  </a:lnTo>
                  <a:lnTo>
                    <a:pt x="1030" y="173"/>
                  </a:lnTo>
                  <a:lnTo>
                    <a:pt x="1035" y="185"/>
                  </a:lnTo>
                  <a:lnTo>
                    <a:pt x="1041" y="195"/>
                  </a:lnTo>
                  <a:lnTo>
                    <a:pt x="1048" y="205"/>
                  </a:lnTo>
                  <a:lnTo>
                    <a:pt x="1056" y="212"/>
                  </a:lnTo>
                  <a:lnTo>
                    <a:pt x="1065" y="217"/>
                  </a:lnTo>
                  <a:lnTo>
                    <a:pt x="1073" y="221"/>
                  </a:lnTo>
                  <a:lnTo>
                    <a:pt x="1081" y="225"/>
                  </a:lnTo>
                  <a:lnTo>
                    <a:pt x="1095" y="230"/>
                  </a:lnTo>
                  <a:lnTo>
                    <a:pt x="1101" y="232"/>
                  </a:lnTo>
                  <a:lnTo>
                    <a:pt x="1104" y="234"/>
                  </a:lnTo>
                  <a:lnTo>
                    <a:pt x="1107" y="237"/>
                  </a:lnTo>
                  <a:lnTo>
                    <a:pt x="1107" y="240"/>
                  </a:lnTo>
                  <a:lnTo>
                    <a:pt x="1107" y="240"/>
                  </a:lnTo>
                  <a:lnTo>
                    <a:pt x="1096" y="276"/>
                  </a:lnTo>
                  <a:lnTo>
                    <a:pt x="1084" y="309"/>
                  </a:lnTo>
                  <a:lnTo>
                    <a:pt x="1071" y="339"/>
                  </a:lnTo>
                  <a:lnTo>
                    <a:pt x="1057" y="365"/>
                  </a:lnTo>
                  <a:lnTo>
                    <a:pt x="1044" y="390"/>
                  </a:lnTo>
                  <a:lnTo>
                    <a:pt x="1031" y="411"/>
                  </a:lnTo>
                  <a:lnTo>
                    <a:pt x="1016" y="431"/>
                  </a:lnTo>
                  <a:lnTo>
                    <a:pt x="1002" y="447"/>
                  </a:lnTo>
                  <a:lnTo>
                    <a:pt x="1002" y="447"/>
                  </a:lnTo>
                  <a:lnTo>
                    <a:pt x="975" y="431"/>
                  </a:lnTo>
                  <a:lnTo>
                    <a:pt x="942" y="411"/>
                  </a:lnTo>
                  <a:lnTo>
                    <a:pt x="942" y="411"/>
                  </a:lnTo>
                  <a:lnTo>
                    <a:pt x="865" y="369"/>
                  </a:lnTo>
                  <a:lnTo>
                    <a:pt x="790" y="328"/>
                  </a:lnTo>
                  <a:lnTo>
                    <a:pt x="717" y="289"/>
                  </a:lnTo>
                  <a:lnTo>
                    <a:pt x="680" y="271"/>
                  </a:lnTo>
                  <a:lnTo>
                    <a:pt x="643" y="254"/>
                  </a:lnTo>
                  <a:lnTo>
                    <a:pt x="606" y="236"/>
                  </a:lnTo>
                  <a:lnTo>
                    <a:pt x="568" y="221"/>
                  </a:lnTo>
                  <a:lnTo>
                    <a:pt x="529" y="205"/>
                  </a:lnTo>
                  <a:lnTo>
                    <a:pt x="489" y="190"/>
                  </a:lnTo>
                  <a:lnTo>
                    <a:pt x="448" y="176"/>
                  </a:lnTo>
                  <a:lnTo>
                    <a:pt x="406" y="164"/>
                  </a:lnTo>
                  <a:lnTo>
                    <a:pt x="362" y="151"/>
                  </a:lnTo>
                  <a:lnTo>
                    <a:pt x="317" y="140"/>
                  </a:lnTo>
                  <a:lnTo>
                    <a:pt x="317" y="140"/>
                  </a:lnTo>
                  <a:lnTo>
                    <a:pt x="334" y="107"/>
                  </a:lnTo>
                  <a:lnTo>
                    <a:pt x="334" y="107"/>
                  </a:lnTo>
                  <a:lnTo>
                    <a:pt x="360" y="63"/>
                  </a:lnTo>
                  <a:lnTo>
                    <a:pt x="378" y="31"/>
                  </a:lnTo>
                  <a:lnTo>
                    <a:pt x="385" y="20"/>
                  </a:lnTo>
                  <a:lnTo>
                    <a:pt x="389" y="10"/>
                  </a:lnTo>
                  <a:lnTo>
                    <a:pt x="391" y="4"/>
                  </a:lnTo>
                  <a:lnTo>
                    <a:pt x="390" y="2"/>
                  </a:lnTo>
                  <a:lnTo>
                    <a:pt x="389" y="0"/>
                  </a:lnTo>
                  <a:lnTo>
                    <a:pt x="389" y="0"/>
                  </a:lnTo>
                  <a:lnTo>
                    <a:pt x="388" y="0"/>
                  </a:lnTo>
                  <a:lnTo>
                    <a:pt x="387" y="0"/>
                  </a:lnTo>
                  <a:lnTo>
                    <a:pt x="381" y="1"/>
                  </a:lnTo>
                  <a:lnTo>
                    <a:pt x="367" y="10"/>
                  </a:lnTo>
                  <a:lnTo>
                    <a:pt x="343" y="26"/>
                  </a:lnTo>
                  <a:lnTo>
                    <a:pt x="326" y="35"/>
                  </a:lnTo>
                  <a:lnTo>
                    <a:pt x="307" y="46"/>
                  </a:lnTo>
                  <a:lnTo>
                    <a:pt x="307" y="46"/>
                  </a:lnTo>
                  <a:lnTo>
                    <a:pt x="285" y="57"/>
                  </a:lnTo>
                  <a:lnTo>
                    <a:pt x="267" y="67"/>
                  </a:lnTo>
                  <a:lnTo>
                    <a:pt x="252" y="73"/>
                  </a:lnTo>
                  <a:lnTo>
                    <a:pt x="237" y="78"/>
                  </a:lnTo>
                  <a:lnTo>
                    <a:pt x="224" y="82"/>
                  </a:lnTo>
                  <a:lnTo>
                    <a:pt x="211" y="85"/>
                  </a:lnTo>
                  <a:lnTo>
                    <a:pt x="183" y="89"/>
                  </a:lnTo>
                  <a:lnTo>
                    <a:pt x="183" y="89"/>
                  </a:lnTo>
                  <a:lnTo>
                    <a:pt x="174" y="89"/>
                  </a:lnTo>
                  <a:lnTo>
                    <a:pt x="165" y="88"/>
                  </a:lnTo>
                  <a:lnTo>
                    <a:pt x="147" y="85"/>
                  </a:lnTo>
                  <a:lnTo>
                    <a:pt x="132" y="81"/>
                  </a:lnTo>
                  <a:lnTo>
                    <a:pt x="125" y="81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14" y="85"/>
                  </a:lnTo>
                  <a:lnTo>
                    <a:pt x="107" y="91"/>
                  </a:lnTo>
                  <a:lnTo>
                    <a:pt x="102" y="98"/>
                  </a:lnTo>
                  <a:lnTo>
                    <a:pt x="97" y="107"/>
                  </a:lnTo>
                  <a:lnTo>
                    <a:pt x="92" y="120"/>
                  </a:lnTo>
                  <a:lnTo>
                    <a:pt x="87" y="134"/>
                  </a:lnTo>
                  <a:lnTo>
                    <a:pt x="74" y="171"/>
                  </a:lnTo>
                  <a:lnTo>
                    <a:pt x="74" y="171"/>
                  </a:lnTo>
                  <a:lnTo>
                    <a:pt x="49" y="242"/>
                  </a:lnTo>
                  <a:lnTo>
                    <a:pt x="42" y="261"/>
                  </a:lnTo>
                  <a:lnTo>
                    <a:pt x="42" y="261"/>
                  </a:lnTo>
                  <a:lnTo>
                    <a:pt x="34" y="279"/>
                  </a:lnTo>
                  <a:lnTo>
                    <a:pt x="27" y="293"/>
                  </a:lnTo>
                  <a:lnTo>
                    <a:pt x="14" y="312"/>
                  </a:lnTo>
                  <a:lnTo>
                    <a:pt x="10" y="320"/>
                  </a:lnTo>
                  <a:lnTo>
                    <a:pt x="6" y="327"/>
                  </a:lnTo>
                  <a:lnTo>
                    <a:pt x="3" y="335"/>
                  </a:lnTo>
                  <a:lnTo>
                    <a:pt x="1" y="34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0" name="Freeform 33"/>
            <p:cNvSpPr>
              <a:spLocks/>
            </p:cNvSpPr>
            <p:nvPr userDrawn="1"/>
          </p:nvSpPr>
          <p:spPr bwMode="auto">
            <a:xfrm>
              <a:off x="5781923" y="449429"/>
              <a:ext cx="39688" cy="46038"/>
            </a:xfrm>
            <a:custGeom>
              <a:avLst/>
              <a:gdLst>
                <a:gd name="T0" fmla="*/ 103 w 296"/>
                <a:gd name="T1" fmla="*/ 350 h 350"/>
                <a:gd name="T2" fmla="*/ 103 w 296"/>
                <a:gd name="T3" fmla="*/ 350 h 350"/>
                <a:gd name="T4" fmla="*/ 132 w 296"/>
                <a:gd name="T5" fmla="*/ 349 h 350"/>
                <a:gd name="T6" fmla="*/ 164 w 296"/>
                <a:gd name="T7" fmla="*/ 346 h 350"/>
                <a:gd name="T8" fmla="*/ 196 w 296"/>
                <a:gd name="T9" fmla="*/ 343 h 350"/>
                <a:gd name="T10" fmla="*/ 226 w 296"/>
                <a:gd name="T11" fmla="*/ 339 h 350"/>
                <a:gd name="T12" fmla="*/ 276 w 296"/>
                <a:gd name="T13" fmla="*/ 333 h 350"/>
                <a:gd name="T14" fmla="*/ 296 w 296"/>
                <a:gd name="T15" fmla="*/ 329 h 350"/>
                <a:gd name="T16" fmla="*/ 293 w 296"/>
                <a:gd name="T17" fmla="*/ 25 h 350"/>
                <a:gd name="T18" fmla="*/ 293 w 296"/>
                <a:gd name="T19" fmla="*/ 25 h 350"/>
                <a:gd name="T20" fmla="*/ 244 w 296"/>
                <a:gd name="T21" fmla="*/ 18 h 350"/>
                <a:gd name="T22" fmla="*/ 142 w 296"/>
                <a:gd name="T23" fmla="*/ 2 h 350"/>
                <a:gd name="T24" fmla="*/ 142 w 296"/>
                <a:gd name="T25" fmla="*/ 2 h 350"/>
                <a:gd name="T26" fmla="*/ 129 w 296"/>
                <a:gd name="T27" fmla="*/ 1 h 350"/>
                <a:gd name="T28" fmla="*/ 117 w 296"/>
                <a:gd name="T29" fmla="*/ 0 h 350"/>
                <a:gd name="T30" fmla="*/ 105 w 296"/>
                <a:gd name="T31" fmla="*/ 0 h 350"/>
                <a:gd name="T32" fmla="*/ 94 w 296"/>
                <a:gd name="T33" fmla="*/ 1 h 350"/>
                <a:gd name="T34" fmla="*/ 84 w 296"/>
                <a:gd name="T35" fmla="*/ 3 h 350"/>
                <a:gd name="T36" fmla="*/ 75 w 296"/>
                <a:gd name="T37" fmla="*/ 6 h 350"/>
                <a:gd name="T38" fmla="*/ 66 w 296"/>
                <a:gd name="T39" fmla="*/ 9 h 350"/>
                <a:gd name="T40" fmla="*/ 59 w 296"/>
                <a:gd name="T41" fmla="*/ 13 h 350"/>
                <a:gd name="T42" fmla="*/ 51 w 296"/>
                <a:gd name="T43" fmla="*/ 17 h 350"/>
                <a:gd name="T44" fmla="*/ 44 w 296"/>
                <a:gd name="T45" fmla="*/ 22 h 350"/>
                <a:gd name="T46" fmla="*/ 38 w 296"/>
                <a:gd name="T47" fmla="*/ 27 h 350"/>
                <a:gd name="T48" fmla="*/ 33 w 296"/>
                <a:gd name="T49" fmla="*/ 32 h 350"/>
                <a:gd name="T50" fmla="*/ 24 w 296"/>
                <a:gd name="T51" fmla="*/ 45 h 350"/>
                <a:gd name="T52" fmla="*/ 17 w 296"/>
                <a:gd name="T53" fmla="*/ 57 h 350"/>
                <a:gd name="T54" fmla="*/ 11 w 296"/>
                <a:gd name="T55" fmla="*/ 70 h 350"/>
                <a:gd name="T56" fmla="*/ 6 w 296"/>
                <a:gd name="T57" fmla="*/ 83 h 350"/>
                <a:gd name="T58" fmla="*/ 3 w 296"/>
                <a:gd name="T59" fmla="*/ 96 h 350"/>
                <a:gd name="T60" fmla="*/ 1 w 296"/>
                <a:gd name="T61" fmla="*/ 106 h 350"/>
                <a:gd name="T62" fmla="*/ 0 w 296"/>
                <a:gd name="T63" fmla="*/ 123 h 350"/>
                <a:gd name="T64" fmla="*/ 0 w 296"/>
                <a:gd name="T65" fmla="*/ 129 h 350"/>
                <a:gd name="T66" fmla="*/ 4 w 296"/>
                <a:gd name="T67" fmla="*/ 213 h 350"/>
                <a:gd name="T68" fmla="*/ 4 w 296"/>
                <a:gd name="T69" fmla="*/ 213 h 350"/>
                <a:gd name="T70" fmla="*/ 4 w 296"/>
                <a:gd name="T71" fmla="*/ 219 h 350"/>
                <a:gd name="T72" fmla="*/ 6 w 296"/>
                <a:gd name="T73" fmla="*/ 235 h 350"/>
                <a:gd name="T74" fmla="*/ 11 w 296"/>
                <a:gd name="T75" fmla="*/ 256 h 350"/>
                <a:gd name="T76" fmla="*/ 15 w 296"/>
                <a:gd name="T77" fmla="*/ 268 h 350"/>
                <a:gd name="T78" fmla="*/ 19 w 296"/>
                <a:gd name="T79" fmla="*/ 282 h 350"/>
                <a:gd name="T80" fmla="*/ 24 w 296"/>
                <a:gd name="T81" fmla="*/ 294 h 350"/>
                <a:gd name="T82" fmla="*/ 31 w 296"/>
                <a:gd name="T83" fmla="*/ 306 h 350"/>
                <a:gd name="T84" fmla="*/ 39 w 296"/>
                <a:gd name="T85" fmla="*/ 319 h 350"/>
                <a:gd name="T86" fmla="*/ 48 w 296"/>
                <a:gd name="T87" fmla="*/ 329 h 350"/>
                <a:gd name="T88" fmla="*/ 53 w 296"/>
                <a:gd name="T89" fmla="*/ 333 h 350"/>
                <a:gd name="T90" fmla="*/ 60 w 296"/>
                <a:gd name="T91" fmla="*/ 337 h 350"/>
                <a:gd name="T92" fmla="*/ 66 w 296"/>
                <a:gd name="T93" fmla="*/ 341 h 350"/>
                <a:gd name="T94" fmla="*/ 72 w 296"/>
                <a:gd name="T95" fmla="*/ 344 h 350"/>
                <a:gd name="T96" fmla="*/ 79 w 296"/>
                <a:gd name="T97" fmla="*/ 346 h 350"/>
                <a:gd name="T98" fmla="*/ 86 w 296"/>
                <a:gd name="T99" fmla="*/ 348 h 350"/>
                <a:gd name="T100" fmla="*/ 94 w 296"/>
                <a:gd name="T101" fmla="*/ 349 h 350"/>
                <a:gd name="T102" fmla="*/ 103 w 296"/>
                <a:gd name="T103" fmla="*/ 3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350">
                  <a:moveTo>
                    <a:pt x="103" y="350"/>
                  </a:moveTo>
                  <a:lnTo>
                    <a:pt x="103" y="350"/>
                  </a:lnTo>
                  <a:lnTo>
                    <a:pt x="132" y="349"/>
                  </a:lnTo>
                  <a:lnTo>
                    <a:pt x="164" y="346"/>
                  </a:lnTo>
                  <a:lnTo>
                    <a:pt x="196" y="343"/>
                  </a:lnTo>
                  <a:lnTo>
                    <a:pt x="226" y="339"/>
                  </a:lnTo>
                  <a:lnTo>
                    <a:pt x="276" y="333"/>
                  </a:lnTo>
                  <a:lnTo>
                    <a:pt x="296" y="329"/>
                  </a:lnTo>
                  <a:lnTo>
                    <a:pt x="293" y="25"/>
                  </a:lnTo>
                  <a:lnTo>
                    <a:pt x="293" y="25"/>
                  </a:lnTo>
                  <a:lnTo>
                    <a:pt x="244" y="18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29" y="1"/>
                  </a:lnTo>
                  <a:lnTo>
                    <a:pt x="117" y="0"/>
                  </a:lnTo>
                  <a:lnTo>
                    <a:pt x="105" y="0"/>
                  </a:lnTo>
                  <a:lnTo>
                    <a:pt x="94" y="1"/>
                  </a:lnTo>
                  <a:lnTo>
                    <a:pt x="84" y="3"/>
                  </a:lnTo>
                  <a:lnTo>
                    <a:pt x="75" y="6"/>
                  </a:lnTo>
                  <a:lnTo>
                    <a:pt x="66" y="9"/>
                  </a:lnTo>
                  <a:lnTo>
                    <a:pt x="59" y="13"/>
                  </a:lnTo>
                  <a:lnTo>
                    <a:pt x="51" y="17"/>
                  </a:lnTo>
                  <a:lnTo>
                    <a:pt x="44" y="22"/>
                  </a:lnTo>
                  <a:lnTo>
                    <a:pt x="38" y="27"/>
                  </a:lnTo>
                  <a:lnTo>
                    <a:pt x="33" y="32"/>
                  </a:lnTo>
                  <a:lnTo>
                    <a:pt x="24" y="45"/>
                  </a:lnTo>
                  <a:lnTo>
                    <a:pt x="17" y="57"/>
                  </a:lnTo>
                  <a:lnTo>
                    <a:pt x="11" y="70"/>
                  </a:lnTo>
                  <a:lnTo>
                    <a:pt x="6" y="83"/>
                  </a:lnTo>
                  <a:lnTo>
                    <a:pt x="3" y="96"/>
                  </a:lnTo>
                  <a:lnTo>
                    <a:pt x="1" y="106"/>
                  </a:lnTo>
                  <a:lnTo>
                    <a:pt x="0" y="123"/>
                  </a:lnTo>
                  <a:lnTo>
                    <a:pt x="0" y="129"/>
                  </a:lnTo>
                  <a:lnTo>
                    <a:pt x="4" y="213"/>
                  </a:lnTo>
                  <a:lnTo>
                    <a:pt x="4" y="213"/>
                  </a:lnTo>
                  <a:lnTo>
                    <a:pt x="4" y="219"/>
                  </a:lnTo>
                  <a:lnTo>
                    <a:pt x="6" y="235"/>
                  </a:lnTo>
                  <a:lnTo>
                    <a:pt x="11" y="256"/>
                  </a:lnTo>
                  <a:lnTo>
                    <a:pt x="15" y="268"/>
                  </a:lnTo>
                  <a:lnTo>
                    <a:pt x="19" y="282"/>
                  </a:lnTo>
                  <a:lnTo>
                    <a:pt x="24" y="294"/>
                  </a:lnTo>
                  <a:lnTo>
                    <a:pt x="31" y="306"/>
                  </a:lnTo>
                  <a:lnTo>
                    <a:pt x="39" y="319"/>
                  </a:lnTo>
                  <a:lnTo>
                    <a:pt x="48" y="329"/>
                  </a:lnTo>
                  <a:lnTo>
                    <a:pt x="53" y="333"/>
                  </a:lnTo>
                  <a:lnTo>
                    <a:pt x="60" y="337"/>
                  </a:lnTo>
                  <a:lnTo>
                    <a:pt x="66" y="341"/>
                  </a:lnTo>
                  <a:lnTo>
                    <a:pt x="72" y="344"/>
                  </a:lnTo>
                  <a:lnTo>
                    <a:pt x="79" y="346"/>
                  </a:lnTo>
                  <a:lnTo>
                    <a:pt x="86" y="348"/>
                  </a:lnTo>
                  <a:lnTo>
                    <a:pt x="94" y="349"/>
                  </a:lnTo>
                  <a:lnTo>
                    <a:pt x="103" y="3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1" name="Freeform 34"/>
            <p:cNvSpPr>
              <a:spLocks/>
            </p:cNvSpPr>
            <p:nvPr userDrawn="1"/>
          </p:nvSpPr>
          <p:spPr bwMode="auto">
            <a:xfrm>
              <a:off x="5829548" y="438317"/>
              <a:ext cx="60325" cy="57150"/>
            </a:xfrm>
            <a:custGeom>
              <a:avLst/>
              <a:gdLst>
                <a:gd name="T0" fmla="*/ 450 w 450"/>
                <a:gd name="T1" fmla="*/ 290 h 425"/>
                <a:gd name="T2" fmla="*/ 450 w 450"/>
                <a:gd name="T3" fmla="*/ 225 h 425"/>
                <a:gd name="T4" fmla="*/ 449 w 450"/>
                <a:gd name="T5" fmla="*/ 54 h 425"/>
                <a:gd name="T6" fmla="*/ 444 w 450"/>
                <a:gd name="T7" fmla="*/ 20 h 425"/>
                <a:gd name="T8" fmla="*/ 436 w 450"/>
                <a:gd name="T9" fmla="*/ 3 h 425"/>
                <a:gd name="T10" fmla="*/ 429 w 450"/>
                <a:gd name="T11" fmla="*/ 0 h 425"/>
                <a:gd name="T12" fmla="*/ 367 w 450"/>
                <a:gd name="T13" fmla="*/ 2 h 425"/>
                <a:gd name="T14" fmla="*/ 362 w 450"/>
                <a:gd name="T15" fmla="*/ 14 h 425"/>
                <a:gd name="T16" fmla="*/ 347 w 450"/>
                <a:gd name="T17" fmla="*/ 59 h 425"/>
                <a:gd name="T18" fmla="*/ 325 w 450"/>
                <a:gd name="T19" fmla="*/ 2 h 425"/>
                <a:gd name="T20" fmla="*/ 261 w 450"/>
                <a:gd name="T21" fmla="*/ 2 h 425"/>
                <a:gd name="T22" fmla="*/ 242 w 450"/>
                <a:gd name="T23" fmla="*/ 16 h 425"/>
                <a:gd name="T24" fmla="*/ 224 w 450"/>
                <a:gd name="T25" fmla="*/ 64 h 425"/>
                <a:gd name="T26" fmla="*/ 192 w 450"/>
                <a:gd name="T27" fmla="*/ 4 h 425"/>
                <a:gd name="T28" fmla="*/ 135 w 450"/>
                <a:gd name="T29" fmla="*/ 6 h 425"/>
                <a:gd name="T30" fmla="*/ 127 w 450"/>
                <a:gd name="T31" fmla="*/ 11 h 425"/>
                <a:gd name="T32" fmla="*/ 110 w 450"/>
                <a:gd name="T33" fmla="*/ 53 h 425"/>
                <a:gd name="T34" fmla="*/ 86 w 450"/>
                <a:gd name="T35" fmla="*/ 6 h 425"/>
                <a:gd name="T36" fmla="*/ 38 w 450"/>
                <a:gd name="T37" fmla="*/ 6 h 425"/>
                <a:gd name="T38" fmla="*/ 25 w 450"/>
                <a:gd name="T39" fmla="*/ 10 h 425"/>
                <a:gd name="T40" fmla="*/ 10 w 450"/>
                <a:gd name="T41" fmla="*/ 28 h 425"/>
                <a:gd name="T42" fmla="*/ 1 w 450"/>
                <a:gd name="T43" fmla="*/ 55 h 425"/>
                <a:gd name="T44" fmla="*/ 1 w 450"/>
                <a:gd name="T45" fmla="*/ 141 h 425"/>
                <a:gd name="T46" fmla="*/ 5 w 450"/>
                <a:gd name="T47" fmla="*/ 324 h 425"/>
                <a:gd name="T48" fmla="*/ 27 w 450"/>
                <a:gd name="T49" fmla="*/ 401 h 425"/>
                <a:gd name="T50" fmla="*/ 54 w 450"/>
                <a:gd name="T51" fmla="*/ 396 h 425"/>
                <a:gd name="T52" fmla="*/ 74 w 450"/>
                <a:gd name="T53" fmla="*/ 384 h 425"/>
                <a:gd name="T54" fmla="*/ 83 w 450"/>
                <a:gd name="T55" fmla="*/ 374 h 425"/>
                <a:gd name="T56" fmla="*/ 100 w 450"/>
                <a:gd name="T57" fmla="*/ 341 h 425"/>
                <a:gd name="T58" fmla="*/ 105 w 450"/>
                <a:gd name="T59" fmla="*/ 317 h 425"/>
                <a:gd name="T60" fmla="*/ 105 w 450"/>
                <a:gd name="T61" fmla="*/ 367 h 425"/>
                <a:gd name="T62" fmla="*/ 108 w 450"/>
                <a:gd name="T63" fmla="*/ 420 h 425"/>
                <a:gd name="T64" fmla="*/ 116 w 450"/>
                <a:gd name="T65" fmla="*/ 424 h 425"/>
                <a:gd name="T66" fmla="*/ 150 w 450"/>
                <a:gd name="T67" fmla="*/ 423 h 425"/>
                <a:gd name="T68" fmla="*/ 176 w 450"/>
                <a:gd name="T69" fmla="*/ 412 h 425"/>
                <a:gd name="T70" fmla="*/ 189 w 450"/>
                <a:gd name="T71" fmla="*/ 402 h 425"/>
                <a:gd name="T72" fmla="*/ 209 w 450"/>
                <a:gd name="T73" fmla="*/ 368 h 425"/>
                <a:gd name="T74" fmla="*/ 224 w 450"/>
                <a:gd name="T75" fmla="*/ 317 h 425"/>
                <a:gd name="T76" fmla="*/ 225 w 450"/>
                <a:gd name="T77" fmla="*/ 381 h 425"/>
                <a:gd name="T78" fmla="*/ 229 w 450"/>
                <a:gd name="T79" fmla="*/ 419 h 425"/>
                <a:gd name="T80" fmla="*/ 237 w 450"/>
                <a:gd name="T81" fmla="*/ 421 h 425"/>
                <a:gd name="T82" fmla="*/ 266 w 450"/>
                <a:gd name="T83" fmla="*/ 418 h 425"/>
                <a:gd name="T84" fmla="*/ 300 w 450"/>
                <a:gd name="T85" fmla="*/ 405 h 425"/>
                <a:gd name="T86" fmla="*/ 309 w 450"/>
                <a:gd name="T87" fmla="*/ 397 h 425"/>
                <a:gd name="T88" fmla="*/ 331 w 450"/>
                <a:gd name="T89" fmla="*/ 367 h 425"/>
                <a:gd name="T90" fmla="*/ 342 w 450"/>
                <a:gd name="T91" fmla="*/ 334 h 425"/>
                <a:gd name="T92" fmla="*/ 345 w 450"/>
                <a:gd name="T93" fmla="*/ 346 h 425"/>
                <a:gd name="T94" fmla="*/ 348 w 450"/>
                <a:gd name="T95" fmla="*/ 391 h 425"/>
                <a:gd name="T96" fmla="*/ 379 w 450"/>
                <a:gd name="T97" fmla="*/ 386 h 425"/>
                <a:gd name="T98" fmla="*/ 404 w 450"/>
                <a:gd name="T99" fmla="*/ 375 h 425"/>
                <a:gd name="T100" fmla="*/ 425 w 450"/>
                <a:gd name="T101" fmla="*/ 360 h 425"/>
                <a:gd name="T102" fmla="*/ 439 w 450"/>
                <a:gd name="T103" fmla="*/ 342 h 425"/>
                <a:gd name="T104" fmla="*/ 448 w 450"/>
                <a:gd name="T105" fmla="*/ 311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50" h="425">
                  <a:moveTo>
                    <a:pt x="448" y="311"/>
                  </a:moveTo>
                  <a:lnTo>
                    <a:pt x="448" y="311"/>
                  </a:lnTo>
                  <a:lnTo>
                    <a:pt x="450" y="290"/>
                  </a:lnTo>
                  <a:lnTo>
                    <a:pt x="450" y="268"/>
                  </a:lnTo>
                  <a:lnTo>
                    <a:pt x="450" y="225"/>
                  </a:lnTo>
                  <a:lnTo>
                    <a:pt x="450" y="225"/>
                  </a:lnTo>
                  <a:lnTo>
                    <a:pt x="449" y="64"/>
                  </a:lnTo>
                  <a:lnTo>
                    <a:pt x="449" y="64"/>
                  </a:lnTo>
                  <a:lnTo>
                    <a:pt x="449" y="54"/>
                  </a:lnTo>
                  <a:lnTo>
                    <a:pt x="448" y="44"/>
                  </a:lnTo>
                  <a:lnTo>
                    <a:pt x="447" y="33"/>
                  </a:lnTo>
                  <a:lnTo>
                    <a:pt x="444" y="20"/>
                  </a:lnTo>
                  <a:lnTo>
                    <a:pt x="441" y="10"/>
                  </a:lnTo>
                  <a:lnTo>
                    <a:pt x="439" y="6"/>
                  </a:lnTo>
                  <a:lnTo>
                    <a:pt x="436" y="3"/>
                  </a:lnTo>
                  <a:lnTo>
                    <a:pt x="433" y="1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396" y="0"/>
                  </a:lnTo>
                  <a:lnTo>
                    <a:pt x="378" y="1"/>
                  </a:lnTo>
                  <a:lnTo>
                    <a:pt x="367" y="2"/>
                  </a:lnTo>
                  <a:lnTo>
                    <a:pt x="367" y="2"/>
                  </a:lnTo>
                  <a:lnTo>
                    <a:pt x="364" y="7"/>
                  </a:lnTo>
                  <a:lnTo>
                    <a:pt x="362" y="14"/>
                  </a:lnTo>
                  <a:lnTo>
                    <a:pt x="356" y="33"/>
                  </a:lnTo>
                  <a:lnTo>
                    <a:pt x="350" y="52"/>
                  </a:lnTo>
                  <a:lnTo>
                    <a:pt x="347" y="59"/>
                  </a:lnTo>
                  <a:lnTo>
                    <a:pt x="345" y="64"/>
                  </a:lnTo>
                  <a:lnTo>
                    <a:pt x="325" y="2"/>
                  </a:lnTo>
                  <a:lnTo>
                    <a:pt x="325" y="2"/>
                  </a:lnTo>
                  <a:lnTo>
                    <a:pt x="309" y="1"/>
                  </a:lnTo>
                  <a:lnTo>
                    <a:pt x="286" y="1"/>
                  </a:lnTo>
                  <a:lnTo>
                    <a:pt x="261" y="2"/>
                  </a:lnTo>
                  <a:lnTo>
                    <a:pt x="247" y="4"/>
                  </a:lnTo>
                  <a:lnTo>
                    <a:pt x="247" y="4"/>
                  </a:lnTo>
                  <a:lnTo>
                    <a:pt x="242" y="16"/>
                  </a:lnTo>
                  <a:lnTo>
                    <a:pt x="236" y="34"/>
                  </a:lnTo>
                  <a:lnTo>
                    <a:pt x="229" y="52"/>
                  </a:lnTo>
                  <a:lnTo>
                    <a:pt x="224" y="64"/>
                  </a:lnTo>
                  <a:lnTo>
                    <a:pt x="205" y="5"/>
                  </a:lnTo>
                  <a:lnTo>
                    <a:pt x="205" y="5"/>
                  </a:lnTo>
                  <a:lnTo>
                    <a:pt x="192" y="4"/>
                  </a:lnTo>
                  <a:lnTo>
                    <a:pt x="168" y="4"/>
                  </a:lnTo>
                  <a:lnTo>
                    <a:pt x="144" y="5"/>
                  </a:lnTo>
                  <a:lnTo>
                    <a:pt x="135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27" y="11"/>
                  </a:lnTo>
                  <a:lnTo>
                    <a:pt x="124" y="18"/>
                  </a:lnTo>
                  <a:lnTo>
                    <a:pt x="117" y="36"/>
                  </a:lnTo>
                  <a:lnTo>
                    <a:pt x="110" y="53"/>
                  </a:lnTo>
                  <a:lnTo>
                    <a:pt x="105" y="64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6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3" y="7"/>
                  </a:lnTo>
                  <a:lnTo>
                    <a:pt x="29" y="8"/>
                  </a:lnTo>
                  <a:lnTo>
                    <a:pt x="25" y="10"/>
                  </a:lnTo>
                  <a:lnTo>
                    <a:pt x="21" y="12"/>
                  </a:lnTo>
                  <a:lnTo>
                    <a:pt x="15" y="19"/>
                  </a:lnTo>
                  <a:lnTo>
                    <a:pt x="10" y="28"/>
                  </a:lnTo>
                  <a:lnTo>
                    <a:pt x="5" y="36"/>
                  </a:lnTo>
                  <a:lnTo>
                    <a:pt x="2" y="46"/>
                  </a:lnTo>
                  <a:lnTo>
                    <a:pt x="1" y="55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1" y="141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5" y="324"/>
                  </a:lnTo>
                  <a:lnTo>
                    <a:pt x="8" y="402"/>
                  </a:lnTo>
                  <a:lnTo>
                    <a:pt x="8" y="402"/>
                  </a:lnTo>
                  <a:lnTo>
                    <a:pt x="27" y="401"/>
                  </a:lnTo>
                  <a:lnTo>
                    <a:pt x="37" y="399"/>
                  </a:lnTo>
                  <a:lnTo>
                    <a:pt x="45" y="398"/>
                  </a:lnTo>
                  <a:lnTo>
                    <a:pt x="54" y="396"/>
                  </a:lnTo>
                  <a:lnTo>
                    <a:pt x="62" y="393"/>
                  </a:lnTo>
                  <a:lnTo>
                    <a:pt x="68" y="388"/>
                  </a:lnTo>
                  <a:lnTo>
                    <a:pt x="74" y="384"/>
                  </a:lnTo>
                  <a:lnTo>
                    <a:pt x="74" y="384"/>
                  </a:lnTo>
                  <a:lnTo>
                    <a:pt x="79" y="379"/>
                  </a:lnTo>
                  <a:lnTo>
                    <a:pt x="83" y="374"/>
                  </a:lnTo>
                  <a:lnTo>
                    <a:pt x="90" y="363"/>
                  </a:lnTo>
                  <a:lnTo>
                    <a:pt x="95" y="352"/>
                  </a:lnTo>
                  <a:lnTo>
                    <a:pt x="100" y="341"/>
                  </a:lnTo>
                  <a:lnTo>
                    <a:pt x="103" y="331"/>
                  </a:lnTo>
                  <a:lnTo>
                    <a:pt x="104" y="324"/>
                  </a:lnTo>
                  <a:lnTo>
                    <a:pt x="105" y="317"/>
                  </a:lnTo>
                  <a:lnTo>
                    <a:pt x="105" y="317"/>
                  </a:lnTo>
                  <a:lnTo>
                    <a:pt x="105" y="337"/>
                  </a:lnTo>
                  <a:lnTo>
                    <a:pt x="105" y="367"/>
                  </a:lnTo>
                  <a:lnTo>
                    <a:pt x="106" y="397"/>
                  </a:lnTo>
                  <a:lnTo>
                    <a:pt x="108" y="420"/>
                  </a:lnTo>
                  <a:lnTo>
                    <a:pt x="108" y="420"/>
                  </a:lnTo>
                  <a:lnTo>
                    <a:pt x="108" y="421"/>
                  </a:lnTo>
                  <a:lnTo>
                    <a:pt x="110" y="422"/>
                  </a:lnTo>
                  <a:lnTo>
                    <a:pt x="116" y="424"/>
                  </a:lnTo>
                  <a:lnTo>
                    <a:pt x="125" y="425"/>
                  </a:lnTo>
                  <a:lnTo>
                    <a:pt x="136" y="425"/>
                  </a:lnTo>
                  <a:lnTo>
                    <a:pt x="150" y="423"/>
                  </a:lnTo>
                  <a:lnTo>
                    <a:pt x="163" y="418"/>
                  </a:lnTo>
                  <a:lnTo>
                    <a:pt x="169" y="415"/>
                  </a:lnTo>
                  <a:lnTo>
                    <a:pt x="176" y="412"/>
                  </a:lnTo>
                  <a:lnTo>
                    <a:pt x="182" y="407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97" y="392"/>
                  </a:lnTo>
                  <a:lnTo>
                    <a:pt x="204" y="380"/>
                  </a:lnTo>
                  <a:lnTo>
                    <a:pt x="209" y="368"/>
                  </a:lnTo>
                  <a:lnTo>
                    <a:pt x="213" y="356"/>
                  </a:lnTo>
                  <a:lnTo>
                    <a:pt x="220" y="333"/>
                  </a:lnTo>
                  <a:lnTo>
                    <a:pt x="224" y="317"/>
                  </a:lnTo>
                  <a:lnTo>
                    <a:pt x="224" y="317"/>
                  </a:lnTo>
                  <a:lnTo>
                    <a:pt x="224" y="348"/>
                  </a:lnTo>
                  <a:lnTo>
                    <a:pt x="225" y="381"/>
                  </a:lnTo>
                  <a:lnTo>
                    <a:pt x="227" y="408"/>
                  </a:lnTo>
                  <a:lnTo>
                    <a:pt x="228" y="417"/>
                  </a:lnTo>
                  <a:lnTo>
                    <a:pt x="229" y="419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7" y="421"/>
                  </a:lnTo>
                  <a:lnTo>
                    <a:pt x="245" y="421"/>
                  </a:lnTo>
                  <a:lnTo>
                    <a:pt x="255" y="420"/>
                  </a:lnTo>
                  <a:lnTo>
                    <a:pt x="266" y="418"/>
                  </a:lnTo>
                  <a:lnTo>
                    <a:pt x="277" y="415"/>
                  </a:lnTo>
                  <a:lnTo>
                    <a:pt x="289" y="411"/>
                  </a:lnTo>
                  <a:lnTo>
                    <a:pt x="300" y="405"/>
                  </a:lnTo>
                  <a:lnTo>
                    <a:pt x="305" y="401"/>
                  </a:lnTo>
                  <a:lnTo>
                    <a:pt x="309" y="397"/>
                  </a:lnTo>
                  <a:lnTo>
                    <a:pt x="309" y="397"/>
                  </a:lnTo>
                  <a:lnTo>
                    <a:pt x="317" y="387"/>
                  </a:lnTo>
                  <a:lnTo>
                    <a:pt x="325" y="377"/>
                  </a:lnTo>
                  <a:lnTo>
                    <a:pt x="331" y="367"/>
                  </a:lnTo>
                  <a:lnTo>
                    <a:pt x="336" y="356"/>
                  </a:lnTo>
                  <a:lnTo>
                    <a:pt x="339" y="345"/>
                  </a:lnTo>
                  <a:lnTo>
                    <a:pt x="342" y="334"/>
                  </a:lnTo>
                  <a:lnTo>
                    <a:pt x="345" y="317"/>
                  </a:lnTo>
                  <a:lnTo>
                    <a:pt x="345" y="317"/>
                  </a:lnTo>
                  <a:lnTo>
                    <a:pt x="345" y="346"/>
                  </a:lnTo>
                  <a:lnTo>
                    <a:pt x="346" y="370"/>
                  </a:lnTo>
                  <a:lnTo>
                    <a:pt x="348" y="391"/>
                  </a:lnTo>
                  <a:lnTo>
                    <a:pt x="348" y="391"/>
                  </a:lnTo>
                  <a:lnTo>
                    <a:pt x="362" y="390"/>
                  </a:lnTo>
                  <a:lnTo>
                    <a:pt x="371" y="388"/>
                  </a:lnTo>
                  <a:lnTo>
                    <a:pt x="379" y="386"/>
                  </a:lnTo>
                  <a:lnTo>
                    <a:pt x="379" y="386"/>
                  </a:lnTo>
                  <a:lnTo>
                    <a:pt x="393" y="380"/>
                  </a:lnTo>
                  <a:lnTo>
                    <a:pt x="404" y="375"/>
                  </a:lnTo>
                  <a:lnTo>
                    <a:pt x="415" y="368"/>
                  </a:lnTo>
                  <a:lnTo>
                    <a:pt x="415" y="368"/>
                  </a:lnTo>
                  <a:lnTo>
                    <a:pt x="425" y="360"/>
                  </a:lnTo>
                  <a:lnTo>
                    <a:pt x="430" y="355"/>
                  </a:lnTo>
                  <a:lnTo>
                    <a:pt x="435" y="349"/>
                  </a:lnTo>
                  <a:lnTo>
                    <a:pt x="439" y="342"/>
                  </a:lnTo>
                  <a:lnTo>
                    <a:pt x="443" y="333"/>
                  </a:lnTo>
                  <a:lnTo>
                    <a:pt x="446" y="323"/>
                  </a:lnTo>
                  <a:lnTo>
                    <a:pt x="448" y="31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2" name="Freeform 35"/>
            <p:cNvSpPr>
              <a:spLocks/>
            </p:cNvSpPr>
            <p:nvPr userDrawn="1"/>
          </p:nvSpPr>
          <p:spPr bwMode="auto">
            <a:xfrm>
              <a:off x="5837486" y="441492"/>
              <a:ext cx="73025" cy="80963"/>
            </a:xfrm>
            <a:custGeom>
              <a:avLst/>
              <a:gdLst>
                <a:gd name="T0" fmla="*/ 554 w 554"/>
                <a:gd name="T1" fmla="*/ 356 h 620"/>
                <a:gd name="T2" fmla="*/ 549 w 554"/>
                <a:gd name="T3" fmla="*/ 350 h 620"/>
                <a:gd name="T4" fmla="*/ 535 w 554"/>
                <a:gd name="T5" fmla="*/ 331 h 620"/>
                <a:gd name="T6" fmla="*/ 525 w 554"/>
                <a:gd name="T7" fmla="*/ 306 h 620"/>
                <a:gd name="T8" fmla="*/ 520 w 554"/>
                <a:gd name="T9" fmla="*/ 285 h 620"/>
                <a:gd name="T10" fmla="*/ 516 w 554"/>
                <a:gd name="T11" fmla="*/ 258 h 620"/>
                <a:gd name="T12" fmla="*/ 515 w 554"/>
                <a:gd name="T13" fmla="*/ 243 h 620"/>
                <a:gd name="T14" fmla="*/ 516 w 554"/>
                <a:gd name="T15" fmla="*/ 222 h 620"/>
                <a:gd name="T16" fmla="*/ 520 w 554"/>
                <a:gd name="T17" fmla="*/ 202 h 620"/>
                <a:gd name="T18" fmla="*/ 532 w 554"/>
                <a:gd name="T19" fmla="*/ 167 h 620"/>
                <a:gd name="T20" fmla="*/ 546 w 554"/>
                <a:gd name="T21" fmla="*/ 142 h 620"/>
                <a:gd name="T22" fmla="*/ 551 w 554"/>
                <a:gd name="T23" fmla="*/ 43 h 620"/>
                <a:gd name="T24" fmla="*/ 542 w 554"/>
                <a:gd name="T25" fmla="*/ 36 h 620"/>
                <a:gd name="T26" fmla="*/ 504 w 554"/>
                <a:gd name="T27" fmla="*/ 13 h 620"/>
                <a:gd name="T28" fmla="*/ 482 w 554"/>
                <a:gd name="T29" fmla="*/ 2 h 620"/>
                <a:gd name="T30" fmla="*/ 470 w 554"/>
                <a:gd name="T31" fmla="*/ 0 h 620"/>
                <a:gd name="T32" fmla="*/ 465 w 554"/>
                <a:gd name="T33" fmla="*/ 327 h 620"/>
                <a:gd name="T34" fmla="*/ 465 w 554"/>
                <a:gd name="T35" fmla="*/ 339 h 620"/>
                <a:gd name="T36" fmla="*/ 458 w 554"/>
                <a:gd name="T37" fmla="*/ 360 h 620"/>
                <a:gd name="T38" fmla="*/ 444 w 554"/>
                <a:gd name="T39" fmla="*/ 382 h 620"/>
                <a:gd name="T40" fmla="*/ 426 w 554"/>
                <a:gd name="T41" fmla="*/ 402 h 620"/>
                <a:gd name="T42" fmla="*/ 405 w 554"/>
                <a:gd name="T43" fmla="*/ 421 h 620"/>
                <a:gd name="T44" fmla="*/ 380 w 554"/>
                <a:gd name="T45" fmla="*/ 437 h 620"/>
                <a:gd name="T46" fmla="*/ 353 w 554"/>
                <a:gd name="T47" fmla="*/ 449 h 620"/>
                <a:gd name="T48" fmla="*/ 327 w 554"/>
                <a:gd name="T49" fmla="*/ 458 h 620"/>
                <a:gd name="T50" fmla="*/ 314 w 554"/>
                <a:gd name="T51" fmla="*/ 461 h 620"/>
                <a:gd name="T52" fmla="*/ 255 w 554"/>
                <a:gd name="T53" fmla="*/ 471 h 620"/>
                <a:gd name="T54" fmla="*/ 199 w 554"/>
                <a:gd name="T55" fmla="*/ 477 h 620"/>
                <a:gd name="T56" fmla="*/ 98 w 554"/>
                <a:gd name="T57" fmla="*/ 482 h 620"/>
                <a:gd name="T58" fmla="*/ 27 w 554"/>
                <a:gd name="T59" fmla="*/ 482 h 620"/>
                <a:gd name="T60" fmla="*/ 0 w 554"/>
                <a:gd name="T61" fmla="*/ 481 h 620"/>
                <a:gd name="T62" fmla="*/ 4 w 554"/>
                <a:gd name="T63" fmla="*/ 508 h 620"/>
                <a:gd name="T64" fmla="*/ 13 w 554"/>
                <a:gd name="T65" fmla="*/ 550 h 620"/>
                <a:gd name="T66" fmla="*/ 18 w 554"/>
                <a:gd name="T67" fmla="*/ 566 h 620"/>
                <a:gd name="T68" fmla="*/ 29 w 554"/>
                <a:gd name="T69" fmla="*/ 586 h 620"/>
                <a:gd name="T70" fmla="*/ 44 w 554"/>
                <a:gd name="T71" fmla="*/ 604 h 620"/>
                <a:gd name="T72" fmla="*/ 62 w 554"/>
                <a:gd name="T73" fmla="*/ 620 h 620"/>
                <a:gd name="T74" fmla="*/ 554 w 554"/>
                <a:gd name="T75" fmla="*/ 45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4" h="620">
                  <a:moveTo>
                    <a:pt x="554" y="450"/>
                  </a:moveTo>
                  <a:lnTo>
                    <a:pt x="554" y="356"/>
                  </a:lnTo>
                  <a:lnTo>
                    <a:pt x="554" y="356"/>
                  </a:lnTo>
                  <a:lnTo>
                    <a:pt x="549" y="350"/>
                  </a:lnTo>
                  <a:lnTo>
                    <a:pt x="543" y="342"/>
                  </a:lnTo>
                  <a:lnTo>
                    <a:pt x="535" y="331"/>
                  </a:lnTo>
                  <a:lnTo>
                    <a:pt x="528" y="315"/>
                  </a:lnTo>
                  <a:lnTo>
                    <a:pt x="525" y="306"/>
                  </a:lnTo>
                  <a:lnTo>
                    <a:pt x="522" y="296"/>
                  </a:lnTo>
                  <a:lnTo>
                    <a:pt x="520" y="285"/>
                  </a:lnTo>
                  <a:lnTo>
                    <a:pt x="517" y="271"/>
                  </a:lnTo>
                  <a:lnTo>
                    <a:pt x="516" y="258"/>
                  </a:lnTo>
                  <a:lnTo>
                    <a:pt x="515" y="243"/>
                  </a:lnTo>
                  <a:lnTo>
                    <a:pt x="515" y="243"/>
                  </a:lnTo>
                  <a:lnTo>
                    <a:pt x="515" y="232"/>
                  </a:lnTo>
                  <a:lnTo>
                    <a:pt x="516" y="222"/>
                  </a:lnTo>
                  <a:lnTo>
                    <a:pt x="517" y="212"/>
                  </a:lnTo>
                  <a:lnTo>
                    <a:pt x="520" y="202"/>
                  </a:lnTo>
                  <a:lnTo>
                    <a:pt x="526" y="183"/>
                  </a:lnTo>
                  <a:lnTo>
                    <a:pt x="532" y="167"/>
                  </a:lnTo>
                  <a:lnTo>
                    <a:pt x="540" y="154"/>
                  </a:lnTo>
                  <a:lnTo>
                    <a:pt x="546" y="142"/>
                  </a:lnTo>
                  <a:lnTo>
                    <a:pt x="552" y="133"/>
                  </a:lnTo>
                  <a:lnTo>
                    <a:pt x="551" y="43"/>
                  </a:lnTo>
                  <a:lnTo>
                    <a:pt x="551" y="43"/>
                  </a:lnTo>
                  <a:lnTo>
                    <a:pt x="542" y="36"/>
                  </a:lnTo>
                  <a:lnTo>
                    <a:pt x="518" y="21"/>
                  </a:lnTo>
                  <a:lnTo>
                    <a:pt x="504" y="13"/>
                  </a:lnTo>
                  <a:lnTo>
                    <a:pt x="489" y="5"/>
                  </a:lnTo>
                  <a:lnTo>
                    <a:pt x="482" y="2"/>
                  </a:lnTo>
                  <a:lnTo>
                    <a:pt x="476" y="1"/>
                  </a:lnTo>
                  <a:lnTo>
                    <a:pt x="470" y="0"/>
                  </a:lnTo>
                  <a:lnTo>
                    <a:pt x="464" y="0"/>
                  </a:lnTo>
                  <a:lnTo>
                    <a:pt x="465" y="327"/>
                  </a:lnTo>
                  <a:lnTo>
                    <a:pt x="465" y="327"/>
                  </a:lnTo>
                  <a:lnTo>
                    <a:pt x="465" y="339"/>
                  </a:lnTo>
                  <a:lnTo>
                    <a:pt x="462" y="349"/>
                  </a:lnTo>
                  <a:lnTo>
                    <a:pt x="458" y="360"/>
                  </a:lnTo>
                  <a:lnTo>
                    <a:pt x="452" y="370"/>
                  </a:lnTo>
                  <a:lnTo>
                    <a:pt x="444" y="382"/>
                  </a:lnTo>
                  <a:lnTo>
                    <a:pt x="436" y="392"/>
                  </a:lnTo>
                  <a:lnTo>
                    <a:pt x="426" y="402"/>
                  </a:lnTo>
                  <a:lnTo>
                    <a:pt x="416" y="411"/>
                  </a:lnTo>
                  <a:lnTo>
                    <a:pt x="405" y="421"/>
                  </a:lnTo>
                  <a:lnTo>
                    <a:pt x="392" y="429"/>
                  </a:lnTo>
                  <a:lnTo>
                    <a:pt x="380" y="437"/>
                  </a:lnTo>
                  <a:lnTo>
                    <a:pt x="367" y="443"/>
                  </a:lnTo>
                  <a:lnTo>
                    <a:pt x="353" y="449"/>
                  </a:lnTo>
                  <a:lnTo>
                    <a:pt x="340" y="454"/>
                  </a:lnTo>
                  <a:lnTo>
                    <a:pt x="327" y="458"/>
                  </a:lnTo>
                  <a:lnTo>
                    <a:pt x="314" y="461"/>
                  </a:lnTo>
                  <a:lnTo>
                    <a:pt x="314" y="461"/>
                  </a:lnTo>
                  <a:lnTo>
                    <a:pt x="284" y="467"/>
                  </a:lnTo>
                  <a:lnTo>
                    <a:pt x="255" y="471"/>
                  </a:lnTo>
                  <a:lnTo>
                    <a:pt x="227" y="474"/>
                  </a:lnTo>
                  <a:lnTo>
                    <a:pt x="199" y="477"/>
                  </a:lnTo>
                  <a:lnTo>
                    <a:pt x="146" y="480"/>
                  </a:lnTo>
                  <a:lnTo>
                    <a:pt x="98" y="482"/>
                  </a:lnTo>
                  <a:lnTo>
                    <a:pt x="58" y="482"/>
                  </a:lnTo>
                  <a:lnTo>
                    <a:pt x="27" y="482"/>
                  </a:lnTo>
                  <a:lnTo>
                    <a:pt x="0" y="481"/>
                  </a:lnTo>
                  <a:lnTo>
                    <a:pt x="0" y="481"/>
                  </a:lnTo>
                  <a:lnTo>
                    <a:pt x="1" y="488"/>
                  </a:lnTo>
                  <a:lnTo>
                    <a:pt x="4" y="508"/>
                  </a:lnTo>
                  <a:lnTo>
                    <a:pt x="10" y="535"/>
                  </a:lnTo>
                  <a:lnTo>
                    <a:pt x="13" y="550"/>
                  </a:lnTo>
                  <a:lnTo>
                    <a:pt x="18" y="566"/>
                  </a:lnTo>
                  <a:lnTo>
                    <a:pt x="18" y="566"/>
                  </a:lnTo>
                  <a:lnTo>
                    <a:pt x="23" y="576"/>
                  </a:lnTo>
                  <a:lnTo>
                    <a:pt x="29" y="586"/>
                  </a:lnTo>
                  <a:lnTo>
                    <a:pt x="36" y="595"/>
                  </a:lnTo>
                  <a:lnTo>
                    <a:pt x="44" y="604"/>
                  </a:lnTo>
                  <a:lnTo>
                    <a:pt x="57" y="616"/>
                  </a:lnTo>
                  <a:lnTo>
                    <a:pt x="62" y="620"/>
                  </a:lnTo>
                  <a:lnTo>
                    <a:pt x="451" y="620"/>
                  </a:lnTo>
                  <a:lnTo>
                    <a:pt x="554" y="4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3" name="Freeform 36"/>
            <p:cNvSpPr>
              <a:spLocks/>
            </p:cNvSpPr>
            <p:nvPr userDrawn="1"/>
          </p:nvSpPr>
          <p:spPr bwMode="auto">
            <a:xfrm>
              <a:off x="5843836" y="533567"/>
              <a:ext cx="57150" cy="17463"/>
            </a:xfrm>
            <a:custGeom>
              <a:avLst/>
              <a:gdLst>
                <a:gd name="T0" fmla="*/ 20 w 435"/>
                <a:gd name="T1" fmla="*/ 142 h 142"/>
                <a:gd name="T2" fmla="*/ 411 w 435"/>
                <a:gd name="T3" fmla="*/ 142 h 142"/>
                <a:gd name="T4" fmla="*/ 411 w 435"/>
                <a:gd name="T5" fmla="*/ 142 h 142"/>
                <a:gd name="T6" fmla="*/ 422 w 435"/>
                <a:gd name="T7" fmla="*/ 109 h 142"/>
                <a:gd name="T8" fmla="*/ 430 w 435"/>
                <a:gd name="T9" fmla="*/ 83 h 142"/>
                <a:gd name="T10" fmla="*/ 433 w 435"/>
                <a:gd name="T11" fmla="*/ 72 h 142"/>
                <a:gd name="T12" fmla="*/ 435 w 435"/>
                <a:gd name="T13" fmla="*/ 63 h 142"/>
                <a:gd name="T14" fmla="*/ 417 w 435"/>
                <a:gd name="T15" fmla="*/ 0 h 142"/>
                <a:gd name="T16" fmla="*/ 22 w 435"/>
                <a:gd name="T17" fmla="*/ 0 h 142"/>
                <a:gd name="T18" fmla="*/ 0 w 435"/>
                <a:gd name="T19" fmla="*/ 65 h 142"/>
                <a:gd name="T20" fmla="*/ 20 w 435"/>
                <a:gd name="T2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5" h="142">
                  <a:moveTo>
                    <a:pt x="20" y="142"/>
                  </a:moveTo>
                  <a:lnTo>
                    <a:pt x="411" y="142"/>
                  </a:lnTo>
                  <a:lnTo>
                    <a:pt x="411" y="142"/>
                  </a:lnTo>
                  <a:lnTo>
                    <a:pt x="422" y="109"/>
                  </a:lnTo>
                  <a:lnTo>
                    <a:pt x="430" y="83"/>
                  </a:lnTo>
                  <a:lnTo>
                    <a:pt x="433" y="72"/>
                  </a:lnTo>
                  <a:lnTo>
                    <a:pt x="435" y="63"/>
                  </a:lnTo>
                  <a:lnTo>
                    <a:pt x="417" y="0"/>
                  </a:lnTo>
                  <a:lnTo>
                    <a:pt x="22" y="0"/>
                  </a:lnTo>
                  <a:lnTo>
                    <a:pt x="0" y="65"/>
                  </a:lnTo>
                  <a:lnTo>
                    <a:pt x="20" y="1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4" name="Freeform 37"/>
            <p:cNvSpPr>
              <a:spLocks/>
            </p:cNvSpPr>
            <p:nvPr userDrawn="1"/>
          </p:nvSpPr>
          <p:spPr bwMode="auto">
            <a:xfrm>
              <a:off x="5847011" y="562142"/>
              <a:ext cx="57150" cy="66675"/>
            </a:xfrm>
            <a:custGeom>
              <a:avLst/>
              <a:gdLst>
                <a:gd name="T0" fmla="*/ 384 w 436"/>
                <a:gd name="T1" fmla="*/ 0 h 514"/>
                <a:gd name="T2" fmla="*/ 2 w 436"/>
                <a:gd name="T3" fmla="*/ 0 h 514"/>
                <a:gd name="T4" fmla="*/ 0 w 436"/>
                <a:gd name="T5" fmla="*/ 505 h 514"/>
                <a:gd name="T6" fmla="*/ 331 w 436"/>
                <a:gd name="T7" fmla="*/ 514 h 514"/>
                <a:gd name="T8" fmla="*/ 436 w 436"/>
                <a:gd name="T9" fmla="*/ 431 h 514"/>
                <a:gd name="T10" fmla="*/ 384 w 436"/>
                <a:gd name="T11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6" h="514">
                  <a:moveTo>
                    <a:pt x="384" y="0"/>
                  </a:moveTo>
                  <a:lnTo>
                    <a:pt x="2" y="0"/>
                  </a:lnTo>
                  <a:lnTo>
                    <a:pt x="0" y="505"/>
                  </a:lnTo>
                  <a:lnTo>
                    <a:pt x="331" y="514"/>
                  </a:lnTo>
                  <a:lnTo>
                    <a:pt x="436" y="431"/>
                  </a:lnTo>
                  <a:lnTo>
                    <a:pt x="3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5" name="Freeform 38"/>
            <p:cNvSpPr>
              <a:spLocks/>
            </p:cNvSpPr>
            <p:nvPr userDrawn="1"/>
          </p:nvSpPr>
          <p:spPr bwMode="auto">
            <a:xfrm>
              <a:off x="5843836" y="627229"/>
              <a:ext cx="77788" cy="68263"/>
            </a:xfrm>
            <a:custGeom>
              <a:avLst/>
              <a:gdLst>
                <a:gd name="T0" fmla="*/ 586 w 586"/>
                <a:gd name="T1" fmla="*/ 139 h 523"/>
                <a:gd name="T2" fmla="*/ 586 w 586"/>
                <a:gd name="T3" fmla="*/ 139 h 523"/>
                <a:gd name="T4" fmla="*/ 552 w 586"/>
                <a:gd name="T5" fmla="*/ 115 h 523"/>
                <a:gd name="T6" fmla="*/ 527 w 586"/>
                <a:gd name="T7" fmla="*/ 97 h 523"/>
                <a:gd name="T8" fmla="*/ 519 w 586"/>
                <a:gd name="T9" fmla="*/ 90 h 523"/>
                <a:gd name="T10" fmla="*/ 514 w 586"/>
                <a:gd name="T11" fmla="*/ 85 h 523"/>
                <a:gd name="T12" fmla="*/ 514 w 586"/>
                <a:gd name="T13" fmla="*/ 85 h 523"/>
                <a:gd name="T14" fmla="*/ 512 w 586"/>
                <a:gd name="T15" fmla="*/ 79 h 523"/>
                <a:gd name="T16" fmla="*/ 510 w 586"/>
                <a:gd name="T17" fmla="*/ 69 h 523"/>
                <a:gd name="T18" fmla="*/ 506 w 586"/>
                <a:gd name="T19" fmla="*/ 40 h 523"/>
                <a:gd name="T20" fmla="*/ 503 w 586"/>
                <a:gd name="T21" fmla="*/ 0 h 523"/>
                <a:gd name="T22" fmla="*/ 381 w 586"/>
                <a:gd name="T23" fmla="*/ 98 h 523"/>
                <a:gd name="T24" fmla="*/ 8 w 586"/>
                <a:gd name="T25" fmla="*/ 97 h 523"/>
                <a:gd name="T26" fmla="*/ 8 w 586"/>
                <a:gd name="T27" fmla="*/ 97 h 523"/>
                <a:gd name="T28" fmla="*/ 8 w 586"/>
                <a:gd name="T29" fmla="*/ 98 h 523"/>
                <a:gd name="T30" fmla="*/ 7 w 586"/>
                <a:gd name="T31" fmla="*/ 100 h 523"/>
                <a:gd name="T32" fmla="*/ 5 w 586"/>
                <a:gd name="T33" fmla="*/ 108 h 523"/>
                <a:gd name="T34" fmla="*/ 3 w 586"/>
                <a:gd name="T35" fmla="*/ 139 h 523"/>
                <a:gd name="T36" fmla="*/ 2 w 586"/>
                <a:gd name="T37" fmla="*/ 183 h 523"/>
                <a:gd name="T38" fmla="*/ 1 w 586"/>
                <a:gd name="T39" fmla="*/ 233 h 523"/>
                <a:gd name="T40" fmla="*/ 0 w 586"/>
                <a:gd name="T41" fmla="*/ 327 h 523"/>
                <a:gd name="T42" fmla="*/ 0 w 586"/>
                <a:gd name="T43" fmla="*/ 369 h 523"/>
                <a:gd name="T44" fmla="*/ 0 w 586"/>
                <a:gd name="T45" fmla="*/ 369 h 523"/>
                <a:gd name="T46" fmla="*/ 29 w 586"/>
                <a:gd name="T47" fmla="*/ 395 h 523"/>
                <a:gd name="T48" fmla="*/ 95 w 586"/>
                <a:gd name="T49" fmla="*/ 448 h 523"/>
                <a:gd name="T50" fmla="*/ 131 w 586"/>
                <a:gd name="T51" fmla="*/ 477 h 523"/>
                <a:gd name="T52" fmla="*/ 162 w 586"/>
                <a:gd name="T53" fmla="*/ 501 h 523"/>
                <a:gd name="T54" fmla="*/ 186 w 586"/>
                <a:gd name="T55" fmla="*/ 517 h 523"/>
                <a:gd name="T56" fmla="*/ 193 w 586"/>
                <a:gd name="T57" fmla="*/ 522 h 523"/>
                <a:gd name="T58" fmla="*/ 195 w 586"/>
                <a:gd name="T59" fmla="*/ 523 h 523"/>
                <a:gd name="T60" fmla="*/ 197 w 586"/>
                <a:gd name="T61" fmla="*/ 523 h 523"/>
                <a:gd name="T62" fmla="*/ 448 w 586"/>
                <a:gd name="T63" fmla="*/ 206 h 523"/>
                <a:gd name="T64" fmla="*/ 586 w 586"/>
                <a:gd name="T65" fmla="*/ 139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86" h="523">
                  <a:moveTo>
                    <a:pt x="586" y="139"/>
                  </a:moveTo>
                  <a:lnTo>
                    <a:pt x="586" y="139"/>
                  </a:lnTo>
                  <a:lnTo>
                    <a:pt x="552" y="115"/>
                  </a:lnTo>
                  <a:lnTo>
                    <a:pt x="527" y="97"/>
                  </a:lnTo>
                  <a:lnTo>
                    <a:pt x="519" y="90"/>
                  </a:lnTo>
                  <a:lnTo>
                    <a:pt x="514" y="85"/>
                  </a:lnTo>
                  <a:lnTo>
                    <a:pt x="514" y="85"/>
                  </a:lnTo>
                  <a:lnTo>
                    <a:pt x="512" y="79"/>
                  </a:lnTo>
                  <a:lnTo>
                    <a:pt x="510" y="69"/>
                  </a:lnTo>
                  <a:lnTo>
                    <a:pt x="506" y="40"/>
                  </a:lnTo>
                  <a:lnTo>
                    <a:pt x="503" y="0"/>
                  </a:lnTo>
                  <a:lnTo>
                    <a:pt x="381" y="98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8" y="98"/>
                  </a:lnTo>
                  <a:lnTo>
                    <a:pt x="7" y="100"/>
                  </a:lnTo>
                  <a:lnTo>
                    <a:pt x="5" y="108"/>
                  </a:lnTo>
                  <a:lnTo>
                    <a:pt x="3" y="139"/>
                  </a:lnTo>
                  <a:lnTo>
                    <a:pt x="2" y="183"/>
                  </a:lnTo>
                  <a:lnTo>
                    <a:pt x="1" y="233"/>
                  </a:lnTo>
                  <a:lnTo>
                    <a:pt x="0" y="327"/>
                  </a:lnTo>
                  <a:lnTo>
                    <a:pt x="0" y="369"/>
                  </a:lnTo>
                  <a:lnTo>
                    <a:pt x="0" y="369"/>
                  </a:lnTo>
                  <a:lnTo>
                    <a:pt x="29" y="395"/>
                  </a:lnTo>
                  <a:lnTo>
                    <a:pt x="95" y="448"/>
                  </a:lnTo>
                  <a:lnTo>
                    <a:pt x="131" y="477"/>
                  </a:lnTo>
                  <a:lnTo>
                    <a:pt x="162" y="501"/>
                  </a:lnTo>
                  <a:lnTo>
                    <a:pt x="186" y="517"/>
                  </a:lnTo>
                  <a:lnTo>
                    <a:pt x="193" y="522"/>
                  </a:lnTo>
                  <a:lnTo>
                    <a:pt x="195" y="523"/>
                  </a:lnTo>
                  <a:lnTo>
                    <a:pt x="197" y="523"/>
                  </a:lnTo>
                  <a:lnTo>
                    <a:pt x="448" y="206"/>
                  </a:lnTo>
                  <a:lnTo>
                    <a:pt x="586" y="13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6" name="Freeform 39"/>
            <p:cNvSpPr>
              <a:spLocks/>
            </p:cNvSpPr>
            <p:nvPr userDrawn="1"/>
          </p:nvSpPr>
          <p:spPr bwMode="auto">
            <a:xfrm>
              <a:off x="5880348" y="652629"/>
              <a:ext cx="115888" cy="66675"/>
            </a:xfrm>
            <a:custGeom>
              <a:avLst/>
              <a:gdLst>
                <a:gd name="T0" fmla="*/ 226 w 879"/>
                <a:gd name="T1" fmla="*/ 65 h 509"/>
                <a:gd name="T2" fmla="*/ 0 w 879"/>
                <a:gd name="T3" fmla="*/ 355 h 509"/>
                <a:gd name="T4" fmla="*/ 369 w 879"/>
                <a:gd name="T5" fmla="*/ 509 h 509"/>
                <a:gd name="T6" fmla="*/ 369 w 879"/>
                <a:gd name="T7" fmla="*/ 509 h 509"/>
                <a:gd name="T8" fmla="*/ 409 w 879"/>
                <a:gd name="T9" fmla="*/ 487 h 509"/>
                <a:gd name="T10" fmla="*/ 452 w 879"/>
                <a:gd name="T11" fmla="*/ 464 h 509"/>
                <a:gd name="T12" fmla="*/ 495 w 879"/>
                <a:gd name="T13" fmla="*/ 439 h 509"/>
                <a:gd name="T14" fmla="*/ 538 w 879"/>
                <a:gd name="T15" fmla="*/ 413 h 509"/>
                <a:gd name="T16" fmla="*/ 623 w 879"/>
                <a:gd name="T17" fmla="*/ 361 h 509"/>
                <a:gd name="T18" fmla="*/ 703 w 879"/>
                <a:gd name="T19" fmla="*/ 311 h 509"/>
                <a:gd name="T20" fmla="*/ 773 w 879"/>
                <a:gd name="T21" fmla="*/ 266 h 509"/>
                <a:gd name="T22" fmla="*/ 829 w 879"/>
                <a:gd name="T23" fmla="*/ 229 h 509"/>
                <a:gd name="T24" fmla="*/ 879 w 879"/>
                <a:gd name="T25" fmla="*/ 196 h 509"/>
                <a:gd name="T26" fmla="*/ 359 w 879"/>
                <a:gd name="T27" fmla="*/ 0 h 509"/>
                <a:gd name="T28" fmla="*/ 226 w 879"/>
                <a:gd name="T29" fmla="*/ 65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79" h="509">
                  <a:moveTo>
                    <a:pt x="226" y="65"/>
                  </a:moveTo>
                  <a:lnTo>
                    <a:pt x="0" y="355"/>
                  </a:lnTo>
                  <a:lnTo>
                    <a:pt x="369" y="509"/>
                  </a:lnTo>
                  <a:lnTo>
                    <a:pt x="369" y="509"/>
                  </a:lnTo>
                  <a:lnTo>
                    <a:pt x="409" y="487"/>
                  </a:lnTo>
                  <a:lnTo>
                    <a:pt x="452" y="464"/>
                  </a:lnTo>
                  <a:lnTo>
                    <a:pt x="495" y="439"/>
                  </a:lnTo>
                  <a:lnTo>
                    <a:pt x="538" y="413"/>
                  </a:lnTo>
                  <a:lnTo>
                    <a:pt x="623" y="361"/>
                  </a:lnTo>
                  <a:lnTo>
                    <a:pt x="703" y="311"/>
                  </a:lnTo>
                  <a:lnTo>
                    <a:pt x="773" y="266"/>
                  </a:lnTo>
                  <a:lnTo>
                    <a:pt x="829" y="229"/>
                  </a:lnTo>
                  <a:lnTo>
                    <a:pt x="879" y="196"/>
                  </a:lnTo>
                  <a:lnTo>
                    <a:pt x="359" y="0"/>
                  </a:lnTo>
                  <a:lnTo>
                    <a:pt x="226" y="6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7" name="Freeform 40"/>
            <p:cNvSpPr>
              <a:spLocks/>
            </p:cNvSpPr>
            <p:nvPr userDrawn="1"/>
          </p:nvSpPr>
          <p:spPr bwMode="auto">
            <a:xfrm>
              <a:off x="5915273" y="408154"/>
              <a:ext cx="26988" cy="123825"/>
            </a:xfrm>
            <a:custGeom>
              <a:avLst/>
              <a:gdLst>
                <a:gd name="T0" fmla="*/ 170 w 211"/>
                <a:gd name="T1" fmla="*/ 388 h 928"/>
                <a:gd name="T2" fmla="*/ 169 w 211"/>
                <a:gd name="T3" fmla="*/ 133 h 928"/>
                <a:gd name="T4" fmla="*/ 171 w 211"/>
                <a:gd name="T5" fmla="*/ 84 h 928"/>
                <a:gd name="T6" fmla="*/ 172 w 211"/>
                <a:gd name="T7" fmla="*/ 79 h 928"/>
                <a:gd name="T8" fmla="*/ 182 w 211"/>
                <a:gd name="T9" fmla="*/ 64 h 928"/>
                <a:gd name="T10" fmla="*/ 188 w 211"/>
                <a:gd name="T11" fmla="*/ 53 h 928"/>
                <a:gd name="T12" fmla="*/ 192 w 211"/>
                <a:gd name="T13" fmla="*/ 36 h 928"/>
                <a:gd name="T14" fmla="*/ 191 w 211"/>
                <a:gd name="T15" fmla="*/ 18 h 928"/>
                <a:gd name="T16" fmla="*/ 188 w 211"/>
                <a:gd name="T17" fmla="*/ 0 h 928"/>
                <a:gd name="T18" fmla="*/ 6 w 211"/>
                <a:gd name="T19" fmla="*/ 0 h 928"/>
                <a:gd name="T20" fmla="*/ 4 w 211"/>
                <a:gd name="T21" fmla="*/ 8 h 928"/>
                <a:gd name="T22" fmla="*/ 5 w 211"/>
                <a:gd name="T23" fmla="*/ 33 h 928"/>
                <a:gd name="T24" fmla="*/ 7 w 211"/>
                <a:gd name="T25" fmla="*/ 43 h 928"/>
                <a:gd name="T26" fmla="*/ 17 w 211"/>
                <a:gd name="T27" fmla="*/ 65 h 928"/>
                <a:gd name="T28" fmla="*/ 28 w 211"/>
                <a:gd name="T29" fmla="*/ 80 h 928"/>
                <a:gd name="T30" fmla="*/ 33 w 211"/>
                <a:gd name="T31" fmla="*/ 388 h 928"/>
                <a:gd name="T32" fmla="*/ 29 w 211"/>
                <a:gd name="T33" fmla="*/ 395 h 928"/>
                <a:gd name="T34" fmla="*/ 19 w 211"/>
                <a:gd name="T35" fmla="*/ 412 h 928"/>
                <a:gd name="T36" fmla="*/ 9 w 211"/>
                <a:gd name="T37" fmla="*/ 443 h 928"/>
                <a:gd name="T38" fmla="*/ 0 w 211"/>
                <a:gd name="T39" fmla="*/ 487 h 928"/>
                <a:gd name="T40" fmla="*/ 0 w 211"/>
                <a:gd name="T41" fmla="*/ 498 h 928"/>
                <a:gd name="T42" fmla="*/ 1 w 211"/>
                <a:gd name="T43" fmla="*/ 518 h 928"/>
                <a:gd name="T44" fmla="*/ 10 w 211"/>
                <a:gd name="T45" fmla="*/ 546 h 928"/>
                <a:gd name="T46" fmla="*/ 23 w 211"/>
                <a:gd name="T47" fmla="*/ 576 h 928"/>
                <a:gd name="T48" fmla="*/ 35 w 211"/>
                <a:gd name="T49" fmla="*/ 594 h 928"/>
                <a:gd name="T50" fmla="*/ 31 w 211"/>
                <a:gd name="T51" fmla="*/ 850 h 928"/>
                <a:gd name="T52" fmla="*/ 23 w 211"/>
                <a:gd name="T53" fmla="*/ 859 h 928"/>
                <a:gd name="T54" fmla="*/ 18 w 211"/>
                <a:gd name="T55" fmla="*/ 871 h 928"/>
                <a:gd name="T56" fmla="*/ 14 w 211"/>
                <a:gd name="T57" fmla="*/ 888 h 928"/>
                <a:gd name="T58" fmla="*/ 14 w 211"/>
                <a:gd name="T59" fmla="*/ 898 h 928"/>
                <a:gd name="T60" fmla="*/ 15 w 211"/>
                <a:gd name="T61" fmla="*/ 919 h 928"/>
                <a:gd name="T62" fmla="*/ 18 w 211"/>
                <a:gd name="T63" fmla="*/ 928 h 928"/>
                <a:gd name="T64" fmla="*/ 188 w 211"/>
                <a:gd name="T65" fmla="*/ 928 h 928"/>
                <a:gd name="T66" fmla="*/ 191 w 211"/>
                <a:gd name="T67" fmla="*/ 906 h 928"/>
                <a:gd name="T68" fmla="*/ 190 w 211"/>
                <a:gd name="T69" fmla="*/ 881 h 928"/>
                <a:gd name="T70" fmla="*/ 188 w 211"/>
                <a:gd name="T71" fmla="*/ 873 h 928"/>
                <a:gd name="T72" fmla="*/ 179 w 211"/>
                <a:gd name="T73" fmla="*/ 857 h 928"/>
                <a:gd name="T74" fmla="*/ 169 w 211"/>
                <a:gd name="T75" fmla="*/ 846 h 928"/>
                <a:gd name="T76" fmla="*/ 168 w 211"/>
                <a:gd name="T77" fmla="*/ 594 h 928"/>
                <a:gd name="T78" fmla="*/ 190 w 211"/>
                <a:gd name="T79" fmla="*/ 561 h 928"/>
                <a:gd name="T80" fmla="*/ 202 w 211"/>
                <a:gd name="T81" fmla="*/ 537 h 928"/>
                <a:gd name="T82" fmla="*/ 210 w 211"/>
                <a:gd name="T83" fmla="*/ 507 h 928"/>
                <a:gd name="T84" fmla="*/ 211 w 211"/>
                <a:gd name="T85" fmla="*/ 491 h 928"/>
                <a:gd name="T86" fmla="*/ 211 w 211"/>
                <a:gd name="T87" fmla="*/ 482 h 928"/>
                <a:gd name="T88" fmla="*/ 206 w 211"/>
                <a:gd name="T89" fmla="*/ 458 h 928"/>
                <a:gd name="T90" fmla="*/ 195 w 211"/>
                <a:gd name="T91" fmla="*/ 428 h 928"/>
                <a:gd name="T92" fmla="*/ 181 w 211"/>
                <a:gd name="T93" fmla="*/ 405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1" h="928">
                  <a:moveTo>
                    <a:pt x="170" y="388"/>
                  </a:moveTo>
                  <a:lnTo>
                    <a:pt x="170" y="388"/>
                  </a:lnTo>
                  <a:lnTo>
                    <a:pt x="169" y="238"/>
                  </a:lnTo>
                  <a:lnTo>
                    <a:pt x="169" y="133"/>
                  </a:lnTo>
                  <a:lnTo>
                    <a:pt x="170" y="96"/>
                  </a:lnTo>
                  <a:lnTo>
                    <a:pt x="171" y="84"/>
                  </a:lnTo>
                  <a:lnTo>
                    <a:pt x="172" y="79"/>
                  </a:lnTo>
                  <a:lnTo>
                    <a:pt x="172" y="79"/>
                  </a:lnTo>
                  <a:lnTo>
                    <a:pt x="177" y="71"/>
                  </a:lnTo>
                  <a:lnTo>
                    <a:pt x="182" y="64"/>
                  </a:lnTo>
                  <a:lnTo>
                    <a:pt x="188" y="53"/>
                  </a:lnTo>
                  <a:lnTo>
                    <a:pt x="188" y="53"/>
                  </a:lnTo>
                  <a:lnTo>
                    <a:pt x="191" y="45"/>
                  </a:lnTo>
                  <a:lnTo>
                    <a:pt x="192" y="36"/>
                  </a:lnTo>
                  <a:lnTo>
                    <a:pt x="192" y="28"/>
                  </a:lnTo>
                  <a:lnTo>
                    <a:pt x="191" y="18"/>
                  </a:lnTo>
                  <a:lnTo>
                    <a:pt x="189" y="5"/>
                  </a:lnTo>
                  <a:lnTo>
                    <a:pt x="18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4"/>
                  </a:lnTo>
                  <a:lnTo>
                    <a:pt x="4" y="8"/>
                  </a:lnTo>
                  <a:lnTo>
                    <a:pt x="4" y="20"/>
                  </a:lnTo>
                  <a:lnTo>
                    <a:pt x="5" y="3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11" y="54"/>
                  </a:lnTo>
                  <a:lnTo>
                    <a:pt x="17" y="65"/>
                  </a:lnTo>
                  <a:lnTo>
                    <a:pt x="24" y="76"/>
                  </a:lnTo>
                  <a:lnTo>
                    <a:pt x="28" y="80"/>
                  </a:lnTo>
                  <a:lnTo>
                    <a:pt x="33" y="83"/>
                  </a:lnTo>
                  <a:lnTo>
                    <a:pt x="33" y="388"/>
                  </a:lnTo>
                  <a:lnTo>
                    <a:pt x="33" y="388"/>
                  </a:lnTo>
                  <a:lnTo>
                    <a:pt x="29" y="395"/>
                  </a:lnTo>
                  <a:lnTo>
                    <a:pt x="24" y="402"/>
                  </a:lnTo>
                  <a:lnTo>
                    <a:pt x="19" y="412"/>
                  </a:lnTo>
                  <a:lnTo>
                    <a:pt x="14" y="426"/>
                  </a:lnTo>
                  <a:lnTo>
                    <a:pt x="9" y="443"/>
                  </a:lnTo>
                  <a:lnTo>
                    <a:pt x="4" y="463"/>
                  </a:lnTo>
                  <a:lnTo>
                    <a:pt x="0" y="487"/>
                  </a:lnTo>
                  <a:lnTo>
                    <a:pt x="0" y="487"/>
                  </a:lnTo>
                  <a:lnTo>
                    <a:pt x="0" y="498"/>
                  </a:lnTo>
                  <a:lnTo>
                    <a:pt x="0" y="508"/>
                  </a:lnTo>
                  <a:lnTo>
                    <a:pt x="1" y="518"/>
                  </a:lnTo>
                  <a:lnTo>
                    <a:pt x="4" y="529"/>
                  </a:lnTo>
                  <a:lnTo>
                    <a:pt x="10" y="546"/>
                  </a:lnTo>
                  <a:lnTo>
                    <a:pt x="16" y="562"/>
                  </a:lnTo>
                  <a:lnTo>
                    <a:pt x="23" y="576"/>
                  </a:lnTo>
                  <a:lnTo>
                    <a:pt x="29" y="585"/>
                  </a:lnTo>
                  <a:lnTo>
                    <a:pt x="35" y="594"/>
                  </a:lnTo>
                  <a:lnTo>
                    <a:pt x="31" y="850"/>
                  </a:lnTo>
                  <a:lnTo>
                    <a:pt x="31" y="850"/>
                  </a:lnTo>
                  <a:lnTo>
                    <a:pt x="29" y="852"/>
                  </a:lnTo>
                  <a:lnTo>
                    <a:pt x="23" y="859"/>
                  </a:lnTo>
                  <a:lnTo>
                    <a:pt x="20" y="864"/>
                  </a:lnTo>
                  <a:lnTo>
                    <a:pt x="18" y="871"/>
                  </a:lnTo>
                  <a:lnTo>
                    <a:pt x="15" y="879"/>
                  </a:lnTo>
                  <a:lnTo>
                    <a:pt x="14" y="888"/>
                  </a:lnTo>
                  <a:lnTo>
                    <a:pt x="14" y="888"/>
                  </a:lnTo>
                  <a:lnTo>
                    <a:pt x="14" y="898"/>
                  </a:lnTo>
                  <a:lnTo>
                    <a:pt x="14" y="906"/>
                  </a:lnTo>
                  <a:lnTo>
                    <a:pt x="15" y="919"/>
                  </a:lnTo>
                  <a:lnTo>
                    <a:pt x="17" y="926"/>
                  </a:lnTo>
                  <a:lnTo>
                    <a:pt x="18" y="928"/>
                  </a:lnTo>
                  <a:lnTo>
                    <a:pt x="188" y="928"/>
                  </a:lnTo>
                  <a:lnTo>
                    <a:pt x="188" y="928"/>
                  </a:lnTo>
                  <a:lnTo>
                    <a:pt x="190" y="920"/>
                  </a:lnTo>
                  <a:lnTo>
                    <a:pt x="191" y="906"/>
                  </a:lnTo>
                  <a:lnTo>
                    <a:pt x="190" y="889"/>
                  </a:lnTo>
                  <a:lnTo>
                    <a:pt x="190" y="881"/>
                  </a:lnTo>
                  <a:lnTo>
                    <a:pt x="188" y="873"/>
                  </a:lnTo>
                  <a:lnTo>
                    <a:pt x="188" y="873"/>
                  </a:lnTo>
                  <a:lnTo>
                    <a:pt x="185" y="864"/>
                  </a:lnTo>
                  <a:lnTo>
                    <a:pt x="179" y="857"/>
                  </a:lnTo>
                  <a:lnTo>
                    <a:pt x="174" y="851"/>
                  </a:lnTo>
                  <a:lnTo>
                    <a:pt x="169" y="846"/>
                  </a:lnTo>
                  <a:lnTo>
                    <a:pt x="168" y="594"/>
                  </a:lnTo>
                  <a:lnTo>
                    <a:pt x="168" y="594"/>
                  </a:lnTo>
                  <a:lnTo>
                    <a:pt x="181" y="573"/>
                  </a:lnTo>
                  <a:lnTo>
                    <a:pt x="190" y="561"/>
                  </a:lnTo>
                  <a:lnTo>
                    <a:pt x="196" y="550"/>
                  </a:lnTo>
                  <a:lnTo>
                    <a:pt x="202" y="537"/>
                  </a:lnTo>
                  <a:lnTo>
                    <a:pt x="207" y="522"/>
                  </a:lnTo>
                  <a:lnTo>
                    <a:pt x="210" y="507"/>
                  </a:lnTo>
                  <a:lnTo>
                    <a:pt x="211" y="499"/>
                  </a:lnTo>
                  <a:lnTo>
                    <a:pt x="211" y="491"/>
                  </a:lnTo>
                  <a:lnTo>
                    <a:pt x="211" y="491"/>
                  </a:lnTo>
                  <a:lnTo>
                    <a:pt x="211" y="482"/>
                  </a:lnTo>
                  <a:lnTo>
                    <a:pt x="210" y="473"/>
                  </a:lnTo>
                  <a:lnTo>
                    <a:pt x="206" y="458"/>
                  </a:lnTo>
                  <a:lnTo>
                    <a:pt x="201" y="443"/>
                  </a:lnTo>
                  <a:lnTo>
                    <a:pt x="195" y="428"/>
                  </a:lnTo>
                  <a:lnTo>
                    <a:pt x="189" y="416"/>
                  </a:lnTo>
                  <a:lnTo>
                    <a:pt x="181" y="405"/>
                  </a:lnTo>
                  <a:lnTo>
                    <a:pt x="170" y="38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8" name="Freeform 41"/>
            <p:cNvSpPr>
              <a:spLocks/>
            </p:cNvSpPr>
            <p:nvPr userDrawn="1"/>
          </p:nvSpPr>
          <p:spPr bwMode="auto">
            <a:xfrm>
              <a:off x="5943848" y="444667"/>
              <a:ext cx="80963" cy="58738"/>
            </a:xfrm>
            <a:custGeom>
              <a:avLst/>
              <a:gdLst>
                <a:gd name="T0" fmla="*/ 617 w 617"/>
                <a:gd name="T1" fmla="*/ 73 h 442"/>
                <a:gd name="T2" fmla="*/ 433 w 617"/>
                <a:gd name="T3" fmla="*/ 70 h 442"/>
                <a:gd name="T4" fmla="*/ 202 w 617"/>
                <a:gd name="T5" fmla="*/ 68 h 442"/>
                <a:gd name="T6" fmla="*/ 195 w 617"/>
                <a:gd name="T7" fmla="*/ 67 h 442"/>
                <a:gd name="T8" fmla="*/ 174 w 617"/>
                <a:gd name="T9" fmla="*/ 61 h 442"/>
                <a:gd name="T10" fmla="*/ 137 w 617"/>
                <a:gd name="T11" fmla="*/ 44 h 442"/>
                <a:gd name="T12" fmla="*/ 84 w 617"/>
                <a:gd name="T13" fmla="*/ 16 h 442"/>
                <a:gd name="T14" fmla="*/ 53 w 617"/>
                <a:gd name="T15" fmla="*/ 2 h 442"/>
                <a:gd name="T16" fmla="*/ 40 w 617"/>
                <a:gd name="T17" fmla="*/ 0 h 442"/>
                <a:gd name="T18" fmla="*/ 37 w 617"/>
                <a:gd name="T19" fmla="*/ 2 h 442"/>
                <a:gd name="T20" fmla="*/ 22 w 617"/>
                <a:gd name="T21" fmla="*/ 38 h 442"/>
                <a:gd name="T22" fmla="*/ 1 w 617"/>
                <a:gd name="T23" fmla="*/ 91 h 442"/>
                <a:gd name="T24" fmla="*/ 19 w 617"/>
                <a:gd name="T25" fmla="*/ 113 h 442"/>
                <a:gd name="T26" fmla="*/ 38 w 617"/>
                <a:gd name="T27" fmla="*/ 147 h 442"/>
                <a:gd name="T28" fmla="*/ 47 w 617"/>
                <a:gd name="T29" fmla="*/ 169 h 442"/>
                <a:gd name="T30" fmla="*/ 52 w 617"/>
                <a:gd name="T31" fmla="*/ 191 h 442"/>
                <a:gd name="T32" fmla="*/ 55 w 617"/>
                <a:gd name="T33" fmla="*/ 216 h 442"/>
                <a:gd name="T34" fmla="*/ 53 w 617"/>
                <a:gd name="T35" fmla="*/ 235 h 442"/>
                <a:gd name="T36" fmla="*/ 48 w 617"/>
                <a:gd name="T37" fmla="*/ 265 h 442"/>
                <a:gd name="T38" fmla="*/ 42 w 617"/>
                <a:gd name="T39" fmla="*/ 283 h 442"/>
                <a:gd name="T40" fmla="*/ 32 w 617"/>
                <a:gd name="T41" fmla="*/ 304 h 442"/>
                <a:gd name="T42" fmla="*/ 19 w 617"/>
                <a:gd name="T43" fmla="*/ 324 h 442"/>
                <a:gd name="T44" fmla="*/ 0 w 617"/>
                <a:gd name="T45" fmla="*/ 345 h 442"/>
                <a:gd name="T46" fmla="*/ 23 w 617"/>
                <a:gd name="T47" fmla="*/ 391 h 442"/>
                <a:gd name="T48" fmla="*/ 47 w 617"/>
                <a:gd name="T49" fmla="*/ 435 h 442"/>
                <a:gd name="T50" fmla="*/ 52 w 617"/>
                <a:gd name="T51" fmla="*/ 442 h 442"/>
                <a:gd name="T52" fmla="*/ 84 w 617"/>
                <a:gd name="T53" fmla="*/ 423 h 442"/>
                <a:gd name="T54" fmla="*/ 129 w 617"/>
                <a:gd name="T55" fmla="*/ 400 h 442"/>
                <a:gd name="T56" fmla="*/ 183 w 617"/>
                <a:gd name="T57" fmla="*/ 378 h 442"/>
                <a:gd name="T58" fmla="*/ 211 w 617"/>
                <a:gd name="T59" fmla="*/ 371 h 442"/>
                <a:gd name="T60" fmla="*/ 224 w 617"/>
                <a:gd name="T61" fmla="*/ 369 h 442"/>
                <a:gd name="T62" fmla="*/ 330 w 617"/>
                <a:gd name="T63" fmla="*/ 363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17" h="442">
                  <a:moveTo>
                    <a:pt x="330" y="363"/>
                  </a:moveTo>
                  <a:lnTo>
                    <a:pt x="617" y="73"/>
                  </a:lnTo>
                  <a:lnTo>
                    <a:pt x="617" y="73"/>
                  </a:lnTo>
                  <a:lnTo>
                    <a:pt x="433" y="70"/>
                  </a:lnTo>
                  <a:lnTo>
                    <a:pt x="324" y="69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195" y="67"/>
                  </a:lnTo>
                  <a:lnTo>
                    <a:pt x="185" y="65"/>
                  </a:lnTo>
                  <a:lnTo>
                    <a:pt x="174" y="61"/>
                  </a:lnTo>
                  <a:lnTo>
                    <a:pt x="163" y="56"/>
                  </a:lnTo>
                  <a:lnTo>
                    <a:pt x="137" y="44"/>
                  </a:lnTo>
                  <a:lnTo>
                    <a:pt x="110" y="30"/>
                  </a:lnTo>
                  <a:lnTo>
                    <a:pt x="84" y="16"/>
                  </a:lnTo>
                  <a:lnTo>
                    <a:pt x="63" y="6"/>
                  </a:lnTo>
                  <a:lnTo>
                    <a:pt x="53" y="2"/>
                  </a:lnTo>
                  <a:lnTo>
                    <a:pt x="45" y="1"/>
                  </a:lnTo>
                  <a:lnTo>
                    <a:pt x="40" y="0"/>
                  </a:lnTo>
                  <a:lnTo>
                    <a:pt x="38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22" y="38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10" y="101"/>
                  </a:lnTo>
                  <a:lnTo>
                    <a:pt x="19" y="113"/>
                  </a:lnTo>
                  <a:lnTo>
                    <a:pt x="29" y="129"/>
                  </a:lnTo>
                  <a:lnTo>
                    <a:pt x="38" y="147"/>
                  </a:lnTo>
                  <a:lnTo>
                    <a:pt x="43" y="157"/>
                  </a:lnTo>
                  <a:lnTo>
                    <a:pt x="47" y="169"/>
                  </a:lnTo>
                  <a:lnTo>
                    <a:pt x="50" y="180"/>
                  </a:lnTo>
                  <a:lnTo>
                    <a:pt x="52" y="191"/>
                  </a:lnTo>
                  <a:lnTo>
                    <a:pt x="55" y="203"/>
                  </a:lnTo>
                  <a:lnTo>
                    <a:pt x="55" y="216"/>
                  </a:lnTo>
                  <a:lnTo>
                    <a:pt x="55" y="216"/>
                  </a:lnTo>
                  <a:lnTo>
                    <a:pt x="53" y="235"/>
                  </a:lnTo>
                  <a:lnTo>
                    <a:pt x="51" y="248"/>
                  </a:lnTo>
                  <a:lnTo>
                    <a:pt x="48" y="265"/>
                  </a:lnTo>
                  <a:lnTo>
                    <a:pt x="45" y="274"/>
                  </a:lnTo>
                  <a:lnTo>
                    <a:pt x="42" y="283"/>
                  </a:lnTo>
                  <a:lnTo>
                    <a:pt x="38" y="293"/>
                  </a:lnTo>
                  <a:lnTo>
                    <a:pt x="32" y="304"/>
                  </a:lnTo>
                  <a:lnTo>
                    <a:pt x="26" y="313"/>
                  </a:lnTo>
                  <a:lnTo>
                    <a:pt x="19" y="324"/>
                  </a:lnTo>
                  <a:lnTo>
                    <a:pt x="11" y="334"/>
                  </a:lnTo>
                  <a:lnTo>
                    <a:pt x="0" y="345"/>
                  </a:lnTo>
                  <a:lnTo>
                    <a:pt x="0" y="345"/>
                  </a:lnTo>
                  <a:lnTo>
                    <a:pt x="23" y="391"/>
                  </a:lnTo>
                  <a:lnTo>
                    <a:pt x="40" y="423"/>
                  </a:lnTo>
                  <a:lnTo>
                    <a:pt x="47" y="435"/>
                  </a:lnTo>
                  <a:lnTo>
                    <a:pt x="52" y="442"/>
                  </a:lnTo>
                  <a:lnTo>
                    <a:pt x="52" y="442"/>
                  </a:lnTo>
                  <a:lnTo>
                    <a:pt x="67" y="433"/>
                  </a:lnTo>
                  <a:lnTo>
                    <a:pt x="84" y="423"/>
                  </a:lnTo>
                  <a:lnTo>
                    <a:pt x="105" y="412"/>
                  </a:lnTo>
                  <a:lnTo>
                    <a:pt x="129" y="400"/>
                  </a:lnTo>
                  <a:lnTo>
                    <a:pt x="156" y="388"/>
                  </a:lnTo>
                  <a:lnTo>
                    <a:pt x="183" y="378"/>
                  </a:lnTo>
                  <a:lnTo>
                    <a:pt x="198" y="374"/>
                  </a:lnTo>
                  <a:lnTo>
                    <a:pt x="211" y="371"/>
                  </a:lnTo>
                  <a:lnTo>
                    <a:pt x="211" y="371"/>
                  </a:lnTo>
                  <a:lnTo>
                    <a:pt x="224" y="369"/>
                  </a:lnTo>
                  <a:lnTo>
                    <a:pt x="248" y="367"/>
                  </a:lnTo>
                  <a:lnTo>
                    <a:pt x="330" y="36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9" name="Freeform 42"/>
            <p:cNvSpPr>
              <a:spLocks/>
            </p:cNvSpPr>
            <p:nvPr userDrawn="1"/>
          </p:nvSpPr>
          <p:spPr bwMode="auto">
            <a:xfrm>
              <a:off x="6045448" y="366879"/>
              <a:ext cx="158750" cy="127000"/>
            </a:xfrm>
            <a:custGeom>
              <a:avLst/>
              <a:gdLst>
                <a:gd name="T0" fmla="*/ 1179 w 1207"/>
                <a:gd name="T1" fmla="*/ 480 h 962"/>
                <a:gd name="T2" fmla="*/ 1115 w 1207"/>
                <a:gd name="T3" fmla="*/ 496 h 962"/>
                <a:gd name="T4" fmla="*/ 1079 w 1207"/>
                <a:gd name="T5" fmla="*/ 532 h 962"/>
                <a:gd name="T6" fmla="*/ 1057 w 1207"/>
                <a:gd name="T7" fmla="*/ 600 h 962"/>
                <a:gd name="T8" fmla="*/ 1046 w 1207"/>
                <a:gd name="T9" fmla="*/ 585 h 962"/>
                <a:gd name="T10" fmla="*/ 1007 w 1207"/>
                <a:gd name="T11" fmla="*/ 556 h 962"/>
                <a:gd name="T12" fmla="*/ 935 w 1207"/>
                <a:gd name="T13" fmla="*/ 562 h 962"/>
                <a:gd name="T14" fmla="*/ 930 w 1207"/>
                <a:gd name="T15" fmla="*/ 613 h 962"/>
                <a:gd name="T16" fmla="*/ 935 w 1207"/>
                <a:gd name="T17" fmla="*/ 696 h 962"/>
                <a:gd name="T18" fmla="*/ 890 w 1207"/>
                <a:gd name="T19" fmla="*/ 725 h 962"/>
                <a:gd name="T20" fmla="*/ 842 w 1207"/>
                <a:gd name="T21" fmla="*/ 709 h 962"/>
                <a:gd name="T22" fmla="*/ 816 w 1207"/>
                <a:gd name="T23" fmla="*/ 658 h 962"/>
                <a:gd name="T24" fmla="*/ 805 w 1207"/>
                <a:gd name="T25" fmla="*/ 643 h 962"/>
                <a:gd name="T26" fmla="*/ 749 w 1207"/>
                <a:gd name="T27" fmla="*/ 659 h 962"/>
                <a:gd name="T28" fmla="*/ 701 w 1207"/>
                <a:gd name="T29" fmla="*/ 634 h 962"/>
                <a:gd name="T30" fmla="*/ 694 w 1207"/>
                <a:gd name="T31" fmla="*/ 581 h 962"/>
                <a:gd name="T32" fmla="*/ 754 w 1207"/>
                <a:gd name="T33" fmla="*/ 540 h 962"/>
                <a:gd name="T34" fmla="*/ 824 w 1207"/>
                <a:gd name="T35" fmla="*/ 520 h 962"/>
                <a:gd name="T36" fmla="*/ 805 w 1207"/>
                <a:gd name="T37" fmla="*/ 460 h 962"/>
                <a:gd name="T38" fmla="*/ 764 w 1207"/>
                <a:gd name="T39" fmla="*/ 421 h 962"/>
                <a:gd name="T40" fmla="*/ 698 w 1207"/>
                <a:gd name="T41" fmla="*/ 414 h 962"/>
                <a:gd name="T42" fmla="*/ 672 w 1207"/>
                <a:gd name="T43" fmla="*/ 415 h 962"/>
                <a:gd name="T44" fmla="*/ 712 w 1207"/>
                <a:gd name="T45" fmla="*/ 360 h 962"/>
                <a:gd name="T46" fmla="*/ 709 w 1207"/>
                <a:gd name="T47" fmla="*/ 285 h 962"/>
                <a:gd name="T48" fmla="*/ 668 w 1207"/>
                <a:gd name="T49" fmla="*/ 214 h 962"/>
                <a:gd name="T50" fmla="*/ 606 w 1207"/>
                <a:gd name="T51" fmla="*/ 224 h 962"/>
                <a:gd name="T52" fmla="*/ 535 w 1207"/>
                <a:gd name="T53" fmla="*/ 272 h 962"/>
                <a:gd name="T54" fmla="*/ 516 w 1207"/>
                <a:gd name="T55" fmla="*/ 334 h 962"/>
                <a:gd name="T56" fmla="*/ 508 w 1207"/>
                <a:gd name="T57" fmla="*/ 341 h 962"/>
                <a:gd name="T58" fmla="*/ 458 w 1207"/>
                <a:gd name="T59" fmla="*/ 287 h 962"/>
                <a:gd name="T60" fmla="*/ 404 w 1207"/>
                <a:gd name="T61" fmla="*/ 278 h 962"/>
                <a:gd name="T62" fmla="*/ 345 w 1207"/>
                <a:gd name="T63" fmla="*/ 300 h 962"/>
                <a:gd name="T64" fmla="*/ 362 w 1207"/>
                <a:gd name="T65" fmla="*/ 357 h 962"/>
                <a:gd name="T66" fmla="*/ 382 w 1207"/>
                <a:gd name="T67" fmla="*/ 432 h 962"/>
                <a:gd name="T68" fmla="*/ 347 w 1207"/>
                <a:gd name="T69" fmla="*/ 472 h 962"/>
                <a:gd name="T70" fmla="*/ 292 w 1207"/>
                <a:gd name="T71" fmla="*/ 462 h 962"/>
                <a:gd name="T72" fmla="*/ 262 w 1207"/>
                <a:gd name="T73" fmla="*/ 417 h 962"/>
                <a:gd name="T74" fmla="*/ 249 w 1207"/>
                <a:gd name="T75" fmla="*/ 398 h 962"/>
                <a:gd name="T76" fmla="*/ 194 w 1207"/>
                <a:gd name="T77" fmla="*/ 421 h 962"/>
                <a:gd name="T78" fmla="*/ 147 w 1207"/>
                <a:gd name="T79" fmla="*/ 404 h 962"/>
                <a:gd name="T80" fmla="*/ 128 w 1207"/>
                <a:gd name="T81" fmla="*/ 354 h 962"/>
                <a:gd name="T82" fmla="*/ 178 w 1207"/>
                <a:gd name="T83" fmla="*/ 300 h 962"/>
                <a:gd name="T84" fmla="*/ 233 w 1207"/>
                <a:gd name="T85" fmla="*/ 262 h 962"/>
                <a:gd name="T86" fmla="*/ 195 w 1207"/>
                <a:gd name="T87" fmla="*/ 203 h 962"/>
                <a:gd name="T88" fmla="*/ 145 w 1207"/>
                <a:gd name="T89" fmla="*/ 185 h 962"/>
                <a:gd name="T90" fmla="*/ 115 w 1207"/>
                <a:gd name="T91" fmla="*/ 191 h 962"/>
                <a:gd name="T92" fmla="*/ 153 w 1207"/>
                <a:gd name="T93" fmla="*/ 136 h 962"/>
                <a:gd name="T94" fmla="*/ 157 w 1207"/>
                <a:gd name="T95" fmla="*/ 76 h 962"/>
                <a:gd name="T96" fmla="*/ 134 w 1207"/>
                <a:gd name="T97" fmla="*/ 28 h 962"/>
                <a:gd name="T98" fmla="*/ 269 w 1207"/>
                <a:gd name="T99" fmla="*/ 712 h 962"/>
                <a:gd name="T100" fmla="*/ 354 w 1207"/>
                <a:gd name="T101" fmla="*/ 656 h 962"/>
                <a:gd name="T102" fmla="*/ 437 w 1207"/>
                <a:gd name="T103" fmla="*/ 636 h 962"/>
                <a:gd name="T104" fmla="*/ 517 w 1207"/>
                <a:gd name="T105" fmla="*/ 643 h 962"/>
                <a:gd name="T106" fmla="*/ 610 w 1207"/>
                <a:gd name="T107" fmla="*/ 683 h 962"/>
                <a:gd name="T108" fmla="*/ 658 w 1207"/>
                <a:gd name="T109" fmla="*/ 735 h 962"/>
                <a:gd name="T110" fmla="*/ 673 w 1207"/>
                <a:gd name="T111" fmla="*/ 793 h 962"/>
                <a:gd name="T112" fmla="*/ 646 w 1207"/>
                <a:gd name="T113" fmla="*/ 877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07" h="962">
                  <a:moveTo>
                    <a:pt x="841" y="962"/>
                  </a:moveTo>
                  <a:lnTo>
                    <a:pt x="1207" y="484"/>
                  </a:lnTo>
                  <a:lnTo>
                    <a:pt x="1207" y="484"/>
                  </a:lnTo>
                  <a:lnTo>
                    <a:pt x="1200" y="482"/>
                  </a:lnTo>
                  <a:lnTo>
                    <a:pt x="1190" y="481"/>
                  </a:lnTo>
                  <a:lnTo>
                    <a:pt x="1179" y="480"/>
                  </a:lnTo>
                  <a:lnTo>
                    <a:pt x="1166" y="480"/>
                  </a:lnTo>
                  <a:lnTo>
                    <a:pt x="1149" y="483"/>
                  </a:lnTo>
                  <a:lnTo>
                    <a:pt x="1141" y="485"/>
                  </a:lnTo>
                  <a:lnTo>
                    <a:pt x="1133" y="488"/>
                  </a:lnTo>
                  <a:lnTo>
                    <a:pt x="1124" y="492"/>
                  </a:lnTo>
                  <a:lnTo>
                    <a:pt x="1115" y="496"/>
                  </a:lnTo>
                  <a:lnTo>
                    <a:pt x="1115" y="496"/>
                  </a:lnTo>
                  <a:lnTo>
                    <a:pt x="1106" y="502"/>
                  </a:lnTo>
                  <a:lnTo>
                    <a:pt x="1097" y="508"/>
                  </a:lnTo>
                  <a:lnTo>
                    <a:pt x="1090" y="515"/>
                  </a:lnTo>
                  <a:lnTo>
                    <a:pt x="1084" y="523"/>
                  </a:lnTo>
                  <a:lnTo>
                    <a:pt x="1079" y="532"/>
                  </a:lnTo>
                  <a:lnTo>
                    <a:pt x="1074" y="540"/>
                  </a:lnTo>
                  <a:lnTo>
                    <a:pt x="1070" y="548"/>
                  </a:lnTo>
                  <a:lnTo>
                    <a:pt x="1067" y="557"/>
                  </a:lnTo>
                  <a:lnTo>
                    <a:pt x="1062" y="574"/>
                  </a:lnTo>
                  <a:lnTo>
                    <a:pt x="1058" y="589"/>
                  </a:lnTo>
                  <a:lnTo>
                    <a:pt x="1057" y="600"/>
                  </a:lnTo>
                  <a:lnTo>
                    <a:pt x="1058" y="605"/>
                  </a:lnTo>
                  <a:lnTo>
                    <a:pt x="1059" y="608"/>
                  </a:lnTo>
                  <a:lnTo>
                    <a:pt x="1059" y="608"/>
                  </a:lnTo>
                  <a:lnTo>
                    <a:pt x="1055" y="599"/>
                  </a:lnTo>
                  <a:lnTo>
                    <a:pt x="1051" y="592"/>
                  </a:lnTo>
                  <a:lnTo>
                    <a:pt x="1046" y="585"/>
                  </a:lnTo>
                  <a:lnTo>
                    <a:pt x="1041" y="579"/>
                  </a:lnTo>
                  <a:lnTo>
                    <a:pt x="1036" y="574"/>
                  </a:lnTo>
                  <a:lnTo>
                    <a:pt x="1031" y="568"/>
                  </a:lnTo>
                  <a:lnTo>
                    <a:pt x="1025" y="564"/>
                  </a:lnTo>
                  <a:lnTo>
                    <a:pt x="1020" y="561"/>
                  </a:lnTo>
                  <a:lnTo>
                    <a:pt x="1007" y="556"/>
                  </a:lnTo>
                  <a:lnTo>
                    <a:pt x="994" y="554"/>
                  </a:lnTo>
                  <a:lnTo>
                    <a:pt x="982" y="553"/>
                  </a:lnTo>
                  <a:lnTo>
                    <a:pt x="970" y="554"/>
                  </a:lnTo>
                  <a:lnTo>
                    <a:pt x="957" y="556"/>
                  </a:lnTo>
                  <a:lnTo>
                    <a:pt x="946" y="558"/>
                  </a:lnTo>
                  <a:lnTo>
                    <a:pt x="935" y="562"/>
                  </a:lnTo>
                  <a:lnTo>
                    <a:pt x="927" y="565"/>
                  </a:lnTo>
                  <a:lnTo>
                    <a:pt x="913" y="572"/>
                  </a:lnTo>
                  <a:lnTo>
                    <a:pt x="908" y="574"/>
                  </a:lnTo>
                  <a:lnTo>
                    <a:pt x="908" y="574"/>
                  </a:lnTo>
                  <a:lnTo>
                    <a:pt x="920" y="594"/>
                  </a:lnTo>
                  <a:lnTo>
                    <a:pt x="930" y="613"/>
                  </a:lnTo>
                  <a:lnTo>
                    <a:pt x="936" y="632"/>
                  </a:lnTo>
                  <a:lnTo>
                    <a:pt x="940" y="647"/>
                  </a:lnTo>
                  <a:lnTo>
                    <a:pt x="941" y="663"/>
                  </a:lnTo>
                  <a:lnTo>
                    <a:pt x="941" y="675"/>
                  </a:lnTo>
                  <a:lnTo>
                    <a:pt x="939" y="687"/>
                  </a:lnTo>
                  <a:lnTo>
                    <a:pt x="935" y="696"/>
                  </a:lnTo>
                  <a:lnTo>
                    <a:pt x="930" y="705"/>
                  </a:lnTo>
                  <a:lnTo>
                    <a:pt x="924" y="712"/>
                  </a:lnTo>
                  <a:lnTo>
                    <a:pt x="915" y="718"/>
                  </a:lnTo>
                  <a:lnTo>
                    <a:pt x="907" y="722"/>
                  </a:lnTo>
                  <a:lnTo>
                    <a:pt x="899" y="724"/>
                  </a:lnTo>
                  <a:lnTo>
                    <a:pt x="890" y="725"/>
                  </a:lnTo>
                  <a:lnTo>
                    <a:pt x="881" y="725"/>
                  </a:lnTo>
                  <a:lnTo>
                    <a:pt x="871" y="724"/>
                  </a:lnTo>
                  <a:lnTo>
                    <a:pt x="871" y="724"/>
                  </a:lnTo>
                  <a:lnTo>
                    <a:pt x="859" y="720"/>
                  </a:lnTo>
                  <a:lnTo>
                    <a:pt x="850" y="715"/>
                  </a:lnTo>
                  <a:lnTo>
                    <a:pt x="842" y="709"/>
                  </a:lnTo>
                  <a:lnTo>
                    <a:pt x="835" y="702"/>
                  </a:lnTo>
                  <a:lnTo>
                    <a:pt x="829" y="695"/>
                  </a:lnTo>
                  <a:lnTo>
                    <a:pt x="825" y="688"/>
                  </a:lnTo>
                  <a:lnTo>
                    <a:pt x="821" y="680"/>
                  </a:lnTo>
                  <a:lnTo>
                    <a:pt x="819" y="673"/>
                  </a:lnTo>
                  <a:lnTo>
                    <a:pt x="816" y="658"/>
                  </a:lnTo>
                  <a:lnTo>
                    <a:pt x="816" y="646"/>
                  </a:lnTo>
                  <a:lnTo>
                    <a:pt x="816" y="638"/>
                  </a:lnTo>
                  <a:lnTo>
                    <a:pt x="816" y="635"/>
                  </a:lnTo>
                  <a:lnTo>
                    <a:pt x="816" y="635"/>
                  </a:lnTo>
                  <a:lnTo>
                    <a:pt x="813" y="637"/>
                  </a:lnTo>
                  <a:lnTo>
                    <a:pt x="805" y="643"/>
                  </a:lnTo>
                  <a:lnTo>
                    <a:pt x="793" y="650"/>
                  </a:lnTo>
                  <a:lnTo>
                    <a:pt x="785" y="653"/>
                  </a:lnTo>
                  <a:lnTo>
                    <a:pt x="777" y="656"/>
                  </a:lnTo>
                  <a:lnTo>
                    <a:pt x="768" y="658"/>
                  </a:lnTo>
                  <a:lnTo>
                    <a:pt x="759" y="659"/>
                  </a:lnTo>
                  <a:lnTo>
                    <a:pt x="749" y="659"/>
                  </a:lnTo>
                  <a:lnTo>
                    <a:pt x="739" y="658"/>
                  </a:lnTo>
                  <a:lnTo>
                    <a:pt x="729" y="655"/>
                  </a:lnTo>
                  <a:lnTo>
                    <a:pt x="720" y="650"/>
                  </a:lnTo>
                  <a:lnTo>
                    <a:pt x="710" y="643"/>
                  </a:lnTo>
                  <a:lnTo>
                    <a:pt x="701" y="634"/>
                  </a:lnTo>
                  <a:lnTo>
                    <a:pt x="701" y="634"/>
                  </a:lnTo>
                  <a:lnTo>
                    <a:pt x="694" y="625"/>
                  </a:lnTo>
                  <a:lnTo>
                    <a:pt x="690" y="616"/>
                  </a:lnTo>
                  <a:lnTo>
                    <a:pt x="688" y="607"/>
                  </a:lnTo>
                  <a:lnTo>
                    <a:pt x="689" y="598"/>
                  </a:lnTo>
                  <a:lnTo>
                    <a:pt x="690" y="589"/>
                  </a:lnTo>
                  <a:lnTo>
                    <a:pt x="694" y="581"/>
                  </a:lnTo>
                  <a:lnTo>
                    <a:pt x="701" y="572"/>
                  </a:lnTo>
                  <a:lnTo>
                    <a:pt x="708" y="564"/>
                  </a:lnTo>
                  <a:lnTo>
                    <a:pt x="717" y="557"/>
                  </a:lnTo>
                  <a:lnTo>
                    <a:pt x="727" y="550"/>
                  </a:lnTo>
                  <a:lnTo>
                    <a:pt x="740" y="544"/>
                  </a:lnTo>
                  <a:lnTo>
                    <a:pt x="754" y="540"/>
                  </a:lnTo>
                  <a:lnTo>
                    <a:pt x="769" y="536"/>
                  </a:lnTo>
                  <a:lnTo>
                    <a:pt x="786" y="533"/>
                  </a:lnTo>
                  <a:lnTo>
                    <a:pt x="804" y="532"/>
                  </a:lnTo>
                  <a:lnTo>
                    <a:pt x="823" y="531"/>
                  </a:lnTo>
                  <a:lnTo>
                    <a:pt x="823" y="531"/>
                  </a:lnTo>
                  <a:lnTo>
                    <a:pt x="824" y="520"/>
                  </a:lnTo>
                  <a:lnTo>
                    <a:pt x="823" y="509"/>
                  </a:lnTo>
                  <a:lnTo>
                    <a:pt x="820" y="494"/>
                  </a:lnTo>
                  <a:lnTo>
                    <a:pt x="817" y="486"/>
                  </a:lnTo>
                  <a:lnTo>
                    <a:pt x="814" y="477"/>
                  </a:lnTo>
                  <a:lnTo>
                    <a:pt x="810" y="469"/>
                  </a:lnTo>
                  <a:lnTo>
                    <a:pt x="805" y="460"/>
                  </a:lnTo>
                  <a:lnTo>
                    <a:pt x="799" y="451"/>
                  </a:lnTo>
                  <a:lnTo>
                    <a:pt x="792" y="443"/>
                  </a:lnTo>
                  <a:lnTo>
                    <a:pt x="782" y="435"/>
                  </a:lnTo>
                  <a:lnTo>
                    <a:pt x="772" y="426"/>
                  </a:lnTo>
                  <a:lnTo>
                    <a:pt x="772" y="426"/>
                  </a:lnTo>
                  <a:lnTo>
                    <a:pt x="764" y="421"/>
                  </a:lnTo>
                  <a:lnTo>
                    <a:pt x="755" y="417"/>
                  </a:lnTo>
                  <a:lnTo>
                    <a:pt x="745" y="415"/>
                  </a:lnTo>
                  <a:lnTo>
                    <a:pt x="735" y="413"/>
                  </a:lnTo>
                  <a:lnTo>
                    <a:pt x="725" y="412"/>
                  </a:lnTo>
                  <a:lnTo>
                    <a:pt x="716" y="412"/>
                  </a:lnTo>
                  <a:lnTo>
                    <a:pt x="698" y="414"/>
                  </a:lnTo>
                  <a:lnTo>
                    <a:pt x="681" y="418"/>
                  </a:lnTo>
                  <a:lnTo>
                    <a:pt x="668" y="421"/>
                  </a:lnTo>
                  <a:lnTo>
                    <a:pt x="657" y="425"/>
                  </a:lnTo>
                  <a:lnTo>
                    <a:pt x="657" y="425"/>
                  </a:lnTo>
                  <a:lnTo>
                    <a:pt x="664" y="421"/>
                  </a:lnTo>
                  <a:lnTo>
                    <a:pt x="672" y="415"/>
                  </a:lnTo>
                  <a:lnTo>
                    <a:pt x="681" y="408"/>
                  </a:lnTo>
                  <a:lnTo>
                    <a:pt x="691" y="397"/>
                  </a:lnTo>
                  <a:lnTo>
                    <a:pt x="701" y="384"/>
                  </a:lnTo>
                  <a:lnTo>
                    <a:pt x="705" y="376"/>
                  </a:lnTo>
                  <a:lnTo>
                    <a:pt x="709" y="369"/>
                  </a:lnTo>
                  <a:lnTo>
                    <a:pt x="712" y="360"/>
                  </a:lnTo>
                  <a:lnTo>
                    <a:pt x="714" y="351"/>
                  </a:lnTo>
                  <a:lnTo>
                    <a:pt x="714" y="351"/>
                  </a:lnTo>
                  <a:lnTo>
                    <a:pt x="716" y="336"/>
                  </a:lnTo>
                  <a:lnTo>
                    <a:pt x="715" y="320"/>
                  </a:lnTo>
                  <a:lnTo>
                    <a:pt x="713" y="303"/>
                  </a:lnTo>
                  <a:lnTo>
                    <a:pt x="709" y="285"/>
                  </a:lnTo>
                  <a:lnTo>
                    <a:pt x="702" y="267"/>
                  </a:lnTo>
                  <a:lnTo>
                    <a:pt x="693" y="249"/>
                  </a:lnTo>
                  <a:lnTo>
                    <a:pt x="682" y="232"/>
                  </a:lnTo>
                  <a:lnTo>
                    <a:pt x="676" y="223"/>
                  </a:lnTo>
                  <a:lnTo>
                    <a:pt x="669" y="216"/>
                  </a:lnTo>
                  <a:lnTo>
                    <a:pt x="668" y="214"/>
                  </a:lnTo>
                  <a:lnTo>
                    <a:pt x="665" y="214"/>
                  </a:lnTo>
                  <a:lnTo>
                    <a:pt x="665" y="214"/>
                  </a:lnTo>
                  <a:lnTo>
                    <a:pt x="655" y="214"/>
                  </a:lnTo>
                  <a:lnTo>
                    <a:pt x="644" y="215"/>
                  </a:lnTo>
                  <a:lnTo>
                    <a:pt x="624" y="219"/>
                  </a:lnTo>
                  <a:lnTo>
                    <a:pt x="606" y="224"/>
                  </a:lnTo>
                  <a:lnTo>
                    <a:pt x="587" y="232"/>
                  </a:lnTo>
                  <a:lnTo>
                    <a:pt x="572" y="240"/>
                  </a:lnTo>
                  <a:lnTo>
                    <a:pt x="557" y="250"/>
                  </a:lnTo>
                  <a:lnTo>
                    <a:pt x="545" y="261"/>
                  </a:lnTo>
                  <a:lnTo>
                    <a:pt x="535" y="272"/>
                  </a:lnTo>
                  <a:lnTo>
                    <a:pt x="535" y="272"/>
                  </a:lnTo>
                  <a:lnTo>
                    <a:pt x="530" y="280"/>
                  </a:lnTo>
                  <a:lnTo>
                    <a:pt x="526" y="288"/>
                  </a:lnTo>
                  <a:lnTo>
                    <a:pt x="523" y="297"/>
                  </a:lnTo>
                  <a:lnTo>
                    <a:pt x="520" y="305"/>
                  </a:lnTo>
                  <a:lnTo>
                    <a:pt x="517" y="320"/>
                  </a:lnTo>
                  <a:lnTo>
                    <a:pt x="516" y="334"/>
                  </a:lnTo>
                  <a:lnTo>
                    <a:pt x="516" y="347"/>
                  </a:lnTo>
                  <a:lnTo>
                    <a:pt x="517" y="357"/>
                  </a:lnTo>
                  <a:lnTo>
                    <a:pt x="519" y="365"/>
                  </a:lnTo>
                  <a:lnTo>
                    <a:pt x="519" y="365"/>
                  </a:lnTo>
                  <a:lnTo>
                    <a:pt x="513" y="354"/>
                  </a:lnTo>
                  <a:lnTo>
                    <a:pt x="508" y="341"/>
                  </a:lnTo>
                  <a:lnTo>
                    <a:pt x="499" y="327"/>
                  </a:lnTo>
                  <a:lnTo>
                    <a:pt x="488" y="313"/>
                  </a:lnTo>
                  <a:lnTo>
                    <a:pt x="482" y="306"/>
                  </a:lnTo>
                  <a:lnTo>
                    <a:pt x="475" y="299"/>
                  </a:lnTo>
                  <a:lnTo>
                    <a:pt x="467" y="292"/>
                  </a:lnTo>
                  <a:lnTo>
                    <a:pt x="458" y="287"/>
                  </a:lnTo>
                  <a:lnTo>
                    <a:pt x="450" y="283"/>
                  </a:lnTo>
                  <a:lnTo>
                    <a:pt x="440" y="281"/>
                  </a:lnTo>
                  <a:lnTo>
                    <a:pt x="440" y="281"/>
                  </a:lnTo>
                  <a:lnTo>
                    <a:pt x="428" y="278"/>
                  </a:lnTo>
                  <a:lnTo>
                    <a:pt x="415" y="278"/>
                  </a:lnTo>
                  <a:lnTo>
                    <a:pt x="404" y="278"/>
                  </a:lnTo>
                  <a:lnTo>
                    <a:pt x="393" y="279"/>
                  </a:lnTo>
                  <a:lnTo>
                    <a:pt x="384" y="281"/>
                  </a:lnTo>
                  <a:lnTo>
                    <a:pt x="374" y="284"/>
                  </a:lnTo>
                  <a:lnTo>
                    <a:pt x="365" y="287"/>
                  </a:lnTo>
                  <a:lnTo>
                    <a:pt x="358" y="291"/>
                  </a:lnTo>
                  <a:lnTo>
                    <a:pt x="345" y="300"/>
                  </a:lnTo>
                  <a:lnTo>
                    <a:pt x="336" y="307"/>
                  </a:lnTo>
                  <a:lnTo>
                    <a:pt x="328" y="314"/>
                  </a:lnTo>
                  <a:lnTo>
                    <a:pt x="328" y="314"/>
                  </a:lnTo>
                  <a:lnTo>
                    <a:pt x="342" y="328"/>
                  </a:lnTo>
                  <a:lnTo>
                    <a:pt x="353" y="343"/>
                  </a:lnTo>
                  <a:lnTo>
                    <a:pt x="362" y="357"/>
                  </a:lnTo>
                  <a:lnTo>
                    <a:pt x="369" y="371"/>
                  </a:lnTo>
                  <a:lnTo>
                    <a:pt x="375" y="384"/>
                  </a:lnTo>
                  <a:lnTo>
                    <a:pt x="380" y="398"/>
                  </a:lnTo>
                  <a:lnTo>
                    <a:pt x="382" y="410"/>
                  </a:lnTo>
                  <a:lnTo>
                    <a:pt x="383" y="421"/>
                  </a:lnTo>
                  <a:lnTo>
                    <a:pt x="382" y="432"/>
                  </a:lnTo>
                  <a:lnTo>
                    <a:pt x="380" y="442"/>
                  </a:lnTo>
                  <a:lnTo>
                    <a:pt x="375" y="451"/>
                  </a:lnTo>
                  <a:lnTo>
                    <a:pt x="370" y="458"/>
                  </a:lnTo>
                  <a:lnTo>
                    <a:pt x="363" y="464"/>
                  </a:lnTo>
                  <a:lnTo>
                    <a:pt x="356" y="469"/>
                  </a:lnTo>
                  <a:lnTo>
                    <a:pt x="347" y="472"/>
                  </a:lnTo>
                  <a:lnTo>
                    <a:pt x="337" y="473"/>
                  </a:lnTo>
                  <a:lnTo>
                    <a:pt x="337" y="473"/>
                  </a:lnTo>
                  <a:lnTo>
                    <a:pt x="322" y="473"/>
                  </a:lnTo>
                  <a:lnTo>
                    <a:pt x="311" y="471"/>
                  </a:lnTo>
                  <a:lnTo>
                    <a:pt x="301" y="467"/>
                  </a:lnTo>
                  <a:lnTo>
                    <a:pt x="292" y="462"/>
                  </a:lnTo>
                  <a:lnTo>
                    <a:pt x="283" y="456"/>
                  </a:lnTo>
                  <a:lnTo>
                    <a:pt x="277" y="449"/>
                  </a:lnTo>
                  <a:lnTo>
                    <a:pt x="272" y="441"/>
                  </a:lnTo>
                  <a:lnTo>
                    <a:pt x="268" y="432"/>
                  </a:lnTo>
                  <a:lnTo>
                    <a:pt x="264" y="424"/>
                  </a:lnTo>
                  <a:lnTo>
                    <a:pt x="262" y="417"/>
                  </a:lnTo>
                  <a:lnTo>
                    <a:pt x="259" y="403"/>
                  </a:lnTo>
                  <a:lnTo>
                    <a:pt x="257" y="393"/>
                  </a:lnTo>
                  <a:lnTo>
                    <a:pt x="257" y="390"/>
                  </a:lnTo>
                  <a:lnTo>
                    <a:pt x="257" y="390"/>
                  </a:lnTo>
                  <a:lnTo>
                    <a:pt x="255" y="392"/>
                  </a:lnTo>
                  <a:lnTo>
                    <a:pt x="249" y="398"/>
                  </a:lnTo>
                  <a:lnTo>
                    <a:pt x="239" y="405"/>
                  </a:lnTo>
                  <a:lnTo>
                    <a:pt x="227" y="413"/>
                  </a:lnTo>
                  <a:lnTo>
                    <a:pt x="220" y="416"/>
                  </a:lnTo>
                  <a:lnTo>
                    <a:pt x="212" y="419"/>
                  </a:lnTo>
                  <a:lnTo>
                    <a:pt x="204" y="420"/>
                  </a:lnTo>
                  <a:lnTo>
                    <a:pt x="194" y="421"/>
                  </a:lnTo>
                  <a:lnTo>
                    <a:pt x="185" y="421"/>
                  </a:lnTo>
                  <a:lnTo>
                    <a:pt x="175" y="419"/>
                  </a:lnTo>
                  <a:lnTo>
                    <a:pt x="165" y="415"/>
                  </a:lnTo>
                  <a:lnTo>
                    <a:pt x="155" y="409"/>
                  </a:lnTo>
                  <a:lnTo>
                    <a:pt x="155" y="409"/>
                  </a:lnTo>
                  <a:lnTo>
                    <a:pt x="147" y="404"/>
                  </a:lnTo>
                  <a:lnTo>
                    <a:pt x="140" y="397"/>
                  </a:lnTo>
                  <a:lnTo>
                    <a:pt x="135" y="390"/>
                  </a:lnTo>
                  <a:lnTo>
                    <a:pt x="131" y="381"/>
                  </a:lnTo>
                  <a:lnTo>
                    <a:pt x="129" y="372"/>
                  </a:lnTo>
                  <a:lnTo>
                    <a:pt x="128" y="363"/>
                  </a:lnTo>
                  <a:lnTo>
                    <a:pt x="128" y="354"/>
                  </a:lnTo>
                  <a:lnTo>
                    <a:pt x="131" y="345"/>
                  </a:lnTo>
                  <a:lnTo>
                    <a:pt x="136" y="334"/>
                  </a:lnTo>
                  <a:lnTo>
                    <a:pt x="142" y="325"/>
                  </a:lnTo>
                  <a:lnTo>
                    <a:pt x="153" y="316"/>
                  </a:lnTo>
                  <a:lnTo>
                    <a:pt x="164" y="308"/>
                  </a:lnTo>
                  <a:lnTo>
                    <a:pt x="178" y="300"/>
                  </a:lnTo>
                  <a:lnTo>
                    <a:pt x="195" y="292"/>
                  </a:lnTo>
                  <a:lnTo>
                    <a:pt x="216" y="286"/>
                  </a:lnTo>
                  <a:lnTo>
                    <a:pt x="239" y="280"/>
                  </a:lnTo>
                  <a:lnTo>
                    <a:pt x="239" y="280"/>
                  </a:lnTo>
                  <a:lnTo>
                    <a:pt x="238" y="275"/>
                  </a:lnTo>
                  <a:lnTo>
                    <a:pt x="233" y="262"/>
                  </a:lnTo>
                  <a:lnTo>
                    <a:pt x="230" y="253"/>
                  </a:lnTo>
                  <a:lnTo>
                    <a:pt x="225" y="242"/>
                  </a:lnTo>
                  <a:lnTo>
                    <a:pt x="220" y="232"/>
                  </a:lnTo>
                  <a:lnTo>
                    <a:pt x="213" y="222"/>
                  </a:lnTo>
                  <a:lnTo>
                    <a:pt x="205" y="213"/>
                  </a:lnTo>
                  <a:lnTo>
                    <a:pt x="195" y="203"/>
                  </a:lnTo>
                  <a:lnTo>
                    <a:pt x="185" y="196"/>
                  </a:lnTo>
                  <a:lnTo>
                    <a:pt x="173" y="190"/>
                  </a:lnTo>
                  <a:lnTo>
                    <a:pt x="167" y="188"/>
                  </a:lnTo>
                  <a:lnTo>
                    <a:pt x="161" y="187"/>
                  </a:lnTo>
                  <a:lnTo>
                    <a:pt x="154" y="186"/>
                  </a:lnTo>
                  <a:lnTo>
                    <a:pt x="145" y="185"/>
                  </a:lnTo>
                  <a:lnTo>
                    <a:pt x="138" y="186"/>
                  </a:lnTo>
                  <a:lnTo>
                    <a:pt x="129" y="187"/>
                  </a:lnTo>
                  <a:lnTo>
                    <a:pt x="121" y="190"/>
                  </a:lnTo>
                  <a:lnTo>
                    <a:pt x="112" y="193"/>
                  </a:lnTo>
                  <a:lnTo>
                    <a:pt x="112" y="193"/>
                  </a:lnTo>
                  <a:lnTo>
                    <a:pt x="115" y="191"/>
                  </a:lnTo>
                  <a:lnTo>
                    <a:pt x="119" y="188"/>
                  </a:lnTo>
                  <a:lnTo>
                    <a:pt x="127" y="180"/>
                  </a:lnTo>
                  <a:lnTo>
                    <a:pt x="136" y="168"/>
                  </a:lnTo>
                  <a:lnTo>
                    <a:pt x="144" y="153"/>
                  </a:lnTo>
                  <a:lnTo>
                    <a:pt x="148" y="144"/>
                  </a:lnTo>
                  <a:lnTo>
                    <a:pt x="153" y="136"/>
                  </a:lnTo>
                  <a:lnTo>
                    <a:pt x="156" y="127"/>
                  </a:lnTo>
                  <a:lnTo>
                    <a:pt x="158" y="117"/>
                  </a:lnTo>
                  <a:lnTo>
                    <a:pt x="159" y="106"/>
                  </a:lnTo>
                  <a:lnTo>
                    <a:pt x="160" y="97"/>
                  </a:lnTo>
                  <a:lnTo>
                    <a:pt x="159" y="86"/>
                  </a:lnTo>
                  <a:lnTo>
                    <a:pt x="157" y="76"/>
                  </a:lnTo>
                  <a:lnTo>
                    <a:pt x="157" y="76"/>
                  </a:lnTo>
                  <a:lnTo>
                    <a:pt x="155" y="66"/>
                  </a:lnTo>
                  <a:lnTo>
                    <a:pt x="150" y="57"/>
                  </a:lnTo>
                  <a:lnTo>
                    <a:pt x="147" y="49"/>
                  </a:lnTo>
                  <a:lnTo>
                    <a:pt x="143" y="41"/>
                  </a:lnTo>
                  <a:lnTo>
                    <a:pt x="134" y="28"/>
                  </a:lnTo>
                  <a:lnTo>
                    <a:pt x="125" y="17"/>
                  </a:lnTo>
                  <a:lnTo>
                    <a:pt x="117" y="9"/>
                  </a:lnTo>
                  <a:lnTo>
                    <a:pt x="110" y="4"/>
                  </a:lnTo>
                  <a:lnTo>
                    <a:pt x="103" y="0"/>
                  </a:lnTo>
                  <a:lnTo>
                    <a:pt x="0" y="593"/>
                  </a:lnTo>
                  <a:lnTo>
                    <a:pt x="269" y="712"/>
                  </a:lnTo>
                  <a:lnTo>
                    <a:pt x="269" y="712"/>
                  </a:lnTo>
                  <a:lnTo>
                    <a:pt x="293" y="693"/>
                  </a:lnTo>
                  <a:lnTo>
                    <a:pt x="315" y="677"/>
                  </a:lnTo>
                  <a:lnTo>
                    <a:pt x="336" y="665"/>
                  </a:lnTo>
                  <a:lnTo>
                    <a:pt x="354" y="656"/>
                  </a:lnTo>
                  <a:lnTo>
                    <a:pt x="354" y="656"/>
                  </a:lnTo>
                  <a:lnTo>
                    <a:pt x="367" y="650"/>
                  </a:lnTo>
                  <a:lnTo>
                    <a:pt x="382" y="646"/>
                  </a:lnTo>
                  <a:lnTo>
                    <a:pt x="396" y="642"/>
                  </a:lnTo>
                  <a:lnTo>
                    <a:pt x="409" y="639"/>
                  </a:lnTo>
                  <a:lnTo>
                    <a:pt x="423" y="637"/>
                  </a:lnTo>
                  <a:lnTo>
                    <a:pt x="437" y="636"/>
                  </a:lnTo>
                  <a:lnTo>
                    <a:pt x="450" y="635"/>
                  </a:lnTo>
                  <a:lnTo>
                    <a:pt x="464" y="635"/>
                  </a:lnTo>
                  <a:lnTo>
                    <a:pt x="478" y="636"/>
                  </a:lnTo>
                  <a:lnTo>
                    <a:pt x="491" y="638"/>
                  </a:lnTo>
                  <a:lnTo>
                    <a:pt x="504" y="640"/>
                  </a:lnTo>
                  <a:lnTo>
                    <a:pt x="517" y="643"/>
                  </a:lnTo>
                  <a:lnTo>
                    <a:pt x="542" y="650"/>
                  </a:lnTo>
                  <a:lnTo>
                    <a:pt x="566" y="658"/>
                  </a:lnTo>
                  <a:lnTo>
                    <a:pt x="566" y="658"/>
                  </a:lnTo>
                  <a:lnTo>
                    <a:pt x="582" y="667"/>
                  </a:lnTo>
                  <a:lnTo>
                    <a:pt x="596" y="675"/>
                  </a:lnTo>
                  <a:lnTo>
                    <a:pt x="610" y="683"/>
                  </a:lnTo>
                  <a:lnTo>
                    <a:pt x="621" y="691"/>
                  </a:lnTo>
                  <a:lnTo>
                    <a:pt x="631" y="699"/>
                  </a:lnTo>
                  <a:lnTo>
                    <a:pt x="639" y="709"/>
                  </a:lnTo>
                  <a:lnTo>
                    <a:pt x="646" y="717"/>
                  </a:lnTo>
                  <a:lnTo>
                    <a:pt x="653" y="726"/>
                  </a:lnTo>
                  <a:lnTo>
                    <a:pt x="658" y="735"/>
                  </a:lnTo>
                  <a:lnTo>
                    <a:pt x="662" y="743"/>
                  </a:lnTo>
                  <a:lnTo>
                    <a:pt x="665" y="753"/>
                  </a:lnTo>
                  <a:lnTo>
                    <a:pt x="668" y="761"/>
                  </a:lnTo>
                  <a:lnTo>
                    <a:pt x="671" y="778"/>
                  </a:lnTo>
                  <a:lnTo>
                    <a:pt x="673" y="793"/>
                  </a:lnTo>
                  <a:lnTo>
                    <a:pt x="673" y="793"/>
                  </a:lnTo>
                  <a:lnTo>
                    <a:pt x="672" y="804"/>
                  </a:lnTo>
                  <a:lnTo>
                    <a:pt x="670" y="815"/>
                  </a:lnTo>
                  <a:lnTo>
                    <a:pt x="667" y="827"/>
                  </a:lnTo>
                  <a:lnTo>
                    <a:pt x="663" y="839"/>
                  </a:lnTo>
                  <a:lnTo>
                    <a:pt x="654" y="863"/>
                  </a:lnTo>
                  <a:lnTo>
                    <a:pt x="646" y="877"/>
                  </a:lnTo>
                  <a:lnTo>
                    <a:pt x="841" y="9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0" name="Freeform 43"/>
            <p:cNvSpPr>
              <a:spLocks/>
            </p:cNvSpPr>
            <p:nvPr userDrawn="1"/>
          </p:nvSpPr>
          <p:spPr bwMode="auto">
            <a:xfrm>
              <a:off x="6174036" y="454192"/>
              <a:ext cx="193675" cy="33338"/>
            </a:xfrm>
            <a:custGeom>
              <a:avLst/>
              <a:gdLst>
                <a:gd name="T0" fmla="*/ 1228 w 1463"/>
                <a:gd name="T1" fmla="*/ 227 h 256"/>
                <a:gd name="T2" fmla="*/ 1463 w 1463"/>
                <a:gd name="T3" fmla="*/ 113 h 256"/>
                <a:gd name="T4" fmla="*/ 1225 w 1463"/>
                <a:gd name="T5" fmla="*/ 14 h 256"/>
                <a:gd name="T6" fmla="*/ 1225 w 1463"/>
                <a:gd name="T7" fmla="*/ 14 h 256"/>
                <a:gd name="T8" fmla="*/ 1152 w 1463"/>
                <a:gd name="T9" fmla="*/ 15 h 256"/>
                <a:gd name="T10" fmla="*/ 1060 w 1463"/>
                <a:gd name="T11" fmla="*/ 16 h 256"/>
                <a:gd name="T12" fmla="*/ 949 w 1463"/>
                <a:gd name="T13" fmla="*/ 15 h 256"/>
                <a:gd name="T14" fmla="*/ 824 w 1463"/>
                <a:gd name="T15" fmla="*/ 13 h 256"/>
                <a:gd name="T16" fmla="*/ 531 w 1463"/>
                <a:gd name="T17" fmla="*/ 7 h 256"/>
                <a:gd name="T18" fmla="*/ 197 w 1463"/>
                <a:gd name="T19" fmla="*/ 0 h 256"/>
                <a:gd name="T20" fmla="*/ 0 w 1463"/>
                <a:gd name="T21" fmla="*/ 256 h 256"/>
                <a:gd name="T22" fmla="*/ 0 w 1463"/>
                <a:gd name="T23" fmla="*/ 256 h 256"/>
                <a:gd name="T24" fmla="*/ 734 w 1463"/>
                <a:gd name="T25" fmla="*/ 240 h 256"/>
                <a:gd name="T26" fmla="*/ 1024 w 1463"/>
                <a:gd name="T27" fmla="*/ 234 h 256"/>
                <a:gd name="T28" fmla="*/ 1228 w 1463"/>
                <a:gd name="T29" fmla="*/ 227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63" h="256">
                  <a:moveTo>
                    <a:pt x="1228" y="227"/>
                  </a:moveTo>
                  <a:lnTo>
                    <a:pt x="1463" y="113"/>
                  </a:lnTo>
                  <a:lnTo>
                    <a:pt x="1225" y="14"/>
                  </a:lnTo>
                  <a:lnTo>
                    <a:pt x="1225" y="14"/>
                  </a:lnTo>
                  <a:lnTo>
                    <a:pt x="1152" y="15"/>
                  </a:lnTo>
                  <a:lnTo>
                    <a:pt x="1060" y="16"/>
                  </a:lnTo>
                  <a:lnTo>
                    <a:pt x="949" y="15"/>
                  </a:lnTo>
                  <a:lnTo>
                    <a:pt x="824" y="13"/>
                  </a:lnTo>
                  <a:lnTo>
                    <a:pt x="531" y="7"/>
                  </a:lnTo>
                  <a:lnTo>
                    <a:pt x="197" y="0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734" y="240"/>
                  </a:lnTo>
                  <a:lnTo>
                    <a:pt x="1024" y="234"/>
                  </a:lnTo>
                  <a:lnTo>
                    <a:pt x="1228" y="2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1" name="Freeform 44"/>
            <p:cNvSpPr>
              <a:spLocks/>
            </p:cNvSpPr>
            <p:nvPr userDrawn="1"/>
          </p:nvSpPr>
          <p:spPr bwMode="auto">
            <a:xfrm>
              <a:off x="6235948" y="536742"/>
              <a:ext cx="114300" cy="112713"/>
            </a:xfrm>
            <a:custGeom>
              <a:avLst/>
              <a:gdLst>
                <a:gd name="T0" fmla="*/ 386 w 869"/>
                <a:gd name="T1" fmla="*/ 818 h 851"/>
                <a:gd name="T2" fmla="*/ 235 w 869"/>
                <a:gd name="T3" fmla="*/ 737 h 851"/>
                <a:gd name="T4" fmla="*/ 156 w 869"/>
                <a:gd name="T5" fmla="*/ 685 h 851"/>
                <a:gd name="T6" fmla="*/ 90 w 869"/>
                <a:gd name="T7" fmla="*/ 626 h 851"/>
                <a:gd name="T8" fmla="*/ 37 w 869"/>
                <a:gd name="T9" fmla="*/ 557 h 851"/>
                <a:gd name="T10" fmla="*/ 24 w 869"/>
                <a:gd name="T11" fmla="*/ 531 h 851"/>
                <a:gd name="T12" fmla="*/ 10 w 869"/>
                <a:gd name="T13" fmla="*/ 487 h 851"/>
                <a:gd name="T14" fmla="*/ 2 w 869"/>
                <a:gd name="T15" fmla="*/ 439 h 851"/>
                <a:gd name="T16" fmla="*/ 0 w 869"/>
                <a:gd name="T17" fmla="*/ 389 h 851"/>
                <a:gd name="T18" fmla="*/ 5 w 869"/>
                <a:gd name="T19" fmla="*/ 336 h 851"/>
                <a:gd name="T20" fmla="*/ 15 w 869"/>
                <a:gd name="T21" fmla="*/ 283 h 851"/>
                <a:gd name="T22" fmla="*/ 34 w 869"/>
                <a:gd name="T23" fmla="*/ 231 h 851"/>
                <a:gd name="T24" fmla="*/ 59 w 869"/>
                <a:gd name="T25" fmla="*/ 182 h 851"/>
                <a:gd name="T26" fmla="*/ 93 w 869"/>
                <a:gd name="T27" fmla="*/ 136 h 851"/>
                <a:gd name="T28" fmla="*/ 134 w 869"/>
                <a:gd name="T29" fmla="*/ 94 h 851"/>
                <a:gd name="T30" fmla="*/ 183 w 869"/>
                <a:gd name="T31" fmla="*/ 59 h 851"/>
                <a:gd name="T32" fmla="*/ 198 w 869"/>
                <a:gd name="T33" fmla="*/ 75 h 851"/>
                <a:gd name="T34" fmla="*/ 217 w 869"/>
                <a:gd name="T35" fmla="*/ 106 h 851"/>
                <a:gd name="T36" fmla="*/ 227 w 869"/>
                <a:gd name="T37" fmla="*/ 141 h 851"/>
                <a:gd name="T38" fmla="*/ 247 w 869"/>
                <a:gd name="T39" fmla="*/ 150 h 851"/>
                <a:gd name="T40" fmla="*/ 379 w 869"/>
                <a:gd name="T41" fmla="*/ 144 h 851"/>
                <a:gd name="T42" fmla="*/ 424 w 869"/>
                <a:gd name="T43" fmla="*/ 143 h 851"/>
                <a:gd name="T44" fmla="*/ 424 w 869"/>
                <a:gd name="T45" fmla="*/ 94 h 851"/>
                <a:gd name="T46" fmla="*/ 414 w 869"/>
                <a:gd name="T47" fmla="*/ 37 h 851"/>
                <a:gd name="T48" fmla="*/ 397 w 869"/>
                <a:gd name="T49" fmla="*/ 0 h 851"/>
                <a:gd name="T50" fmla="*/ 431 w 869"/>
                <a:gd name="T51" fmla="*/ 27 h 851"/>
                <a:gd name="T52" fmla="*/ 459 w 869"/>
                <a:gd name="T53" fmla="*/ 55 h 851"/>
                <a:gd name="T54" fmla="*/ 475 w 869"/>
                <a:gd name="T55" fmla="*/ 82 h 851"/>
                <a:gd name="T56" fmla="*/ 487 w 869"/>
                <a:gd name="T57" fmla="*/ 116 h 851"/>
                <a:gd name="T58" fmla="*/ 493 w 869"/>
                <a:gd name="T59" fmla="*/ 143 h 851"/>
                <a:gd name="T60" fmla="*/ 671 w 869"/>
                <a:gd name="T61" fmla="*/ 133 h 851"/>
                <a:gd name="T62" fmla="*/ 662 w 869"/>
                <a:gd name="T63" fmla="*/ 88 h 851"/>
                <a:gd name="T64" fmla="*/ 643 w 869"/>
                <a:gd name="T65" fmla="*/ 50 h 851"/>
                <a:gd name="T66" fmla="*/ 651 w 869"/>
                <a:gd name="T67" fmla="*/ 46 h 851"/>
                <a:gd name="T68" fmla="*/ 699 w 869"/>
                <a:gd name="T69" fmla="*/ 73 h 851"/>
                <a:gd name="T70" fmla="*/ 740 w 869"/>
                <a:gd name="T71" fmla="*/ 104 h 851"/>
                <a:gd name="T72" fmla="*/ 775 w 869"/>
                <a:gd name="T73" fmla="*/ 138 h 851"/>
                <a:gd name="T74" fmla="*/ 803 w 869"/>
                <a:gd name="T75" fmla="*/ 175 h 851"/>
                <a:gd name="T76" fmla="*/ 837 w 869"/>
                <a:gd name="T77" fmla="*/ 238 h 851"/>
                <a:gd name="T78" fmla="*/ 861 w 869"/>
                <a:gd name="T79" fmla="*/ 312 h 851"/>
                <a:gd name="T80" fmla="*/ 869 w 869"/>
                <a:gd name="T81" fmla="*/ 379 h 851"/>
                <a:gd name="T82" fmla="*/ 869 w 869"/>
                <a:gd name="T83" fmla="*/ 423 h 851"/>
                <a:gd name="T84" fmla="*/ 859 w 869"/>
                <a:gd name="T85" fmla="*/ 499 h 851"/>
                <a:gd name="T86" fmla="*/ 834 w 869"/>
                <a:gd name="T87" fmla="*/ 569 h 851"/>
                <a:gd name="T88" fmla="*/ 796 w 869"/>
                <a:gd name="T89" fmla="*/ 631 h 851"/>
                <a:gd name="T90" fmla="*/ 749 w 869"/>
                <a:gd name="T91" fmla="*/ 684 h 851"/>
                <a:gd name="T92" fmla="*/ 693 w 869"/>
                <a:gd name="T93" fmla="*/ 727 h 851"/>
                <a:gd name="T94" fmla="*/ 626 w 869"/>
                <a:gd name="T95" fmla="*/ 766 h 851"/>
                <a:gd name="T96" fmla="*/ 506 w 869"/>
                <a:gd name="T97" fmla="*/ 826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9" h="851">
                  <a:moveTo>
                    <a:pt x="452" y="851"/>
                  </a:moveTo>
                  <a:lnTo>
                    <a:pt x="452" y="851"/>
                  </a:lnTo>
                  <a:lnTo>
                    <a:pt x="386" y="818"/>
                  </a:lnTo>
                  <a:lnTo>
                    <a:pt x="323" y="785"/>
                  </a:lnTo>
                  <a:lnTo>
                    <a:pt x="264" y="754"/>
                  </a:lnTo>
                  <a:lnTo>
                    <a:pt x="235" y="737"/>
                  </a:lnTo>
                  <a:lnTo>
                    <a:pt x="207" y="720"/>
                  </a:lnTo>
                  <a:lnTo>
                    <a:pt x="181" y="703"/>
                  </a:lnTo>
                  <a:lnTo>
                    <a:pt x="156" y="685"/>
                  </a:lnTo>
                  <a:lnTo>
                    <a:pt x="133" y="666"/>
                  </a:lnTo>
                  <a:lnTo>
                    <a:pt x="110" y="646"/>
                  </a:lnTo>
                  <a:lnTo>
                    <a:pt x="90" y="626"/>
                  </a:lnTo>
                  <a:lnTo>
                    <a:pt x="70" y="605"/>
                  </a:lnTo>
                  <a:lnTo>
                    <a:pt x="53" y="581"/>
                  </a:lnTo>
                  <a:lnTo>
                    <a:pt x="37" y="557"/>
                  </a:lnTo>
                  <a:lnTo>
                    <a:pt x="37" y="557"/>
                  </a:lnTo>
                  <a:lnTo>
                    <a:pt x="31" y="544"/>
                  </a:lnTo>
                  <a:lnTo>
                    <a:pt x="24" y="531"/>
                  </a:lnTo>
                  <a:lnTo>
                    <a:pt x="19" y="517"/>
                  </a:lnTo>
                  <a:lnTo>
                    <a:pt x="14" y="502"/>
                  </a:lnTo>
                  <a:lnTo>
                    <a:pt x="10" y="487"/>
                  </a:lnTo>
                  <a:lnTo>
                    <a:pt x="7" y="472"/>
                  </a:lnTo>
                  <a:lnTo>
                    <a:pt x="4" y="455"/>
                  </a:lnTo>
                  <a:lnTo>
                    <a:pt x="2" y="439"/>
                  </a:lnTo>
                  <a:lnTo>
                    <a:pt x="1" y="423"/>
                  </a:lnTo>
                  <a:lnTo>
                    <a:pt x="0" y="405"/>
                  </a:lnTo>
                  <a:lnTo>
                    <a:pt x="0" y="389"/>
                  </a:lnTo>
                  <a:lnTo>
                    <a:pt x="1" y="371"/>
                  </a:lnTo>
                  <a:lnTo>
                    <a:pt x="2" y="353"/>
                  </a:lnTo>
                  <a:lnTo>
                    <a:pt x="5" y="336"/>
                  </a:lnTo>
                  <a:lnTo>
                    <a:pt x="7" y="318"/>
                  </a:lnTo>
                  <a:lnTo>
                    <a:pt x="11" y="301"/>
                  </a:lnTo>
                  <a:lnTo>
                    <a:pt x="15" y="283"/>
                  </a:lnTo>
                  <a:lnTo>
                    <a:pt x="21" y="266"/>
                  </a:lnTo>
                  <a:lnTo>
                    <a:pt x="26" y="249"/>
                  </a:lnTo>
                  <a:lnTo>
                    <a:pt x="34" y="231"/>
                  </a:lnTo>
                  <a:lnTo>
                    <a:pt x="42" y="215"/>
                  </a:lnTo>
                  <a:lnTo>
                    <a:pt x="50" y="199"/>
                  </a:lnTo>
                  <a:lnTo>
                    <a:pt x="59" y="182"/>
                  </a:lnTo>
                  <a:lnTo>
                    <a:pt x="69" y="166"/>
                  </a:lnTo>
                  <a:lnTo>
                    <a:pt x="81" y="151"/>
                  </a:lnTo>
                  <a:lnTo>
                    <a:pt x="93" y="136"/>
                  </a:lnTo>
                  <a:lnTo>
                    <a:pt x="105" y="122"/>
                  </a:lnTo>
                  <a:lnTo>
                    <a:pt x="120" y="108"/>
                  </a:lnTo>
                  <a:lnTo>
                    <a:pt x="134" y="94"/>
                  </a:lnTo>
                  <a:lnTo>
                    <a:pt x="149" y="82"/>
                  </a:lnTo>
                  <a:lnTo>
                    <a:pt x="166" y="70"/>
                  </a:lnTo>
                  <a:lnTo>
                    <a:pt x="183" y="59"/>
                  </a:lnTo>
                  <a:lnTo>
                    <a:pt x="183" y="59"/>
                  </a:lnTo>
                  <a:lnTo>
                    <a:pt x="191" y="67"/>
                  </a:lnTo>
                  <a:lnTo>
                    <a:pt x="198" y="75"/>
                  </a:lnTo>
                  <a:lnTo>
                    <a:pt x="203" y="82"/>
                  </a:lnTo>
                  <a:lnTo>
                    <a:pt x="208" y="90"/>
                  </a:lnTo>
                  <a:lnTo>
                    <a:pt x="217" y="106"/>
                  </a:lnTo>
                  <a:lnTo>
                    <a:pt x="222" y="120"/>
                  </a:lnTo>
                  <a:lnTo>
                    <a:pt x="225" y="132"/>
                  </a:lnTo>
                  <a:lnTo>
                    <a:pt x="227" y="141"/>
                  </a:lnTo>
                  <a:lnTo>
                    <a:pt x="227" y="150"/>
                  </a:lnTo>
                  <a:lnTo>
                    <a:pt x="227" y="150"/>
                  </a:lnTo>
                  <a:lnTo>
                    <a:pt x="247" y="150"/>
                  </a:lnTo>
                  <a:lnTo>
                    <a:pt x="272" y="150"/>
                  </a:lnTo>
                  <a:lnTo>
                    <a:pt x="325" y="146"/>
                  </a:lnTo>
                  <a:lnTo>
                    <a:pt x="379" y="144"/>
                  </a:lnTo>
                  <a:lnTo>
                    <a:pt x="404" y="143"/>
                  </a:lnTo>
                  <a:lnTo>
                    <a:pt x="424" y="143"/>
                  </a:lnTo>
                  <a:lnTo>
                    <a:pt x="424" y="143"/>
                  </a:lnTo>
                  <a:lnTo>
                    <a:pt x="425" y="129"/>
                  </a:lnTo>
                  <a:lnTo>
                    <a:pt x="425" y="112"/>
                  </a:lnTo>
                  <a:lnTo>
                    <a:pt x="424" y="94"/>
                  </a:lnTo>
                  <a:lnTo>
                    <a:pt x="422" y="76"/>
                  </a:lnTo>
                  <a:lnTo>
                    <a:pt x="419" y="56"/>
                  </a:lnTo>
                  <a:lnTo>
                    <a:pt x="414" y="37"/>
                  </a:lnTo>
                  <a:lnTo>
                    <a:pt x="407" y="19"/>
                  </a:lnTo>
                  <a:lnTo>
                    <a:pt x="402" y="9"/>
                  </a:lnTo>
                  <a:lnTo>
                    <a:pt x="397" y="0"/>
                  </a:lnTo>
                  <a:lnTo>
                    <a:pt x="397" y="0"/>
                  </a:lnTo>
                  <a:lnTo>
                    <a:pt x="415" y="14"/>
                  </a:lnTo>
                  <a:lnTo>
                    <a:pt x="431" y="27"/>
                  </a:lnTo>
                  <a:lnTo>
                    <a:pt x="446" y="40"/>
                  </a:lnTo>
                  <a:lnTo>
                    <a:pt x="453" y="47"/>
                  </a:lnTo>
                  <a:lnTo>
                    <a:pt x="459" y="55"/>
                  </a:lnTo>
                  <a:lnTo>
                    <a:pt x="465" y="64"/>
                  </a:lnTo>
                  <a:lnTo>
                    <a:pt x="470" y="73"/>
                  </a:lnTo>
                  <a:lnTo>
                    <a:pt x="475" y="82"/>
                  </a:lnTo>
                  <a:lnTo>
                    <a:pt x="479" y="92"/>
                  </a:lnTo>
                  <a:lnTo>
                    <a:pt x="484" y="104"/>
                  </a:lnTo>
                  <a:lnTo>
                    <a:pt x="487" y="116"/>
                  </a:lnTo>
                  <a:lnTo>
                    <a:pt x="490" y="129"/>
                  </a:lnTo>
                  <a:lnTo>
                    <a:pt x="493" y="143"/>
                  </a:lnTo>
                  <a:lnTo>
                    <a:pt x="493" y="143"/>
                  </a:lnTo>
                  <a:lnTo>
                    <a:pt x="671" y="150"/>
                  </a:lnTo>
                  <a:lnTo>
                    <a:pt x="671" y="150"/>
                  </a:lnTo>
                  <a:lnTo>
                    <a:pt x="671" y="133"/>
                  </a:lnTo>
                  <a:lnTo>
                    <a:pt x="670" y="118"/>
                  </a:lnTo>
                  <a:lnTo>
                    <a:pt x="667" y="103"/>
                  </a:lnTo>
                  <a:lnTo>
                    <a:pt x="662" y="88"/>
                  </a:lnTo>
                  <a:lnTo>
                    <a:pt x="657" y="75"/>
                  </a:lnTo>
                  <a:lnTo>
                    <a:pt x="651" y="62"/>
                  </a:lnTo>
                  <a:lnTo>
                    <a:pt x="643" y="50"/>
                  </a:lnTo>
                  <a:lnTo>
                    <a:pt x="634" y="38"/>
                  </a:lnTo>
                  <a:lnTo>
                    <a:pt x="634" y="38"/>
                  </a:lnTo>
                  <a:lnTo>
                    <a:pt x="651" y="46"/>
                  </a:lnTo>
                  <a:lnTo>
                    <a:pt x="669" y="54"/>
                  </a:lnTo>
                  <a:lnTo>
                    <a:pt x="684" y="64"/>
                  </a:lnTo>
                  <a:lnTo>
                    <a:pt x="699" y="73"/>
                  </a:lnTo>
                  <a:lnTo>
                    <a:pt x="714" y="83"/>
                  </a:lnTo>
                  <a:lnTo>
                    <a:pt x="728" y="93"/>
                  </a:lnTo>
                  <a:lnTo>
                    <a:pt x="740" y="104"/>
                  </a:lnTo>
                  <a:lnTo>
                    <a:pt x="752" y="115"/>
                  </a:lnTo>
                  <a:lnTo>
                    <a:pt x="764" y="126"/>
                  </a:lnTo>
                  <a:lnTo>
                    <a:pt x="775" y="138"/>
                  </a:lnTo>
                  <a:lnTo>
                    <a:pt x="785" y="151"/>
                  </a:lnTo>
                  <a:lnTo>
                    <a:pt x="794" y="163"/>
                  </a:lnTo>
                  <a:lnTo>
                    <a:pt x="803" y="175"/>
                  </a:lnTo>
                  <a:lnTo>
                    <a:pt x="811" y="187"/>
                  </a:lnTo>
                  <a:lnTo>
                    <a:pt x="825" y="213"/>
                  </a:lnTo>
                  <a:lnTo>
                    <a:pt x="837" y="238"/>
                  </a:lnTo>
                  <a:lnTo>
                    <a:pt x="848" y="263"/>
                  </a:lnTo>
                  <a:lnTo>
                    <a:pt x="855" y="289"/>
                  </a:lnTo>
                  <a:lnTo>
                    <a:pt x="861" y="312"/>
                  </a:lnTo>
                  <a:lnTo>
                    <a:pt x="865" y="336"/>
                  </a:lnTo>
                  <a:lnTo>
                    <a:pt x="868" y="358"/>
                  </a:lnTo>
                  <a:lnTo>
                    <a:pt x="869" y="379"/>
                  </a:lnTo>
                  <a:lnTo>
                    <a:pt x="869" y="397"/>
                  </a:lnTo>
                  <a:lnTo>
                    <a:pt x="869" y="397"/>
                  </a:lnTo>
                  <a:lnTo>
                    <a:pt x="869" y="423"/>
                  </a:lnTo>
                  <a:lnTo>
                    <a:pt x="868" y="449"/>
                  </a:lnTo>
                  <a:lnTo>
                    <a:pt x="864" y="474"/>
                  </a:lnTo>
                  <a:lnTo>
                    <a:pt x="859" y="499"/>
                  </a:lnTo>
                  <a:lnTo>
                    <a:pt x="852" y="523"/>
                  </a:lnTo>
                  <a:lnTo>
                    <a:pt x="843" y="546"/>
                  </a:lnTo>
                  <a:lnTo>
                    <a:pt x="834" y="569"/>
                  </a:lnTo>
                  <a:lnTo>
                    <a:pt x="823" y="590"/>
                  </a:lnTo>
                  <a:lnTo>
                    <a:pt x="811" y="612"/>
                  </a:lnTo>
                  <a:lnTo>
                    <a:pt x="796" y="631"/>
                  </a:lnTo>
                  <a:lnTo>
                    <a:pt x="782" y="651"/>
                  </a:lnTo>
                  <a:lnTo>
                    <a:pt x="766" y="668"/>
                  </a:lnTo>
                  <a:lnTo>
                    <a:pt x="749" y="684"/>
                  </a:lnTo>
                  <a:lnTo>
                    <a:pt x="731" y="700"/>
                  </a:lnTo>
                  <a:lnTo>
                    <a:pt x="713" y="714"/>
                  </a:lnTo>
                  <a:lnTo>
                    <a:pt x="693" y="727"/>
                  </a:lnTo>
                  <a:lnTo>
                    <a:pt x="693" y="727"/>
                  </a:lnTo>
                  <a:lnTo>
                    <a:pt x="658" y="748"/>
                  </a:lnTo>
                  <a:lnTo>
                    <a:pt x="626" y="766"/>
                  </a:lnTo>
                  <a:lnTo>
                    <a:pt x="594" y="783"/>
                  </a:lnTo>
                  <a:lnTo>
                    <a:pt x="563" y="799"/>
                  </a:lnTo>
                  <a:lnTo>
                    <a:pt x="506" y="826"/>
                  </a:lnTo>
                  <a:lnTo>
                    <a:pt x="452" y="85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2" name="Freeform 45"/>
            <p:cNvSpPr>
              <a:spLocks/>
            </p:cNvSpPr>
            <p:nvPr userDrawn="1"/>
          </p:nvSpPr>
          <p:spPr bwMode="auto">
            <a:xfrm>
              <a:off x="6269286" y="814554"/>
              <a:ext cx="1588" cy="0"/>
            </a:xfrm>
            <a:custGeom>
              <a:avLst/>
              <a:gdLst>
                <a:gd name="T0" fmla="*/ 22 w 22"/>
                <a:gd name="T1" fmla="*/ 9 h 9"/>
                <a:gd name="T2" fmla="*/ 22 w 22"/>
                <a:gd name="T3" fmla="*/ 9 h 9"/>
                <a:gd name="T4" fmla="*/ 3 w 22"/>
                <a:gd name="T5" fmla="*/ 2 h 9"/>
                <a:gd name="T6" fmla="*/ 3 w 22"/>
                <a:gd name="T7" fmla="*/ 2 h 9"/>
                <a:gd name="T8" fmla="*/ 0 w 22"/>
                <a:gd name="T9" fmla="*/ 0 h 9"/>
                <a:gd name="T10" fmla="*/ 0 w 22"/>
                <a:gd name="T11" fmla="*/ 0 h 9"/>
                <a:gd name="T12" fmla="*/ 22 w 2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9">
                  <a:moveTo>
                    <a:pt x="22" y="9"/>
                  </a:moveTo>
                  <a:lnTo>
                    <a:pt x="22" y="9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2" y="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3" name="Freeform 46"/>
            <p:cNvSpPr>
              <a:spLocks/>
            </p:cNvSpPr>
            <p:nvPr userDrawn="1"/>
          </p:nvSpPr>
          <p:spPr bwMode="auto">
            <a:xfrm>
              <a:off x="6021636" y="497054"/>
              <a:ext cx="20638" cy="12700"/>
            </a:xfrm>
            <a:custGeom>
              <a:avLst/>
              <a:gdLst>
                <a:gd name="T0" fmla="*/ 166 w 166"/>
                <a:gd name="T1" fmla="*/ 69 h 96"/>
                <a:gd name="T2" fmla="*/ 166 w 166"/>
                <a:gd name="T3" fmla="*/ 69 h 96"/>
                <a:gd name="T4" fmla="*/ 166 w 166"/>
                <a:gd name="T5" fmla="*/ 70 h 96"/>
                <a:gd name="T6" fmla="*/ 165 w 166"/>
                <a:gd name="T7" fmla="*/ 72 h 96"/>
                <a:gd name="T8" fmla="*/ 161 w 166"/>
                <a:gd name="T9" fmla="*/ 74 h 96"/>
                <a:gd name="T10" fmla="*/ 155 w 166"/>
                <a:gd name="T11" fmla="*/ 77 h 96"/>
                <a:gd name="T12" fmla="*/ 145 w 166"/>
                <a:gd name="T13" fmla="*/ 79 h 96"/>
                <a:gd name="T14" fmla="*/ 123 w 166"/>
                <a:gd name="T15" fmla="*/ 85 h 96"/>
                <a:gd name="T16" fmla="*/ 95 w 166"/>
                <a:gd name="T17" fmla="*/ 90 h 96"/>
                <a:gd name="T18" fmla="*/ 68 w 166"/>
                <a:gd name="T19" fmla="*/ 94 h 96"/>
                <a:gd name="T20" fmla="*/ 42 w 166"/>
                <a:gd name="T21" fmla="*/ 96 h 96"/>
                <a:gd name="T22" fmla="*/ 24 w 166"/>
                <a:gd name="T23" fmla="*/ 96 h 96"/>
                <a:gd name="T24" fmla="*/ 17 w 166"/>
                <a:gd name="T25" fmla="*/ 95 h 96"/>
                <a:gd name="T26" fmla="*/ 13 w 166"/>
                <a:gd name="T27" fmla="*/ 94 h 96"/>
                <a:gd name="T28" fmla="*/ 13 w 166"/>
                <a:gd name="T29" fmla="*/ 94 h 96"/>
                <a:gd name="T30" fmla="*/ 10 w 166"/>
                <a:gd name="T31" fmla="*/ 92 h 96"/>
                <a:gd name="T32" fmla="*/ 8 w 166"/>
                <a:gd name="T33" fmla="*/ 88 h 96"/>
                <a:gd name="T34" fmla="*/ 5 w 166"/>
                <a:gd name="T35" fmla="*/ 77 h 96"/>
                <a:gd name="T36" fmla="*/ 2 w 166"/>
                <a:gd name="T37" fmla="*/ 65 h 96"/>
                <a:gd name="T38" fmla="*/ 0 w 166"/>
                <a:gd name="T39" fmla="*/ 51 h 96"/>
                <a:gd name="T40" fmla="*/ 0 w 166"/>
                <a:gd name="T41" fmla="*/ 36 h 96"/>
                <a:gd name="T42" fmla="*/ 0 w 166"/>
                <a:gd name="T43" fmla="*/ 23 h 96"/>
                <a:gd name="T44" fmla="*/ 1 w 166"/>
                <a:gd name="T45" fmla="*/ 13 h 96"/>
                <a:gd name="T46" fmla="*/ 2 w 166"/>
                <a:gd name="T47" fmla="*/ 8 h 96"/>
                <a:gd name="T48" fmla="*/ 4 w 166"/>
                <a:gd name="T49" fmla="*/ 5 h 96"/>
                <a:gd name="T50" fmla="*/ 4 w 166"/>
                <a:gd name="T51" fmla="*/ 5 h 96"/>
                <a:gd name="T52" fmla="*/ 5 w 166"/>
                <a:gd name="T53" fmla="*/ 4 h 96"/>
                <a:gd name="T54" fmla="*/ 7 w 166"/>
                <a:gd name="T55" fmla="*/ 2 h 96"/>
                <a:gd name="T56" fmla="*/ 13 w 166"/>
                <a:gd name="T57" fmla="*/ 1 h 96"/>
                <a:gd name="T58" fmla="*/ 22 w 166"/>
                <a:gd name="T59" fmla="*/ 0 h 96"/>
                <a:gd name="T60" fmla="*/ 32 w 166"/>
                <a:gd name="T61" fmla="*/ 0 h 96"/>
                <a:gd name="T62" fmla="*/ 43 w 166"/>
                <a:gd name="T63" fmla="*/ 1 h 96"/>
                <a:gd name="T64" fmla="*/ 55 w 166"/>
                <a:gd name="T65" fmla="*/ 3 h 96"/>
                <a:gd name="T66" fmla="*/ 69 w 166"/>
                <a:gd name="T67" fmla="*/ 6 h 96"/>
                <a:gd name="T68" fmla="*/ 83 w 166"/>
                <a:gd name="T69" fmla="*/ 10 h 96"/>
                <a:gd name="T70" fmla="*/ 96 w 166"/>
                <a:gd name="T71" fmla="*/ 15 h 96"/>
                <a:gd name="T72" fmla="*/ 110 w 166"/>
                <a:gd name="T73" fmla="*/ 20 h 96"/>
                <a:gd name="T74" fmla="*/ 123 w 166"/>
                <a:gd name="T75" fmla="*/ 27 h 96"/>
                <a:gd name="T76" fmla="*/ 135 w 166"/>
                <a:gd name="T77" fmla="*/ 34 h 96"/>
                <a:gd name="T78" fmla="*/ 145 w 166"/>
                <a:gd name="T79" fmla="*/ 42 h 96"/>
                <a:gd name="T80" fmla="*/ 155 w 166"/>
                <a:gd name="T81" fmla="*/ 51 h 96"/>
                <a:gd name="T82" fmla="*/ 162 w 166"/>
                <a:gd name="T83" fmla="*/ 60 h 96"/>
                <a:gd name="T84" fmla="*/ 164 w 166"/>
                <a:gd name="T85" fmla="*/ 64 h 96"/>
                <a:gd name="T86" fmla="*/ 166 w 166"/>
                <a:gd name="T87" fmla="*/ 6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6" h="96">
                  <a:moveTo>
                    <a:pt x="166" y="69"/>
                  </a:moveTo>
                  <a:lnTo>
                    <a:pt x="166" y="69"/>
                  </a:lnTo>
                  <a:lnTo>
                    <a:pt x="166" y="70"/>
                  </a:lnTo>
                  <a:lnTo>
                    <a:pt x="165" y="72"/>
                  </a:lnTo>
                  <a:lnTo>
                    <a:pt x="161" y="74"/>
                  </a:lnTo>
                  <a:lnTo>
                    <a:pt x="155" y="77"/>
                  </a:lnTo>
                  <a:lnTo>
                    <a:pt x="145" y="79"/>
                  </a:lnTo>
                  <a:lnTo>
                    <a:pt x="123" y="85"/>
                  </a:lnTo>
                  <a:lnTo>
                    <a:pt x="95" y="90"/>
                  </a:lnTo>
                  <a:lnTo>
                    <a:pt x="68" y="94"/>
                  </a:lnTo>
                  <a:lnTo>
                    <a:pt x="42" y="96"/>
                  </a:lnTo>
                  <a:lnTo>
                    <a:pt x="24" y="96"/>
                  </a:lnTo>
                  <a:lnTo>
                    <a:pt x="17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0" y="92"/>
                  </a:lnTo>
                  <a:lnTo>
                    <a:pt x="8" y="88"/>
                  </a:lnTo>
                  <a:lnTo>
                    <a:pt x="5" y="77"/>
                  </a:lnTo>
                  <a:lnTo>
                    <a:pt x="2" y="65"/>
                  </a:lnTo>
                  <a:lnTo>
                    <a:pt x="0" y="51"/>
                  </a:lnTo>
                  <a:lnTo>
                    <a:pt x="0" y="36"/>
                  </a:lnTo>
                  <a:lnTo>
                    <a:pt x="0" y="23"/>
                  </a:lnTo>
                  <a:lnTo>
                    <a:pt x="1" y="13"/>
                  </a:lnTo>
                  <a:lnTo>
                    <a:pt x="2" y="8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4"/>
                  </a:lnTo>
                  <a:lnTo>
                    <a:pt x="7" y="2"/>
                  </a:lnTo>
                  <a:lnTo>
                    <a:pt x="13" y="1"/>
                  </a:lnTo>
                  <a:lnTo>
                    <a:pt x="22" y="0"/>
                  </a:lnTo>
                  <a:lnTo>
                    <a:pt x="32" y="0"/>
                  </a:lnTo>
                  <a:lnTo>
                    <a:pt x="43" y="1"/>
                  </a:lnTo>
                  <a:lnTo>
                    <a:pt x="55" y="3"/>
                  </a:lnTo>
                  <a:lnTo>
                    <a:pt x="69" y="6"/>
                  </a:lnTo>
                  <a:lnTo>
                    <a:pt x="83" y="10"/>
                  </a:lnTo>
                  <a:lnTo>
                    <a:pt x="96" y="15"/>
                  </a:lnTo>
                  <a:lnTo>
                    <a:pt x="110" y="20"/>
                  </a:lnTo>
                  <a:lnTo>
                    <a:pt x="123" y="27"/>
                  </a:lnTo>
                  <a:lnTo>
                    <a:pt x="135" y="34"/>
                  </a:lnTo>
                  <a:lnTo>
                    <a:pt x="145" y="42"/>
                  </a:lnTo>
                  <a:lnTo>
                    <a:pt x="155" y="51"/>
                  </a:lnTo>
                  <a:lnTo>
                    <a:pt x="162" y="60"/>
                  </a:lnTo>
                  <a:lnTo>
                    <a:pt x="164" y="64"/>
                  </a:lnTo>
                  <a:lnTo>
                    <a:pt x="166" y="6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4" name="Freeform 47"/>
            <p:cNvSpPr>
              <a:spLocks/>
            </p:cNvSpPr>
            <p:nvPr userDrawn="1"/>
          </p:nvSpPr>
          <p:spPr bwMode="auto">
            <a:xfrm>
              <a:off x="5743823" y="454192"/>
              <a:ext cx="657225" cy="776288"/>
            </a:xfrm>
            <a:custGeom>
              <a:avLst/>
              <a:gdLst>
                <a:gd name="T0" fmla="*/ 4703 w 4973"/>
                <a:gd name="T1" fmla="*/ 1877 h 5865"/>
                <a:gd name="T2" fmla="*/ 4733 w 4973"/>
                <a:gd name="T3" fmla="*/ 1183 h 5865"/>
                <a:gd name="T4" fmla="*/ 4302 w 4973"/>
                <a:gd name="T5" fmla="*/ 476 h 5865"/>
                <a:gd name="T6" fmla="*/ 3581 w 4973"/>
                <a:gd name="T7" fmla="*/ 813 h 5865"/>
                <a:gd name="T8" fmla="*/ 3899 w 4973"/>
                <a:gd name="T9" fmla="*/ 1529 h 5865"/>
                <a:gd name="T10" fmla="*/ 3757 w 4973"/>
                <a:gd name="T11" fmla="*/ 2227 h 5865"/>
                <a:gd name="T12" fmla="*/ 3939 w 4973"/>
                <a:gd name="T13" fmla="*/ 2068 h 5865"/>
                <a:gd name="T14" fmla="*/ 4069 w 4973"/>
                <a:gd name="T15" fmla="*/ 1928 h 5865"/>
                <a:gd name="T16" fmla="*/ 4545 w 4973"/>
                <a:gd name="T17" fmla="*/ 1985 h 5865"/>
                <a:gd name="T18" fmla="*/ 4487 w 4973"/>
                <a:gd name="T19" fmla="*/ 2697 h 5865"/>
                <a:gd name="T20" fmla="*/ 3601 w 4973"/>
                <a:gd name="T21" fmla="*/ 2477 h 5865"/>
                <a:gd name="T22" fmla="*/ 3285 w 4973"/>
                <a:gd name="T23" fmla="*/ 1581 h 5865"/>
                <a:gd name="T24" fmla="*/ 3364 w 4973"/>
                <a:gd name="T25" fmla="*/ 1421 h 5865"/>
                <a:gd name="T26" fmla="*/ 3101 w 4973"/>
                <a:gd name="T27" fmla="*/ 996 h 5865"/>
                <a:gd name="T28" fmla="*/ 3251 w 4973"/>
                <a:gd name="T29" fmla="*/ 599 h 5865"/>
                <a:gd name="T30" fmla="*/ 2863 w 4973"/>
                <a:gd name="T31" fmla="*/ 144 h 5865"/>
                <a:gd name="T32" fmla="*/ 1960 w 4973"/>
                <a:gd name="T33" fmla="*/ 304 h 5865"/>
                <a:gd name="T34" fmla="*/ 1819 w 4973"/>
                <a:gd name="T35" fmla="*/ 748 h 5865"/>
                <a:gd name="T36" fmla="*/ 2202 w 4973"/>
                <a:gd name="T37" fmla="*/ 626 h 5865"/>
                <a:gd name="T38" fmla="*/ 2215 w 4973"/>
                <a:gd name="T39" fmla="*/ 803 h 5865"/>
                <a:gd name="T40" fmla="*/ 1623 w 4973"/>
                <a:gd name="T41" fmla="*/ 851 h 5865"/>
                <a:gd name="T42" fmla="*/ 1602 w 4973"/>
                <a:gd name="T43" fmla="*/ 1055 h 5865"/>
                <a:gd name="T44" fmla="*/ 2246 w 4973"/>
                <a:gd name="T45" fmla="*/ 924 h 5865"/>
                <a:gd name="T46" fmla="*/ 2036 w 4973"/>
                <a:gd name="T47" fmla="*/ 981 h 5865"/>
                <a:gd name="T48" fmla="*/ 1754 w 4973"/>
                <a:gd name="T49" fmla="*/ 1278 h 5865"/>
                <a:gd name="T50" fmla="*/ 2105 w 4973"/>
                <a:gd name="T51" fmla="*/ 1619 h 5865"/>
                <a:gd name="T52" fmla="*/ 863 w 4973"/>
                <a:gd name="T53" fmla="*/ 2239 h 5865"/>
                <a:gd name="T54" fmla="*/ 310 w 4973"/>
                <a:gd name="T55" fmla="*/ 2027 h 5865"/>
                <a:gd name="T56" fmla="*/ 319 w 4973"/>
                <a:gd name="T57" fmla="*/ 2172 h 5865"/>
                <a:gd name="T58" fmla="*/ 380 w 4973"/>
                <a:gd name="T59" fmla="*/ 2295 h 5865"/>
                <a:gd name="T60" fmla="*/ 39 w 4973"/>
                <a:gd name="T61" fmla="*/ 2396 h 5865"/>
                <a:gd name="T62" fmla="*/ 189 w 4973"/>
                <a:gd name="T63" fmla="*/ 2511 h 5865"/>
                <a:gd name="T64" fmla="*/ 322 w 4973"/>
                <a:gd name="T65" fmla="*/ 2588 h 5865"/>
                <a:gd name="T66" fmla="*/ 272 w 4973"/>
                <a:gd name="T67" fmla="*/ 2893 h 5865"/>
                <a:gd name="T68" fmla="*/ 630 w 4973"/>
                <a:gd name="T69" fmla="*/ 2730 h 5865"/>
                <a:gd name="T70" fmla="*/ 811 w 4973"/>
                <a:gd name="T71" fmla="*/ 2843 h 5865"/>
                <a:gd name="T72" fmla="*/ 1024 w 4973"/>
                <a:gd name="T73" fmla="*/ 2773 h 5865"/>
                <a:gd name="T74" fmla="*/ 1290 w 4973"/>
                <a:gd name="T75" fmla="*/ 2556 h 5865"/>
                <a:gd name="T76" fmla="*/ 1713 w 4973"/>
                <a:gd name="T77" fmla="*/ 2519 h 5865"/>
                <a:gd name="T78" fmla="*/ 2306 w 4973"/>
                <a:gd name="T79" fmla="*/ 2641 h 5865"/>
                <a:gd name="T80" fmla="*/ 3357 w 4973"/>
                <a:gd name="T81" fmla="*/ 3092 h 5865"/>
                <a:gd name="T82" fmla="*/ 3742 w 4973"/>
                <a:gd name="T83" fmla="*/ 3928 h 5865"/>
                <a:gd name="T84" fmla="*/ 3685 w 4973"/>
                <a:gd name="T85" fmla="*/ 4224 h 5865"/>
                <a:gd name="T86" fmla="*/ 4224 w 4973"/>
                <a:gd name="T87" fmla="*/ 4337 h 5865"/>
                <a:gd name="T88" fmla="*/ 4264 w 4973"/>
                <a:gd name="T89" fmla="*/ 5017 h 5865"/>
                <a:gd name="T90" fmla="*/ 3761 w 4973"/>
                <a:gd name="T91" fmla="*/ 5058 h 5865"/>
                <a:gd name="T92" fmla="*/ 3894 w 4973"/>
                <a:gd name="T93" fmla="*/ 5210 h 5865"/>
                <a:gd name="T94" fmla="*/ 3894 w 4973"/>
                <a:gd name="T95" fmla="*/ 5294 h 5865"/>
                <a:gd name="T96" fmla="*/ 3751 w 4973"/>
                <a:gd name="T97" fmla="*/ 5644 h 5865"/>
                <a:gd name="T98" fmla="*/ 3926 w 4973"/>
                <a:gd name="T99" fmla="*/ 5586 h 5865"/>
                <a:gd name="T100" fmla="*/ 4212 w 4973"/>
                <a:gd name="T101" fmla="*/ 5447 h 5865"/>
                <a:gd name="T102" fmla="*/ 4257 w 4973"/>
                <a:gd name="T103" fmla="*/ 5812 h 5865"/>
                <a:gd name="T104" fmla="*/ 4352 w 4973"/>
                <a:gd name="T105" fmla="*/ 5675 h 5865"/>
                <a:gd name="T106" fmla="*/ 4557 w 4973"/>
                <a:gd name="T107" fmla="*/ 5328 h 5865"/>
                <a:gd name="T108" fmla="*/ 4736 w 4973"/>
                <a:gd name="T109" fmla="*/ 5505 h 5865"/>
                <a:gd name="T110" fmla="*/ 4753 w 4973"/>
                <a:gd name="T111" fmla="*/ 5108 h 5865"/>
                <a:gd name="T112" fmla="*/ 4693 w 4973"/>
                <a:gd name="T113" fmla="*/ 4810 h 5865"/>
                <a:gd name="T114" fmla="*/ 4677 w 4973"/>
                <a:gd name="T115" fmla="*/ 4437 h 5865"/>
                <a:gd name="T116" fmla="*/ 4640 w 4973"/>
                <a:gd name="T117" fmla="*/ 4108 h 5865"/>
                <a:gd name="T118" fmla="*/ 4297 w 4973"/>
                <a:gd name="T119" fmla="*/ 3793 h 5865"/>
                <a:gd name="T120" fmla="*/ 4267 w 4973"/>
                <a:gd name="T121" fmla="*/ 3366 h 5865"/>
                <a:gd name="T122" fmla="*/ 4428 w 4973"/>
                <a:gd name="T123" fmla="*/ 2994 h 5865"/>
                <a:gd name="T124" fmla="*/ 4923 w 4973"/>
                <a:gd name="T125" fmla="*/ 2543 h 5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3" h="5865">
                  <a:moveTo>
                    <a:pt x="4842" y="2253"/>
                  </a:moveTo>
                  <a:lnTo>
                    <a:pt x="4842" y="2253"/>
                  </a:lnTo>
                  <a:lnTo>
                    <a:pt x="4862" y="2257"/>
                  </a:lnTo>
                  <a:lnTo>
                    <a:pt x="4881" y="2259"/>
                  </a:lnTo>
                  <a:lnTo>
                    <a:pt x="4900" y="2260"/>
                  </a:lnTo>
                  <a:lnTo>
                    <a:pt x="4916" y="2259"/>
                  </a:lnTo>
                  <a:lnTo>
                    <a:pt x="4932" y="2257"/>
                  </a:lnTo>
                  <a:lnTo>
                    <a:pt x="4946" y="2254"/>
                  </a:lnTo>
                  <a:lnTo>
                    <a:pt x="4958" y="2249"/>
                  </a:lnTo>
                  <a:lnTo>
                    <a:pt x="4969" y="2243"/>
                  </a:lnTo>
                  <a:lnTo>
                    <a:pt x="4969" y="2243"/>
                  </a:lnTo>
                  <a:lnTo>
                    <a:pt x="4967" y="2217"/>
                  </a:lnTo>
                  <a:lnTo>
                    <a:pt x="4960" y="2157"/>
                  </a:lnTo>
                  <a:lnTo>
                    <a:pt x="4951" y="2084"/>
                  </a:lnTo>
                  <a:lnTo>
                    <a:pt x="4946" y="2052"/>
                  </a:lnTo>
                  <a:lnTo>
                    <a:pt x="4940" y="2024"/>
                  </a:lnTo>
                  <a:lnTo>
                    <a:pt x="4940" y="2024"/>
                  </a:lnTo>
                  <a:lnTo>
                    <a:pt x="4922" y="2027"/>
                  </a:lnTo>
                  <a:lnTo>
                    <a:pt x="4902" y="2030"/>
                  </a:lnTo>
                  <a:lnTo>
                    <a:pt x="4891" y="2030"/>
                  </a:lnTo>
                  <a:lnTo>
                    <a:pt x="4879" y="2030"/>
                  </a:lnTo>
                  <a:lnTo>
                    <a:pt x="4867" y="2029"/>
                  </a:lnTo>
                  <a:lnTo>
                    <a:pt x="4855" y="2027"/>
                  </a:lnTo>
                  <a:lnTo>
                    <a:pt x="4843" y="2024"/>
                  </a:lnTo>
                  <a:lnTo>
                    <a:pt x="4830" y="2020"/>
                  </a:lnTo>
                  <a:lnTo>
                    <a:pt x="4818" y="2015"/>
                  </a:lnTo>
                  <a:lnTo>
                    <a:pt x="4806" y="2008"/>
                  </a:lnTo>
                  <a:lnTo>
                    <a:pt x="4794" y="1998"/>
                  </a:lnTo>
                  <a:lnTo>
                    <a:pt x="4782" y="1988"/>
                  </a:lnTo>
                  <a:lnTo>
                    <a:pt x="4771" y="1976"/>
                  </a:lnTo>
                  <a:lnTo>
                    <a:pt x="4761" y="1962"/>
                  </a:lnTo>
                  <a:lnTo>
                    <a:pt x="4761" y="1962"/>
                  </a:lnTo>
                  <a:lnTo>
                    <a:pt x="4743" y="1933"/>
                  </a:lnTo>
                  <a:lnTo>
                    <a:pt x="4724" y="1905"/>
                  </a:lnTo>
                  <a:lnTo>
                    <a:pt x="4724" y="1905"/>
                  </a:lnTo>
                  <a:lnTo>
                    <a:pt x="4703" y="1877"/>
                  </a:lnTo>
                  <a:lnTo>
                    <a:pt x="4680" y="1849"/>
                  </a:lnTo>
                  <a:lnTo>
                    <a:pt x="4658" y="1823"/>
                  </a:lnTo>
                  <a:lnTo>
                    <a:pt x="4634" y="1797"/>
                  </a:lnTo>
                  <a:lnTo>
                    <a:pt x="4611" y="1773"/>
                  </a:lnTo>
                  <a:lnTo>
                    <a:pt x="4586" y="1750"/>
                  </a:lnTo>
                  <a:lnTo>
                    <a:pt x="4562" y="1727"/>
                  </a:lnTo>
                  <a:lnTo>
                    <a:pt x="4538" y="1707"/>
                  </a:lnTo>
                  <a:lnTo>
                    <a:pt x="4513" y="1687"/>
                  </a:lnTo>
                  <a:lnTo>
                    <a:pt x="4489" y="1667"/>
                  </a:lnTo>
                  <a:lnTo>
                    <a:pt x="4463" y="1649"/>
                  </a:lnTo>
                  <a:lnTo>
                    <a:pt x="4439" y="1630"/>
                  </a:lnTo>
                  <a:lnTo>
                    <a:pt x="4413" y="1614"/>
                  </a:lnTo>
                  <a:lnTo>
                    <a:pt x="4389" y="1598"/>
                  </a:lnTo>
                  <a:lnTo>
                    <a:pt x="4337" y="1566"/>
                  </a:lnTo>
                  <a:lnTo>
                    <a:pt x="4337" y="1566"/>
                  </a:lnTo>
                  <a:lnTo>
                    <a:pt x="4381" y="1543"/>
                  </a:lnTo>
                  <a:lnTo>
                    <a:pt x="4422" y="1521"/>
                  </a:lnTo>
                  <a:lnTo>
                    <a:pt x="4459" y="1498"/>
                  </a:lnTo>
                  <a:lnTo>
                    <a:pt x="4492" y="1477"/>
                  </a:lnTo>
                  <a:lnTo>
                    <a:pt x="4523" y="1455"/>
                  </a:lnTo>
                  <a:lnTo>
                    <a:pt x="4549" y="1434"/>
                  </a:lnTo>
                  <a:lnTo>
                    <a:pt x="4574" y="1414"/>
                  </a:lnTo>
                  <a:lnTo>
                    <a:pt x="4595" y="1393"/>
                  </a:lnTo>
                  <a:lnTo>
                    <a:pt x="4615" y="1374"/>
                  </a:lnTo>
                  <a:lnTo>
                    <a:pt x="4632" y="1355"/>
                  </a:lnTo>
                  <a:lnTo>
                    <a:pt x="4647" y="1337"/>
                  </a:lnTo>
                  <a:lnTo>
                    <a:pt x="4661" y="1319"/>
                  </a:lnTo>
                  <a:lnTo>
                    <a:pt x="4673" y="1303"/>
                  </a:lnTo>
                  <a:lnTo>
                    <a:pt x="4683" y="1288"/>
                  </a:lnTo>
                  <a:lnTo>
                    <a:pt x="4700" y="1260"/>
                  </a:lnTo>
                  <a:lnTo>
                    <a:pt x="4700" y="1260"/>
                  </a:lnTo>
                  <a:lnTo>
                    <a:pt x="4708" y="1248"/>
                  </a:lnTo>
                  <a:lnTo>
                    <a:pt x="4714" y="1234"/>
                  </a:lnTo>
                  <a:lnTo>
                    <a:pt x="4721" y="1218"/>
                  </a:lnTo>
                  <a:lnTo>
                    <a:pt x="4727" y="1202"/>
                  </a:lnTo>
                  <a:lnTo>
                    <a:pt x="4733" y="1183"/>
                  </a:lnTo>
                  <a:lnTo>
                    <a:pt x="4739" y="1164"/>
                  </a:lnTo>
                  <a:lnTo>
                    <a:pt x="4743" y="1144"/>
                  </a:lnTo>
                  <a:lnTo>
                    <a:pt x="4749" y="1123"/>
                  </a:lnTo>
                  <a:lnTo>
                    <a:pt x="4753" y="1101"/>
                  </a:lnTo>
                  <a:lnTo>
                    <a:pt x="4756" y="1078"/>
                  </a:lnTo>
                  <a:lnTo>
                    <a:pt x="4758" y="1054"/>
                  </a:lnTo>
                  <a:lnTo>
                    <a:pt x="4759" y="1030"/>
                  </a:lnTo>
                  <a:lnTo>
                    <a:pt x="4760" y="1005"/>
                  </a:lnTo>
                  <a:lnTo>
                    <a:pt x="4759" y="980"/>
                  </a:lnTo>
                  <a:lnTo>
                    <a:pt x="4758" y="954"/>
                  </a:lnTo>
                  <a:lnTo>
                    <a:pt x="4755" y="928"/>
                  </a:lnTo>
                  <a:lnTo>
                    <a:pt x="4751" y="902"/>
                  </a:lnTo>
                  <a:lnTo>
                    <a:pt x="4745" y="876"/>
                  </a:lnTo>
                  <a:lnTo>
                    <a:pt x="4738" y="849"/>
                  </a:lnTo>
                  <a:lnTo>
                    <a:pt x="4730" y="824"/>
                  </a:lnTo>
                  <a:lnTo>
                    <a:pt x="4720" y="797"/>
                  </a:lnTo>
                  <a:lnTo>
                    <a:pt x="4709" y="771"/>
                  </a:lnTo>
                  <a:lnTo>
                    <a:pt x="4695" y="746"/>
                  </a:lnTo>
                  <a:lnTo>
                    <a:pt x="4681" y="721"/>
                  </a:lnTo>
                  <a:lnTo>
                    <a:pt x="4665" y="697"/>
                  </a:lnTo>
                  <a:lnTo>
                    <a:pt x="4646" y="672"/>
                  </a:lnTo>
                  <a:lnTo>
                    <a:pt x="4625" y="649"/>
                  </a:lnTo>
                  <a:lnTo>
                    <a:pt x="4602" y="626"/>
                  </a:lnTo>
                  <a:lnTo>
                    <a:pt x="4578" y="605"/>
                  </a:lnTo>
                  <a:lnTo>
                    <a:pt x="4551" y="584"/>
                  </a:lnTo>
                  <a:lnTo>
                    <a:pt x="4522" y="565"/>
                  </a:lnTo>
                  <a:lnTo>
                    <a:pt x="4490" y="545"/>
                  </a:lnTo>
                  <a:lnTo>
                    <a:pt x="4490" y="545"/>
                  </a:lnTo>
                  <a:lnTo>
                    <a:pt x="4466" y="533"/>
                  </a:lnTo>
                  <a:lnTo>
                    <a:pt x="4443" y="522"/>
                  </a:lnTo>
                  <a:lnTo>
                    <a:pt x="4419" y="512"/>
                  </a:lnTo>
                  <a:lnTo>
                    <a:pt x="4396" y="503"/>
                  </a:lnTo>
                  <a:lnTo>
                    <a:pt x="4372" y="494"/>
                  </a:lnTo>
                  <a:lnTo>
                    <a:pt x="4348" y="487"/>
                  </a:lnTo>
                  <a:lnTo>
                    <a:pt x="4325" y="481"/>
                  </a:lnTo>
                  <a:lnTo>
                    <a:pt x="4302" y="476"/>
                  </a:lnTo>
                  <a:lnTo>
                    <a:pt x="4278" y="471"/>
                  </a:lnTo>
                  <a:lnTo>
                    <a:pt x="4256" y="468"/>
                  </a:lnTo>
                  <a:lnTo>
                    <a:pt x="4233" y="465"/>
                  </a:lnTo>
                  <a:lnTo>
                    <a:pt x="4211" y="463"/>
                  </a:lnTo>
                  <a:lnTo>
                    <a:pt x="4188" y="461"/>
                  </a:lnTo>
                  <a:lnTo>
                    <a:pt x="4167" y="461"/>
                  </a:lnTo>
                  <a:lnTo>
                    <a:pt x="4145" y="461"/>
                  </a:lnTo>
                  <a:lnTo>
                    <a:pt x="4124" y="461"/>
                  </a:lnTo>
                  <a:lnTo>
                    <a:pt x="4083" y="464"/>
                  </a:lnTo>
                  <a:lnTo>
                    <a:pt x="4044" y="468"/>
                  </a:lnTo>
                  <a:lnTo>
                    <a:pt x="4007" y="474"/>
                  </a:lnTo>
                  <a:lnTo>
                    <a:pt x="3973" y="482"/>
                  </a:lnTo>
                  <a:lnTo>
                    <a:pt x="3941" y="490"/>
                  </a:lnTo>
                  <a:lnTo>
                    <a:pt x="3912" y="499"/>
                  </a:lnTo>
                  <a:lnTo>
                    <a:pt x="3887" y="510"/>
                  </a:lnTo>
                  <a:lnTo>
                    <a:pt x="3864" y="519"/>
                  </a:lnTo>
                  <a:lnTo>
                    <a:pt x="3864" y="519"/>
                  </a:lnTo>
                  <a:lnTo>
                    <a:pt x="3844" y="529"/>
                  </a:lnTo>
                  <a:lnTo>
                    <a:pt x="3824" y="539"/>
                  </a:lnTo>
                  <a:lnTo>
                    <a:pt x="3806" y="551"/>
                  </a:lnTo>
                  <a:lnTo>
                    <a:pt x="3787" y="562"/>
                  </a:lnTo>
                  <a:lnTo>
                    <a:pt x="3769" y="575"/>
                  </a:lnTo>
                  <a:lnTo>
                    <a:pt x="3752" y="587"/>
                  </a:lnTo>
                  <a:lnTo>
                    <a:pt x="3735" y="602"/>
                  </a:lnTo>
                  <a:lnTo>
                    <a:pt x="3719" y="616"/>
                  </a:lnTo>
                  <a:lnTo>
                    <a:pt x="3703" y="631"/>
                  </a:lnTo>
                  <a:lnTo>
                    <a:pt x="3687" y="647"/>
                  </a:lnTo>
                  <a:lnTo>
                    <a:pt x="3673" y="663"/>
                  </a:lnTo>
                  <a:lnTo>
                    <a:pt x="3659" y="679"/>
                  </a:lnTo>
                  <a:lnTo>
                    <a:pt x="3645" y="697"/>
                  </a:lnTo>
                  <a:lnTo>
                    <a:pt x="3633" y="715"/>
                  </a:lnTo>
                  <a:lnTo>
                    <a:pt x="3621" y="734"/>
                  </a:lnTo>
                  <a:lnTo>
                    <a:pt x="3609" y="753"/>
                  </a:lnTo>
                  <a:lnTo>
                    <a:pt x="3599" y="772"/>
                  </a:lnTo>
                  <a:lnTo>
                    <a:pt x="3589" y="793"/>
                  </a:lnTo>
                  <a:lnTo>
                    <a:pt x="3581" y="813"/>
                  </a:lnTo>
                  <a:lnTo>
                    <a:pt x="3573" y="835"/>
                  </a:lnTo>
                  <a:lnTo>
                    <a:pt x="3565" y="856"/>
                  </a:lnTo>
                  <a:lnTo>
                    <a:pt x="3559" y="879"/>
                  </a:lnTo>
                  <a:lnTo>
                    <a:pt x="3554" y="901"/>
                  </a:lnTo>
                  <a:lnTo>
                    <a:pt x="3550" y="924"/>
                  </a:lnTo>
                  <a:lnTo>
                    <a:pt x="3547" y="947"/>
                  </a:lnTo>
                  <a:lnTo>
                    <a:pt x="3545" y="972"/>
                  </a:lnTo>
                  <a:lnTo>
                    <a:pt x="3544" y="996"/>
                  </a:lnTo>
                  <a:lnTo>
                    <a:pt x="3543" y="1021"/>
                  </a:lnTo>
                  <a:lnTo>
                    <a:pt x="3544" y="1046"/>
                  </a:lnTo>
                  <a:lnTo>
                    <a:pt x="3546" y="1072"/>
                  </a:lnTo>
                  <a:lnTo>
                    <a:pt x="3550" y="1098"/>
                  </a:lnTo>
                  <a:lnTo>
                    <a:pt x="3554" y="1124"/>
                  </a:lnTo>
                  <a:lnTo>
                    <a:pt x="3554" y="1124"/>
                  </a:lnTo>
                  <a:lnTo>
                    <a:pt x="3559" y="1148"/>
                  </a:lnTo>
                  <a:lnTo>
                    <a:pt x="3564" y="1169"/>
                  </a:lnTo>
                  <a:lnTo>
                    <a:pt x="3571" y="1191"/>
                  </a:lnTo>
                  <a:lnTo>
                    <a:pt x="3577" y="1211"/>
                  </a:lnTo>
                  <a:lnTo>
                    <a:pt x="3585" y="1231"/>
                  </a:lnTo>
                  <a:lnTo>
                    <a:pt x="3592" y="1249"/>
                  </a:lnTo>
                  <a:lnTo>
                    <a:pt x="3601" y="1267"/>
                  </a:lnTo>
                  <a:lnTo>
                    <a:pt x="3610" y="1285"/>
                  </a:lnTo>
                  <a:lnTo>
                    <a:pt x="3620" y="1301"/>
                  </a:lnTo>
                  <a:lnTo>
                    <a:pt x="3631" y="1316"/>
                  </a:lnTo>
                  <a:lnTo>
                    <a:pt x="3641" y="1332"/>
                  </a:lnTo>
                  <a:lnTo>
                    <a:pt x="3652" y="1347"/>
                  </a:lnTo>
                  <a:lnTo>
                    <a:pt x="3665" y="1361"/>
                  </a:lnTo>
                  <a:lnTo>
                    <a:pt x="3677" y="1375"/>
                  </a:lnTo>
                  <a:lnTo>
                    <a:pt x="3690" y="1388"/>
                  </a:lnTo>
                  <a:lnTo>
                    <a:pt x="3704" y="1400"/>
                  </a:lnTo>
                  <a:lnTo>
                    <a:pt x="3732" y="1425"/>
                  </a:lnTo>
                  <a:lnTo>
                    <a:pt x="3763" y="1447"/>
                  </a:lnTo>
                  <a:lnTo>
                    <a:pt x="3795" y="1469"/>
                  </a:lnTo>
                  <a:lnTo>
                    <a:pt x="3828" y="1489"/>
                  </a:lnTo>
                  <a:lnTo>
                    <a:pt x="3863" y="1510"/>
                  </a:lnTo>
                  <a:lnTo>
                    <a:pt x="3899" y="1529"/>
                  </a:lnTo>
                  <a:lnTo>
                    <a:pt x="3976" y="1567"/>
                  </a:lnTo>
                  <a:lnTo>
                    <a:pt x="3976" y="1567"/>
                  </a:lnTo>
                  <a:lnTo>
                    <a:pt x="3945" y="1584"/>
                  </a:lnTo>
                  <a:lnTo>
                    <a:pt x="3916" y="1601"/>
                  </a:lnTo>
                  <a:lnTo>
                    <a:pt x="3890" y="1618"/>
                  </a:lnTo>
                  <a:lnTo>
                    <a:pt x="3864" y="1636"/>
                  </a:lnTo>
                  <a:lnTo>
                    <a:pt x="3840" y="1656"/>
                  </a:lnTo>
                  <a:lnTo>
                    <a:pt x="3817" y="1675"/>
                  </a:lnTo>
                  <a:lnTo>
                    <a:pt x="3797" y="1696"/>
                  </a:lnTo>
                  <a:lnTo>
                    <a:pt x="3778" y="1717"/>
                  </a:lnTo>
                  <a:lnTo>
                    <a:pt x="3761" y="1741"/>
                  </a:lnTo>
                  <a:lnTo>
                    <a:pt x="3754" y="1753"/>
                  </a:lnTo>
                  <a:lnTo>
                    <a:pt x="3746" y="1765"/>
                  </a:lnTo>
                  <a:lnTo>
                    <a:pt x="3739" y="1778"/>
                  </a:lnTo>
                  <a:lnTo>
                    <a:pt x="3733" y="1791"/>
                  </a:lnTo>
                  <a:lnTo>
                    <a:pt x="3728" y="1804"/>
                  </a:lnTo>
                  <a:lnTo>
                    <a:pt x="3723" y="1818"/>
                  </a:lnTo>
                  <a:lnTo>
                    <a:pt x="3718" y="1833"/>
                  </a:lnTo>
                  <a:lnTo>
                    <a:pt x="3714" y="1848"/>
                  </a:lnTo>
                  <a:lnTo>
                    <a:pt x="3711" y="1863"/>
                  </a:lnTo>
                  <a:lnTo>
                    <a:pt x="3708" y="1879"/>
                  </a:lnTo>
                  <a:lnTo>
                    <a:pt x="3706" y="1895"/>
                  </a:lnTo>
                  <a:lnTo>
                    <a:pt x="3705" y="1912"/>
                  </a:lnTo>
                  <a:lnTo>
                    <a:pt x="3704" y="1930"/>
                  </a:lnTo>
                  <a:lnTo>
                    <a:pt x="3703" y="1947"/>
                  </a:lnTo>
                  <a:lnTo>
                    <a:pt x="3703" y="1947"/>
                  </a:lnTo>
                  <a:lnTo>
                    <a:pt x="3704" y="1970"/>
                  </a:lnTo>
                  <a:lnTo>
                    <a:pt x="3707" y="1993"/>
                  </a:lnTo>
                  <a:lnTo>
                    <a:pt x="3711" y="2016"/>
                  </a:lnTo>
                  <a:lnTo>
                    <a:pt x="3716" y="2039"/>
                  </a:lnTo>
                  <a:lnTo>
                    <a:pt x="3729" y="2087"/>
                  </a:lnTo>
                  <a:lnTo>
                    <a:pt x="3736" y="2113"/>
                  </a:lnTo>
                  <a:lnTo>
                    <a:pt x="3742" y="2139"/>
                  </a:lnTo>
                  <a:lnTo>
                    <a:pt x="3749" y="2168"/>
                  </a:lnTo>
                  <a:lnTo>
                    <a:pt x="3753" y="2197"/>
                  </a:lnTo>
                  <a:lnTo>
                    <a:pt x="3757" y="2227"/>
                  </a:lnTo>
                  <a:lnTo>
                    <a:pt x="3758" y="2260"/>
                  </a:lnTo>
                  <a:lnTo>
                    <a:pt x="3758" y="2295"/>
                  </a:lnTo>
                  <a:lnTo>
                    <a:pt x="3757" y="2313"/>
                  </a:lnTo>
                  <a:lnTo>
                    <a:pt x="3755" y="2332"/>
                  </a:lnTo>
                  <a:lnTo>
                    <a:pt x="3753" y="2350"/>
                  </a:lnTo>
                  <a:lnTo>
                    <a:pt x="3750" y="2371"/>
                  </a:lnTo>
                  <a:lnTo>
                    <a:pt x="3745" y="2391"/>
                  </a:lnTo>
                  <a:lnTo>
                    <a:pt x="3741" y="2411"/>
                  </a:lnTo>
                  <a:lnTo>
                    <a:pt x="3741" y="2411"/>
                  </a:lnTo>
                  <a:lnTo>
                    <a:pt x="3741" y="2413"/>
                  </a:lnTo>
                  <a:lnTo>
                    <a:pt x="3741" y="2414"/>
                  </a:lnTo>
                  <a:lnTo>
                    <a:pt x="3743" y="2414"/>
                  </a:lnTo>
                  <a:lnTo>
                    <a:pt x="3745" y="2416"/>
                  </a:lnTo>
                  <a:lnTo>
                    <a:pt x="3753" y="2413"/>
                  </a:lnTo>
                  <a:lnTo>
                    <a:pt x="3762" y="2411"/>
                  </a:lnTo>
                  <a:lnTo>
                    <a:pt x="3785" y="2401"/>
                  </a:lnTo>
                  <a:lnTo>
                    <a:pt x="3814" y="2389"/>
                  </a:lnTo>
                  <a:lnTo>
                    <a:pt x="3842" y="2374"/>
                  </a:lnTo>
                  <a:lnTo>
                    <a:pt x="3867" y="2360"/>
                  </a:lnTo>
                  <a:lnTo>
                    <a:pt x="3886" y="2349"/>
                  </a:lnTo>
                  <a:lnTo>
                    <a:pt x="3891" y="2345"/>
                  </a:lnTo>
                  <a:lnTo>
                    <a:pt x="3894" y="2343"/>
                  </a:lnTo>
                  <a:lnTo>
                    <a:pt x="3894" y="2343"/>
                  </a:lnTo>
                  <a:lnTo>
                    <a:pt x="3903" y="2319"/>
                  </a:lnTo>
                  <a:lnTo>
                    <a:pt x="3910" y="2296"/>
                  </a:lnTo>
                  <a:lnTo>
                    <a:pt x="3916" y="2272"/>
                  </a:lnTo>
                  <a:lnTo>
                    <a:pt x="3921" y="2248"/>
                  </a:lnTo>
                  <a:lnTo>
                    <a:pt x="3925" y="2224"/>
                  </a:lnTo>
                  <a:lnTo>
                    <a:pt x="3928" y="2201"/>
                  </a:lnTo>
                  <a:lnTo>
                    <a:pt x="3930" y="2178"/>
                  </a:lnTo>
                  <a:lnTo>
                    <a:pt x="3932" y="2156"/>
                  </a:lnTo>
                  <a:lnTo>
                    <a:pt x="3932" y="2117"/>
                  </a:lnTo>
                  <a:lnTo>
                    <a:pt x="3931" y="2086"/>
                  </a:lnTo>
                  <a:lnTo>
                    <a:pt x="3928" y="2059"/>
                  </a:lnTo>
                  <a:lnTo>
                    <a:pt x="3928" y="2059"/>
                  </a:lnTo>
                  <a:lnTo>
                    <a:pt x="3939" y="2068"/>
                  </a:lnTo>
                  <a:lnTo>
                    <a:pt x="3947" y="2079"/>
                  </a:lnTo>
                  <a:lnTo>
                    <a:pt x="3954" y="2091"/>
                  </a:lnTo>
                  <a:lnTo>
                    <a:pt x="3960" y="2105"/>
                  </a:lnTo>
                  <a:lnTo>
                    <a:pt x="3964" y="2120"/>
                  </a:lnTo>
                  <a:lnTo>
                    <a:pt x="3968" y="2135"/>
                  </a:lnTo>
                  <a:lnTo>
                    <a:pt x="3971" y="2152"/>
                  </a:lnTo>
                  <a:lnTo>
                    <a:pt x="3973" y="2168"/>
                  </a:lnTo>
                  <a:lnTo>
                    <a:pt x="3975" y="2185"/>
                  </a:lnTo>
                  <a:lnTo>
                    <a:pt x="3976" y="2203"/>
                  </a:lnTo>
                  <a:lnTo>
                    <a:pt x="3976" y="2219"/>
                  </a:lnTo>
                  <a:lnTo>
                    <a:pt x="3975" y="2237"/>
                  </a:lnTo>
                  <a:lnTo>
                    <a:pt x="3971" y="2268"/>
                  </a:lnTo>
                  <a:lnTo>
                    <a:pt x="3965" y="2297"/>
                  </a:lnTo>
                  <a:lnTo>
                    <a:pt x="3965" y="2297"/>
                  </a:lnTo>
                  <a:lnTo>
                    <a:pt x="3982" y="2288"/>
                  </a:lnTo>
                  <a:lnTo>
                    <a:pt x="3998" y="2276"/>
                  </a:lnTo>
                  <a:lnTo>
                    <a:pt x="4016" y="2263"/>
                  </a:lnTo>
                  <a:lnTo>
                    <a:pt x="4036" y="2249"/>
                  </a:lnTo>
                  <a:lnTo>
                    <a:pt x="4053" y="2234"/>
                  </a:lnTo>
                  <a:lnTo>
                    <a:pt x="4061" y="2226"/>
                  </a:lnTo>
                  <a:lnTo>
                    <a:pt x="4068" y="2219"/>
                  </a:lnTo>
                  <a:lnTo>
                    <a:pt x="4072" y="2212"/>
                  </a:lnTo>
                  <a:lnTo>
                    <a:pt x="4075" y="2206"/>
                  </a:lnTo>
                  <a:lnTo>
                    <a:pt x="4075" y="2206"/>
                  </a:lnTo>
                  <a:lnTo>
                    <a:pt x="4083" y="2176"/>
                  </a:lnTo>
                  <a:lnTo>
                    <a:pt x="4090" y="2148"/>
                  </a:lnTo>
                  <a:lnTo>
                    <a:pt x="4094" y="2121"/>
                  </a:lnTo>
                  <a:lnTo>
                    <a:pt x="4096" y="2095"/>
                  </a:lnTo>
                  <a:lnTo>
                    <a:pt x="4096" y="2071"/>
                  </a:lnTo>
                  <a:lnTo>
                    <a:pt x="4095" y="2047"/>
                  </a:lnTo>
                  <a:lnTo>
                    <a:pt x="4093" y="2025"/>
                  </a:lnTo>
                  <a:lnTo>
                    <a:pt x="4090" y="2003"/>
                  </a:lnTo>
                  <a:lnTo>
                    <a:pt x="4085" y="1983"/>
                  </a:lnTo>
                  <a:lnTo>
                    <a:pt x="4080" y="1964"/>
                  </a:lnTo>
                  <a:lnTo>
                    <a:pt x="4075" y="1945"/>
                  </a:lnTo>
                  <a:lnTo>
                    <a:pt x="4069" y="1928"/>
                  </a:lnTo>
                  <a:lnTo>
                    <a:pt x="4055" y="1894"/>
                  </a:lnTo>
                  <a:lnTo>
                    <a:pt x="4043" y="1862"/>
                  </a:lnTo>
                  <a:lnTo>
                    <a:pt x="4043" y="1862"/>
                  </a:lnTo>
                  <a:lnTo>
                    <a:pt x="4038" y="1847"/>
                  </a:lnTo>
                  <a:lnTo>
                    <a:pt x="4035" y="1832"/>
                  </a:lnTo>
                  <a:lnTo>
                    <a:pt x="4034" y="1817"/>
                  </a:lnTo>
                  <a:lnTo>
                    <a:pt x="4035" y="1802"/>
                  </a:lnTo>
                  <a:lnTo>
                    <a:pt x="4037" y="1788"/>
                  </a:lnTo>
                  <a:lnTo>
                    <a:pt x="4041" y="1773"/>
                  </a:lnTo>
                  <a:lnTo>
                    <a:pt x="4046" y="1759"/>
                  </a:lnTo>
                  <a:lnTo>
                    <a:pt x="4053" y="1746"/>
                  </a:lnTo>
                  <a:lnTo>
                    <a:pt x="4061" y="1733"/>
                  </a:lnTo>
                  <a:lnTo>
                    <a:pt x="4071" y="1719"/>
                  </a:lnTo>
                  <a:lnTo>
                    <a:pt x="4081" y="1707"/>
                  </a:lnTo>
                  <a:lnTo>
                    <a:pt x="4092" y="1696"/>
                  </a:lnTo>
                  <a:lnTo>
                    <a:pt x="4103" y="1684"/>
                  </a:lnTo>
                  <a:lnTo>
                    <a:pt x="4117" y="1673"/>
                  </a:lnTo>
                  <a:lnTo>
                    <a:pt x="4130" y="1664"/>
                  </a:lnTo>
                  <a:lnTo>
                    <a:pt x="4145" y="1655"/>
                  </a:lnTo>
                  <a:lnTo>
                    <a:pt x="4145" y="1655"/>
                  </a:lnTo>
                  <a:lnTo>
                    <a:pt x="4180" y="1674"/>
                  </a:lnTo>
                  <a:lnTo>
                    <a:pt x="4215" y="1695"/>
                  </a:lnTo>
                  <a:lnTo>
                    <a:pt x="4251" y="1716"/>
                  </a:lnTo>
                  <a:lnTo>
                    <a:pt x="4286" y="1740"/>
                  </a:lnTo>
                  <a:lnTo>
                    <a:pt x="4286" y="1740"/>
                  </a:lnTo>
                  <a:lnTo>
                    <a:pt x="4307" y="1754"/>
                  </a:lnTo>
                  <a:lnTo>
                    <a:pt x="4341" y="1779"/>
                  </a:lnTo>
                  <a:lnTo>
                    <a:pt x="4361" y="1794"/>
                  </a:lnTo>
                  <a:lnTo>
                    <a:pt x="4382" y="1812"/>
                  </a:lnTo>
                  <a:lnTo>
                    <a:pt x="4405" y="1832"/>
                  </a:lnTo>
                  <a:lnTo>
                    <a:pt x="4430" y="1853"/>
                  </a:lnTo>
                  <a:lnTo>
                    <a:pt x="4453" y="1877"/>
                  </a:lnTo>
                  <a:lnTo>
                    <a:pt x="4478" y="1901"/>
                  </a:lnTo>
                  <a:lnTo>
                    <a:pt x="4501" y="1928"/>
                  </a:lnTo>
                  <a:lnTo>
                    <a:pt x="4524" y="1956"/>
                  </a:lnTo>
                  <a:lnTo>
                    <a:pt x="4545" y="1985"/>
                  </a:lnTo>
                  <a:lnTo>
                    <a:pt x="4564" y="2016"/>
                  </a:lnTo>
                  <a:lnTo>
                    <a:pt x="4574" y="2031"/>
                  </a:lnTo>
                  <a:lnTo>
                    <a:pt x="4582" y="2047"/>
                  </a:lnTo>
                  <a:lnTo>
                    <a:pt x="4590" y="2064"/>
                  </a:lnTo>
                  <a:lnTo>
                    <a:pt x="4596" y="2080"/>
                  </a:lnTo>
                  <a:lnTo>
                    <a:pt x="4596" y="2080"/>
                  </a:lnTo>
                  <a:lnTo>
                    <a:pt x="4606" y="2106"/>
                  </a:lnTo>
                  <a:lnTo>
                    <a:pt x="4616" y="2130"/>
                  </a:lnTo>
                  <a:lnTo>
                    <a:pt x="4624" y="2155"/>
                  </a:lnTo>
                  <a:lnTo>
                    <a:pt x="4630" y="2178"/>
                  </a:lnTo>
                  <a:lnTo>
                    <a:pt x="4636" y="2202"/>
                  </a:lnTo>
                  <a:lnTo>
                    <a:pt x="4641" y="2224"/>
                  </a:lnTo>
                  <a:lnTo>
                    <a:pt x="4645" y="2246"/>
                  </a:lnTo>
                  <a:lnTo>
                    <a:pt x="4649" y="2266"/>
                  </a:lnTo>
                  <a:lnTo>
                    <a:pt x="4651" y="2287"/>
                  </a:lnTo>
                  <a:lnTo>
                    <a:pt x="4653" y="2306"/>
                  </a:lnTo>
                  <a:lnTo>
                    <a:pt x="4654" y="2325"/>
                  </a:lnTo>
                  <a:lnTo>
                    <a:pt x="4655" y="2343"/>
                  </a:lnTo>
                  <a:lnTo>
                    <a:pt x="4654" y="2377"/>
                  </a:lnTo>
                  <a:lnTo>
                    <a:pt x="4652" y="2408"/>
                  </a:lnTo>
                  <a:lnTo>
                    <a:pt x="4648" y="2437"/>
                  </a:lnTo>
                  <a:lnTo>
                    <a:pt x="4642" y="2464"/>
                  </a:lnTo>
                  <a:lnTo>
                    <a:pt x="4635" y="2487"/>
                  </a:lnTo>
                  <a:lnTo>
                    <a:pt x="4628" y="2509"/>
                  </a:lnTo>
                  <a:lnTo>
                    <a:pt x="4620" y="2527"/>
                  </a:lnTo>
                  <a:lnTo>
                    <a:pt x="4612" y="2544"/>
                  </a:lnTo>
                  <a:lnTo>
                    <a:pt x="4603" y="2559"/>
                  </a:lnTo>
                  <a:lnTo>
                    <a:pt x="4596" y="2570"/>
                  </a:lnTo>
                  <a:lnTo>
                    <a:pt x="4596" y="2570"/>
                  </a:lnTo>
                  <a:lnTo>
                    <a:pt x="4582" y="2590"/>
                  </a:lnTo>
                  <a:lnTo>
                    <a:pt x="4568" y="2611"/>
                  </a:lnTo>
                  <a:lnTo>
                    <a:pt x="4553" y="2629"/>
                  </a:lnTo>
                  <a:lnTo>
                    <a:pt x="4538" y="2648"/>
                  </a:lnTo>
                  <a:lnTo>
                    <a:pt x="4522" y="2665"/>
                  </a:lnTo>
                  <a:lnTo>
                    <a:pt x="4505" y="2681"/>
                  </a:lnTo>
                  <a:lnTo>
                    <a:pt x="4487" y="2697"/>
                  </a:lnTo>
                  <a:lnTo>
                    <a:pt x="4469" y="2711"/>
                  </a:lnTo>
                  <a:lnTo>
                    <a:pt x="4450" y="2724"/>
                  </a:lnTo>
                  <a:lnTo>
                    <a:pt x="4430" y="2736"/>
                  </a:lnTo>
                  <a:lnTo>
                    <a:pt x="4409" y="2747"/>
                  </a:lnTo>
                  <a:lnTo>
                    <a:pt x="4388" y="2756"/>
                  </a:lnTo>
                  <a:lnTo>
                    <a:pt x="4364" y="2764"/>
                  </a:lnTo>
                  <a:lnTo>
                    <a:pt x="4341" y="2771"/>
                  </a:lnTo>
                  <a:lnTo>
                    <a:pt x="4316" y="2776"/>
                  </a:lnTo>
                  <a:lnTo>
                    <a:pt x="4290" y="2779"/>
                  </a:lnTo>
                  <a:lnTo>
                    <a:pt x="4290" y="2779"/>
                  </a:lnTo>
                  <a:lnTo>
                    <a:pt x="4283" y="2778"/>
                  </a:lnTo>
                  <a:lnTo>
                    <a:pt x="4275" y="2778"/>
                  </a:lnTo>
                  <a:lnTo>
                    <a:pt x="4275" y="2778"/>
                  </a:lnTo>
                  <a:lnTo>
                    <a:pt x="4242" y="2779"/>
                  </a:lnTo>
                  <a:lnTo>
                    <a:pt x="4213" y="2779"/>
                  </a:lnTo>
                  <a:lnTo>
                    <a:pt x="4185" y="2778"/>
                  </a:lnTo>
                  <a:lnTo>
                    <a:pt x="4159" y="2775"/>
                  </a:lnTo>
                  <a:lnTo>
                    <a:pt x="4159" y="2775"/>
                  </a:lnTo>
                  <a:lnTo>
                    <a:pt x="4131" y="2770"/>
                  </a:lnTo>
                  <a:lnTo>
                    <a:pt x="4103" y="2765"/>
                  </a:lnTo>
                  <a:lnTo>
                    <a:pt x="4077" y="2758"/>
                  </a:lnTo>
                  <a:lnTo>
                    <a:pt x="4052" y="2751"/>
                  </a:lnTo>
                  <a:lnTo>
                    <a:pt x="4052" y="2751"/>
                  </a:lnTo>
                  <a:lnTo>
                    <a:pt x="4009" y="2736"/>
                  </a:lnTo>
                  <a:lnTo>
                    <a:pt x="3965" y="2717"/>
                  </a:lnTo>
                  <a:lnTo>
                    <a:pt x="3965" y="2717"/>
                  </a:lnTo>
                  <a:lnTo>
                    <a:pt x="3925" y="2697"/>
                  </a:lnTo>
                  <a:lnTo>
                    <a:pt x="3874" y="2669"/>
                  </a:lnTo>
                  <a:lnTo>
                    <a:pt x="3846" y="2652"/>
                  </a:lnTo>
                  <a:lnTo>
                    <a:pt x="3815" y="2632"/>
                  </a:lnTo>
                  <a:lnTo>
                    <a:pt x="3782" y="2612"/>
                  </a:lnTo>
                  <a:lnTo>
                    <a:pt x="3748" y="2588"/>
                  </a:lnTo>
                  <a:lnTo>
                    <a:pt x="3712" y="2564"/>
                  </a:lnTo>
                  <a:lnTo>
                    <a:pt x="3676" y="2536"/>
                  </a:lnTo>
                  <a:lnTo>
                    <a:pt x="3638" y="2508"/>
                  </a:lnTo>
                  <a:lnTo>
                    <a:pt x="3601" y="2477"/>
                  </a:lnTo>
                  <a:lnTo>
                    <a:pt x="3563" y="2444"/>
                  </a:lnTo>
                  <a:lnTo>
                    <a:pt x="3526" y="2409"/>
                  </a:lnTo>
                  <a:lnTo>
                    <a:pt x="3488" y="2373"/>
                  </a:lnTo>
                  <a:lnTo>
                    <a:pt x="3451" y="2335"/>
                  </a:lnTo>
                  <a:lnTo>
                    <a:pt x="3451" y="2335"/>
                  </a:lnTo>
                  <a:lnTo>
                    <a:pt x="3394" y="2271"/>
                  </a:lnTo>
                  <a:lnTo>
                    <a:pt x="3342" y="2212"/>
                  </a:lnTo>
                  <a:lnTo>
                    <a:pt x="3295" y="2157"/>
                  </a:lnTo>
                  <a:lnTo>
                    <a:pt x="3253" y="2107"/>
                  </a:lnTo>
                  <a:lnTo>
                    <a:pt x="3215" y="2060"/>
                  </a:lnTo>
                  <a:lnTo>
                    <a:pt x="3180" y="2017"/>
                  </a:lnTo>
                  <a:lnTo>
                    <a:pt x="3120" y="1940"/>
                  </a:lnTo>
                  <a:lnTo>
                    <a:pt x="3120" y="1940"/>
                  </a:lnTo>
                  <a:lnTo>
                    <a:pt x="3138" y="1947"/>
                  </a:lnTo>
                  <a:lnTo>
                    <a:pt x="3156" y="1953"/>
                  </a:lnTo>
                  <a:lnTo>
                    <a:pt x="3175" y="1958"/>
                  </a:lnTo>
                  <a:lnTo>
                    <a:pt x="3193" y="1963"/>
                  </a:lnTo>
                  <a:lnTo>
                    <a:pt x="3211" y="1966"/>
                  </a:lnTo>
                  <a:lnTo>
                    <a:pt x="3229" y="1968"/>
                  </a:lnTo>
                  <a:lnTo>
                    <a:pt x="3262" y="1971"/>
                  </a:lnTo>
                  <a:lnTo>
                    <a:pt x="3289" y="1971"/>
                  </a:lnTo>
                  <a:lnTo>
                    <a:pt x="3312" y="1970"/>
                  </a:lnTo>
                  <a:lnTo>
                    <a:pt x="3332" y="1968"/>
                  </a:lnTo>
                  <a:lnTo>
                    <a:pt x="3332" y="1968"/>
                  </a:lnTo>
                  <a:lnTo>
                    <a:pt x="3336" y="1918"/>
                  </a:lnTo>
                  <a:lnTo>
                    <a:pt x="3338" y="1873"/>
                  </a:lnTo>
                  <a:lnTo>
                    <a:pt x="3340" y="1833"/>
                  </a:lnTo>
                  <a:lnTo>
                    <a:pt x="3346" y="1698"/>
                  </a:lnTo>
                  <a:lnTo>
                    <a:pt x="3346" y="1698"/>
                  </a:lnTo>
                  <a:lnTo>
                    <a:pt x="3349" y="1661"/>
                  </a:lnTo>
                  <a:lnTo>
                    <a:pt x="3351" y="1626"/>
                  </a:lnTo>
                  <a:lnTo>
                    <a:pt x="3352" y="1589"/>
                  </a:lnTo>
                  <a:lnTo>
                    <a:pt x="3352" y="1589"/>
                  </a:lnTo>
                  <a:lnTo>
                    <a:pt x="3340" y="1588"/>
                  </a:lnTo>
                  <a:lnTo>
                    <a:pt x="3307" y="1584"/>
                  </a:lnTo>
                  <a:lnTo>
                    <a:pt x="3285" y="1581"/>
                  </a:lnTo>
                  <a:lnTo>
                    <a:pt x="3260" y="1576"/>
                  </a:lnTo>
                  <a:lnTo>
                    <a:pt x="3233" y="1571"/>
                  </a:lnTo>
                  <a:lnTo>
                    <a:pt x="3206" y="1564"/>
                  </a:lnTo>
                  <a:lnTo>
                    <a:pt x="3176" y="1555"/>
                  </a:lnTo>
                  <a:lnTo>
                    <a:pt x="3147" y="1544"/>
                  </a:lnTo>
                  <a:lnTo>
                    <a:pt x="3120" y="1532"/>
                  </a:lnTo>
                  <a:lnTo>
                    <a:pt x="3106" y="1526"/>
                  </a:lnTo>
                  <a:lnTo>
                    <a:pt x="3093" y="1519"/>
                  </a:lnTo>
                  <a:lnTo>
                    <a:pt x="3081" y="1511"/>
                  </a:lnTo>
                  <a:lnTo>
                    <a:pt x="3070" y="1502"/>
                  </a:lnTo>
                  <a:lnTo>
                    <a:pt x="3058" y="1493"/>
                  </a:lnTo>
                  <a:lnTo>
                    <a:pt x="3049" y="1484"/>
                  </a:lnTo>
                  <a:lnTo>
                    <a:pt x="3040" y="1474"/>
                  </a:lnTo>
                  <a:lnTo>
                    <a:pt x="3032" y="1463"/>
                  </a:lnTo>
                  <a:lnTo>
                    <a:pt x="3025" y="1451"/>
                  </a:lnTo>
                  <a:lnTo>
                    <a:pt x="3019" y="1439"/>
                  </a:lnTo>
                  <a:lnTo>
                    <a:pt x="3019" y="1439"/>
                  </a:lnTo>
                  <a:lnTo>
                    <a:pt x="3030" y="1445"/>
                  </a:lnTo>
                  <a:lnTo>
                    <a:pt x="3042" y="1450"/>
                  </a:lnTo>
                  <a:lnTo>
                    <a:pt x="3059" y="1457"/>
                  </a:lnTo>
                  <a:lnTo>
                    <a:pt x="3081" y="1465"/>
                  </a:lnTo>
                  <a:lnTo>
                    <a:pt x="3106" y="1472"/>
                  </a:lnTo>
                  <a:lnTo>
                    <a:pt x="3136" y="1477"/>
                  </a:lnTo>
                  <a:lnTo>
                    <a:pt x="3152" y="1479"/>
                  </a:lnTo>
                  <a:lnTo>
                    <a:pt x="3169" y="1480"/>
                  </a:lnTo>
                  <a:lnTo>
                    <a:pt x="3169" y="1480"/>
                  </a:lnTo>
                  <a:lnTo>
                    <a:pt x="3201" y="1481"/>
                  </a:lnTo>
                  <a:lnTo>
                    <a:pt x="3234" y="1481"/>
                  </a:lnTo>
                  <a:lnTo>
                    <a:pt x="3266" y="1479"/>
                  </a:lnTo>
                  <a:lnTo>
                    <a:pt x="3295" y="1477"/>
                  </a:lnTo>
                  <a:lnTo>
                    <a:pt x="3340" y="1471"/>
                  </a:lnTo>
                  <a:lnTo>
                    <a:pt x="3357" y="1469"/>
                  </a:lnTo>
                  <a:lnTo>
                    <a:pt x="3357" y="1469"/>
                  </a:lnTo>
                  <a:lnTo>
                    <a:pt x="3359" y="1463"/>
                  </a:lnTo>
                  <a:lnTo>
                    <a:pt x="3361" y="1451"/>
                  </a:lnTo>
                  <a:lnTo>
                    <a:pt x="3364" y="1421"/>
                  </a:lnTo>
                  <a:lnTo>
                    <a:pt x="3367" y="1381"/>
                  </a:lnTo>
                  <a:lnTo>
                    <a:pt x="3369" y="1337"/>
                  </a:lnTo>
                  <a:lnTo>
                    <a:pt x="3373" y="1257"/>
                  </a:lnTo>
                  <a:lnTo>
                    <a:pt x="3375" y="1222"/>
                  </a:lnTo>
                  <a:lnTo>
                    <a:pt x="3375" y="1222"/>
                  </a:lnTo>
                  <a:lnTo>
                    <a:pt x="3376" y="1194"/>
                  </a:lnTo>
                  <a:lnTo>
                    <a:pt x="3377" y="1154"/>
                  </a:lnTo>
                  <a:lnTo>
                    <a:pt x="3377" y="1105"/>
                  </a:lnTo>
                  <a:lnTo>
                    <a:pt x="3377" y="1105"/>
                  </a:lnTo>
                  <a:lnTo>
                    <a:pt x="3369" y="1107"/>
                  </a:lnTo>
                  <a:lnTo>
                    <a:pt x="3359" y="1108"/>
                  </a:lnTo>
                  <a:lnTo>
                    <a:pt x="3338" y="1110"/>
                  </a:lnTo>
                  <a:lnTo>
                    <a:pt x="3315" y="1109"/>
                  </a:lnTo>
                  <a:lnTo>
                    <a:pt x="3290" y="1107"/>
                  </a:lnTo>
                  <a:lnTo>
                    <a:pt x="3264" y="1104"/>
                  </a:lnTo>
                  <a:lnTo>
                    <a:pt x="3236" y="1100"/>
                  </a:lnTo>
                  <a:lnTo>
                    <a:pt x="3208" y="1094"/>
                  </a:lnTo>
                  <a:lnTo>
                    <a:pt x="3178" y="1086"/>
                  </a:lnTo>
                  <a:lnTo>
                    <a:pt x="3178" y="1086"/>
                  </a:lnTo>
                  <a:lnTo>
                    <a:pt x="3158" y="1080"/>
                  </a:lnTo>
                  <a:lnTo>
                    <a:pt x="3135" y="1071"/>
                  </a:lnTo>
                  <a:lnTo>
                    <a:pt x="3112" y="1059"/>
                  </a:lnTo>
                  <a:lnTo>
                    <a:pt x="3088" y="1044"/>
                  </a:lnTo>
                  <a:lnTo>
                    <a:pt x="3064" y="1028"/>
                  </a:lnTo>
                  <a:lnTo>
                    <a:pt x="3053" y="1019"/>
                  </a:lnTo>
                  <a:lnTo>
                    <a:pt x="3043" y="1010"/>
                  </a:lnTo>
                  <a:lnTo>
                    <a:pt x="3034" y="999"/>
                  </a:lnTo>
                  <a:lnTo>
                    <a:pt x="3025" y="990"/>
                  </a:lnTo>
                  <a:lnTo>
                    <a:pt x="3017" y="980"/>
                  </a:lnTo>
                  <a:lnTo>
                    <a:pt x="3010" y="969"/>
                  </a:lnTo>
                  <a:lnTo>
                    <a:pt x="3010" y="969"/>
                  </a:lnTo>
                  <a:lnTo>
                    <a:pt x="3022" y="974"/>
                  </a:lnTo>
                  <a:lnTo>
                    <a:pt x="3035" y="978"/>
                  </a:lnTo>
                  <a:lnTo>
                    <a:pt x="3052" y="984"/>
                  </a:lnTo>
                  <a:lnTo>
                    <a:pt x="3075" y="990"/>
                  </a:lnTo>
                  <a:lnTo>
                    <a:pt x="3101" y="996"/>
                  </a:lnTo>
                  <a:lnTo>
                    <a:pt x="3132" y="1003"/>
                  </a:lnTo>
                  <a:lnTo>
                    <a:pt x="3167" y="1008"/>
                  </a:lnTo>
                  <a:lnTo>
                    <a:pt x="3167" y="1008"/>
                  </a:lnTo>
                  <a:lnTo>
                    <a:pt x="3187" y="1010"/>
                  </a:lnTo>
                  <a:lnTo>
                    <a:pt x="3207" y="1011"/>
                  </a:lnTo>
                  <a:lnTo>
                    <a:pt x="3226" y="1012"/>
                  </a:lnTo>
                  <a:lnTo>
                    <a:pt x="3245" y="1012"/>
                  </a:lnTo>
                  <a:lnTo>
                    <a:pt x="3283" y="1010"/>
                  </a:lnTo>
                  <a:lnTo>
                    <a:pt x="3317" y="1007"/>
                  </a:lnTo>
                  <a:lnTo>
                    <a:pt x="3346" y="1001"/>
                  </a:lnTo>
                  <a:lnTo>
                    <a:pt x="3369" y="996"/>
                  </a:lnTo>
                  <a:lnTo>
                    <a:pt x="3377" y="993"/>
                  </a:lnTo>
                  <a:lnTo>
                    <a:pt x="3383" y="991"/>
                  </a:lnTo>
                  <a:lnTo>
                    <a:pt x="3388" y="988"/>
                  </a:lnTo>
                  <a:lnTo>
                    <a:pt x="3390" y="985"/>
                  </a:lnTo>
                  <a:lnTo>
                    <a:pt x="3390" y="985"/>
                  </a:lnTo>
                  <a:lnTo>
                    <a:pt x="3392" y="959"/>
                  </a:lnTo>
                  <a:lnTo>
                    <a:pt x="3393" y="925"/>
                  </a:lnTo>
                  <a:lnTo>
                    <a:pt x="3394" y="848"/>
                  </a:lnTo>
                  <a:lnTo>
                    <a:pt x="3394" y="750"/>
                  </a:lnTo>
                  <a:lnTo>
                    <a:pt x="3394" y="750"/>
                  </a:lnTo>
                  <a:lnTo>
                    <a:pt x="3399" y="686"/>
                  </a:lnTo>
                  <a:lnTo>
                    <a:pt x="3400" y="642"/>
                  </a:lnTo>
                  <a:lnTo>
                    <a:pt x="3400" y="627"/>
                  </a:lnTo>
                  <a:lnTo>
                    <a:pt x="3399" y="623"/>
                  </a:lnTo>
                  <a:lnTo>
                    <a:pt x="3398" y="622"/>
                  </a:lnTo>
                  <a:lnTo>
                    <a:pt x="3398" y="622"/>
                  </a:lnTo>
                  <a:lnTo>
                    <a:pt x="3392" y="622"/>
                  </a:lnTo>
                  <a:lnTo>
                    <a:pt x="3381" y="623"/>
                  </a:lnTo>
                  <a:lnTo>
                    <a:pt x="3368" y="623"/>
                  </a:lnTo>
                  <a:lnTo>
                    <a:pt x="3354" y="622"/>
                  </a:lnTo>
                  <a:lnTo>
                    <a:pt x="3336" y="620"/>
                  </a:lnTo>
                  <a:lnTo>
                    <a:pt x="3317" y="617"/>
                  </a:lnTo>
                  <a:lnTo>
                    <a:pt x="3297" y="612"/>
                  </a:lnTo>
                  <a:lnTo>
                    <a:pt x="3274" y="607"/>
                  </a:lnTo>
                  <a:lnTo>
                    <a:pt x="3251" y="599"/>
                  </a:lnTo>
                  <a:lnTo>
                    <a:pt x="3226" y="589"/>
                  </a:lnTo>
                  <a:lnTo>
                    <a:pt x="3200" y="578"/>
                  </a:lnTo>
                  <a:lnTo>
                    <a:pt x="3175" y="564"/>
                  </a:lnTo>
                  <a:lnTo>
                    <a:pt x="3149" y="548"/>
                  </a:lnTo>
                  <a:lnTo>
                    <a:pt x="3123" y="529"/>
                  </a:lnTo>
                  <a:lnTo>
                    <a:pt x="3110" y="519"/>
                  </a:lnTo>
                  <a:lnTo>
                    <a:pt x="3097" y="508"/>
                  </a:lnTo>
                  <a:lnTo>
                    <a:pt x="3085" y="495"/>
                  </a:lnTo>
                  <a:lnTo>
                    <a:pt x="3073" y="483"/>
                  </a:lnTo>
                  <a:lnTo>
                    <a:pt x="3073" y="483"/>
                  </a:lnTo>
                  <a:lnTo>
                    <a:pt x="3071" y="481"/>
                  </a:lnTo>
                  <a:lnTo>
                    <a:pt x="3065" y="476"/>
                  </a:lnTo>
                  <a:lnTo>
                    <a:pt x="3059" y="467"/>
                  </a:lnTo>
                  <a:lnTo>
                    <a:pt x="3056" y="461"/>
                  </a:lnTo>
                  <a:lnTo>
                    <a:pt x="3053" y="454"/>
                  </a:lnTo>
                  <a:lnTo>
                    <a:pt x="3051" y="447"/>
                  </a:lnTo>
                  <a:lnTo>
                    <a:pt x="3050" y="439"/>
                  </a:lnTo>
                  <a:lnTo>
                    <a:pt x="3049" y="430"/>
                  </a:lnTo>
                  <a:lnTo>
                    <a:pt x="3050" y="420"/>
                  </a:lnTo>
                  <a:lnTo>
                    <a:pt x="3053" y="410"/>
                  </a:lnTo>
                  <a:lnTo>
                    <a:pt x="3056" y="398"/>
                  </a:lnTo>
                  <a:lnTo>
                    <a:pt x="3062" y="386"/>
                  </a:lnTo>
                  <a:lnTo>
                    <a:pt x="3071" y="373"/>
                  </a:lnTo>
                  <a:lnTo>
                    <a:pt x="3071" y="373"/>
                  </a:lnTo>
                  <a:lnTo>
                    <a:pt x="2806" y="254"/>
                  </a:lnTo>
                  <a:lnTo>
                    <a:pt x="2806" y="254"/>
                  </a:lnTo>
                  <a:lnTo>
                    <a:pt x="2815" y="245"/>
                  </a:lnTo>
                  <a:lnTo>
                    <a:pt x="2824" y="234"/>
                  </a:lnTo>
                  <a:lnTo>
                    <a:pt x="2834" y="219"/>
                  </a:lnTo>
                  <a:lnTo>
                    <a:pt x="2845" y="203"/>
                  </a:lnTo>
                  <a:lnTo>
                    <a:pt x="2850" y="194"/>
                  </a:lnTo>
                  <a:lnTo>
                    <a:pt x="2854" y="185"/>
                  </a:lnTo>
                  <a:lnTo>
                    <a:pt x="2858" y="174"/>
                  </a:lnTo>
                  <a:lnTo>
                    <a:pt x="2861" y="164"/>
                  </a:lnTo>
                  <a:lnTo>
                    <a:pt x="2863" y="154"/>
                  </a:lnTo>
                  <a:lnTo>
                    <a:pt x="2863" y="144"/>
                  </a:lnTo>
                  <a:lnTo>
                    <a:pt x="2863" y="144"/>
                  </a:lnTo>
                  <a:lnTo>
                    <a:pt x="2863" y="132"/>
                  </a:lnTo>
                  <a:lnTo>
                    <a:pt x="2860" y="122"/>
                  </a:lnTo>
                  <a:lnTo>
                    <a:pt x="2855" y="112"/>
                  </a:lnTo>
                  <a:lnTo>
                    <a:pt x="2849" y="103"/>
                  </a:lnTo>
                  <a:lnTo>
                    <a:pt x="2841" y="94"/>
                  </a:lnTo>
                  <a:lnTo>
                    <a:pt x="2830" y="86"/>
                  </a:lnTo>
                  <a:lnTo>
                    <a:pt x="2820" y="79"/>
                  </a:lnTo>
                  <a:lnTo>
                    <a:pt x="2808" y="73"/>
                  </a:lnTo>
                  <a:lnTo>
                    <a:pt x="2795" y="68"/>
                  </a:lnTo>
                  <a:lnTo>
                    <a:pt x="2781" y="64"/>
                  </a:lnTo>
                  <a:lnTo>
                    <a:pt x="2767" y="60"/>
                  </a:lnTo>
                  <a:lnTo>
                    <a:pt x="2753" y="58"/>
                  </a:lnTo>
                  <a:lnTo>
                    <a:pt x="2738" y="56"/>
                  </a:lnTo>
                  <a:lnTo>
                    <a:pt x="2723" y="56"/>
                  </a:lnTo>
                  <a:lnTo>
                    <a:pt x="2709" y="57"/>
                  </a:lnTo>
                  <a:lnTo>
                    <a:pt x="2694" y="59"/>
                  </a:lnTo>
                  <a:lnTo>
                    <a:pt x="2694" y="59"/>
                  </a:lnTo>
                  <a:lnTo>
                    <a:pt x="2681" y="62"/>
                  </a:lnTo>
                  <a:lnTo>
                    <a:pt x="2669" y="66"/>
                  </a:lnTo>
                  <a:lnTo>
                    <a:pt x="2656" y="71"/>
                  </a:lnTo>
                  <a:lnTo>
                    <a:pt x="2644" y="77"/>
                  </a:lnTo>
                  <a:lnTo>
                    <a:pt x="2634" y="84"/>
                  </a:lnTo>
                  <a:lnTo>
                    <a:pt x="2623" y="92"/>
                  </a:lnTo>
                  <a:lnTo>
                    <a:pt x="2604" y="107"/>
                  </a:lnTo>
                  <a:lnTo>
                    <a:pt x="2589" y="122"/>
                  </a:lnTo>
                  <a:lnTo>
                    <a:pt x="2578" y="134"/>
                  </a:lnTo>
                  <a:lnTo>
                    <a:pt x="2569" y="147"/>
                  </a:lnTo>
                  <a:lnTo>
                    <a:pt x="2238" y="0"/>
                  </a:lnTo>
                  <a:lnTo>
                    <a:pt x="1977" y="263"/>
                  </a:lnTo>
                  <a:lnTo>
                    <a:pt x="1977" y="263"/>
                  </a:lnTo>
                  <a:lnTo>
                    <a:pt x="1972" y="268"/>
                  </a:lnTo>
                  <a:lnTo>
                    <a:pt x="1966" y="280"/>
                  </a:lnTo>
                  <a:lnTo>
                    <a:pt x="1963" y="287"/>
                  </a:lnTo>
                  <a:lnTo>
                    <a:pt x="1961" y="295"/>
                  </a:lnTo>
                  <a:lnTo>
                    <a:pt x="1960" y="304"/>
                  </a:lnTo>
                  <a:lnTo>
                    <a:pt x="1960" y="313"/>
                  </a:lnTo>
                  <a:lnTo>
                    <a:pt x="1964" y="337"/>
                  </a:lnTo>
                  <a:lnTo>
                    <a:pt x="1964" y="337"/>
                  </a:lnTo>
                  <a:lnTo>
                    <a:pt x="1964" y="343"/>
                  </a:lnTo>
                  <a:lnTo>
                    <a:pt x="1963" y="349"/>
                  </a:lnTo>
                  <a:lnTo>
                    <a:pt x="1962" y="354"/>
                  </a:lnTo>
                  <a:lnTo>
                    <a:pt x="1961" y="358"/>
                  </a:lnTo>
                  <a:lnTo>
                    <a:pt x="1957" y="366"/>
                  </a:lnTo>
                  <a:lnTo>
                    <a:pt x="1955" y="370"/>
                  </a:lnTo>
                  <a:lnTo>
                    <a:pt x="1955" y="370"/>
                  </a:lnTo>
                  <a:lnTo>
                    <a:pt x="1936" y="392"/>
                  </a:lnTo>
                  <a:lnTo>
                    <a:pt x="1916" y="416"/>
                  </a:lnTo>
                  <a:lnTo>
                    <a:pt x="1896" y="438"/>
                  </a:lnTo>
                  <a:lnTo>
                    <a:pt x="1876" y="461"/>
                  </a:lnTo>
                  <a:lnTo>
                    <a:pt x="1876" y="461"/>
                  </a:lnTo>
                  <a:lnTo>
                    <a:pt x="1847" y="499"/>
                  </a:lnTo>
                  <a:lnTo>
                    <a:pt x="1836" y="515"/>
                  </a:lnTo>
                  <a:lnTo>
                    <a:pt x="1828" y="527"/>
                  </a:lnTo>
                  <a:lnTo>
                    <a:pt x="1828" y="527"/>
                  </a:lnTo>
                  <a:lnTo>
                    <a:pt x="1819" y="542"/>
                  </a:lnTo>
                  <a:lnTo>
                    <a:pt x="1811" y="558"/>
                  </a:lnTo>
                  <a:lnTo>
                    <a:pt x="1799" y="583"/>
                  </a:lnTo>
                  <a:lnTo>
                    <a:pt x="1789" y="607"/>
                  </a:lnTo>
                  <a:lnTo>
                    <a:pt x="1781" y="628"/>
                  </a:lnTo>
                  <a:lnTo>
                    <a:pt x="1781" y="628"/>
                  </a:lnTo>
                  <a:lnTo>
                    <a:pt x="1780" y="631"/>
                  </a:lnTo>
                  <a:lnTo>
                    <a:pt x="1778" y="642"/>
                  </a:lnTo>
                  <a:lnTo>
                    <a:pt x="1778" y="649"/>
                  </a:lnTo>
                  <a:lnTo>
                    <a:pt x="1777" y="657"/>
                  </a:lnTo>
                  <a:lnTo>
                    <a:pt x="1778" y="666"/>
                  </a:lnTo>
                  <a:lnTo>
                    <a:pt x="1780" y="677"/>
                  </a:lnTo>
                  <a:lnTo>
                    <a:pt x="1784" y="690"/>
                  </a:lnTo>
                  <a:lnTo>
                    <a:pt x="1789" y="703"/>
                  </a:lnTo>
                  <a:lnTo>
                    <a:pt x="1797" y="716"/>
                  </a:lnTo>
                  <a:lnTo>
                    <a:pt x="1807" y="732"/>
                  </a:lnTo>
                  <a:lnTo>
                    <a:pt x="1819" y="748"/>
                  </a:lnTo>
                  <a:lnTo>
                    <a:pt x="1833" y="764"/>
                  </a:lnTo>
                  <a:lnTo>
                    <a:pt x="1852" y="782"/>
                  </a:lnTo>
                  <a:lnTo>
                    <a:pt x="1874" y="800"/>
                  </a:lnTo>
                  <a:lnTo>
                    <a:pt x="1881" y="806"/>
                  </a:lnTo>
                  <a:lnTo>
                    <a:pt x="1881" y="806"/>
                  </a:lnTo>
                  <a:lnTo>
                    <a:pt x="1894" y="789"/>
                  </a:lnTo>
                  <a:lnTo>
                    <a:pt x="1905" y="800"/>
                  </a:lnTo>
                  <a:lnTo>
                    <a:pt x="1905" y="800"/>
                  </a:lnTo>
                  <a:lnTo>
                    <a:pt x="1914" y="809"/>
                  </a:lnTo>
                  <a:lnTo>
                    <a:pt x="1926" y="820"/>
                  </a:lnTo>
                  <a:lnTo>
                    <a:pt x="1941" y="832"/>
                  </a:lnTo>
                  <a:lnTo>
                    <a:pt x="1957" y="842"/>
                  </a:lnTo>
                  <a:lnTo>
                    <a:pt x="1957" y="842"/>
                  </a:lnTo>
                  <a:lnTo>
                    <a:pt x="1959" y="835"/>
                  </a:lnTo>
                  <a:lnTo>
                    <a:pt x="1964" y="815"/>
                  </a:lnTo>
                  <a:lnTo>
                    <a:pt x="1969" y="802"/>
                  </a:lnTo>
                  <a:lnTo>
                    <a:pt x="1975" y="789"/>
                  </a:lnTo>
                  <a:lnTo>
                    <a:pt x="1983" y="775"/>
                  </a:lnTo>
                  <a:lnTo>
                    <a:pt x="1991" y="760"/>
                  </a:lnTo>
                  <a:lnTo>
                    <a:pt x="1991" y="760"/>
                  </a:lnTo>
                  <a:lnTo>
                    <a:pt x="2000" y="748"/>
                  </a:lnTo>
                  <a:lnTo>
                    <a:pt x="2011" y="736"/>
                  </a:lnTo>
                  <a:lnTo>
                    <a:pt x="2025" y="722"/>
                  </a:lnTo>
                  <a:lnTo>
                    <a:pt x="2038" y="709"/>
                  </a:lnTo>
                  <a:lnTo>
                    <a:pt x="2052" y="697"/>
                  </a:lnTo>
                  <a:lnTo>
                    <a:pt x="2065" y="686"/>
                  </a:lnTo>
                  <a:lnTo>
                    <a:pt x="2080" y="675"/>
                  </a:lnTo>
                  <a:lnTo>
                    <a:pt x="2092" y="667"/>
                  </a:lnTo>
                  <a:lnTo>
                    <a:pt x="2092" y="667"/>
                  </a:lnTo>
                  <a:lnTo>
                    <a:pt x="2107" y="658"/>
                  </a:lnTo>
                  <a:lnTo>
                    <a:pt x="2123" y="650"/>
                  </a:lnTo>
                  <a:lnTo>
                    <a:pt x="2138" y="643"/>
                  </a:lnTo>
                  <a:lnTo>
                    <a:pt x="2154" y="636"/>
                  </a:lnTo>
                  <a:lnTo>
                    <a:pt x="2170" y="632"/>
                  </a:lnTo>
                  <a:lnTo>
                    <a:pt x="2186" y="629"/>
                  </a:lnTo>
                  <a:lnTo>
                    <a:pt x="2202" y="626"/>
                  </a:lnTo>
                  <a:lnTo>
                    <a:pt x="2220" y="625"/>
                  </a:lnTo>
                  <a:lnTo>
                    <a:pt x="2220" y="625"/>
                  </a:lnTo>
                  <a:lnTo>
                    <a:pt x="2234" y="626"/>
                  </a:lnTo>
                  <a:lnTo>
                    <a:pt x="2247" y="627"/>
                  </a:lnTo>
                  <a:lnTo>
                    <a:pt x="2261" y="630"/>
                  </a:lnTo>
                  <a:lnTo>
                    <a:pt x="2272" y="635"/>
                  </a:lnTo>
                  <a:lnTo>
                    <a:pt x="2283" y="642"/>
                  </a:lnTo>
                  <a:lnTo>
                    <a:pt x="2295" y="649"/>
                  </a:lnTo>
                  <a:lnTo>
                    <a:pt x="2305" y="658"/>
                  </a:lnTo>
                  <a:lnTo>
                    <a:pt x="2316" y="668"/>
                  </a:lnTo>
                  <a:lnTo>
                    <a:pt x="2316" y="668"/>
                  </a:lnTo>
                  <a:lnTo>
                    <a:pt x="2323" y="676"/>
                  </a:lnTo>
                  <a:lnTo>
                    <a:pt x="2330" y="687"/>
                  </a:lnTo>
                  <a:lnTo>
                    <a:pt x="2336" y="698"/>
                  </a:lnTo>
                  <a:lnTo>
                    <a:pt x="2342" y="710"/>
                  </a:lnTo>
                  <a:lnTo>
                    <a:pt x="2347" y="722"/>
                  </a:lnTo>
                  <a:lnTo>
                    <a:pt x="2351" y="736"/>
                  </a:lnTo>
                  <a:lnTo>
                    <a:pt x="2355" y="750"/>
                  </a:lnTo>
                  <a:lnTo>
                    <a:pt x="2358" y="764"/>
                  </a:lnTo>
                  <a:lnTo>
                    <a:pt x="2360" y="778"/>
                  </a:lnTo>
                  <a:lnTo>
                    <a:pt x="2362" y="792"/>
                  </a:lnTo>
                  <a:lnTo>
                    <a:pt x="2363" y="805"/>
                  </a:lnTo>
                  <a:lnTo>
                    <a:pt x="2364" y="818"/>
                  </a:lnTo>
                  <a:lnTo>
                    <a:pt x="2364" y="831"/>
                  </a:lnTo>
                  <a:lnTo>
                    <a:pt x="2363" y="842"/>
                  </a:lnTo>
                  <a:lnTo>
                    <a:pt x="2361" y="852"/>
                  </a:lnTo>
                  <a:lnTo>
                    <a:pt x="2359" y="861"/>
                  </a:lnTo>
                  <a:lnTo>
                    <a:pt x="2359" y="861"/>
                  </a:lnTo>
                  <a:lnTo>
                    <a:pt x="2330" y="843"/>
                  </a:lnTo>
                  <a:lnTo>
                    <a:pt x="2330" y="843"/>
                  </a:lnTo>
                  <a:lnTo>
                    <a:pt x="2309" y="832"/>
                  </a:lnTo>
                  <a:lnTo>
                    <a:pt x="2281" y="822"/>
                  </a:lnTo>
                  <a:lnTo>
                    <a:pt x="2266" y="815"/>
                  </a:lnTo>
                  <a:lnTo>
                    <a:pt x="2251" y="811"/>
                  </a:lnTo>
                  <a:lnTo>
                    <a:pt x="2233" y="807"/>
                  </a:lnTo>
                  <a:lnTo>
                    <a:pt x="2215" y="803"/>
                  </a:lnTo>
                  <a:lnTo>
                    <a:pt x="2195" y="801"/>
                  </a:lnTo>
                  <a:lnTo>
                    <a:pt x="2175" y="800"/>
                  </a:lnTo>
                  <a:lnTo>
                    <a:pt x="2154" y="800"/>
                  </a:lnTo>
                  <a:lnTo>
                    <a:pt x="2132" y="802"/>
                  </a:lnTo>
                  <a:lnTo>
                    <a:pt x="2109" y="805"/>
                  </a:lnTo>
                  <a:lnTo>
                    <a:pt x="2086" y="810"/>
                  </a:lnTo>
                  <a:lnTo>
                    <a:pt x="2062" y="818"/>
                  </a:lnTo>
                  <a:lnTo>
                    <a:pt x="2037" y="829"/>
                  </a:lnTo>
                  <a:lnTo>
                    <a:pt x="2037" y="829"/>
                  </a:lnTo>
                  <a:lnTo>
                    <a:pt x="1995" y="847"/>
                  </a:lnTo>
                  <a:lnTo>
                    <a:pt x="1967" y="859"/>
                  </a:lnTo>
                  <a:lnTo>
                    <a:pt x="1936" y="872"/>
                  </a:lnTo>
                  <a:lnTo>
                    <a:pt x="1900" y="886"/>
                  </a:lnTo>
                  <a:lnTo>
                    <a:pt x="1860" y="900"/>
                  </a:lnTo>
                  <a:lnTo>
                    <a:pt x="1814" y="916"/>
                  </a:lnTo>
                  <a:lnTo>
                    <a:pt x="1764" y="931"/>
                  </a:lnTo>
                  <a:lnTo>
                    <a:pt x="1764" y="931"/>
                  </a:lnTo>
                  <a:lnTo>
                    <a:pt x="1737" y="938"/>
                  </a:lnTo>
                  <a:lnTo>
                    <a:pt x="1725" y="940"/>
                  </a:lnTo>
                  <a:lnTo>
                    <a:pt x="1713" y="941"/>
                  </a:lnTo>
                  <a:lnTo>
                    <a:pt x="1701" y="941"/>
                  </a:lnTo>
                  <a:lnTo>
                    <a:pt x="1691" y="941"/>
                  </a:lnTo>
                  <a:lnTo>
                    <a:pt x="1681" y="940"/>
                  </a:lnTo>
                  <a:lnTo>
                    <a:pt x="1672" y="938"/>
                  </a:lnTo>
                  <a:lnTo>
                    <a:pt x="1664" y="935"/>
                  </a:lnTo>
                  <a:lnTo>
                    <a:pt x="1655" y="930"/>
                  </a:lnTo>
                  <a:lnTo>
                    <a:pt x="1649" y="925"/>
                  </a:lnTo>
                  <a:lnTo>
                    <a:pt x="1642" y="919"/>
                  </a:lnTo>
                  <a:lnTo>
                    <a:pt x="1637" y="912"/>
                  </a:lnTo>
                  <a:lnTo>
                    <a:pt x="1633" y="902"/>
                  </a:lnTo>
                  <a:lnTo>
                    <a:pt x="1629" y="892"/>
                  </a:lnTo>
                  <a:lnTo>
                    <a:pt x="1626" y="881"/>
                  </a:lnTo>
                  <a:lnTo>
                    <a:pt x="1626" y="881"/>
                  </a:lnTo>
                  <a:lnTo>
                    <a:pt x="1624" y="871"/>
                  </a:lnTo>
                  <a:lnTo>
                    <a:pt x="1623" y="860"/>
                  </a:lnTo>
                  <a:lnTo>
                    <a:pt x="1623" y="851"/>
                  </a:lnTo>
                  <a:lnTo>
                    <a:pt x="1623" y="842"/>
                  </a:lnTo>
                  <a:lnTo>
                    <a:pt x="1625" y="826"/>
                  </a:lnTo>
                  <a:lnTo>
                    <a:pt x="1629" y="811"/>
                  </a:lnTo>
                  <a:lnTo>
                    <a:pt x="1633" y="800"/>
                  </a:lnTo>
                  <a:lnTo>
                    <a:pt x="1636" y="792"/>
                  </a:lnTo>
                  <a:lnTo>
                    <a:pt x="1640" y="784"/>
                  </a:lnTo>
                  <a:lnTo>
                    <a:pt x="1640" y="784"/>
                  </a:lnTo>
                  <a:lnTo>
                    <a:pt x="1636" y="785"/>
                  </a:lnTo>
                  <a:lnTo>
                    <a:pt x="1626" y="788"/>
                  </a:lnTo>
                  <a:lnTo>
                    <a:pt x="1610" y="794"/>
                  </a:lnTo>
                  <a:lnTo>
                    <a:pt x="1601" y="797"/>
                  </a:lnTo>
                  <a:lnTo>
                    <a:pt x="1592" y="802"/>
                  </a:lnTo>
                  <a:lnTo>
                    <a:pt x="1582" y="808"/>
                  </a:lnTo>
                  <a:lnTo>
                    <a:pt x="1573" y="814"/>
                  </a:lnTo>
                  <a:lnTo>
                    <a:pt x="1563" y="823"/>
                  </a:lnTo>
                  <a:lnTo>
                    <a:pt x="1554" y="832"/>
                  </a:lnTo>
                  <a:lnTo>
                    <a:pt x="1546" y="842"/>
                  </a:lnTo>
                  <a:lnTo>
                    <a:pt x="1539" y="853"/>
                  </a:lnTo>
                  <a:lnTo>
                    <a:pt x="1533" y="867"/>
                  </a:lnTo>
                  <a:lnTo>
                    <a:pt x="1528" y="881"/>
                  </a:lnTo>
                  <a:lnTo>
                    <a:pt x="1528" y="881"/>
                  </a:lnTo>
                  <a:lnTo>
                    <a:pt x="1525" y="896"/>
                  </a:lnTo>
                  <a:lnTo>
                    <a:pt x="1523" y="912"/>
                  </a:lnTo>
                  <a:lnTo>
                    <a:pt x="1523" y="927"/>
                  </a:lnTo>
                  <a:lnTo>
                    <a:pt x="1523" y="941"/>
                  </a:lnTo>
                  <a:lnTo>
                    <a:pt x="1524" y="954"/>
                  </a:lnTo>
                  <a:lnTo>
                    <a:pt x="1527" y="969"/>
                  </a:lnTo>
                  <a:lnTo>
                    <a:pt x="1531" y="981"/>
                  </a:lnTo>
                  <a:lnTo>
                    <a:pt x="1536" y="993"/>
                  </a:lnTo>
                  <a:lnTo>
                    <a:pt x="1542" y="1006"/>
                  </a:lnTo>
                  <a:lnTo>
                    <a:pt x="1549" y="1016"/>
                  </a:lnTo>
                  <a:lnTo>
                    <a:pt x="1557" y="1026"/>
                  </a:lnTo>
                  <a:lnTo>
                    <a:pt x="1568" y="1034"/>
                  </a:lnTo>
                  <a:lnTo>
                    <a:pt x="1578" y="1042"/>
                  </a:lnTo>
                  <a:lnTo>
                    <a:pt x="1590" y="1049"/>
                  </a:lnTo>
                  <a:lnTo>
                    <a:pt x="1602" y="1055"/>
                  </a:lnTo>
                  <a:lnTo>
                    <a:pt x="1617" y="1059"/>
                  </a:lnTo>
                  <a:lnTo>
                    <a:pt x="1617" y="1059"/>
                  </a:lnTo>
                  <a:lnTo>
                    <a:pt x="1630" y="1062"/>
                  </a:lnTo>
                  <a:lnTo>
                    <a:pt x="1644" y="1063"/>
                  </a:lnTo>
                  <a:lnTo>
                    <a:pt x="1660" y="1062"/>
                  </a:lnTo>
                  <a:lnTo>
                    <a:pt x="1676" y="1060"/>
                  </a:lnTo>
                  <a:lnTo>
                    <a:pt x="1692" y="1058"/>
                  </a:lnTo>
                  <a:lnTo>
                    <a:pt x="1710" y="1054"/>
                  </a:lnTo>
                  <a:lnTo>
                    <a:pt x="1727" y="1049"/>
                  </a:lnTo>
                  <a:lnTo>
                    <a:pt x="1744" y="1043"/>
                  </a:lnTo>
                  <a:lnTo>
                    <a:pt x="1779" y="1029"/>
                  </a:lnTo>
                  <a:lnTo>
                    <a:pt x="1815" y="1014"/>
                  </a:lnTo>
                  <a:lnTo>
                    <a:pt x="1849" y="997"/>
                  </a:lnTo>
                  <a:lnTo>
                    <a:pt x="1880" y="981"/>
                  </a:lnTo>
                  <a:lnTo>
                    <a:pt x="1880" y="981"/>
                  </a:lnTo>
                  <a:lnTo>
                    <a:pt x="1942" y="949"/>
                  </a:lnTo>
                  <a:lnTo>
                    <a:pt x="1979" y="931"/>
                  </a:lnTo>
                  <a:lnTo>
                    <a:pt x="2013" y="915"/>
                  </a:lnTo>
                  <a:lnTo>
                    <a:pt x="2013" y="915"/>
                  </a:lnTo>
                  <a:lnTo>
                    <a:pt x="2041" y="903"/>
                  </a:lnTo>
                  <a:lnTo>
                    <a:pt x="2054" y="899"/>
                  </a:lnTo>
                  <a:lnTo>
                    <a:pt x="2068" y="895"/>
                  </a:lnTo>
                  <a:lnTo>
                    <a:pt x="2081" y="892"/>
                  </a:lnTo>
                  <a:lnTo>
                    <a:pt x="2093" y="890"/>
                  </a:lnTo>
                  <a:lnTo>
                    <a:pt x="2105" y="888"/>
                  </a:lnTo>
                  <a:lnTo>
                    <a:pt x="2119" y="888"/>
                  </a:lnTo>
                  <a:lnTo>
                    <a:pt x="2131" y="888"/>
                  </a:lnTo>
                  <a:lnTo>
                    <a:pt x="2143" y="889"/>
                  </a:lnTo>
                  <a:lnTo>
                    <a:pt x="2156" y="891"/>
                  </a:lnTo>
                  <a:lnTo>
                    <a:pt x="2170" y="893"/>
                  </a:lnTo>
                  <a:lnTo>
                    <a:pt x="2183" y="897"/>
                  </a:lnTo>
                  <a:lnTo>
                    <a:pt x="2196" y="901"/>
                  </a:lnTo>
                  <a:lnTo>
                    <a:pt x="2211" y="907"/>
                  </a:lnTo>
                  <a:lnTo>
                    <a:pt x="2226" y="914"/>
                  </a:lnTo>
                  <a:lnTo>
                    <a:pt x="2226" y="914"/>
                  </a:lnTo>
                  <a:lnTo>
                    <a:pt x="2246" y="924"/>
                  </a:lnTo>
                  <a:lnTo>
                    <a:pt x="2265" y="934"/>
                  </a:lnTo>
                  <a:lnTo>
                    <a:pt x="2281" y="945"/>
                  </a:lnTo>
                  <a:lnTo>
                    <a:pt x="2295" y="954"/>
                  </a:lnTo>
                  <a:lnTo>
                    <a:pt x="2305" y="964"/>
                  </a:lnTo>
                  <a:lnTo>
                    <a:pt x="2312" y="971"/>
                  </a:lnTo>
                  <a:lnTo>
                    <a:pt x="2319" y="977"/>
                  </a:lnTo>
                  <a:lnTo>
                    <a:pt x="2319" y="977"/>
                  </a:lnTo>
                  <a:lnTo>
                    <a:pt x="2317" y="980"/>
                  </a:lnTo>
                  <a:lnTo>
                    <a:pt x="2313" y="987"/>
                  </a:lnTo>
                  <a:lnTo>
                    <a:pt x="2305" y="998"/>
                  </a:lnTo>
                  <a:lnTo>
                    <a:pt x="2300" y="1005"/>
                  </a:lnTo>
                  <a:lnTo>
                    <a:pt x="2293" y="1012"/>
                  </a:lnTo>
                  <a:lnTo>
                    <a:pt x="2285" y="1018"/>
                  </a:lnTo>
                  <a:lnTo>
                    <a:pt x="2276" y="1025"/>
                  </a:lnTo>
                  <a:lnTo>
                    <a:pt x="2267" y="1031"/>
                  </a:lnTo>
                  <a:lnTo>
                    <a:pt x="2255" y="1036"/>
                  </a:lnTo>
                  <a:lnTo>
                    <a:pt x="2242" y="1041"/>
                  </a:lnTo>
                  <a:lnTo>
                    <a:pt x="2228" y="1045"/>
                  </a:lnTo>
                  <a:lnTo>
                    <a:pt x="2212" y="1049"/>
                  </a:lnTo>
                  <a:lnTo>
                    <a:pt x="2194" y="1050"/>
                  </a:lnTo>
                  <a:lnTo>
                    <a:pt x="2194" y="1050"/>
                  </a:lnTo>
                  <a:lnTo>
                    <a:pt x="2180" y="1051"/>
                  </a:lnTo>
                  <a:lnTo>
                    <a:pt x="2166" y="1050"/>
                  </a:lnTo>
                  <a:lnTo>
                    <a:pt x="2152" y="1048"/>
                  </a:lnTo>
                  <a:lnTo>
                    <a:pt x="2139" y="1044"/>
                  </a:lnTo>
                  <a:lnTo>
                    <a:pt x="2127" y="1041"/>
                  </a:lnTo>
                  <a:lnTo>
                    <a:pt x="2115" y="1037"/>
                  </a:lnTo>
                  <a:lnTo>
                    <a:pt x="2103" y="1033"/>
                  </a:lnTo>
                  <a:lnTo>
                    <a:pt x="2092" y="1027"/>
                  </a:lnTo>
                  <a:lnTo>
                    <a:pt x="2082" y="1022"/>
                  </a:lnTo>
                  <a:lnTo>
                    <a:pt x="2073" y="1016"/>
                  </a:lnTo>
                  <a:lnTo>
                    <a:pt x="2064" y="1010"/>
                  </a:lnTo>
                  <a:lnTo>
                    <a:pt x="2056" y="1003"/>
                  </a:lnTo>
                  <a:lnTo>
                    <a:pt x="2048" y="995"/>
                  </a:lnTo>
                  <a:lnTo>
                    <a:pt x="2042" y="988"/>
                  </a:lnTo>
                  <a:lnTo>
                    <a:pt x="2036" y="981"/>
                  </a:lnTo>
                  <a:lnTo>
                    <a:pt x="2031" y="974"/>
                  </a:lnTo>
                  <a:lnTo>
                    <a:pt x="2031" y="974"/>
                  </a:lnTo>
                  <a:lnTo>
                    <a:pt x="2022" y="996"/>
                  </a:lnTo>
                  <a:lnTo>
                    <a:pt x="2013" y="1014"/>
                  </a:lnTo>
                  <a:lnTo>
                    <a:pt x="2007" y="1027"/>
                  </a:lnTo>
                  <a:lnTo>
                    <a:pt x="2007" y="1027"/>
                  </a:lnTo>
                  <a:lnTo>
                    <a:pt x="2003" y="1035"/>
                  </a:lnTo>
                  <a:lnTo>
                    <a:pt x="2000" y="1042"/>
                  </a:lnTo>
                  <a:lnTo>
                    <a:pt x="1998" y="1051"/>
                  </a:lnTo>
                  <a:lnTo>
                    <a:pt x="1997" y="1057"/>
                  </a:lnTo>
                  <a:lnTo>
                    <a:pt x="1997" y="1064"/>
                  </a:lnTo>
                  <a:lnTo>
                    <a:pt x="1997" y="1070"/>
                  </a:lnTo>
                  <a:lnTo>
                    <a:pt x="1999" y="1082"/>
                  </a:lnTo>
                  <a:lnTo>
                    <a:pt x="2001" y="1094"/>
                  </a:lnTo>
                  <a:lnTo>
                    <a:pt x="2003" y="1104"/>
                  </a:lnTo>
                  <a:lnTo>
                    <a:pt x="2004" y="1115"/>
                  </a:lnTo>
                  <a:lnTo>
                    <a:pt x="2003" y="1121"/>
                  </a:lnTo>
                  <a:lnTo>
                    <a:pt x="2001" y="1126"/>
                  </a:lnTo>
                  <a:lnTo>
                    <a:pt x="2001" y="1126"/>
                  </a:lnTo>
                  <a:lnTo>
                    <a:pt x="1999" y="1132"/>
                  </a:lnTo>
                  <a:lnTo>
                    <a:pt x="1995" y="1138"/>
                  </a:lnTo>
                  <a:lnTo>
                    <a:pt x="1986" y="1151"/>
                  </a:lnTo>
                  <a:lnTo>
                    <a:pt x="1973" y="1163"/>
                  </a:lnTo>
                  <a:lnTo>
                    <a:pt x="1960" y="1175"/>
                  </a:lnTo>
                  <a:lnTo>
                    <a:pt x="1945" y="1187"/>
                  </a:lnTo>
                  <a:lnTo>
                    <a:pt x="1931" y="1198"/>
                  </a:lnTo>
                  <a:lnTo>
                    <a:pt x="1904" y="1216"/>
                  </a:lnTo>
                  <a:lnTo>
                    <a:pt x="1904" y="1216"/>
                  </a:lnTo>
                  <a:lnTo>
                    <a:pt x="1886" y="1227"/>
                  </a:lnTo>
                  <a:lnTo>
                    <a:pt x="1864" y="1239"/>
                  </a:lnTo>
                  <a:lnTo>
                    <a:pt x="1842" y="1249"/>
                  </a:lnTo>
                  <a:lnTo>
                    <a:pt x="1819" y="1257"/>
                  </a:lnTo>
                  <a:lnTo>
                    <a:pt x="1798" y="1264"/>
                  </a:lnTo>
                  <a:lnTo>
                    <a:pt x="1779" y="1270"/>
                  </a:lnTo>
                  <a:lnTo>
                    <a:pt x="1754" y="1278"/>
                  </a:lnTo>
                  <a:lnTo>
                    <a:pt x="1754" y="1278"/>
                  </a:lnTo>
                  <a:lnTo>
                    <a:pt x="1779" y="1336"/>
                  </a:lnTo>
                  <a:lnTo>
                    <a:pt x="1811" y="1404"/>
                  </a:lnTo>
                  <a:lnTo>
                    <a:pt x="1811" y="1404"/>
                  </a:lnTo>
                  <a:lnTo>
                    <a:pt x="1833" y="1449"/>
                  </a:lnTo>
                  <a:lnTo>
                    <a:pt x="1862" y="1504"/>
                  </a:lnTo>
                  <a:lnTo>
                    <a:pt x="1877" y="1531"/>
                  </a:lnTo>
                  <a:lnTo>
                    <a:pt x="1893" y="1557"/>
                  </a:lnTo>
                  <a:lnTo>
                    <a:pt x="1909" y="1578"/>
                  </a:lnTo>
                  <a:lnTo>
                    <a:pt x="1916" y="1588"/>
                  </a:lnTo>
                  <a:lnTo>
                    <a:pt x="1924" y="1597"/>
                  </a:lnTo>
                  <a:lnTo>
                    <a:pt x="1924" y="1597"/>
                  </a:lnTo>
                  <a:lnTo>
                    <a:pt x="1940" y="1592"/>
                  </a:lnTo>
                  <a:lnTo>
                    <a:pt x="1957" y="1587"/>
                  </a:lnTo>
                  <a:lnTo>
                    <a:pt x="1980" y="1581"/>
                  </a:lnTo>
                  <a:lnTo>
                    <a:pt x="2004" y="1573"/>
                  </a:lnTo>
                  <a:lnTo>
                    <a:pt x="2031" y="1563"/>
                  </a:lnTo>
                  <a:lnTo>
                    <a:pt x="2057" y="1551"/>
                  </a:lnTo>
                  <a:lnTo>
                    <a:pt x="2071" y="1544"/>
                  </a:lnTo>
                  <a:lnTo>
                    <a:pt x="2083" y="1537"/>
                  </a:lnTo>
                  <a:lnTo>
                    <a:pt x="2083" y="1537"/>
                  </a:lnTo>
                  <a:lnTo>
                    <a:pt x="2105" y="1524"/>
                  </a:lnTo>
                  <a:lnTo>
                    <a:pt x="2126" y="1510"/>
                  </a:lnTo>
                  <a:lnTo>
                    <a:pt x="2145" y="1495"/>
                  </a:lnTo>
                  <a:lnTo>
                    <a:pt x="2162" y="1480"/>
                  </a:lnTo>
                  <a:lnTo>
                    <a:pt x="2177" y="1466"/>
                  </a:lnTo>
                  <a:lnTo>
                    <a:pt x="2189" y="1451"/>
                  </a:lnTo>
                  <a:lnTo>
                    <a:pt x="2199" y="1437"/>
                  </a:lnTo>
                  <a:lnTo>
                    <a:pt x="2207" y="1424"/>
                  </a:lnTo>
                  <a:lnTo>
                    <a:pt x="2207" y="1424"/>
                  </a:lnTo>
                  <a:lnTo>
                    <a:pt x="2190" y="1460"/>
                  </a:lnTo>
                  <a:lnTo>
                    <a:pt x="2175" y="1493"/>
                  </a:lnTo>
                  <a:lnTo>
                    <a:pt x="2161" y="1523"/>
                  </a:lnTo>
                  <a:lnTo>
                    <a:pt x="2146" y="1551"/>
                  </a:lnTo>
                  <a:lnTo>
                    <a:pt x="2132" y="1576"/>
                  </a:lnTo>
                  <a:lnTo>
                    <a:pt x="2119" y="1599"/>
                  </a:lnTo>
                  <a:lnTo>
                    <a:pt x="2105" y="1619"/>
                  </a:lnTo>
                  <a:lnTo>
                    <a:pt x="2092" y="1637"/>
                  </a:lnTo>
                  <a:lnTo>
                    <a:pt x="2080" y="1655"/>
                  </a:lnTo>
                  <a:lnTo>
                    <a:pt x="2068" y="1669"/>
                  </a:lnTo>
                  <a:lnTo>
                    <a:pt x="2055" y="1682"/>
                  </a:lnTo>
                  <a:lnTo>
                    <a:pt x="2044" y="1694"/>
                  </a:lnTo>
                  <a:lnTo>
                    <a:pt x="2033" y="1705"/>
                  </a:lnTo>
                  <a:lnTo>
                    <a:pt x="2022" y="1714"/>
                  </a:lnTo>
                  <a:lnTo>
                    <a:pt x="2011" y="1721"/>
                  </a:lnTo>
                  <a:lnTo>
                    <a:pt x="2000" y="1729"/>
                  </a:lnTo>
                  <a:lnTo>
                    <a:pt x="2000" y="1729"/>
                  </a:lnTo>
                  <a:lnTo>
                    <a:pt x="1907" y="1790"/>
                  </a:lnTo>
                  <a:lnTo>
                    <a:pt x="1797" y="1862"/>
                  </a:lnTo>
                  <a:lnTo>
                    <a:pt x="1735" y="1901"/>
                  </a:lnTo>
                  <a:lnTo>
                    <a:pt x="1671" y="1940"/>
                  </a:lnTo>
                  <a:lnTo>
                    <a:pt x="1602" y="1980"/>
                  </a:lnTo>
                  <a:lnTo>
                    <a:pt x="1532" y="2020"/>
                  </a:lnTo>
                  <a:lnTo>
                    <a:pt x="1459" y="2058"/>
                  </a:lnTo>
                  <a:lnTo>
                    <a:pt x="1422" y="2077"/>
                  </a:lnTo>
                  <a:lnTo>
                    <a:pt x="1384" y="2094"/>
                  </a:lnTo>
                  <a:lnTo>
                    <a:pt x="1347" y="2112"/>
                  </a:lnTo>
                  <a:lnTo>
                    <a:pt x="1308" y="2129"/>
                  </a:lnTo>
                  <a:lnTo>
                    <a:pt x="1269" y="2146"/>
                  </a:lnTo>
                  <a:lnTo>
                    <a:pt x="1230" y="2161"/>
                  </a:lnTo>
                  <a:lnTo>
                    <a:pt x="1190" y="2175"/>
                  </a:lnTo>
                  <a:lnTo>
                    <a:pt x="1151" y="2189"/>
                  </a:lnTo>
                  <a:lnTo>
                    <a:pt x="1111" y="2202"/>
                  </a:lnTo>
                  <a:lnTo>
                    <a:pt x="1072" y="2213"/>
                  </a:lnTo>
                  <a:lnTo>
                    <a:pt x="1032" y="2223"/>
                  </a:lnTo>
                  <a:lnTo>
                    <a:pt x="992" y="2231"/>
                  </a:lnTo>
                  <a:lnTo>
                    <a:pt x="952" y="2240"/>
                  </a:lnTo>
                  <a:lnTo>
                    <a:pt x="913" y="2246"/>
                  </a:lnTo>
                  <a:lnTo>
                    <a:pt x="913" y="2246"/>
                  </a:lnTo>
                  <a:lnTo>
                    <a:pt x="901" y="2246"/>
                  </a:lnTo>
                  <a:lnTo>
                    <a:pt x="889" y="2245"/>
                  </a:lnTo>
                  <a:lnTo>
                    <a:pt x="876" y="2242"/>
                  </a:lnTo>
                  <a:lnTo>
                    <a:pt x="863" y="2239"/>
                  </a:lnTo>
                  <a:lnTo>
                    <a:pt x="850" y="2236"/>
                  </a:lnTo>
                  <a:lnTo>
                    <a:pt x="836" y="2230"/>
                  </a:lnTo>
                  <a:lnTo>
                    <a:pt x="809" y="2218"/>
                  </a:lnTo>
                  <a:lnTo>
                    <a:pt x="781" y="2204"/>
                  </a:lnTo>
                  <a:lnTo>
                    <a:pt x="754" y="2188"/>
                  </a:lnTo>
                  <a:lnTo>
                    <a:pt x="726" y="2170"/>
                  </a:lnTo>
                  <a:lnTo>
                    <a:pt x="698" y="2151"/>
                  </a:lnTo>
                  <a:lnTo>
                    <a:pt x="672" y="2130"/>
                  </a:lnTo>
                  <a:lnTo>
                    <a:pt x="646" y="2110"/>
                  </a:lnTo>
                  <a:lnTo>
                    <a:pt x="623" y="2089"/>
                  </a:lnTo>
                  <a:lnTo>
                    <a:pt x="600" y="2069"/>
                  </a:lnTo>
                  <a:lnTo>
                    <a:pt x="581" y="2049"/>
                  </a:lnTo>
                  <a:lnTo>
                    <a:pt x="563" y="2032"/>
                  </a:lnTo>
                  <a:lnTo>
                    <a:pt x="548" y="2017"/>
                  </a:lnTo>
                  <a:lnTo>
                    <a:pt x="537" y="2003"/>
                  </a:lnTo>
                  <a:lnTo>
                    <a:pt x="537" y="2003"/>
                  </a:lnTo>
                  <a:lnTo>
                    <a:pt x="533" y="1999"/>
                  </a:lnTo>
                  <a:lnTo>
                    <a:pt x="530" y="1995"/>
                  </a:lnTo>
                  <a:lnTo>
                    <a:pt x="520" y="1990"/>
                  </a:lnTo>
                  <a:lnTo>
                    <a:pt x="512" y="1988"/>
                  </a:lnTo>
                  <a:lnTo>
                    <a:pt x="502" y="1987"/>
                  </a:lnTo>
                  <a:lnTo>
                    <a:pt x="493" y="1987"/>
                  </a:lnTo>
                  <a:lnTo>
                    <a:pt x="483" y="1989"/>
                  </a:lnTo>
                  <a:lnTo>
                    <a:pt x="473" y="1992"/>
                  </a:lnTo>
                  <a:lnTo>
                    <a:pt x="464" y="1996"/>
                  </a:lnTo>
                  <a:lnTo>
                    <a:pt x="447" y="2004"/>
                  </a:lnTo>
                  <a:lnTo>
                    <a:pt x="433" y="2014"/>
                  </a:lnTo>
                  <a:lnTo>
                    <a:pt x="419" y="2024"/>
                  </a:lnTo>
                  <a:lnTo>
                    <a:pt x="419" y="2024"/>
                  </a:lnTo>
                  <a:lnTo>
                    <a:pt x="412" y="2023"/>
                  </a:lnTo>
                  <a:lnTo>
                    <a:pt x="393" y="2021"/>
                  </a:lnTo>
                  <a:lnTo>
                    <a:pt x="379" y="2021"/>
                  </a:lnTo>
                  <a:lnTo>
                    <a:pt x="364" y="2021"/>
                  </a:lnTo>
                  <a:lnTo>
                    <a:pt x="348" y="2022"/>
                  </a:lnTo>
                  <a:lnTo>
                    <a:pt x="329" y="2024"/>
                  </a:lnTo>
                  <a:lnTo>
                    <a:pt x="310" y="2027"/>
                  </a:lnTo>
                  <a:lnTo>
                    <a:pt x="290" y="2032"/>
                  </a:lnTo>
                  <a:lnTo>
                    <a:pt x="271" y="2038"/>
                  </a:lnTo>
                  <a:lnTo>
                    <a:pt x="252" y="2047"/>
                  </a:lnTo>
                  <a:lnTo>
                    <a:pt x="242" y="2053"/>
                  </a:lnTo>
                  <a:lnTo>
                    <a:pt x="233" y="2058"/>
                  </a:lnTo>
                  <a:lnTo>
                    <a:pt x="224" y="2064"/>
                  </a:lnTo>
                  <a:lnTo>
                    <a:pt x="216" y="2071"/>
                  </a:lnTo>
                  <a:lnTo>
                    <a:pt x="207" y="2079"/>
                  </a:lnTo>
                  <a:lnTo>
                    <a:pt x="199" y="2087"/>
                  </a:lnTo>
                  <a:lnTo>
                    <a:pt x="191" y="2097"/>
                  </a:lnTo>
                  <a:lnTo>
                    <a:pt x="184" y="2106"/>
                  </a:lnTo>
                  <a:lnTo>
                    <a:pt x="184" y="2106"/>
                  </a:lnTo>
                  <a:lnTo>
                    <a:pt x="183" y="2109"/>
                  </a:lnTo>
                  <a:lnTo>
                    <a:pt x="185" y="2111"/>
                  </a:lnTo>
                  <a:lnTo>
                    <a:pt x="188" y="2112"/>
                  </a:lnTo>
                  <a:lnTo>
                    <a:pt x="193" y="2112"/>
                  </a:lnTo>
                  <a:lnTo>
                    <a:pt x="210" y="2110"/>
                  </a:lnTo>
                  <a:lnTo>
                    <a:pt x="230" y="2108"/>
                  </a:lnTo>
                  <a:lnTo>
                    <a:pt x="255" y="2106"/>
                  </a:lnTo>
                  <a:lnTo>
                    <a:pt x="280" y="2105"/>
                  </a:lnTo>
                  <a:lnTo>
                    <a:pt x="293" y="2106"/>
                  </a:lnTo>
                  <a:lnTo>
                    <a:pt x="307" y="2107"/>
                  </a:lnTo>
                  <a:lnTo>
                    <a:pt x="319" y="2109"/>
                  </a:lnTo>
                  <a:lnTo>
                    <a:pt x="331" y="2112"/>
                  </a:lnTo>
                  <a:lnTo>
                    <a:pt x="331" y="2112"/>
                  </a:lnTo>
                  <a:lnTo>
                    <a:pt x="338" y="2115"/>
                  </a:lnTo>
                  <a:lnTo>
                    <a:pt x="343" y="2118"/>
                  </a:lnTo>
                  <a:lnTo>
                    <a:pt x="346" y="2121"/>
                  </a:lnTo>
                  <a:lnTo>
                    <a:pt x="347" y="2124"/>
                  </a:lnTo>
                  <a:lnTo>
                    <a:pt x="347" y="2127"/>
                  </a:lnTo>
                  <a:lnTo>
                    <a:pt x="345" y="2131"/>
                  </a:lnTo>
                  <a:lnTo>
                    <a:pt x="339" y="2139"/>
                  </a:lnTo>
                  <a:lnTo>
                    <a:pt x="332" y="2149"/>
                  </a:lnTo>
                  <a:lnTo>
                    <a:pt x="325" y="2160"/>
                  </a:lnTo>
                  <a:lnTo>
                    <a:pt x="321" y="2166"/>
                  </a:lnTo>
                  <a:lnTo>
                    <a:pt x="319" y="2172"/>
                  </a:lnTo>
                  <a:lnTo>
                    <a:pt x="317" y="2178"/>
                  </a:lnTo>
                  <a:lnTo>
                    <a:pt x="317" y="2185"/>
                  </a:lnTo>
                  <a:lnTo>
                    <a:pt x="317" y="2185"/>
                  </a:lnTo>
                  <a:lnTo>
                    <a:pt x="317" y="2191"/>
                  </a:lnTo>
                  <a:lnTo>
                    <a:pt x="319" y="2197"/>
                  </a:lnTo>
                  <a:lnTo>
                    <a:pt x="321" y="2202"/>
                  </a:lnTo>
                  <a:lnTo>
                    <a:pt x="324" y="2207"/>
                  </a:lnTo>
                  <a:lnTo>
                    <a:pt x="328" y="2212"/>
                  </a:lnTo>
                  <a:lnTo>
                    <a:pt x="333" y="2217"/>
                  </a:lnTo>
                  <a:lnTo>
                    <a:pt x="346" y="2227"/>
                  </a:lnTo>
                  <a:lnTo>
                    <a:pt x="361" y="2237"/>
                  </a:lnTo>
                  <a:lnTo>
                    <a:pt x="377" y="2246"/>
                  </a:lnTo>
                  <a:lnTo>
                    <a:pt x="397" y="2255"/>
                  </a:lnTo>
                  <a:lnTo>
                    <a:pt x="416" y="2263"/>
                  </a:lnTo>
                  <a:lnTo>
                    <a:pt x="458" y="2279"/>
                  </a:lnTo>
                  <a:lnTo>
                    <a:pt x="500" y="2293"/>
                  </a:lnTo>
                  <a:lnTo>
                    <a:pt x="571" y="2314"/>
                  </a:lnTo>
                  <a:lnTo>
                    <a:pt x="571" y="2314"/>
                  </a:lnTo>
                  <a:lnTo>
                    <a:pt x="579" y="2318"/>
                  </a:lnTo>
                  <a:lnTo>
                    <a:pt x="585" y="2322"/>
                  </a:lnTo>
                  <a:lnTo>
                    <a:pt x="588" y="2328"/>
                  </a:lnTo>
                  <a:lnTo>
                    <a:pt x="590" y="2333"/>
                  </a:lnTo>
                  <a:lnTo>
                    <a:pt x="590" y="2337"/>
                  </a:lnTo>
                  <a:lnTo>
                    <a:pt x="588" y="2341"/>
                  </a:lnTo>
                  <a:lnTo>
                    <a:pt x="585" y="2343"/>
                  </a:lnTo>
                  <a:lnTo>
                    <a:pt x="581" y="2344"/>
                  </a:lnTo>
                  <a:lnTo>
                    <a:pt x="581" y="2344"/>
                  </a:lnTo>
                  <a:lnTo>
                    <a:pt x="556" y="2343"/>
                  </a:lnTo>
                  <a:lnTo>
                    <a:pt x="532" y="2340"/>
                  </a:lnTo>
                  <a:lnTo>
                    <a:pt x="509" y="2337"/>
                  </a:lnTo>
                  <a:lnTo>
                    <a:pt x="488" y="2332"/>
                  </a:lnTo>
                  <a:lnTo>
                    <a:pt x="467" y="2327"/>
                  </a:lnTo>
                  <a:lnTo>
                    <a:pt x="448" y="2320"/>
                  </a:lnTo>
                  <a:lnTo>
                    <a:pt x="429" y="2314"/>
                  </a:lnTo>
                  <a:lnTo>
                    <a:pt x="412" y="2308"/>
                  </a:lnTo>
                  <a:lnTo>
                    <a:pt x="380" y="2295"/>
                  </a:lnTo>
                  <a:lnTo>
                    <a:pt x="352" y="2283"/>
                  </a:lnTo>
                  <a:lnTo>
                    <a:pt x="327" y="2271"/>
                  </a:lnTo>
                  <a:lnTo>
                    <a:pt x="316" y="2267"/>
                  </a:lnTo>
                  <a:lnTo>
                    <a:pt x="305" y="2263"/>
                  </a:lnTo>
                  <a:lnTo>
                    <a:pt x="305" y="2263"/>
                  </a:lnTo>
                  <a:lnTo>
                    <a:pt x="286" y="2258"/>
                  </a:lnTo>
                  <a:lnTo>
                    <a:pt x="268" y="2254"/>
                  </a:lnTo>
                  <a:lnTo>
                    <a:pt x="253" y="2251"/>
                  </a:lnTo>
                  <a:lnTo>
                    <a:pt x="237" y="2249"/>
                  </a:lnTo>
                  <a:lnTo>
                    <a:pt x="224" y="2248"/>
                  </a:lnTo>
                  <a:lnTo>
                    <a:pt x="213" y="2249"/>
                  </a:lnTo>
                  <a:lnTo>
                    <a:pt x="202" y="2250"/>
                  </a:lnTo>
                  <a:lnTo>
                    <a:pt x="192" y="2252"/>
                  </a:lnTo>
                  <a:lnTo>
                    <a:pt x="185" y="2256"/>
                  </a:lnTo>
                  <a:lnTo>
                    <a:pt x="178" y="2260"/>
                  </a:lnTo>
                  <a:lnTo>
                    <a:pt x="172" y="2265"/>
                  </a:lnTo>
                  <a:lnTo>
                    <a:pt x="167" y="2271"/>
                  </a:lnTo>
                  <a:lnTo>
                    <a:pt x="163" y="2277"/>
                  </a:lnTo>
                  <a:lnTo>
                    <a:pt x="160" y="2286"/>
                  </a:lnTo>
                  <a:lnTo>
                    <a:pt x="156" y="2294"/>
                  </a:lnTo>
                  <a:lnTo>
                    <a:pt x="155" y="2303"/>
                  </a:lnTo>
                  <a:lnTo>
                    <a:pt x="155" y="2303"/>
                  </a:lnTo>
                  <a:lnTo>
                    <a:pt x="154" y="2306"/>
                  </a:lnTo>
                  <a:lnTo>
                    <a:pt x="152" y="2309"/>
                  </a:lnTo>
                  <a:lnTo>
                    <a:pt x="150" y="2312"/>
                  </a:lnTo>
                  <a:lnTo>
                    <a:pt x="147" y="2314"/>
                  </a:lnTo>
                  <a:lnTo>
                    <a:pt x="140" y="2318"/>
                  </a:lnTo>
                  <a:lnTo>
                    <a:pt x="132" y="2323"/>
                  </a:lnTo>
                  <a:lnTo>
                    <a:pt x="109" y="2333"/>
                  </a:lnTo>
                  <a:lnTo>
                    <a:pt x="97" y="2339"/>
                  </a:lnTo>
                  <a:lnTo>
                    <a:pt x="84" y="2347"/>
                  </a:lnTo>
                  <a:lnTo>
                    <a:pt x="71" y="2357"/>
                  </a:lnTo>
                  <a:lnTo>
                    <a:pt x="57" y="2371"/>
                  </a:lnTo>
                  <a:lnTo>
                    <a:pt x="51" y="2378"/>
                  </a:lnTo>
                  <a:lnTo>
                    <a:pt x="45" y="2386"/>
                  </a:lnTo>
                  <a:lnTo>
                    <a:pt x="39" y="2396"/>
                  </a:lnTo>
                  <a:lnTo>
                    <a:pt x="33" y="2406"/>
                  </a:lnTo>
                  <a:lnTo>
                    <a:pt x="28" y="2418"/>
                  </a:lnTo>
                  <a:lnTo>
                    <a:pt x="22" y="2430"/>
                  </a:lnTo>
                  <a:lnTo>
                    <a:pt x="17" y="2444"/>
                  </a:lnTo>
                  <a:lnTo>
                    <a:pt x="13" y="2458"/>
                  </a:lnTo>
                  <a:lnTo>
                    <a:pt x="9" y="2475"/>
                  </a:lnTo>
                  <a:lnTo>
                    <a:pt x="6" y="2492"/>
                  </a:lnTo>
                  <a:lnTo>
                    <a:pt x="3" y="2512"/>
                  </a:lnTo>
                  <a:lnTo>
                    <a:pt x="0" y="2532"/>
                  </a:lnTo>
                  <a:lnTo>
                    <a:pt x="0" y="2532"/>
                  </a:lnTo>
                  <a:lnTo>
                    <a:pt x="1" y="2533"/>
                  </a:lnTo>
                  <a:lnTo>
                    <a:pt x="2" y="2534"/>
                  </a:lnTo>
                  <a:lnTo>
                    <a:pt x="6" y="2532"/>
                  </a:lnTo>
                  <a:lnTo>
                    <a:pt x="12" y="2527"/>
                  </a:lnTo>
                  <a:lnTo>
                    <a:pt x="20" y="2519"/>
                  </a:lnTo>
                  <a:lnTo>
                    <a:pt x="43" y="2496"/>
                  </a:lnTo>
                  <a:lnTo>
                    <a:pt x="69" y="2472"/>
                  </a:lnTo>
                  <a:lnTo>
                    <a:pt x="82" y="2459"/>
                  </a:lnTo>
                  <a:lnTo>
                    <a:pt x="95" y="2448"/>
                  </a:lnTo>
                  <a:lnTo>
                    <a:pt x="107" y="2439"/>
                  </a:lnTo>
                  <a:lnTo>
                    <a:pt x="119" y="2432"/>
                  </a:lnTo>
                  <a:lnTo>
                    <a:pt x="124" y="2429"/>
                  </a:lnTo>
                  <a:lnTo>
                    <a:pt x="129" y="2428"/>
                  </a:lnTo>
                  <a:lnTo>
                    <a:pt x="133" y="2427"/>
                  </a:lnTo>
                  <a:lnTo>
                    <a:pt x="137" y="2427"/>
                  </a:lnTo>
                  <a:lnTo>
                    <a:pt x="140" y="2429"/>
                  </a:lnTo>
                  <a:lnTo>
                    <a:pt x="143" y="2431"/>
                  </a:lnTo>
                  <a:lnTo>
                    <a:pt x="144" y="2435"/>
                  </a:lnTo>
                  <a:lnTo>
                    <a:pt x="146" y="2439"/>
                  </a:lnTo>
                  <a:lnTo>
                    <a:pt x="146" y="2439"/>
                  </a:lnTo>
                  <a:lnTo>
                    <a:pt x="149" y="2455"/>
                  </a:lnTo>
                  <a:lnTo>
                    <a:pt x="154" y="2470"/>
                  </a:lnTo>
                  <a:lnTo>
                    <a:pt x="162" y="2483"/>
                  </a:lnTo>
                  <a:lnTo>
                    <a:pt x="170" y="2493"/>
                  </a:lnTo>
                  <a:lnTo>
                    <a:pt x="179" y="2503"/>
                  </a:lnTo>
                  <a:lnTo>
                    <a:pt x="189" y="2511"/>
                  </a:lnTo>
                  <a:lnTo>
                    <a:pt x="200" y="2518"/>
                  </a:lnTo>
                  <a:lnTo>
                    <a:pt x="214" y="2523"/>
                  </a:lnTo>
                  <a:lnTo>
                    <a:pt x="227" y="2527"/>
                  </a:lnTo>
                  <a:lnTo>
                    <a:pt x="241" y="2529"/>
                  </a:lnTo>
                  <a:lnTo>
                    <a:pt x="256" y="2531"/>
                  </a:lnTo>
                  <a:lnTo>
                    <a:pt x="271" y="2532"/>
                  </a:lnTo>
                  <a:lnTo>
                    <a:pt x="287" y="2533"/>
                  </a:lnTo>
                  <a:lnTo>
                    <a:pt x="304" y="2532"/>
                  </a:lnTo>
                  <a:lnTo>
                    <a:pt x="337" y="2530"/>
                  </a:lnTo>
                  <a:lnTo>
                    <a:pt x="371" y="2526"/>
                  </a:lnTo>
                  <a:lnTo>
                    <a:pt x="405" y="2521"/>
                  </a:lnTo>
                  <a:lnTo>
                    <a:pt x="438" y="2516"/>
                  </a:lnTo>
                  <a:lnTo>
                    <a:pt x="468" y="2512"/>
                  </a:lnTo>
                  <a:lnTo>
                    <a:pt x="496" y="2510"/>
                  </a:lnTo>
                  <a:lnTo>
                    <a:pt x="509" y="2509"/>
                  </a:lnTo>
                  <a:lnTo>
                    <a:pt x="520" y="2509"/>
                  </a:lnTo>
                  <a:lnTo>
                    <a:pt x="531" y="2510"/>
                  </a:lnTo>
                  <a:lnTo>
                    <a:pt x="541" y="2512"/>
                  </a:lnTo>
                  <a:lnTo>
                    <a:pt x="549" y="2515"/>
                  </a:lnTo>
                  <a:lnTo>
                    <a:pt x="555" y="2519"/>
                  </a:lnTo>
                  <a:lnTo>
                    <a:pt x="555" y="2519"/>
                  </a:lnTo>
                  <a:lnTo>
                    <a:pt x="558" y="2522"/>
                  </a:lnTo>
                  <a:lnTo>
                    <a:pt x="559" y="2524"/>
                  </a:lnTo>
                  <a:lnTo>
                    <a:pt x="557" y="2527"/>
                  </a:lnTo>
                  <a:lnTo>
                    <a:pt x="554" y="2529"/>
                  </a:lnTo>
                  <a:lnTo>
                    <a:pt x="549" y="2532"/>
                  </a:lnTo>
                  <a:lnTo>
                    <a:pt x="542" y="2534"/>
                  </a:lnTo>
                  <a:lnTo>
                    <a:pt x="525" y="2538"/>
                  </a:lnTo>
                  <a:lnTo>
                    <a:pt x="475" y="2547"/>
                  </a:lnTo>
                  <a:lnTo>
                    <a:pt x="447" y="2553"/>
                  </a:lnTo>
                  <a:lnTo>
                    <a:pt x="417" y="2559"/>
                  </a:lnTo>
                  <a:lnTo>
                    <a:pt x="388" y="2566"/>
                  </a:lnTo>
                  <a:lnTo>
                    <a:pt x="359" y="2574"/>
                  </a:lnTo>
                  <a:lnTo>
                    <a:pt x="346" y="2578"/>
                  </a:lnTo>
                  <a:lnTo>
                    <a:pt x="333" y="2583"/>
                  </a:lnTo>
                  <a:lnTo>
                    <a:pt x="322" y="2588"/>
                  </a:lnTo>
                  <a:lnTo>
                    <a:pt x="312" y="2594"/>
                  </a:lnTo>
                  <a:lnTo>
                    <a:pt x="303" y="2601"/>
                  </a:lnTo>
                  <a:lnTo>
                    <a:pt x="294" y="2607"/>
                  </a:lnTo>
                  <a:lnTo>
                    <a:pt x="288" y="2614"/>
                  </a:lnTo>
                  <a:lnTo>
                    <a:pt x="284" y="2622"/>
                  </a:lnTo>
                  <a:lnTo>
                    <a:pt x="282" y="2630"/>
                  </a:lnTo>
                  <a:lnTo>
                    <a:pt x="281" y="2638"/>
                  </a:lnTo>
                  <a:lnTo>
                    <a:pt x="283" y="2649"/>
                  </a:lnTo>
                  <a:lnTo>
                    <a:pt x="287" y="2659"/>
                  </a:lnTo>
                  <a:lnTo>
                    <a:pt x="287" y="2659"/>
                  </a:lnTo>
                  <a:lnTo>
                    <a:pt x="287" y="2660"/>
                  </a:lnTo>
                  <a:lnTo>
                    <a:pt x="286" y="2663"/>
                  </a:lnTo>
                  <a:lnTo>
                    <a:pt x="283" y="2669"/>
                  </a:lnTo>
                  <a:lnTo>
                    <a:pt x="268" y="2686"/>
                  </a:lnTo>
                  <a:lnTo>
                    <a:pt x="258" y="2699"/>
                  </a:lnTo>
                  <a:lnTo>
                    <a:pt x="247" y="2712"/>
                  </a:lnTo>
                  <a:lnTo>
                    <a:pt x="237" y="2727"/>
                  </a:lnTo>
                  <a:lnTo>
                    <a:pt x="228" y="2744"/>
                  </a:lnTo>
                  <a:lnTo>
                    <a:pt x="220" y="2761"/>
                  </a:lnTo>
                  <a:lnTo>
                    <a:pt x="217" y="2770"/>
                  </a:lnTo>
                  <a:lnTo>
                    <a:pt x="214" y="2781"/>
                  </a:lnTo>
                  <a:lnTo>
                    <a:pt x="213" y="2790"/>
                  </a:lnTo>
                  <a:lnTo>
                    <a:pt x="212" y="2801"/>
                  </a:lnTo>
                  <a:lnTo>
                    <a:pt x="212" y="2811"/>
                  </a:lnTo>
                  <a:lnTo>
                    <a:pt x="213" y="2821"/>
                  </a:lnTo>
                  <a:lnTo>
                    <a:pt x="215" y="2833"/>
                  </a:lnTo>
                  <a:lnTo>
                    <a:pt x="219" y="2844"/>
                  </a:lnTo>
                  <a:lnTo>
                    <a:pt x="223" y="2856"/>
                  </a:lnTo>
                  <a:lnTo>
                    <a:pt x="229" y="2867"/>
                  </a:lnTo>
                  <a:lnTo>
                    <a:pt x="237" y="2880"/>
                  </a:lnTo>
                  <a:lnTo>
                    <a:pt x="246" y="2892"/>
                  </a:lnTo>
                  <a:lnTo>
                    <a:pt x="257" y="2904"/>
                  </a:lnTo>
                  <a:lnTo>
                    <a:pt x="270" y="2917"/>
                  </a:lnTo>
                  <a:lnTo>
                    <a:pt x="270" y="2917"/>
                  </a:lnTo>
                  <a:lnTo>
                    <a:pt x="270" y="2910"/>
                  </a:lnTo>
                  <a:lnTo>
                    <a:pt x="272" y="2893"/>
                  </a:lnTo>
                  <a:lnTo>
                    <a:pt x="277" y="2868"/>
                  </a:lnTo>
                  <a:lnTo>
                    <a:pt x="281" y="2855"/>
                  </a:lnTo>
                  <a:lnTo>
                    <a:pt x="285" y="2841"/>
                  </a:lnTo>
                  <a:lnTo>
                    <a:pt x="291" y="2828"/>
                  </a:lnTo>
                  <a:lnTo>
                    <a:pt x="298" y="2814"/>
                  </a:lnTo>
                  <a:lnTo>
                    <a:pt x="306" y="2801"/>
                  </a:lnTo>
                  <a:lnTo>
                    <a:pt x="315" y="2791"/>
                  </a:lnTo>
                  <a:lnTo>
                    <a:pt x="321" y="2786"/>
                  </a:lnTo>
                  <a:lnTo>
                    <a:pt x="326" y="2782"/>
                  </a:lnTo>
                  <a:lnTo>
                    <a:pt x="332" y="2777"/>
                  </a:lnTo>
                  <a:lnTo>
                    <a:pt x="339" y="2774"/>
                  </a:lnTo>
                  <a:lnTo>
                    <a:pt x="346" y="2772"/>
                  </a:lnTo>
                  <a:lnTo>
                    <a:pt x="354" y="2770"/>
                  </a:lnTo>
                  <a:lnTo>
                    <a:pt x="361" y="2770"/>
                  </a:lnTo>
                  <a:lnTo>
                    <a:pt x="369" y="2770"/>
                  </a:lnTo>
                  <a:lnTo>
                    <a:pt x="369" y="2770"/>
                  </a:lnTo>
                  <a:lnTo>
                    <a:pt x="383" y="2771"/>
                  </a:lnTo>
                  <a:lnTo>
                    <a:pt x="396" y="2774"/>
                  </a:lnTo>
                  <a:lnTo>
                    <a:pt x="408" y="2778"/>
                  </a:lnTo>
                  <a:lnTo>
                    <a:pt x="420" y="2783"/>
                  </a:lnTo>
                  <a:lnTo>
                    <a:pt x="443" y="2793"/>
                  </a:lnTo>
                  <a:lnTo>
                    <a:pt x="454" y="2797"/>
                  </a:lnTo>
                  <a:lnTo>
                    <a:pt x="465" y="2801"/>
                  </a:lnTo>
                  <a:lnTo>
                    <a:pt x="476" y="2804"/>
                  </a:lnTo>
                  <a:lnTo>
                    <a:pt x="489" y="2806"/>
                  </a:lnTo>
                  <a:lnTo>
                    <a:pt x="501" y="2807"/>
                  </a:lnTo>
                  <a:lnTo>
                    <a:pt x="514" y="2805"/>
                  </a:lnTo>
                  <a:lnTo>
                    <a:pt x="528" y="2802"/>
                  </a:lnTo>
                  <a:lnTo>
                    <a:pt x="542" y="2796"/>
                  </a:lnTo>
                  <a:lnTo>
                    <a:pt x="558" y="2788"/>
                  </a:lnTo>
                  <a:lnTo>
                    <a:pt x="575" y="2775"/>
                  </a:lnTo>
                  <a:lnTo>
                    <a:pt x="575" y="2775"/>
                  </a:lnTo>
                  <a:lnTo>
                    <a:pt x="588" y="2766"/>
                  </a:lnTo>
                  <a:lnTo>
                    <a:pt x="600" y="2755"/>
                  </a:lnTo>
                  <a:lnTo>
                    <a:pt x="614" y="2743"/>
                  </a:lnTo>
                  <a:lnTo>
                    <a:pt x="630" y="2730"/>
                  </a:lnTo>
                  <a:lnTo>
                    <a:pt x="651" y="2718"/>
                  </a:lnTo>
                  <a:lnTo>
                    <a:pt x="664" y="2711"/>
                  </a:lnTo>
                  <a:lnTo>
                    <a:pt x="678" y="2705"/>
                  </a:lnTo>
                  <a:lnTo>
                    <a:pt x="693" y="2698"/>
                  </a:lnTo>
                  <a:lnTo>
                    <a:pt x="712" y="2692"/>
                  </a:lnTo>
                  <a:lnTo>
                    <a:pt x="732" y="2684"/>
                  </a:lnTo>
                  <a:lnTo>
                    <a:pt x="754" y="2677"/>
                  </a:lnTo>
                  <a:lnTo>
                    <a:pt x="754" y="2677"/>
                  </a:lnTo>
                  <a:lnTo>
                    <a:pt x="756" y="2677"/>
                  </a:lnTo>
                  <a:lnTo>
                    <a:pt x="757" y="2678"/>
                  </a:lnTo>
                  <a:lnTo>
                    <a:pt x="760" y="2683"/>
                  </a:lnTo>
                  <a:lnTo>
                    <a:pt x="762" y="2692"/>
                  </a:lnTo>
                  <a:lnTo>
                    <a:pt x="765" y="2701"/>
                  </a:lnTo>
                  <a:lnTo>
                    <a:pt x="768" y="2713"/>
                  </a:lnTo>
                  <a:lnTo>
                    <a:pt x="772" y="2725"/>
                  </a:lnTo>
                  <a:lnTo>
                    <a:pt x="777" y="2738"/>
                  </a:lnTo>
                  <a:lnTo>
                    <a:pt x="783" y="2750"/>
                  </a:lnTo>
                  <a:lnTo>
                    <a:pt x="783" y="2750"/>
                  </a:lnTo>
                  <a:lnTo>
                    <a:pt x="786" y="2753"/>
                  </a:lnTo>
                  <a:lnTo>
                    <a:pt x="789" y="2755"/>
                  </a:lnTo>
                  <a:lnTo>
                    <a:pt x="797" y="2760"/>
                  </a:lnTo>
                  <a:lnTo>
                    <a:pt x="805" y="2763"/>
                  </a:lnTo>
                  <a:lnTo>
                    <a:pt x="813" y="2767"/>
                  </a:lnTo>
                  <a:lnTo>
                    <a:pt x="821" y="2770"/>
                  </a:lnTo>
                  <a:lnTo>
                    <a:pt x="827" y="2773"/>
                  </a:lnTo>
                  <a:lnTo>
                    <a:pt x="830" y="2775"/>
                  </a:lnTo>
                  <a:lnTo>
                    <a:pt x="831" y="2777"/>
                  </a:lnTo>
                  <a:lnTo>
                    <a:pt x="833" y="2781"/>
                  </a:lnTo>
                  <a:lnTo>
                    <a:pt x="833" y="2784"/>
                  </a:lnTo>
                  <a:lnTo>
                    <a:pt x="833" y="2784"/>
                  </a:lnTo>
                  <a:lnTo>
                    <a:pt x="832" y="2794"/>
                  </a:lnTo>
                  <a:lnTo>
                    <a:pt x="830" y="2805"/>
                  </a:lnTo>
                  <a:lnTo>
                    <a:pt x="826" y="2815"/>
                  </a:lnTo>
                  <a:lnTo>
                    <a:pt x="822" y="2824"/>
                  </a:lnTo>
                  <a:lnTo>
                    <a:pt x="817" y="2834"/>
                  </a:lnTo>
                  <a:lnTo>
                    <a:pt x="811" y="2843"/>
                  </a:lnTo>
                  <a:lnTo>
                    <a:pt x="798" y="2859"/>
                  </a:lnTo>
                  <a:lnTo>
                    <a:pt x="784" y="2873"/>
                  </a:lnTo>
                  <a:lnTo>
                    <a:pt x="773" y="2884"/>
                  </a:lnTo>
                  <a:lnTo>
                    <a:pt x="765" y="2890"/>
                  </a:lnTo>
                  <a:lnTo>
                    <a:pt x="763" y="2893"/>
                  </a:lnTo>
                  <a:lnTo>
                    <a:pt x="763" y="2893"/>
                  </a:lnTo>
                  <a:lnTo>
                    <a:pt x="767" y="2896"/>
                  </a:lnTo>
                  <a:lnTo>
                    <a:pt x="778" y="2899"/>
                  </a:lnTo>
                  <a:lnTo>
                    <a:pt x="785" y="2900"/>
                  </a:lnTo>
                  <a:lnTo>
                    <a:pt x="794" y="2901"/>
                  </a:lnTo>
                  <a:lnTo>
                    <a:pt x="804" y="2901"/>
                  </a:lnTo>
                  <a:lnTo>
                    <a:pt x="815" y="2899"/>
                  </a:lnTo>
                  <a:lnTo>
                    <a:pt x="826" y="2896"/>
                  </a:lnTo>
                  <a:lnTo>
                    <a:pt x="839" y="2891"/>
                  </a:lnTo>
                  <a:lnTo>
                    <a:pt x="852" y="2884"/>
                  </a:lnTo>
                  <a:lnTo>
                    <a:pt x="865" y="2874"/>
                  </a:lnTo>
                  <a:lnTo>
                    <a:pt x="879" y="2860"/>
                  </a:lnTo>
                  <a:lnTo>
                    <a:pt x="894" y="2844"/>
                  </a:lnTo>
                  <a:lnTo>
                    <a:pt x="907" y="2824"/>
                  </a:lnTo>
                  <a:lnTo>
                    <a:pt x="921" y="2801"/>
                  </a:lnTo>
                  <a:lnTo>
                    <a:pt x="921" y="2801"/>
                  </a:lnTo>
                  <a:lnTo>
                    <a:pt x="924" y="2797"/>
                  </a:lnTo>
                  <a:lnTo>
                    <a:pt x="927" y="2793"/>
                  </a:lnTo>
                  <a:lnTo>
                    <a:pt x="930" y="2791"/>
                  </a:lnTo>
                  <a:lnTo>
                    <a:pt x="935" y="2789"/>
                  </a:lnTo>
                  <a:lnTo>
                    <a:pt x="939" y="2788"/>
                  </a:lnTo>
                  <a:lnTo>
                    <a:pt x="943" y="2788"/>
                  </a:lnTo>
                  <a:lnTo>
                    <a:pt x="951" y="2788"/>
                  </a:lnTo>
                  <a:lnTo>
                    <a:pt x="970" y="2790"/>
                  </a:lnTo>
                  <a:lnTo>
                    <a:pt x="982" y="2790"/>
                  </a:lnTo>
                  <a:lnTo>
                    <a:pt x="987" y="2789"/>
                  </a:lnTo>
                  <a:lnTo>
                    <a:pt x="992" y="2788"/>
                  </a:lnTo>
                  <a:lnTo>
                    <a:pt x="992" y="2788"/>
                  </a:lnTo>
                  <a:lnTo>
                    <a:pt x="1010" y="2782"/>
                  </a:lnTo>
                  <a:lnTo>
                    <a:pt x="1017" y="2777"/>
                  </a:lnTo>
                  <a:lnTo>
                    <a:pt x="1024" y="2773"/>
                  </a:lnTo>
                  <a:lnTo>
                    <a:pt x="1029" y="2770"/>
                  </a:lnTo>
                  <a:lnTo>
                    <a:pt x="1033" y="2766"/>
                  </a:lnTo>
                  <a:lnTo>
                    <a:pt x="1036" y="2762"/>
                  </a:lnTo>
                  <a:lnTo>
                    <a:pt x="1039" y="2757"/>
                  </a:lnTo>
                  <a:lnTo>
                    <a:pt x="1041" y="2753"/>
                  </a:lnTo>
                  <a:lnTo>
                    <a:pt x="1042" y="2748"/>
                  </a:lnTo>
                  <a:lnTo>
                    <a:pt x="1043" y="2739"/>
                  </a:lnTo>
                  <a:lnTo>
                    <a:pt x="1042" y="2728"/>
                  </a:lnTo>
                  <a:lnTo>
                    <a:pt x="1040" y="2718"/>
                  </a:lnTo>
                  <a:lnTo>
                    <a:pt x="1035" y="2696"/>
                  </a:lnTo>
                  <a:lnTo>
                    <a:pt x="1034" y="2685"/>
                  </a:lnTo>
                  <a:lnTo>
                    <a:pt x="1033" y="2673"/>
                  </a:lnTo>
                  <a:lnTo>
                    <a:pt x="1034" y="2662"/>
                  </a:lnTo>
                  <a:lnTo>
                    <a:pt x="1036" y="2657"/>
                  </a:lnTo>
                  <a:lnTo>
                    <a:pt x="1038" y="2651"/>
                  </a:lnTo>
                  <a:lnTo>
                    <a:pt x="1040" y="2646"/>
                  </a:lnTo>
                  <a:lnTo>
                    <a:pt x="1044" y="2640"/>
                  </a:lnTo>
                  <a:lnTo>
                    <a:pt x="1048" y="2634"/>
                  </a:lnTo>
                  <a:lnTo>
                    <a:pt x="1054" y="2629"/>
                  </a:lnTo>
                  <a:lnTo>
                    <a:pt x="1054" y="2629"/>
                  </a:lnTo>
                  <a:lnTo>
                    <a:pt x="1069" y="2616"/>
                  </a:lnTo>
                  <a:lnTo>
                    <a:pt x="1084" y="2603"/>
                  </a:lnTo>
                  <a:lnTo>
                    <a:pt x="1099" y="2591"/>
                  </a:lnTo>
                  <a:lnTo>
                    <a:pt x="1115" y="2579"/>
                  </a:lnTo>
                  <a:lnTo>
                    <a:pt x="1146" y="2559"/>
                  </a:lnTo>
                  <a:lnTo>
                    <a:pt x="1178" y="2540"/>
                  </a:lnTo>
                  <a:lnTo>
                    <a:pt x="1210" y="2524"/>
                  </a:lnTo>
                  <a:lnTo>
                    <a:pt x="1241" y="2509"/>
                  </a:lnTo>
                  <a:lnTo>
                    <a:pt x="1273" y="2494"/>
                  </a:lnTo>
                  <a:lnTo>
                    <a:pt x="1304" y="2482"/>
                  </a:lnTo>
                  <a:lnTo>
                    <a:pt x="1304" y="2482"/>
                  </a:lnTo>
                  <a:lnTo>
                    <a:pt x="1303" y="2486"/>
                  </a:lnTo>
                  <a:lnTo>
                    <a:pt x="1299" y="2498"/>
                  </a:lnTo>
                  <a:lnTo>
                    <a:pt x="1294" y="2518"/>
                  </a:lnTo>
                  <a:lnTo>
                    <a:pt x="1291" y="2541"/>
                  </a:lnTo>
                  <a:lnTo>
                    <a:pt x="1290" y="2556"/>
                  </a:lnTo>
                  <a:lnTo>
                    <a:pt x="1290" y="2570"/>
                  </a:lnTo>
                  <a:lnTo>
                    <a:pt x="1291" y="2585"/>
                  </a:lnTo>
                  <a:lnTo>
                    <a:pt x="1292" y="2602"/>
                  </a:lnTo>
                  <a:lnTo>
                    <a:pt x="1296" y="2618"/>
                  </a:lnTo>
                  <a:lnTo>
                    <a:pt x="1301" y="2634"/>
                  </a:lnTo>
                  <a:lnTo>
                    <a:pt x="1306" y="2652"/>
                  </a:lnTo>
                  <a:lnTo>
                    <a:pt x="1314" y="2669"/>
                  </a:lnTo>
                  <a:lnTo>
                    <a:pt x="1640" y="2585"/>
                  </a:lnTo>
                  <a:lnTo>
                    <a:pt x="1640" y="2585"/>
                  </a:lnTo>
                  <a:lnTo>
                    <a:pt x="1634" y="2569"/>
                  </a:lnTo>
                  <a:lnTo>
                    <a:pt x="1631" y="2553"/>
                  </a:lnTo>
                  <a:lnTo>
                    <a:pt x="1629" y="2535"/>
                  </a:lnTo>
                  <a:lnTo>
                    <a:pt x="1629" y="2518"/>
                  </a:lnTo>
                  <a:lnTo>
                    <a:pt x="1631" y="2500"/>
                  </a:lnTo>
                  <a:lnTo>
                    <a:pt x="1634" y="2483"/>
                  </a:lnTo>
                  <a:lnTo>
                    <a:pt x="1638" y="2466"/>
                  </a:lnTo>
                  <a:lnTo>
                    <a:pt x="1644" y="2447"/>
                  </a:lnTo>
                  <a:lnTo>
                    <a:pt x="1651" y="2430"/>
                  </a:lnTo>
                  <a:lnTo>
                    <a:pt x="1660" y="2411"/>
                  </a:lnTo>
                  <a:lnTo>
                    <a:pt x="1669" y="2394"/>
                  </a:lnTo>
                  <a:lnTo>
                    <a:pt x="1679" y="2377"/>
                  </a:lnTo>
                  <a:lnTo>
                    <a:pt x="1689" y="2359"/>
                  </a:lnTo>
                  <a:lnTo>
                    <a:pt x="1701" y="2342"/>
                  </a:lnTo>
                  <a:lnTo>
                    <a:pt x="1725" y="2310"/>
                  </a:lnTo>
                  <a:lnTo>
                    <a:pt x="1725" y="2310"/>
                  </a:lnTo>
                  <a:lnTo>
                    <a:pt x="1726" y="2309"/>
                  </a:lnTo>
                  <a:lnTo>
                    <a:pt x="1727" y="2309"/>
                  </a:lnTo>
                  <a:lnTo>
                    <a:pt x="1728" y="2313"/>
                  </a:lnTo>
                  <a:lnTo>
                    <a:pt x="1725" y="2335"/>
                  </a:lnTo>
                  <a:lnTo>
                    <a:pt x="1721" y="2368"/>
                  </a:lnTo>
                  <a:lnTo>
                    <a:pt x="1715" y="2410"/>
                  </a:lnTo>
                  <a:lnTo>
                    <a:pt x="1713" y="2433"/>
                  </a:lnTo>
                  <a:lnTo>
                    <a:pt x="1711" y="2456"/>
                  </a:lnTo>
                  <a:lnTo>
                    <a:pt x="1711" y="2478"/>
                  </a:lnTo>
                  <a:lnTo>
                    <a:pt x="1711" y="2499"/>
                  </a:lnTo>
                  <a:lnTo>
                    <a:pt x="1713" y="2519"/>
                  </a:lnTo>
                  <a:lnTo>
                    <a:pt x="1716" y="2536"/>
                  </a:lnTo>
                  <a:lnTo>
                    <a:pt x="1719" y="2544"/>
                  </a:lnTo>
                  <a:lnTo>
                    <a:pt x="1722" y="2551"/>
                  </a:lnTo>
                  <a:lnTo>
                    <a:pt x="1726" y="2557"/>
                  </a:lnTo>
                  <a:lnTo>
                    <a:pt x="1730" y="2562"/>
                  </a:lnTo>
                  <a:lnTo>
                    <a:pt x="2050" y="2479"/>
                  </a:lnTo>
                  <a:lnTo>
                    <a:pt x="2050" y="2479"/>
                  </a:lnTo>
                  <a:lnTo>
                    <a:pt x="2046" y="2469"/>
                  </a:lnTo>
                  <a:lnTo>
                    <a:pt x="2043" y="2457"/>
                  </a:lnTo>
                  <a:lnTo>
                    <a:pt x="2041" y="2446"/>
                  </a:lnTo>
                  <a:lnTo>
                    <a:pt x="2039" y="2434"/>
                  </a:lnTo>
                  <a:lnTo>
                    <a:pt x="2038" y="2422"/>
                  </a:lnTo>
                  <a:lnTo>
                    <a:pt x="2038" y="2409"/>
                  </a:lnTo>
                  <a:lnTo>
                    <a:pt x="2039" y="2383"/>
                  </a:lnTo>
                  <a:lnTo>
                    <a:pt x="2043" y="2356"/>
                  </a:lnTo>
                  <a:lnTo>
                    <a:pt x="2048" y="2330"/>
                  </a:lnTo>
                  <a:lnTo>
                    <a:pt x="2055" y="2303"/>
                  </a:lnTo>
                  <a:lnTo>
                    <a:pt x="2064" y="2279"/>
                  </a:lnTo>
                  <a:lnTo>
                    <a:pt x="2064" y="2279"/>
                  </a:lnTo>
                  <a:lnTo>
                    <a:pt x="2072" y="2306"/>
                  </a:lnTo>
                  <a:lnTo>
                    <a:pt x="2079" y="2335"/>
                  </a:lnTo>
                  <a:lnTo>
                    <a:pt x="2088" y="2362"/>
                  </a:lnTo>
                  <a:lnTo>
                    <a:pt x="2098" y="2390"/>
                  </a:lnTo>
                  <a:lnTo>
                    <a:pt x="2108" y="2417"/>
                  </a:lnTo>
                  <a:lnTo>
                    <a:pt x="2121" y="2443"/>
                  </a:lnTo>
                  <a:lnTo>
                    <a:pt x="2135" y="2469"/>
                  </a:lnTo>
                  <a:lnTo>
                    <a:pt x="2149" y="2494"/>
                  </a:lnTo>
                  <a:lnTo>
                    <a:pt x="2166" y="2519"/>
                  </a:lnTo>
                  <a:lnTo>
                    <a:pt x="2183" y="2541"/>
                  </a:lnTo>
                  <a:lnTo>
                    <a:pt x="2201" y="2563"/>
                  </a:lnTo>
                  <a:lnTo>
                    <a:pt x="2222" y="2583"/>
                  </a:lnTo>
                  <a:lnTo>
                    <a:pt x="2244" y="2603"/>
                  </a:lnTo>
                  <a:lnTo>
                    <a:pt x="2268" y="2619"/>
                  </a:lnTo>
                  <a:lnTo>
                    <a:pt x="2280" y="2627"/>
                  </a:lnTo>
                  <a:lnTo>
                    <a:pt x="2292" y="2634"/>
                  </a:lnTo>
                  <a:lnTo>
                    <a:pt x="2306" y="2641"/>
                  </a:lnTo>
                  <a:lnTo>
                    <a:pt x="2320" y="2648"/>
                  </a:lnTo>
                  <a:lnTo>
                    <a:pt x="2320" y="2648"/>
                  </a:lnTo>
                  <a:lnTo>
                    <a:pt x="2365" y="2667"/>
                  </a:lnTo>
                  <a:lnTo>
                    <a:pt x="2410" y="2685"/>
                  </a:lnTo>
                  <a:lnTo>
                    <a:pt x="2454" y="2702"/>
                  </a:lnTo>
                  <a:lnTo>
                    <a:pt x="2499" y="2718"/>
                  </a:lnTo>
                  <a:lnTo>
                    <a:pt x="2544" y="2733"/>
                  </a:lnTo>
                  <a:lnTo>
                    <a:pt x="2589" y="2749"/>
                  </a:lnTo>
                  <a:lnTo>
                    <a:pt x="2683" y="2778"/>
                  </a:lnTo>
                  <a:lnTo>
                    <a:pt x="2782" y="2807"/>
                  </a:lnTo>
                  <a:lnTo>
                    <a:pt x="2889" y="2838"/>
                  </a:lnTo>
                  <a:lnTo>
                    <a:pt x="3005" y="2872"/>
                  </a:lnTo>
                  <a:lnTo>
                    <a:pt x="3133" y="2908"/>
                  </a:lnTo>
                  <a:lnTo>
                    <a:pt x="3133" y="2908"/>
                  </a:lnTo>
                  <a:lnTo>
                    <a:pt x="3205" y="2931"/>
                  </a:lnTo>
                  <a:lnTo>
                    <a:pt x="3273" y="2954"/>
                  </a:lnTo>
                  <a:lnTo>
                    <a:pt x="3305" y="2966"/>
                  </a:lnTo>
                  <a:lnTo>
                    <a:pt x="3333" y="2977"/>
                  </a:lnTo>
                  <a:lnTo>
                    <a:pt x="3358" y="2987"/>
                  </a:lnTo>
                  <a:lnTo>
                    <a:pt x="3377" y="2996"/>
                  </a:lnTo>
                  <a:lnTo>
                    <a:pt x="3377" y="2996"/>
                  </a:lnTo>
                  <a:lnTo>
                    <a:pt x="3383" y="2999"/>
                  </a:lnTo>
                  <a:lnTo>
                    <a:pt x="3389" y="3003"/>
                  </a:lnTo>
                  <a:lnTo>
                    <a:pt x="3393" y="3006"/>
                  </a:lnTo>
                  <a:lnTo>
                    <a:pt x="3397" y="3011"/>
                  </a:lnTo>
                  <a:lnTo>
                    <a:pt x="3399" y="3015"/>
                  </a:lnTo>
                  <a:lnTo>
                    <a:pt x="3401" y="3020"/>
                  </a:lnTo>
                  <a:lnTo>
                    <a:pt x="3402" y="3024"/>
                  </a:lnTo>
                  <a:lnTo>
                    <a:pt x="3402" y="3028"/>
                  </a:lnTo>
                  <a:lnTo>
                    <a:pt x="3401" y="3037"/>
                  </a:lnTo>
                  <a:lnTo>
                    <a:pt x="3397" y="3046"/>
                  </a:lnTo>
                  <a:lnTo>
                    <a:pt x="3392" y="3055"/>
                  </a:lnTo>
                  <a:lnTo>
                    <a:pt x="3386" y="3064"/>
                  </a:lnTo>
                  <a:lnTo>
                    <a:pt x="3378" y="3072"/>
                  </a:lnTo>
                  <a:lnTo>
                    <a:pt x="3371" y="3080"/>
                  </a:lnTo>
                  <a:lnTo>
                    <a:pt x="3357" y="3092"/>
                  </a:lnTo>
                  <a:lnTo>
                    <a:pt x="3346" y="3102"/>
                  </a:lnTo>
                  <a:lnTo>
                    <a:pt x="3341" y="3105"/>
                  </a:lnTo>
                  <a:lnTo>
                    <a:pt x="3341" y="3105"/>
                  </a:lnTo>
                  <a:lnTo>
                    <a:pt x="3355" y="3113"/>
                  </a:lnTo>
                  <a:lnTo>
                    <a:pt x="3371" y="3121"/>
                  </a:lnTo>
                  <a:lnTo>
                    <a:pt x="3411" y="3139"/>
                  </a:lnTo>
                  <a:lnTo>
                    <a:pt x="3435" y="3152"/>
                  </a:lnTo>
                  <a:lnTo>
                    <a:pt x="3461" y="3167"/>
                  </a:lnTo>
                  <a:lnTo>
                    <a:pt x="3492" y="3186"/>
                  </a:lnTo>
                  <a:lnTo>
                    <a:pt x="3527" y="3211"/>
                  </a:lnTo>
                  <a:lnTo>
                    <a:pt x="3527" y="3211"/>
                  </a:lnTo>
                  <a:lnTo>
                    <a:pt x="3545" y="3226"/>
                  </a:lnTo>
                  <a:lnTo>
                    <a:pt x="3563" y="3244"/>
                  </a:lnTo>
                  <a:lnTo>
                    <a:pt x="3580" y="3263"/>
                  </a:lnTo>
                  <a:lnTo>
                    <a:pt x="3595" y="3284"/>
                  </a:lnTo>
                  <a:lnTo>
                    <a:pt x="3608" y="3305"/>
                  </a:lnTo>
                  <a:lnTo>
                    <a:pt x="3622" y="3329"/>
                  </a:lnTo>
                  <a:lnTo>
                    <a:pt x="3634" y="3352"/>
                  </a:lnTo>
                  <a:lnTo>
                    <a:pt x="3645" y="3378"/>
                  </a:lnTo>
                  <a:lnTo>
                    <a:pt x="3655" y="3404"/>
                  </a:lnTo>
                  <a:lnTo>
                    <a:pt x="3665" y="3432"/>
                  </a:lnTo>
                  <a:lnTo>
                    <a:pt x="3674" y="3460"/>
                  </a:lnTo>
                  <a:lnTo>
                    <a:pt x="3682" y="3489"/>
                  </a:lnTo>
                  <a:lnTo>
                    <a:pt x="3698" y="3549"/>
                  </a:lnTo>
                  <a:lnTo>
                    <a:pt x="3714" y="3612"/>
                  </a:lnTo>
                  <a:lnTo>
                    <a:pt x="3714" y="3612"/>
                  </a:lnTo>
                  <a:lnTo>
                    <a:pt x="3725" y="3662"/>
                  </a:lnTo>
                  <a:lnTo>
                    <a:pt x="3734" y="3715"/>
                  </a:lnTo>
                  <a:lnTo>
                    <a:pt x="3742" y="3768"/>
                  </a:lnTo>
                  <a:lnTo>
                    <a:pt x="3744" y="3795"/>
                  </a:lnTo>
                  <a:lnTo>
                    <a:pt x="3746" y="3819"/>
                  </a:lnTo>
                  <a:lnTo>
                    <a:pt x="3748" y="3844"/>
                  </a:lnTo>
                  <a:lnTo>
                    <a:pt x="3749" y="3867"/>
                  </a:lnTo>
                  <a:lnTo>
                    <a:pt x="3748" y="3889"/>
                  </a:lnTo>
                  <a:lnTo>
                    <a:pt x="3745" y="3909"/>
                  </a:lnTo>
                  <a:lnTo>
                    <a:pt x="3742" y="3928"/>
                  </a:lnTo>
                  <a:lnTo>
                    <a:pt x="3737" y="3944"/>
                  </a:lnTo>
                  <a:lnTo>
                    <a:pt x="3731" y="3957"/>
                  </a:lnTo>
                  <a:lnTo>
                    <a:pt x="3728" y="3963"/>
                  </a:lnTo>
                  <a:lnTo>
                    <a:pt x="3724" y="3969"/>
                  </a:lnTo>
                  <a:lnTo>
                    <a:pt x="3724" y="3969"/>
                  </a:lnTo>
                  <a:lnTo>
                    <a:pt x="3715" y="3979"/>
                  </a:lnTo>
                  <a:lnTo>
                    <a:pt x="3705" y="3989"/>
                  </a:lnTo>
                  <a:lnTo>
                    <a:pt x="3691" y="3998"/>
                  </a:lnTo>
                  <a:lnTo>
                    <a:pt x="3683" y="4003"/>
                  </a:lnTo>
                  <a:lnTo>
                    <a:pt x="3673" y="4008"/>
                  </a:lnTo>
                  <a:lnTo>
                    <a:pt x="3663" y="4014"/>
                  </a:lnTo>
                  <a:lnTo>
                    <a:pt x="3650" y="4019"/>
                  </a:lnTo>
                  <a:lnTo>
                    <a:pt x="3621" y="4028"/>
                  </a:lnTo>
                  <a:lnTo>
                    <a:pt x="3582" y="4038"/>
                  </a:lnTo>
                  <a:lnTo>
                    <a:pt x="3535" y="4048"/>
                  </a:lnTo>
                  <a:lnTo>
                    <a:pt x="3560" y="4171"/>
                  </a:lnTo>
                  <a:lnTo>
                    <a:pt x="3560" y="4171"/>
                  </a:lnTo>
                  <a:lnTo>
                    <a:pt x="3579" y="4172"/>
                  </a:lnTo>
                  <a:lnTo>
                    <a:pt x="3597" y="4172"/>
                  </a:lnTo>
                  <a:lnTo>
                    <a:pt x="3615" y="4171"/>
                  </a:lnTo>
                  <a:lnTo>
                    <a:pt x="3631" y="4169"/>
                  </a:lnTo>
                  <a:lnTo>
                    <a:pt x="3646" y="4167"/>
                  </a:lnTo>
                  <a:lnTo>
                    <a:pt x="3662" y="4164"/>
                  </a:lnTo>
                  <a:lnTo>
                    <a:pt x="3688" y="4157"/>
                  </a:lnTo>
                  <a:lnTo>
                    <a:pt x="3711" y="4150"/>
                  </a:lnTo>
                  <a:lnTo>
                    <a:pt x="3728" y="4143"/>
                  </a:lnTo>
                  <a:lnTo>
                    <a:pt x="3742" y="4137"/>
                  </a:lnTo>
                  <a:lnTo>
                    <a:pt x="3742" y="4137"/>
                  </a:lnTo>
                  <a:lnTo>
                    <a:pt x="3736" y="4143"/>
                  </a:lnTo>
                  <a:lnTo>
                    <a:pt x="3730" y="4151"/>
                  </a:lnTo>
                  <a:lnTo>
                    <a:pt x="3722" y="4161"/>
                  </a:lnTo>
                  <a:lnTo>
                    <a:pt x="3722" y="4161"/>
                  </a:lnTo>
                  <a:lnTo>
                    <a:pt x="3711" y="4177"/>
                  </a:lnTo>
                  <a:lnTo>
                    <a:pt x="3700" y="4194"/>
                  </a:lnTo>
                  <a:lnTo>
                    <a:pt x="3692" y="4209"/>
                  </a:lnTo>
                  <a:lnTo>
                    <a:pt x="3685" y="4224"/>
                  </a:lnTo>
                  <a:lnTo>
                    <a:pt x="3680" y="4240"/>
                  </a:lnTo>
                  <a:lnTo>
                    <a:pt x="3675" y="4257"/>
                  </a:lnTo>
                  <a:lnTo>
                    <a:pt x="3672" y="4274"/>
                  </a:lnTo>
                  <a:lnTo>
                    <a:pt x="3669" y="4295"/>
                  </a:lnTo>
                  <a:lnTo>
                    <a:pt x="3799" y="4379"/>
                  </a:lnTo>
                  <a:lnTo>
                    <a:pt x="3799" y="4379"/>
                  </a:lnTo>
                  <a:lnTo>
                    <a:pt x="3812" y="4338"/>
                  </a:lnTo>
                  <a:lnTo>
                    <a:pt x="3826" y="4298"/>
                  </a:lnTo>
                  <a:lnTo>
                    <a:pt x="3841" y="4262"/>
                  </a:lnTo>
                  <a:lnTo>
                    <a:pt x="3855" y="4229"/>
                  </a:lnTo>
                  <a:lnTo>
                    <a:pt x="3870" y="4202"/>
                  </a:lnTo>
                  <a:lnTo>
                    <a:pt x="3877" y="4189"/>
                  </a:lnTo>
                  <a:lnTo>
                    <a:pt x="3885" y="4179"/>
                  </a:lnTo>
                  <a:lnTo>
                    <a:pt x="3892" y="4170"/>
                  </a:lnTo>
                  <a:lnTo>
                    <a:pt x="3899" y="4163"/>
                  </a:lnTo>
                  <a:lnTo>
                    <a:pt x="3906" y="4158"/>
                  </a:lnTo>
                  <a:lnTo>
                    <a:pt x="3913" y="4154"/>
                  </a:lnTo>
                  <a:lnTo>
                    <a:pt x="3913" y="4154"/>
                  </a:lnTo>
                  <a:lnTo>
                    <a:pt x="3919" y="4152"/>
                  </a:lnTo>
                  <a:lnTo>
                    <a:pt x="3926" y="4152"/>
                  </a:lnTo>
                  <a:lnTo>
                    <a:pt x="3935" y="4152"/>
                  </a:lnTo>
                  <a:lnTo>
                    <a:pt x="3944" y="4153"/>
                  </a:lnTo>
                  <a:lnTo>
                    <a:pt x="3954" y="4155"/>
                  </a:lnTo>
                  <a:lnTo>
                    <a:pt x="3965" y="4157"/>
                  </a:lnTo>
                  <a:lnTo>
                    <a:pt x="3990" y="4166"/>
                  </a:lnTo>
                  <a:lnTo>
                    <a:pt x="4017" y="4177"/>
                  </a:lnTo>
                  <a:lnTo>
                    <a:pt x="4047" y="4192"/>
                  </a:lnTo>
                  <a:lnTo>
                    <a:pt x="4078" y="4212"/>
                  </a:lnTo>
                  <a:lnTo>
                    <a:pt x="4110" y="4233"/>
                  </a:lnTo>
                  <a:lnTo>
                    <a:pt x="4127" y="4246"/>
                  </a:lnTo>
                  <a:lnTo>
                    <a:pt x="4143" y="4259"/>
                  </a:lnTo>
                  <a:lnTo>
                    <a:pt x="4160" y="4273"/>
                  </a:lnTo>
                  <a:lnTo>
                    <a:pt x="4176" y="4288"/>
                  </a:lnTo>
                  <a:lnTo>
                    <a:pt x="4192" y="4303"/>
                  </a:lnTo>
                  <a:lnTo>
                    <a:pt x="4208" y="4319"/>
                  </a:lnTo>
                  <a:lnTo>
                    <a:pt x="4224" y="4337"/>
                  </a:lnTo>
                  <a:lnTo>
                    <a:pt x="4239" y="4355"/>
                  </a:lnTo>
                  <a:lnTo>
                    <a:pt x="4254" y="4373"/>
                  </a:lnTo>
                  <a:lnTo>
                    <a:pt x="4268" y="4393"/>
                  </a:lnTo>
                  <a:lnTo>
                    <a:pt x="4282" y="4413"/>
                  </a:lnTo>
                  <a:lnTo>
                    <a:pt x="4296" y="4435"/>
                  </a:lnTo>
                  <a:lnTo>
                    <a:pt x="4308" y="4456"/>
                  </a:lnTo>
                  <a:lnTo>
                    <a:pt x="4320" y="4479"/>
                  </a:lnTo>
                  <a:lnTo>
                    <a:pt x="4331" y="4502"/>
                  </a:lnTo>
                  <a:lnTo>
                    <a:pt x="4342" y="4527"/>
                  </a:lnTo>
                  <a:lnTo>
                    <a:pt x="4342" y="4527"/>
                  </a:lnTo>
                  <a:lnTo>
                    <a:pt x="4347" y="4541"/>
                  </a:lnTo>
                  <a:lnTo>
                    <a:pt x="4352" y="4558"/>
                  </a:lnTo>
                  <a:lnTo>
                    <a:pt x="4356" y="4574"/>
                  </a:lnTo>
                  <a:lnTo>
                    <a:pt x="4360" y="4591"/>
                  </a:lnTo>
                  <a:lnTo>
                    <a:pt x="4363" y="4610"/>
                  </a:lnTo>
                  <a:lnTo>
                    <a:pt x="4366" y="4628"/>
                  </a:lnTo>
                  <a:lnTo>
                    <a:pt x="4370" y="4667"/>
                  </a:lnTo>
                  <a:lnTo>
                    <a:pt x="4372" y="4706"/>
                  </a:lnTo>
                  <a:lnTo>
                    <a:pt x="4371" y="4747"/>
                  </a:lnTo>
                  <a:lnTo>
                    <a:pt x="4370" y="4767"/>
                  </a:lnTo>
                  <a:lnTo>
                    <a:pt x="4369" y="4787"/>
                  </a:lnTo>
                  <a:lnTo>
                    <a:pt x="4366" y="4807"/>
                  </a:lnTo>
                  <a:lnTo>
                    <a:pt x="4363" y="4826"/>
                  </a:lnTo>
                  <a:lnTo>
                    <a:pt x="4360" y="4846"/>
                  </a:lnTo>
                  <a:lnTo>
                    <a:pt x="4356" y="4864"/>
                  </a:lnTo>
                  <a:lnTo>
                    <a:pt x="4351" y="4883"/>
                  </a:lnTo>
                  <a:lnTo>
                    <a:pt x="4345" y="4900"/>
                  </a:lnTo>
                  <a:lnTo>
                    <a:pt x="4339" y="4917"/>
                  </a:lnTo>
                  <a:lnTo>
                    <a:pt x="4332" y="4933"/>
                  </a:lnTo>
                  <a:lnTo>
                    <a:pt x="4324" y="4948"/>
                  </a:lnTo>
                  <a:lnTo>
                    <a:pt x="4316" y="4962"/>
                  </a:lnTo>
                  <a:lnTo>
                    <a:pt x="4307" y="4976"/>
                  </a:lnTo>
                  <a:lnTo>
                    <a:pt x="4298" y="4988"/>
                  </a:lnTo>
                  <a:lnTo>
                    <a:pt x="4287" y="4999"/>
                  </a:lnTo>
                  <a:lnTo>
                    <a:pt x="4276" y="5008"/>
                  </a:lnTo>
                  <a:lnTo>
                    <a:pt x="4264" y="5017"/>
                  </a:lnTo>
                  <a:lnTo>
                    <a:pt x="4252" y="5024"/>
                  </a:lnTo>
                  <a:lnTo>
                    <a:pt x="4238" y="5029"/>
                  </a:lnTo>
                  <a:lnTo>
                    <a:pt x="4224" y="5032"/>
                  </a:lnTo>
                  <a:lnTo>
                    <a:pt x="4224" y="5032"/>
                  </a:lnTo>
                  <a:lnTo>
                    <a:pt x="4216" y="5033"/>
                  </a:lnTo>
                  <a:lnTo>
                    <a:pt x="4208" y="5033"/>
                  </a:lnTo>
                  <a:lnTo>
                    <a:pt x="4198" y="5032"/>
                  </a:lnTo>
                  <a:lnTo>
                    <a:pt x="4188" y="5030"/>
                  </a:lnTo>
                  <a:lnTo>
                    <a:pt x="4168" y="5025"/>
                  </a:lnTo>
                  <a:lnTo>
                    <a:pt x="4145" y="5017"/>
                  </a:lnTo>
                  <a:lnTo>
                    <a:pt x="4123" y="5006"/>
                  </a:lnTo>
                  <a:lnTo>
                    <a:pt x="4099" y="4995"/>
                  </a:lnTo>
                  <a:lnTo>
                    <a:pt x="4051" y="4973"/>
                  </a:lnTo>
                  <a:lnTo>
                    <a:pt x="4028" y="4961"/>
                  </a:lnTo>
                  <a:lnTo>
                    <a:pt x="4005" y="4952"/>
                  </a:lnTo>
                  <a:lnTo>
                    <a:pt x="3984" y="4945"/>
                  </a:lnTo>
                  <a:lnTo>
                    <a:pt x="3964" y="4940"/>
                  </a:lnTo>
                  <a:lnTo>
                    <a:pt x="3955" y="4939"/>
                  </a:lnTo>
                  <a:lnTo>
                    <a:pt x="3947" y="4938"/>
                  </a:lnTo>
                  <a:lnTo>
                    <a:pt x="3939" y="4939"/>
                  </a:lnTo>
                  <a:lnTo>
                    <a:pt x="3932" y="4940"/>
                  </a:lnTo>
                  <a:lnTo>
                    <a:pt x="3924" y="4943"/>
                  </a:lnTo>
                  <a:lnTo>
                    <a:pt x="3919" y="4947"/>
                  </a:lnTo>
                  <a:lnTo>
                    <a:pt x="3914" y="4952"/>
                  </a:lnTo>
                  <a:lnTo>
                    <a:pt x="3909" y="4958"/>
                  </a:lnTo>
                  <a:lnTo>
                    <a:pt x="3909" y="4958"/>
                  </a:lnTo>
                  <a:lnTo>
                    <a:pt x="3905" y="4965"/>
                  </a:lnTo>
                  <a:lnTo>
                    <a:pt x="3900" y="4973"/>
                  </a:lnTo>
                  <a:lnTo>
                    <a:pt x="3893" y="4979"/>
                  </a:lnTo>
                  <a:lnTo>
                    <a:pt x="3886" y="4985"/>
                  </a:lnTo>
                  <a:lnTo>
                    <a:pt x="3869" y="4996"/>
                  </a:lnTo>
                  <a:lnTo>
                    <a:pt x="3851" y="5006"/>
                  </a:lnTo>
                  <a:lnTo>
                    <a:pt x="3810" y="5028"/>
                  </a:lnTo>
                  <a:lnTo>
                    <a:pt x="3789" y="5039"/>
                  </a:lnTo>
                  <a:lnTo>
                    <a:pt x="3770" y="5052"/>
                  </a:lnTo>
                  <a:lnTo>
                    <a:pt x="3761" y="5058"/>
                  </a:lnTo>
                  <a:lnTo>
                    <a:pt x="3752" y="5067"/>
                  </a:lnTo>
                  <a:lnTo>
                    <a:pt x="3743" y="5074"/>
                  </a:lnTo>
                  <a:lnTo>
                    <a:pt x="3735" y="5083"/>
                  </a:lnTo>
                  <a:lnTo>
                    <a:pt x="3728" y="5092"/>
                  </a:lnTo>
                  <a:lnTo>
                    <a:pt x="3722" y="5102"/>
                  </a:lnTo>
                  <a:lnTo>
                    <a:pt x="3717" y="5113"/>
                  </a:lnTo>
                  <a:lnTo>
                    <a:pt x="3713" y="5125"/>
                  </a:lnTo>
                  <a:lnTo>
                    <a:pt x="3710" y="5137"/>
                  </a:lnTo>
                  <a:lnTo>
                    <a:pt x="3708" y="5151"/>
                  </a:lnTo>
                  <a:lnTo>
                    <a:pt x="3707" y="5165"/>
                  </a:lnTo>
                  <a:lnTo>
                    <a:pt x="3707" y="5181"/>
                  </a:lnTo>
                  <a:lnTo>
                    <a:pt x="3709" y="5198"/>
                  </a:lnTo>
                  <a:lnTo>
                    <a:pt x="3713" y="5215"/>
                  </a:lnTo>
                  <a:lnTo>
                    <a:pt x="3718" y="5234"/>
                  </a:lnTo>
                  <a:lnTo>
                    <a:pt x="3724" y="5255"/>
                  </a:lnTo>
                  <a:lnTo>
                    <a:pt x="3724" y="5255"/>
                  </a:lnTo>
                  <a:lnTo>
                    <a:pt x="3741" y="5234"/>
                  </a:lnTo>
                  <a:lnTo>
                    <a:pt x="3759" y="5213"/>
                  </a:lnTo>
                  <a:lnTo>
                    <a:pt x="3776" y="5194"/>
                  </a:lnTo>
                  <a:lnTo>
                    <a:pt x="3794" y="5178"/>
                  </a:lnTo>
                  <a:lnTo>
                    <a:pt x="3802" y="5171"/>
                  </a:lnTo>
                  <a:lnTo>
                    <a:pt x="3811" y="5165"/>
                  </a:lnTo>
                  <a:lnTo>
                    <a:pt x="3819" y="5159"/>
                  </a:lnTo>
                  <a:lnTo>
                    <a:pt x="3827" y="5155"/>
                  </a:lnTo>
                  <a:lnTo>
                    <a:pt x="3835" y="5153"/>
                  </a:lnTo>
                  <a:lnTo>
                    <a:pt x="3843" y="5151"/>
                  </a:lnTo>
                  <a:lnTo>
                    <a:pt x="3850" y="5151"/>
                  </a:lnTo>
                  <a:lnTo>
                    <a:pt x="3857" y="5153"/>
                  </a:lnTo>
                  <a:lnTo>
                    <a:pt x="3857" y="5153"/>
                  </a:lnTo>
                  <a:lnTo>
                    <a:pt x="3861" y="5155"/>
                  </a:lnTo>
                  <a:lnTo>
                    <a:pt x="3864" y="5157"/>
                  </a:lnTo>
                  <a:lnTo>
                    <a:pt x="3870" y="5163"/>
                  </a:lnTo>
                  <a:lnTo>
                    <a:pt x="3875" y="5171"/>
                  </a:lnTo>
                  <a:lnTo>
                    <a:pt x="3879" y="5179"/>
                  </a:lnTo>
                  <a:lnTo>
                    <a:pt x="3888" y="5200"/>
                  </a:lnTo>
                  <a:lnTo>
                    <a:pt x="3894" y="5210"/>
                  </a:lnTo>
                  <a:lnTo>
                    <a:pt x="3901" y="5220"/>
                  </a:lnTo>
                  <a:lnTo>
                    <a:pt x="3901" y="5220"/>
                  </a:lnTo>
                  <a:lnTo>
                    <a:pt x="3904" y="5223"/>
                  </a:lnTo>
                  <a:lnTo>
                    <a:pt x="3908" y="5225"/>
                  </a:lnTo>
                  <a:lnTo>
                    <a:pt x="3913" y="5227"/>
                  </a:lnTo>
                  <a:lnTo>
                    <a:pt x="3919" y="5228"/>
                  </a:lnTo>
                  <a:lnTo>
                    <a:pt x="3934" y="5230"/>
                  </a:lnTo>
                  <a:lnTo>
                    <a:pt x="3950" y="5230"/>
                  </a:lnTo>
                  <a:lnTo>
                    <a:pt x="3968" y="5229"/>
                  </a:lnTo>
                  <a:lnTo>
                    <a:pt x="3989" y="5227"/>
                  </a:lnTo>
                  <a:lnTo>
                    <a:pt x="4032" y="5223"/>
                  </a:lnTo>
                  <a:lnTo>
                    <a:pt x="4074" y="5219"/>
                  </a:lnTo>
                  <a:lnTo>
                    <a:pt x="4093" y="5217"/>
                  </a:lnTo>
                  <a:lnTo>
                    <a:pt x="4110" y="5217"/>
                  </a:lnTo>
                  <a:lnTo>
                    <a:pt x="4126" y="5217"/>
                  </a:lnTo>
                  <a:lnTo>
                    <a:pt x="4137" y="5219"/>
                  </a:lnTo>
                  <a:lnTo>
                    <a:pt x="4142" y="5221"/>
                  </a:lnTo>
                  <a:lnTo>
                    <a:pt x="4146" y="5223"/>
                  </a:lnTo>
                  <a:lnTo>
                    <a:pt x="4148" y="5225"/>
                  </a:lnTo>
                  <a:lnTo>
                    <a:pt x="4150" y="5228"/>
                  </a:lnTo>
                  <a:lnTo>
                    <a:pt x="4150" y="5228"/>
                  </a:lnTo>
                  <a:lnTo>
                    <a:pt x="4151" y="5231"/>
                  </a:lnTo>
                  <a:lnTo>
                    <a:pt x="4150" y="5234"/>
                  </a:lnTo>
                  <a:lnTo>
                    <a:pt x="4149" y="5236"/>
                  </a:lnTo>
                  <a:lnTo>
                    <a:pt x="4148" y="5238"/>
                  </a:lnTo>
                  <a:lnTo>
                    <a:pt x="4143" y="5242"/>
                  </a:lnTo>
                  <a:lnTo>
                    <a:pt x="4136" y="5243"/>
                  </a:lnTo>
                  <a:lnTo>
                    <a:pt x="4118" y="5246"/>
                  </a:lnTo>
                  <a:lnTo>
                    <a:pt x="4100" y="5248"/>
                  </a:lnTo>
                  <a:lnTo>
                    <a:pt x="4100" y="5248"/>
                  </a:lnTo>
                  <a:lnTo>
                    <a:pt x="4021" y="5262"/>
                  </a:lnTo>
                  <a:lnTo>
                    <a:pt x="3981" y="5269"/>
                  </a:lnTo>
                  <a:lnTo>
                    <a:pt x="3943" y="5277"/>
                  </a:lnTo>
                  <a:lnTo>
                    <a:pt x="3925" y="5282"/>
                  </a:lnTo>
                  <a:lnTo>
                    <a:pt x="3909" y="5288"/>
                  </a:lnTo>
                  <a:lnTo>
                    <a:pt x="3894" y="5294"/>
                  </a:lnTo>
                  <a:lnTo>
                    <a:pt x="3881" y="5300"/>
                  </a:lnTo>
                  <a:lnTo>
                    <a:pt x="3869" y="5306"/>
                  </a:lnTo>
                  <a:lnTo>
                    <a:pt x="3860" y="5314"/>
                  </a:lnTo>
                  <a:lnTo>
                    <a:pt x="3853" y="5322"/>
                  </a:lnTo>
                  <a:lnTo>
                    <a:pt x="3850" y="5326"/>
                  </a:lnTo>
                  <a:lnTo>
                    <a:pt x="3848" y="5331"/>
                  </a:lnTo>
                  <a:lnTo>
                    <a:pt x="3848" y="5331"/>
                  </a:lnTo>
                  <a:lnTo>
                    <a:pt x="3846" y="5338"/>
                  </a:lnTo>
                  <a:lnTo>
                    <a:pt x="3846" y="5342"/>
                  </a:lnTo>
                  <a:lnTo>
                    <a:pt x="3847" y="5352"/>
                  </a:lnTo>
                  <a:lnTo>
                    <a:pt x="3847" y="5357"/>
                  </a:lnTo>
                  <a:lnTo>
                    <a:pt x="3846" y="5363"/>
                  </a:lnTo>
                  <a:lnTo>
                    <a:pt x="3845" y="5371"/>
                  </a:lnTo>
                  <a:lnTo>
                    <a:pt x="3842" y="5382"/>
                  </a:lnTo>
                  <a:lnTo>
                    <a:pt x="3842" y="5382"/>
                  </a:lnTo>
                  <a:lnTo>
                    <a:pt x="3837" y="5393"/>
                  </a:lnTo>
                  <a:lnTo>
                    <a:pt x="3831" y="5402"/>
                  </a:lnTo>
                  <a:lnTo>
                    <a:pt x="3823" y="5410"/>
                  </a:lnTo>
                  <a:lnTo>
                    <a:pt x="3815" y="5418"/>
                  </a:lnTo>
                  <a:lnTo>
                    <a:pt x="3796" y="5434"/>
                  </a:lnTo>
                  <a:lnTo>
                    <a:pt x="3786" y="5442"/>
                  </a:lnTo>
                  <a:lnTo>
                    <a:pt x="3776" y="5451"/>
                  </a:lnTo>
                  <a:lnTo>
                    <a:pt x="3767" y="5460"/>
                  </a:lnTo>
                  <a:lnTo>
                    <a:pt x="3758" y="5472"/>
                  </a:lnTo>
                  <a:lnTo>
                    <a:pt x="3750" y="5485"/>
                  </a:lnTo>
                  <a:lnTo>
                    <a:pt x="3742" y="5499"/>
                  </a:lnTo>
                  <a:lnTo>
                    <a:pt x="3736" y="5517"/>
                  </a:lnTo>
                  <a:lnTo>
                    <a:pt x="3732" y="5536"/>
                  </a:lnTo>
                  <a:lnTo>
                    <a:pt x="3730" y="5558"/>
                  </a:lnTo>
                  <a:lnTo>
                    <a:pt x="3730" y="5584"/>
                  </a:lnTo>
                  <a:lnTo>
                    <a:pt x="3730" y="5584"/>
                  </a:lnTo>
                  <a:lnTo>
                    <a:pt x="3732" y="5597"/>
                  </a:lnTo>
                  <a:lnTo>
                    <a:pt x="3735" y="5610"/>
                  </a:lnTo>
                  <a:lnTo>
                    <a:pt x="3739" y="5622"/>
                  </a:lnTo>
                  <a:lnTo>
                    <a:pt x="3744" y="5634"/>
                  </a:lnTo>
                  <a:lnTo>
                    <a:pt x="3751" y="5644"/>
                  </a:lnTo>
                  <a:lnTo>
                    <a:pt x="3757" y="5656"/>
                  </a:lnTo>
                  <a:lnTo>
                    <a:pt x="3763" y="5665"/>
                  </a:lnTo>
                  <a:lnTo>
                    <a:pt x="3770" y="5674"/>
                  </a:lnTo>
                  <a:lnTo>
                    <a:pt x="3784" y="5689"/>
                  </a:lnTo>
                  <a:lnTo>
                    <a:pt x="3797" y="5701"/>
                  </a:lnTo>
                  <a:lnTo>
                    <a:pt x="3807" y="5708"/>
                  </a:lnTo>
                  <a:lnTo>
                    <a:pt x="3810" y="5710"/>
                  </a:lnTo>
                  <a:lnTo>
                    <a:pt x="3813" y="5711"/>
                  </a:lnTo>
                  <a:lnTo>
                    <a:pt x="3813" y="5711"/>
                  </a:lnTo>
                  <a:lnTo>
                    <a:pt x="3814" y="5710"/>
                  </a:lnTo>
                  <a:lnTo>
                    <a:pt x="3815" y="5709"/>
                  </a:lnTo>
                  <a:lnTo>
                    <a:pt x="3816" y="5704"/>
                  </a:lnTo>
                  <a:lnTo>
                    <a:pt x="3818" y="5696"/>
                  </a:lnTo>
                  <a:lnTo>
                    <a:pt x="3818" y="5686"/>
                  </a:lnTo>
                  <a:lnTo>
                    <a:pt x="3820" y="5662"/>
                  </a:lnTo>
                  <a:lnTo>
                    <a:pt x="3823" y="5633"/>
                  </a:lnTo>
                  <a:lnTo>
                    <a:pt x="3825" y="5619"/>
                  </a:lnTo>
                  <a:lnTo>
                    <a:pt x="3828" y="5603"/>
                  </a:lnTo>
                  <a:lnTo>
                    <a:pt x="3831" y="5590"/>
                  </a:lnTo>
                  <a:lnTo>
                    <a:pt x="3836" y="5577"/>
                  </a:lnTo>
                  <a:lnTo>
                    <a:pt x="3843" y="5566"/>
                  </a:lnTo>
                  <a:lnTo>
                    <a:pt x="3847" y="5562"/>
                  </a:lnTo>
                  <a:lnTo>
                    <a:pt x="3851" y="5556"/>
                  </a:lnTo>
                  <a:lnTo>
                    <a:pt x="3855" y="5553"/>
                  </a:lnTo>
                  <a:lnTo>
                    <a:pt x="3860" y="5550"/>
                  </a:lnTo>
                  <a:lnTo>
                    <a:pt x="3865" y="5547"/>
                  </a:lnTo>
                  <a:lnTo>
                    <a:pt x="3871" y="5546"/>
                  </a:lnTo>
                  <a:lnTo>
                    <a:pt x="3871" y="5546"/>
                  </a:lnTo>
                  <a:lnTo>
                    <a:pt x="3877" y="5545"/>
                  </a:lnTo>
                  <a:lnTo>
                    <a:pt x="3882" y="5546"/>
                  </a:lnTo>
                  <a:lnTo>
                    <a:pt x="3888" y="5548"/>
                  </a:lnTo>
                  <a:lnTo>
                    <a:pt x="3892" y="5552"/>
                  </a:lnTo>
                  <a:lnTo>
                    <a:pt x="3902" y="5561"/>
                  </a:lnTo>
                  <a:lnTo>
                    <a:pt x="3911" y="5571"/>
                  </a:lnTo>
                  <a:lnTo>
                    <a:pt x="3921" y="5581"/>
                  </a:lnTo>
                  <a:lnTo>
                    <a:pt x="3926" y="5586"/>
                  </a:lnTo>
                  <a:lnTo>
                    <a:pt x="3933" y="5590"/>
                  </a:lnTo>
                  <a:lnTo>
                    <a:pt x="3940" y="5594"/>
                  </a:lnTo>
                  <a:lnTo>
                    <a:pt x="3946" y="5597"/>
                  </a:lnTo>
                  <a:lnTo>
                    <a:pt x="3954" y="5598"/>
                  </a:lnTo>
                  <a:lnTo>
                    <a:pt x="3962" y="5599"/>
                  </a:lnTo>
                  <a:lnTo>
                    <a:pt x="3962" y="5599"/>
                  </a:lnTo>
                  <a:lnTo>
                    <a:pt x="3970" y="5598"/>
                  </a:lnTo>
                  <a:lnTo>
                    <a:pt x="3979" y="5595"/>
                  </a:lnTo>
                  <a:lnTo>
                    <a:pt x="3987" y="5592"/>
                  </a:lnTo>
                  <a:lnTo>
                    <a:pt x="3996" y="5588"/>
                  </a:lnTo>
                  <a:lnTo>
                    <a:pt x="4005" y="5582"/>
                  </a:lnTo>
                  <a:lnTo>
                    <a:pt x="4014" y="5576"/>
                  </a:lnTo>
                  <a:lnTo>
                    <a:pt x="4035" y="5559"/>
                  </a:lnTo>
                  <a:lnTo>
                    <a:pt x="4055" y="5542"/>
                  </a:lnTo>
                  <a:lnTo>
                    <a:pt x="4077" y="5522"/>
                  </a:lnTo>
                  <a:lnTo>
                    <a:pt x="4122" y="5479"/>
                  </a:lnTo>
                  <a:lnTo>
                    <a:pt x="4144" y="5457"/>
                  </a:lnTo>
                  <a:lnTo>
                    <a:pt x="4166" y="5437"/>
                  </a:lnTo>
                  <a:lnTo>
                    <a:pt x="4187" y="5417"/>
                  </a:lnTo>
                  <a:lnTo>
                    <a:pt x="4208" y="5402"/>
                  </a:lnTo>
                  <a:lnTo>
                    <a:pt x="4227" y="5389"/>
                  </a:lnTo>
                  <a:lnTo>
                    <a:pt x="4236" y="5384"/>
                  </a:lnTo>
                  <a:lnTo>
                    <a:pt x="4245" y="5380"/>
                  </a:lnTo>
                  <a:lnTo>
                    <a:pt x="4254" y="5376"/>
                  </a:lnTo>
                  <a:lnTo>
                    <a:pt x="4262" y="5374"/>
                  </a:lnTo>
                  <a:lnTo>
                    <a:pt x="4270" y="5374"/>
                  </a:lnTo>
                  <a:lnTo>
                    <a:pt x="4277" y="5375"/>
                  </a:lnTo>
                  <a:lnTo>
                    <a:pt x="4277" y="5375"/>
                  </a:lnTo>
                  <a:lnTo>
                    <a:pt x="4278" y="5376"/>
                  </a:lnTo>
                  <a:lnTo>
                    <a:pt x="4279" y="5379"/>
                  </a:lnTo>
                  <a:lnTo>
                    <a:pt x="4278" y="5382"/>
                  </a:lnTo>
                  <a:lnTo>
                    <a:pt x="4277" y="5384"/>
                  </a:lnTo>
                  <a:lnTo>
                    <a:pt x="4272" y="5391"/>
                  </a:lnTo>
                  <a:lnTo>
                    <a:pt x="4264" y="5399"/>
                  </a:lnTo>
                  <a:lnTo>
                    <a:pt x="4241" y="5420"/>
                  </a:lnTo>
                  <a:lnTo>
                    <a:pt x="4212" y="5447"/>
                  </a:lnTo>
                  <a:lnTo>
                    <a:pt x="4181" y="5477"/>
                  </a:lnTo>
                  <a:lnTo>
                    <a:pt x="4167" y="5492"/>
                  </a:lnTo>
                  <a:lnTo>
                    <a:pt x="4152" y="5508"/>
                  </a:lnTo>
                  <a:lnTo>
                    <a:pt x="4140" y="5525"/>
                  </a:lnTo>
                  <a:lnTo>
                    <a:pt x="4129" y="5542"/>
                  </a:lnTo>
                  <a:lnTo>
                    <a:pt x="4121" y="5558"/>
                  </a:lnTo>
                  <a:lnTo>
                    <a:pt x="4118" y="5567"/>
                  </a:lnTo>
                  <a:lnTo>
                    <a:pt x="4116" y="5576"/>
                  </a:lnTo>
                  <a:lnTo>
                    <a:pt x="4116" y="5576"/>
                  </a:lnTo>
                  <a:lnTo>
                    <a:pt x="4114" y="5588"/>
                  </a:lnTo>
                  <a:lnTo>
                    <a:pt x="4114" y="5599"/>
                  </a:lnTo>
                  <a:lnTo>
                    <a:pt x="4115" y="5611"/>
                  </a:lnTo>
                  <a:lnTo>
                    <a:pt x="4119" y="5620"/>
                  </a:lnTo>
                  <a:lnTo>
                    <a:pt x="4123" y="5628"/>
                  </a:lnTo>
                  <a:lnTo>
                    <a:pt x="4129" y="5636"/>
                  </a:lnTo>
                  <a:lnTo>
                    <a:pt x="4135" y="5643"/>
                  </a:lnTo>
                  <a:lnTo>
                    <a:pt x="4142" y="5649"/>
                  </a:lnTo>
                  <a:lnTo>
                    <a:pt x="4157" y="5663"/>
                  </a:lnTo>
                  <a:lnTo>
                    <a:pt x="4163" y="5669"/>
                  </a:lnTo>
                  <a:lnTo>
                    <a:pt x="4169" y="5676"/>
                  </a:lnTo>
                  <a:lnTo>
                    <a:pt x="4175" y="5683"/>
                  </a:lnTo>
                  <a:lnTo>
                    <a:pt x="4179" y="5690"/>
                  </a:lnTo>
                  <a:lnTo>
                    <a:pt x="4182" y="5699"/>
                  </a:lnTo>
                  <a:lnTo>
                    <a:pt x="4183" y="5708"/>
                  </a:lnTo>
                  <a:lnTo>
                    <a:pt x="4183" y="5708"/>
                  </a:lnTo>
                  <a:lnTo>
                    <a:pt x="4184" y="5718"/>
                  </a:lnTo>
                  <a:lnTo>
                    <a:pt x="4186" y="5729"/>
                  </a:lnTo>
                  <a:lnTo>
                    <a:pt x="4189" y="5738"/>
                  </a:lnTo>
                  <a:lnTo>
                    <a:pt x="4193" y="5749"/>
                  </a:lnTo>
                  <a:lnTo>
                    <a:pt x="4198" y="5758"/>
                  </a:lnTo>
                  <a:lnTo>
                    <a:pt x="4205" y="5767"/>
                  </a:lnTo>
                  <a:lnTo>
                    <a:pt x="4212" y="5775"/>
                  </a:lnTo>
                  <a:lnTo>
                    <a:pt x="4220" y="5783"/>
                  </a:lnTo>
                  <a:lnTo>
                    <a:pt x="4228" y="5792"/>
                  </a:lnTo>
                  <a:lnTo>
                    <a:pt x="4237" y="5799"/>
                  </a:lnTo>
                  <a:lnTo>
                    <a:pt x="4257" y="5812"/>
                  </a:lnTo>
                  <a:lnTo>
                    <a:pt x="4278" y="5824"/>
                  </a:lnTo>
                  <a:lnTo>
                    <a:pt x="4300" y="5835"/>
                  </a:lnTo>
                  <a:lnTo>
                    <a:pt x="4322" y="5844"/>
                  </a:lnTo>
                  <a:lnTo>
                    <a:pt x="4344" y="5852"/>
                  </a:lnTo>
                  <a:lnTo>
                    <a:pt x="4364" y="5857"/>
                  </a:lnTo>
                  <a:lnTo>
                    <a:pt x="4382" y="5862"/>
                  </a:lnTo>
                  <a:lnTo>
                    <a:pt x="4399" y="5864"/>
                  </a:lnTo>
                  <a:lnTo>
                    <a:pt x="4412" y="5865"/>
                  </a:lnTo>
                  <a:lnTo>
                    <a:pt x="4421" y="5865"/>
                  </a:lnTo>
                  <a:lnTo>
                    <a:pt x="4424" y="5864"/>
                  </a:lnTo>
                  <a:lnTo>
                    <a:pt x="4426" y="5863"/>
                  </a:lnTo>
                  <a:lnTo>
                    <a:pt x="4426" y="5863"/>
                  </a:lnTo>
                  <a:lnTo>
                    <a:pt x="4427" y="5861"/>
                  </a:lnTo>
                  <a:lnTo>
                    <a:pt x="4427" y="5859"/>
                  </a:lnTo>
                  <a:lnTo>
                    <a:pt x="4425" y="5853"/>
                  </a:lnTo>
                  <a:lnTo>
                    <a:pt x="4420" y="5846"/>
                  </a:lnTo>
                  <a:lnTo>
                    <a:pt x="4412" y="5836"/>
                  </a:lnTo>
                  <a:lnTo>
                    <a:pt x="4393" y="5813"/>
                  </a:lnTo>
                  <a:lnTo>
                    <a:pt x="4369" y="5786"/>
                  </a:lnTo>
                  <a:lnTo>
                    <a:pt x="4358" y="5773"/>
                  </a:lnTo>
                  <a:lnTo>
                    <a:pt x="4348" y="5759"/>
                  </a:lnTo>
                  <a:lnTo>
                    <a:pt x="4339" y="5745"/>
                  </a:lnTo>
                  <a:lnTo>
                    <a:pt x="4330" y="5731"/>
                  </a:lnTo>
                  <a:lnTo>
                    <a:pt x="4325" y="5718"/>
                  </a:lnTo>
                  <a:lnTo>
                    <a:pt x="4324" y="5712"/>
                  </a:lnTo>
                  <a:lnTo>
                    <a:pt x="4323" y="5706"/>
                  </a:lnTo>
                  <a:lnTo>
                    <a:pt x="4323" y="5700"/>
                  </a:lnTo>
                  <a:lnTo>
                    <a:pt x="4324" y="5694"/>
                  </a:lnTo>
                  <a:lnTo>
                    <a:pt x="4326" y="5689"/>
                  </a:lnTo>
                  <a:lnTo>
                    <a:pt x="4329" y="5684"/>
                  </a:lnTo>
                  <a:lnTo>
                    <a:pt x="4329" y="5684"/>
                  </a:lnTo>
                  <a:lnTo>
                    <a:pt x="4333" y="5680"/>
                  </a:lnTo>
                  <a:lnTo>
                    <a:pt x="4337" y="5677"/>
                  </a:lnTo>
                  <a:lnTo>
                    <a:pt x="4343" y="5676"/>
                  </a:lnTo>
                  <a:lnTo>
                    <a:pt x="4347" y="5675"/>
                  </a:lnTo>
                  <a:lnTo>
                    <a:pt x="4352" y="5675"/>
                  </a:lnTo>
                  <a:lnTo>
                    <a:pt x="4358" y="5676"/>
                  </a:lnTo>
                  <a:lnTo>
                    <a:pt x="4370" y="5678"/>
                  </a:lnTo>
                  <a:lnTo>
                    <a:pt x="4384" y="5681"/>
                  </a:lnTo>
                  <a:lnTo>
                    <a:pt x="4392" y="5682"/>
                  </a:lnTo>
                  <a:lnTo>
                    <a:pt x="4399" y="5682"/>
                  </a:lnTo>
                  <a:lnTo>
                    <a:pt x="4408" y="5682"/>
                  </a:lnTo>
                  <a:lnTo>
                    <a:pt x="4416" y="5681"/>
                  </a:lnTo>
                  <a:lnTo>
                    <a:pt x="4425" y="5679"/>
                  </a:lnTo>
                  <a:lnTo>
                    <a:pt x="4436" y="5675"/>
                  </a:lnTo>
                  <a:lnTo>
                    <a:pt x="4436" y="5675"/>
                  </a:lnTo>
                  <a:lnTo>
                    <a:pt x="4437" y="5673"/>
                  </a:lnTo>
                  <a:lnTo>
                    <a:pt x="4438" y="5670"/>
                  </a:lnTo>
                  <a:lnTo>
                    <a:pt x="4438" y="5663"/>
                  </a:lnTo>
                  <a:lnTo>
                    <a:pt x="4436" y="5652"/>
                  </a:lnTo>
                  <a:lnTo>
                    <a:pt x="4434" y="5637"/>
                  </a:lnTo>
                  <a:lnTo>
                    <a:pt x="4431" y="5621"/>
                  </a:lnTo>
                  <a:lnTo>
                    <a:pt x="4428" y="5602"/>
                  </a:lnTo>
                  <a:lnTo>
                    <a:pt x="4426" y="5581"/>
                  </a:lnTo>
                  <a:lnTo>
                    <a:pt x="4426" y="5557"/>
                  </a:lnTo>
                  <a:lnTo>
                    <a:pt x="4428" y="5533"/>
                  </a:lnTo>
                  <a:lnTo>
                    <a:pt x="4431" y="5520"/>
                  </a:lnTo>
                  <a:lnTo>
                    <a:pt x="4434" y="5505"/>
                  </a:lnTo>
                  <a:lnTo>
                    <a:pt x="4437" y="5492"/>
                  </a:lnTo>
                  <a:lnTo>
                    <a:pt x="4441" y="5477"/>
                  </a:lnTo>
                  <a:lnTo>
                    <a:pt x="4446" y="5462"/>
                  </a:lnTo>
                  <a:lnTo>
                    <a:pt x="4453" y="5447"/>
                  </a:lnTo>
                  <a:lnTo>
                    <a:pt x="4460" y="5432"/>
                  </a:lnTo>
                  <a:lnTo>
                    <a:pt x="4469" y="5416"/>
                  </a:lnTo>
                  <a:lnTo>
                    <a:pt x="4479" y="5400"/>
                  </a:lnTo>
                  <a:lnTo>
                    <a:pt x="4490" y="5384"/>
                  </a:lnTo>
                  <a:lnTo>
                    <a:pt x="4503" y="5367"/>
                  </a:lnTo>
                  <a:lnTo>
                    <a:pt x="4516" y="5351"/>
                  </a:lnTo>
                  <a:lnTo>
                    <a:pt x="4533" y="5334"/>
                  </a:lnTo>
                  <a:lnTo>
                    <a:pt x="4550" y="5317"/>
                  </a:lnTo>
                  <a:lnTo>
                    <a:pt x="4550" y="5317"/>
                  </a:lnTo>
                  <a:lnTo>
                    <a:pt x="4557" y="5328"/>
                  </a:lnTo>
                  <a:lnTo>
                    <a:pt x="4566" y="5340"/>
                  </a:lnTo>
                  <a:lnTo>
                    <a:pt x="4578" y="5353"/>
                  </a:lnTo>
                  <a:lnTo>
                    <a:pt x="4586" y="5360"/>
                  </a:lnTo>
                  <a:lnTo>
                    <a:pt x="4594" y="5367"/>
                  </a:lnTo>
                  <a:lnTo>
                    <a:pt x="4603" y="5373"/>
                  </a:lnTo>
                  <a:lnTo>
                    <a:pt x="4614" y="5381"/>
                  </a:lnTo>
                  <a:lnTo>
                    <a:pt x="4624" y="5386"/>
                  </a:lnTo>
                  <a:lnTo>
                    <a:pt x="4636" y="5390"/>
                  </a:lnTo>
                  <a:lnTo>
                    <a:pt x="4648" y="5394"/>
                  </a:lnTo>
                  <a:lnTo>
                    <a:pt x="4662" y="5396"/>
                  </a:lnTo>
                  <a:lnTo>
                    <a:pt x="4662" y="5396"/>
                  </a:lnTo>
                  <a:lnTo>
                    <a:pt x="4668" y="5397"/>
                  </a:lnTo>
                  <a:lnTo>
                    <a:pt x="4673" y="5399"/>
                  </a:lnTo>
                  <a:lnTo>
                    <a:pt x="4677" y="5402"/>
                  </a:lnTo>
                  <a:lnTo>
                    <a:pt x="4681" y="5405"/>
                  </a:lnTo>
                  <a:lnTo>
                    <a:pt x="4685" y="5409"/>
                  </a:lnTo>
                  <a:lnTo>
                    <a:pt x="4688" y="5413"/>
                  </a:lnTo>
                  <a:lnTo>
                    <a:pt x="4692" y="5425"/>
                  </a:lnTo>
                  <a:lnTo>
                    <a:pt x="4696" y="5437"/>
                  </a:lnTo>
                  <a:lnTo>
                    <a:pt x="4698" y="5450"/>
                  </a:lnTo>
                  <a:lnTo>
                    <a:pt x="4698" y="5463"/>
                  </a:lnTo>
                  <a:lnTo>
                    <a:pt x="4698" y="5478"/>
                  </a:lnTo>
                  <a:lnTo>
                    <a:pt x="4696" y="5506"/>
                  </a:lnTo>
                  <a:lnTo>
                    <a:pt x="4694" y="5531"/>
                  </a:lnTo>
                  <a:lnTo>
                    <a:pt x="4692" y="5548"/>
                  </a:lnTo>
                  <a:lnTo>
                    <a:pt x="4692" y="5553"/>
                  </a:lnTo>
                  <a:lnTo>
                    <a:pt x="4693" y="5554"/>
                  </a:lnTo>
                  <a:lnTo>
                    <a:pt x="4694" y="5554"/>
                  </a:lnTo>
                  <a:lnTo>
                    <a:pt x="4694" y="5554"/>
                  </a:lnTo>
                  <a:lnTo>
                    <a:pt x="4697" y="5553"/>
                  </a:lnTo>
                  <a:lnTo>
                    <a:pt x="4702" y="5550"/>
                  </a:lnTo>
                  <a:lnTo>
                    <a:pt x="4708" y="5545"/>
                  </a:lnTo>
                  <a:lnTo>
                    <a:pt x="4714" y="5538"/>
                  </a:lnTo>
                  <a:lnTo>
                    <a:pt x="4721" y="5529"/>
                  </a:lnTo>
                  <a:lnTo>
                    <a:pt x="4729" y="5519"/>
                  </a:lnTo>
                  <a:lnTo>
                    <a:pt x="4736" y="5505"/>
                  </a:lnTo>
                  <a:lnTo>
                    <a:pt x="4743" y="5492"/>
                  </a:lnTo>
                  <a:lnTo>
                    <a:pt x="4751" y="5477"/>
                  </a:lnTo>
                  <a:lnTo>
                    <a:pt x="4758" y="5459"/>
                  </a:lnTo>
                  <a:lnTo>
                    <a:pt x="4763" y="5442"/>
                  </a:lnTo>
                  <a:lnTo>
                    <a:pt x="4768" y="5422"/>
                  </a:lnTo>
                  <a:lnTo>
                    <a:pt x="4771" y="5402"/>
                  </a:lnTo>
                  <a:lnTo>
                    <a:pt x="4773" y="5382"/>
                  </a:lnTo>
                  <a:lnTo>
                    <a:pt x="4772" y="5360"/>
                  </a:lnTo>
                  <a:lnTo>
                    <a:pt x="4770" y="5338"/>
                  </a:lnTo>
                  <a:lnTo>
                    <a:pt x="4770" y="5338"/>
                  </a:lnTo>
                  <a:lnTo>
                    <a:pt x="4778" y="5330"/>
                  </a:lnTo>
                  <a:lnTo>
                    <a:pt x="4798" y="5313"/>
                  </a:lnTo>
                  <a:lnTo>
                    <a:pt x="4809" y="5302"/>
                  </a:lnTo>
                  <a:lnTo>
                    <a:pt x="4819" y="5290"/>
                  </a:lnTo>
                  <a:lnTo>
                    <a:pt x="4827" y="5276"/>
                  </a:lnTo>
                  <a:lnTo>
                    <a:pt x="4830" y="5270"/>
                  </a:lnTo>
                  <a:lnTo>
                    <a:pt x="4832" y="5264"/>
                  </a:lnTo>
                  <a:lnTo>
                    <a:pt x="4832" y="5264"/>
                  </a:lnTo>
                  <a:lnTo>
                    <a:pt x="4834" y="5255"/>
                  </a:lnTo>
                  <a:lnTo>
                    <a:pt x="4835" y="5246"/>
                  </a:lnTo>
                  <a:lnTo>
                    <a:pt x="4836" y="5237"/>
                  </a:lnTo>
                  <a:lnTo>
                    <a:pt x="4835" y="5230"/>
                  </a:lnTo>
                  <a:lnTo>
                    <a:pt x="4834" y="5224"/>
                  </a:lnTo>
                  <a:lnTo>
                    <a:pt x="4832" y="5218"/>
                  </a:lnTo>
                  <a:lnTo>
                    <a:pt x="4830" y="5213"/>
                  </a:lnTo>
                  <a:lnTo>
                    <a:pt x="4827" y="5208"/>
                  </a:lnTo>
                  <a:lnTo>
                    <a:pt x="4819" y="5199"/>
                  </a:lnTo>
                  <a:lnTo>
                    <a:pt x="4810" y="5189"/>
                  </a:lnTo>
                  <a:lnTo>
                    <a:pt x="4800" y="5180"/>
                  </a:lnTo>
                  <a:lnTo>
                    <a:pt x="4789" y="5169"/>
                  </a:lnTo>
                  <a:lnTo>
                    <a:pt x="4778" y="5156"/>
                  </a:lnTo>
                  <a:lnTo>
                    <a:pt x="4772" y="5148"/>
                  </a:lnTo>
                  <a:lnTo>
                    <a:pt x="4767" y="5139"/>
                  </a:lnTo>
                  <a:lnTo>
                    <a:pt x="4762" y="5130"/>
                  </a:lnTo>
                  <a:lnTo>
                    <a:pt x="4757" y="5120"/>
                  </a:lnTo>
                  <a:lnTo>
                    <a:pt x="4753" y="5108"/>
                  </a:lnTo>
                  <a:lnTo>
                    <a:pt x="4749" y="5095"/>
                  </a:lnTo>
                  <a:lnTo>
                    <a:pt x="4744" y="5081"/>
                  </a:lnTo>
                  <a:lnTo>
                    <a:pt x="4741" y="5065"/>
                  </a:lnTo>
                  <a:lnTo>
                    <a:pt x="4738" y="5048"/>
                  </a:lnTo>
                  <a:lnTo>
                    <a:pt x="4736" y="5029"/>
                  </a:lnTo>
                  <a:lnTo>
                    <a:pt x="4735" y="5008"/>
                  </a:lnTo>
                  <a:lnTo>
                    <a:pt x="4734" y="4986"/>
                  </a:lnTo>
                  <a:lnTo>
                    <a:pt x="4734" y="4961"/>
                  </a:lnTo>
                  <a:lnTo>
                    <a:pt x="4735" y="4935"/>
                  </a:lnTo>
                  <a:lnTo>
                    <a:pt x="4735" y="4935"/>
                  </a:lnTo>
                  <a:lnTo>
                    <a:pt x="4735" y="4917"/>
                  </a:lnTo>
                  <a:lnTo>
                    <a:pt x="4734" y="4911"/>
                  </a:lnTo>
                  <a:lnTo>
                    <a:pt x="4733" y="4906"/>
                  </a:lnTo>
                  <a:lnTo>
                    <a:pt x="4731" y="4901"/>
                  </a:lnTo>
                  <a:lnTo>
                    <a:pt x="4729" y="4897"/>
                  </a:lnTo>
                  <a:lnTo>
                    <a:pt x="4727" y="4894"/>
                  </a:lnTo>
                  <a:lnTo>
                    <a:pt x="4724" y="4891"/>
                  </a:lnTo>
                  <a:lnTo>
                    <a:pt x="4716" y="4885"/>
                  </a:lnTo>
                  <a:lnTo>
                    <a:pt x="4706" y="4878"/>
                  </a:lnTo>
                  <a:lnTo>
                    <a:pt x="4693" y="4868"/>
                  </a:lnTo>
                  <a:lnTo>
                    <a:pt x="4679" y="4856"/>
                  </a:lnTo>
                  <a:lnTo>
                    <a:pt x="4679" y="4856"/>
                  </a:lnTo>
                  <a:lnTo>
                    <a:pt x="4671" y="4846"/>
                  </a:lnTo>
                  <a:lnTo>
                    <a:pt x="4664" y="4836"/>
                  </a:lnTo>
                  <a:lnTo>
                    <a:pt x="4659" y="4825"/>
                  </a:lnTo>
                  <a:lnTo>
                    <a:pt x="4655" y="4815"/>
                  </a:lnTo>
                  <a:lnTo>
                    <a:pt x="4654" y="4807"/>
                  </a:lnTo>
                  <a:lnTo>
                    <a:pt x="4654" y="4804"/>
                  </a:lnTo>
                  <a:lnTo>
                    <a:pt x="4654" y="4802"/>
                  </a:lnTo>
                  <a:lnTo>
                    <a:pt x="4657" y="4800"/>
                  </a:lnTo>
                  <a:lnTo>
                    <a:pt x="4659" y="4799"/>
                  </a:lnTo>
                  <a:lnTo>
                    <a:pt x="4661" y="4799"/>
                  </a:lnTo>
                  <a:lnTo>
                    <a:pt x="4665" y="4800"/>
                  </a:lnTo>
                  <a:lnTo>
                    <a:pt x="4665" y="4800"/>
                  </a:lnTo>
                  <a:lnTo>
                    <a:pt x="4679" y="4806"/>
                  </a:lnTo>
                  <a:lnTo>
                    <a:pt x="4693" y="4810"/>
                  </a:lnTo>
                  <a:lnTo>
                    <a:pt x="4708" y="4813"/>
                  </a:lnTo>
                  <a:lnTo>
                    <a:pt x="4723" y="4814"/>
                  </a:lnTo>
                  <a:lnTo>
                    <a:pt x="4737" y="4815"/>
                  </a:lnTo>
                  <a:lnTo>
                    <a:pt x="4752" y="4816"/>
                  </a:lnTo>
                  <a:lnTo>
                    <a:pt x="4765" y="4815"/>
                  </a:lnTo>
                  <a:lnTo>
                    <a:pt x="4778" y="4814"/>
                  </a:lnTo>
                  <a:lnTo>
                    <a:pt x="4802" y="4811"/>
                  </a:lnTo>
                  <a:lnTo>
                    <a:pt x="4819" y="4807"/>
                  </a:lnTo>
                  <a:lnTo>
                    <a:pt x="4835" y="4803"/>
                  </a:lnTo>
                  <a:lnTo>
                    <a:pt x="4835" y="4803"/>
                  </a:lnTo>
                  <a:lnTo>
                    <a:pt x="4844" y="4707"/>
                  </a:lnTo>
                  <a:lnTo>
                    <a:pt x="4849" y="4632"/>
                  </a:lnTo>
                  <a:lnTo>
                    <a:pt x="4851" y="4577"/>
                  </a:lnTo>
                  <a:lnTo>
                    <a:pt x="4851" y="4539"/>
                  </a:lnTo>
                  <a:lnTo>
                    <a:pt x="4849" y="4514"/>
                  </a:lnTo>
                  <a:lnTo>
                    <a:pt x="4847" y="4499"/>
                  </a:lnTo>
                  <a:lnTo>
                    <a:pt x="4845" y="4493"/>
                  </a:lnTo>
                  <a:lnTo>
                    <a:pt x="4844" y="4491"/>
                  </a:lnTo>
                  <a:lnTo>
                    <a:pt x="4844" y="4491"/>
                  </a:lnTo>
                  <a:lnTo>
                    <a:pt x="4825" y="4492"/>
                  </a:lnTo>
                  <a:lnTo>
                    <a:pt x="4808" y="4491"/>
                  </a:lnTo>
                  <a:lnTo>
                    <a:pt x="4791" y="4490"/>
                  </a:lnTo>
                  <a:lnTo>
                    <a:pt x="4776" y="4489"/>
                  </a:lnTo>
                  <a:lnTo>
                    <a:pt x="4763" y="4487"/>
                  </a:lnTo>
                  <a:lnTo>
                    <a:pt x="4750" y="4484"/>
                  </a:lnTo>
                  <a:lnTo>
                    <a:pt x="4737" y="4481"/>
                  </a:lnTo>
                  <a:lnTo>
                    <a:pt x="4726" y="4477"/>
                  </a:lnTo>
                  <a:lnTo>
                    <a:pt x="4716" y="4473"/>
                  </a:lnTo>
                  <a:lnTo>
                    <a:pt x="4707" y="4469"/>
                  </a:lnTo>
                  <a:lnTo>
                    <a:pt x="4698" y="4463"/>
                  </a:lnTo>
                  <a:lnTo>
                    <a:pt x="4690" y="4458"/>
                  </a:lnTo>
                  <a:lnTo>
                    <a:pt x="4683" y="4452"/>
                  </a:lnTo>
                  <a:lnTo>
                    <a:pt x="4676" y="4447"/>
                  </a:lnTo>
                  <a:lnTo>
                    <a:pt x="4665" y="4434"/>
                  </a:lnTo>
                  <a:lnTo>
                    <a:pt x="4665" y="4434"/>
                  </a:lnTo>
                  <a:lnTo>
                    <a:pt x="4677" y="4437"/>
                  </a:lnTo>
                  <a:lnTo>
                    <a:pt x="4690" y="4439"/>
                  </a:lnTo>
                  <a:lnTo>
                    <a:pt x="4717" y="4441"/>
                  </a:lnTo>
                  <a:lnTo>
                    <a:pt x="4742" y="4441"/>
                  </a:lnTo>
                  <a:lnTo>
                    <a:pt x="4768" y="4439"/>
                  </a:lnTo>
                  <a:lnTo>
                    <a:pt x="4790" y="4435"/>
                  </a:lnTo>
                  <a:lnTo>
                    <a:pt x="4812" y="4429"/>
                  </a:lnTo>
                  <a:lnTo>
                    <a:pt x="4821" y="4426"/>
                  </a:lnTo>
                  <a:lnTo>
                    <a:pt x="4829" y="4422"/>
                  </a:lnTo>
                  <a:lnTo>
                    <a:pt x="4838" y="4416"/>
                  </a:lnTo>
                  <a:lnTo>
                    <a:pt x="4844" y="4412"/>
                  </a:lnTo>
                  <a:lnTo>
                    <a:pt x="4844" y="4412"/>
                  </a:lnTo>
                  <a:lnTo>
                    <a:pt x="4843" y="4364"/>
                  </a:lnTo>
                  <a:lnTo>
                    <a:pt x="4841" y="4316"/>
                  </a:lnTo>
                  <a:lnTo>
                    <a:pt x="4838" y="4261"/>
                  </a:lnTo>
                  <a:lnTo>
                    <a:pt x="4833" y="4206"/>
                  </a:lnTo>
                  <a:lnTo>
                    <a:pt x="4831" y="4181"/>
                  </a:lnTo>
                  <a:lnTo>
                    <a:pt x="4828" y="4159"/>
                  </a:lnTo>
                  <a:lnTo>
                    <a:pt x="4825" y="4140"/>
                  </a:lnTo>
                  <a:lnTo>
                    <a:pt x="4822" y="4126"/>
                  </a:lnTo>
                  <a:lnTo>
                    <a:pt x="4820" y="4121"/>
                  </a:lnTo>
                  <a:lnTo>
                    <a:pt x="4818" y="4118"/>
                  </a:lnTo>
                  <a:lnTo>
                    <a:pt x="4816" y="4116"/>
                  </a:lnTo>
                  <a:lnTo>
                    <a:pt x="4814" y="4116"/>
                  </a:lnTo>
                  <a:lnTo>
                    <a:pt x="4814" y="4116"/>
                  </a:lnTo>
                  <a:lnTo>
                    <a:pt x="4786" y="4123"/>
                  </a:lnTo>
                  <a:lnTo>
                    <a:pt x="4760" y="4128"/>
                  </a:lnTo>
                  <a:lnTo>
                    <a:pt x="4746" y="4129"/>
                  </a:lnTo>
                  <a:lnTo>
                    <a:pt x="4734" y="4130"/>
                  </a:lnTo>
                  <a:lnTo>
                    <a:pt x="4722" y="4130"/>
                  </a:lnTo>
                  <a:lnTo>
                    <a:pt x="4711" y="4129"/>
                  </a:lnTo>
                  <a:lnTo>
                    <a:pt x="4698" y="4127"/>
                  </a:lnTo>
                  <a:lnTo>
                    <a:pt x="4687" y="4125"/>
                  </a:lnTo>
                  <a:lnTo>
                    <a:pt x="4675" y="4122"/>
                  </a:lnTo>
                  <a:lnTo>
                    <a:pt x="4664" y="4118"/>
                  </a:lnTo>
                  <a:lnTo>
                    <a:pt x="4652" y="4113"/>
                  </a:lnTo>
                  <a:lnTo>
                    <a:pt x="4640" y="4108"/>
                  </a:lnTo>
                  <a:lnTo>
                    <a:pt x="4629" y="4100"/>
                  </a:lnTo>
                  <a:lnTo>
                    <a:pt x="4618" y="4093"/>
                  </a:lnTo>
                  <a:lnTo>
                    <a:pt x="4618" y="4093"/>
                  </a:lnTo>
                  <a:lnTo>
                    <a:pt x="4613" y="4090"/>
                  </a:lnTo>
                  <a:lnTo>
                    <a:pt x="4608" y="4086"/>
                  </a:lnTo>
                  <a:lnTo>
                    <a:pt x="4602" y="4078"/>
                  </a:lnTo>
                  <a:lnTo>
                    <a:pt x="4597" y="4069"/>
                  </a:lnTo>
                  <a:lnTo>
                    <a:pt x="4594" y="4059"/>
                  </a:lnTo>
                  <a:lnTo>
                    <a:pt x="4592" y="4047"/>
                  </a:lnTo>
                  <a:lnTo>
                    <a:pt x="4591" y="4037"/>
                  </a:lnTo>
                  <a:lnTo>
                    <a:pt x="4590" y="4015"/>
                  </a:lnTo>
                  <a:lnTo>
                    <a:pt x="4589" y="3993"/>
                  </a:lnTo>
                  <a:lnTo>
                    <a:pt x="4587" y="3984"/>
                  </a:lnTo>
                  <a:lnTo>
                    <a:pt x="4585" y="3976"/>
                  </a:lnTo>
                  <a:lnTo>
                    <a:pt x="4581" y="3969"/>
                  </a:lnTo>
                  <a:lnTo>
                    <a:pt x="4575" y="3962"/>
                  </a:lnTo>
                  <a:lnTo>
                    <a:pt x="4571" y="3959"/>
                  </a:lnTo>
                  <a:lnTo>
                    <a:pt x="4567" y="3957"/>
                  </a:lnTo>
                  <a:lnTo>
                    <a:pt x="4561" y="3956"/>
                  </a:lnTo>
                  <a:lnTo>
                    <a:pt x="4556" y="3955"/>
                  </a:lnTo>
                  <a:lnTo>
                    <a:pt x="4556" y="3955"/>
                  </a:lnTo>
                  <a:lnTo>
                    <a:pt x="4534" y="3948"/>
                  </a:lnTo>
                  <a:lnTo>
                    <a:pt x="4511" y="3941"/>
                  </a:lnTo>
                  <a:lnTo>
                    <a:pt x="4489" y="3933"/>
                  </a:lnTo>
                  <a:lnTo>
                    <a:pt x="4468" y="3923"/>
                  </a:lnTo>
                  <a:lnTo>
                    <a:pt x="4448" y="3913"/>
                  </a:lnTo>
                  <a:lnTo>
                    <a:pt x="4428" y="3902"/>
                  </a:lnTo>
                  <a:lnTo>
                    <a:pt x="4410" y="3892"/>
                  </a:lnTo>
                  <a:lnTo>
                    <a:pt x="4394" y="3881"/>
                  </a:lnTo>
                  <a:lnTo>
                    <a:pt x="4377" y="3869"/>
                  </a:lnTo>
                  <a:lnTo>
                    <a:pt x="4363" y="3859"/>
                  </a:lnTo>
                  <a:lnTo>
                    <a:pt x="4337" y="3839"/>
                  </a:lnTo>
                  <a:lnTo>
                    <a:pt x="4318" y="3820"/>
                  </a:lnTo>
                  <a:lnTo>
                    <a:pt x="4306" y="3805"/>
                  </a:lnTo>
                  <a:lnTo>
                    <a:pt x="4306" y="3805"/>
                  </a:lnTo>
                  <a:lnTo>
                    <a:pt x="4297" y="3793"/>
                  </a:lnTo>
                  <a:lnTo>
                    <a:pt x="4288" y="3780"/>
                  </a:lnTo>
                  <a:lnTo>
                    <a:pt x="4282" y="3769"/>
                  </a:lnTo>
                  <a:lnTo>
                    <a:pt x="4277" y="3758"/>
                  </a:lnTo>
                  <a:lnTo>
                    <a:pt x="4273" y="3748"/>
                  </a:lnTo>
                  <a:lnTo>
                    <a:pt x="4270" y="3739"/>
                  </a:lnTo>
                  <a:lnTo>
                    <a:pt x="4266" y="3722"/>
                  </a:lnTo>
                  <a:lnTo>
                    <a:pt x="4265" y="3709"/>
                  </a:lnTo>
                  <a:lnTo>
                    <a:pt x="4265" y="3699"/>
                  </a:lnTo>
                  <a:lnTo>
                    <a:pt x="4266" y="3690"/>
                  </a:lnTo>
                  <a:lnTo>
                    <a:pt x="4266" y="3690"/>
                  </a:lnTo>
                  <a:lnTo>
                    <a:pt x="4284" y="3700"/>
                  </a:lnTo>
                  <a:lnTo>
                    <a:pt x="4302" y="3706"/>
                  </a:lnTo>
                  <a:lnTo>
                    <a:pt x="4321" y="3711"/>
                  </a:lnTo>
                  <a:lnTo>
                    <a:pt x="4340" y="3714"/>
                  </a:lnTo>
                  <a:lnTo>
                    <a:pt x="4358" y="3716"/>
                  </a:lnTo>
                  <a:lnTo>
                    <a:pt x="4377" y="3715"/>
                  </a:lnTo>
                  <a:lnTo>
                    <a:pt x="4396" y="3712"/>
                  </a:lnTo>
                  <a:lnTo>
                    <a:pt x="4414" y="3708"/>
                  </a:lnTo>
                  <a:lnTo>
                    <a:pt x="4434" y="3468"/>
                  </a:lnTo>
                  <a:lnTo>
                    <a:pt x="4434" y="3468"/>
                  </a:lnTo>
                  <a:lnTo>
                    <a:pt x="4425" y="3467"/>
                  </a:lnTo>
                  <a:lnTo>
                    <a:pt x="4405" y="3464"/>
                  </a:lnTo>
                  <a:lnTo>
                    <a:pt x="4392" y="3461"/>
                  </a:lnTo>
                  <a:lnTo>
                    <a:pt x="4377" y="3457"/>
                  </a:lnTo>
                  <a:lnTo>
                    <a:pt x="4362" y="3453"/>
                  </a:lnTo>
                  <a:lnTo>
                    <a:pt x="4348" y="3447"/>
                  </a:lnTo>
                  <a:lnTo>
                    <a:pt x="4348" y="3447"/>
                  </a:lnTo>
                  <a:lnTo>
                    <a:pt x="4339" y="3443"/>
                  </a:lnTo>
                  <a:lnTo>
                    <a:pt x="4331" y="3438"/>
                  </a:lnTo>
                  <a:lnTo>
                    <a:pt x="4323" y="3432"/>
                  </a:lnTo>
                  <a:lnTo>
                    <a:pt x="4316" y="3426"/>
                  </a:lnTo>
                  <a:lnTo>
                    <a:pt x="4302" y="3412"/>
                  </a:lnTo>
                  <a:lnTo>
                    <a:pt x="4289" y="3399"/>
                  </a:lnTo>
                  <a:lnTo>
                    <a:pt x="4280" y="3386"/>
                  </a:lnTo>
                  <a:lnTo>
                    <a:pt x="4273" y="3376"/>
                  </a:lnTo>
                  <a:lnTo>
                    <a:pt x="4267" y="3366"/>
                  </a:lnTo>
                  <a:lnTo>
                    <a:pt x="4267" y="3366"/>
                  </a:lnTo>
                  <a:lnTo>
                    <a:pt x="4274" y="3369"/>
                  </a:lnTo>
                  <a:lnTo>
                    <a:pt x="4293" y="3377"/>
                  </a:lnTo>
                  <a:lnTo>
                    <a:pt x="4321" y="3385"/>
                  </a:lnTo>
                  <a:lnTo>
                    <a:pt x="4339" y="3389"/>
                  </a:lnTo>
                  <a:lnTo>
                    <a:pt x="4356" y="3392"/>
                  </a:lnTo>
                  <a:lnTo>
                    <a:pt x="4356" y="3392"/>
                  </a:lnTo>
                  <a:lnTo>
                    <a:pt x="4375" y="3394"/>
                  </a:lnTo>
                  <a:lnTo>
                    <a:pt x="4392" y="3395"/>
                  </a:lnTo>
                  <a:lnTo>
                    <a:pt x="4407" y="3393"/>
                  </a:lnTo>
                  <a:lnTo>
                    <a:pt x="4419" y="3391"/>
                  </a:lnTo>
                  <a:lnTo>
                    <a:pt x="4430" y="3389"/>
                  </a:lnTo>
                  <a:lnTo>
                    <a:pt x="4438" y="3387"/>
                  </a:lnTo>
                  <a:lnTo>
                    <a:pt x="4444" y="3384"/>
                  </a:lnTo>
                  <a:lnTo>
                    <a:pt x="4477" y="3113"/>
                  </a:lnTo>
                  <a:lnTo>
                    <a:pt x="4477" y="3113"/>
                  </a:lnTo>
                  <a:lnTo>
                    <a:pt x="4451" y="3114"/>
                  </a:lnTo>
                  <a:lnTo>
                    <a:pt x="4427" y="3113"/>
                  </a:lnTo>
                  <a:lnTo>
                    <a:pt x="4408" y="3111"/>
                  </a:lnTo>
                  <a:lnTo>
                    <a:pt x="4392" y="3106"/>
                  </a:lnTo>
                  <a:lnTo>
                    <a:pt x="4377" y="3100"/>
                  </a:lnTo>
                  <a:lnTo>
                    <a:pt x="4365" y="3093"/>
                  </a:lnTo>
                  <a:lnTo>
                    <a:pt x="4356" y="3085"/>
                  </a:lnTo>
                  <a:lnTo>
                    <a:pt x="4348" y="3077"/>
                  </a:lnTo>
                  <a:lnTo>
                    <a:pt x="4343" y="3069"/>
                  </a:lnTo>
                  <a:lnTo>
                    <a:pt x="4337" y="3060"/>
                  </a:lnTo>
                  <a:lnTo>
                    <a:pt x="4335" y="3051"/>
                  </a:lnTo>
                  <a:lnTo>
                    <a:pt x="4333" y="3043"/>
                  </a:lnTo>
                  <a:lnTo>
                    <a:pt x="4332" y="3035"/>
                  </a:lnTo>
                  <a:lnTo>
                    <a:pt x="4331" y="3029"/>
                  </a:lnTo>
                  <a:lnTo>
                    <a:pt x="4332" y="3020"/>
                  </a:lnTo>
                  <a:lnTo>
                    <a:pt x="4332" y="3020"/>
                  </a:lnTo>
                  <a:lnTo>
                    <a:pt x="4357" y="3015"/>
                  </a:lnTo>
                  <a:lnTo>
                    <a:pt x="4381" y="3009"/>
                  </a:lnTo>
                  <a:lnTo>
                    <a:pt x="4405" y="3001"/>
                  </a:lnTo>
                  <a:lnTo>
                    <a:pt x="4428" y="2994"/>
                  </a:lnTo>
                  <a:lnTo>
                    <a:pt x="4451" y="2985"/>
                  </a:lnTo>
                  <a:lnTo>
                    <a:pt x="4473" y="2975"/>
                  </a:lnTo>
                  <a:lnTo>
                    <a:pt x="4495" y="2964"/>
                  </a:lnTo>
                  <a:lnTo>
                    <a:pt x="4515" y="2951"/>
                  </a:lnTo>
                  <a:lnTo>
                    <a:pt x="4536" y="2939"/>
                  </a:lnTo>
                  <a:lnTo>
                    <a:pt x="4555" y="2926"/>
                  </a:lnTo>
                  <a:lnTo>
                    <a:pt x="4574" y="2911"/>
                  </a:lnTo>
                  <a:lnTo>
                    <a:pt x="4592" y="2896"/>
                  </a:lnTo>
                  <a:lnTo>
                    <a:pt x="4609" y="2881"/>
                  </a:lnTo>
                  <a:lnTo>
                    <a:pt x="4627" y="2864"/>
                  </a:lnTo>
                  <a:lnTo>
                    <a:pt x="4642" y="2848"/>
                  </a:lnTo>
                  <a:lnTo>
                    <a:pt x="4659" y="2831"/>
                  </a:lnTo>
                  <a:lnTo>
                    <a:pt x="4673" y="2812"/>
                  </a:lnTo>
                  <a:lnTo>
                    <a:pt x="4688" y="2794"/>
                  </a:lnTo>
                  <a:lnTo>
                    <a:pt x="4702" y="2775"/>
                  </a:lnTo>
                  <a:lnTo>
                    <a:pt x="4715" y="2756"/>
                  </a:lnTo>
                  <a:lnTo>
                    <a:pt x="4727" y="2737"/>
                  </a:lnTo>
                  <a:lnTo>
                    <a:pt x="4738" y="2717"/>
                  </a:lnTo>
                  <a:lnTo>
                    <a:pt x="4750" y="2698"/>
                  </a:lnTo>
                  <a:lnTo>
                    <a:pt x="4760" y="2677"/>
                  </a:lnTo>
                  <a:lnTo>
                    <a:pt x="4770" y="2657"/>
                  </a:lnTo>
                  <a:lnTo>
                    <a:pt x="4779" y="2636"/>
                  </a:lnTo>
                  <a:lnTo>
                    <a:pt x="4787" y="2616"/>
                  </a:lnTo>
                  <a:lnTo>
                    <a:pt x="4796" y="2595"/>
                  </a:lnTo>
                  <a:lnTo>
                    <a:pt x="4803" y="2575"/>
                  </a:lnTo>
                  <a:lnTo>
                    <a:pt x="4809" y="2555"/>
                  </a:lnTo>
                  <a:lnTo>
                    <a:pt x="4815" y="2534"/>
                  </a:lnTo>
                  <a:lnTo>
                    <a:pt x="4820" y="2515"/>
                  </a:lnTo>
                  <a:lnTo>
                    <a:pt x="4820" y="2515"/>
                  </a:lnTo>
                  <a:lnTo>
                    <a:pt x="4831" y="2521"/>
                  </a:lnTo>
                  <a:lnTo>
                    <a:pt x="4847" y="2527"/>
                  </a:lnTo>
                  <a:lnTo>
                    <a:pt x="4864" y="2533"/>
                  </a:lnTo>
                  <a:lnTo>
                    <a:pt x="4882" y="2538"/>
                  </a:lnTo>
                  <a:lnTo>
                    <a:pt x="4903" y="2541"/>
                  </a:lnTo>
                  <a:lnTo>
                    <a:pt x="4913" y="2542"/>
                  </a:lnTo>
                  <a:lnTo>
                    <a:pt x="4923" y="2543"/>
                  </a:lnTo>
                  <a:lnTo>
                    <a:pt x="4935" y="2542"/>
                  </a:lnTo>
                  <a:lnTo>
                    <a:pt x="4945" y="2541"/>
                  </a:lnTo>
                  <a:lnTo>
                    <a:pt x="4955" y="2539"/>
                  </a:lnTo>
                  <a:lnTo>
                    <a:pt x="4965" y="2536"/>
                  </a:lnTo>
                  <a:lnTo>
                    <a:pt x="4965" y="2536"/>
                  </a:lnTo>
                  <a:lnTo>
                    <a:pt x="4967" y="2508"/>
                  </a:lnTo>
                  <a:lnTo>
                    <a:pt x="4970" y="2441"/>
                  </a:lnTo>
                  <a:lnTo>
                    <a:pt x="4972" y="2405"/>
                  </a:lnTo>
                  <a:lnTo>
                    <a:pt x="4973" y="2371"/>
                  </a:lnTo>
                  <a:lnTo>
                    <a:pt x="4972" y="2343"/>
                  </a:lnTo>
                  <a:lnTo>
                    <a:pt x="4972" y="2333"/>
                  </a:lnTo>
                  <a:lnTo>
                    <a:pt x="4970" y="2327"/>
                  </a:lnTo>
                  <a:lnTo>
                    <a:pt x="4970" y="2327"/>
                  </a:lnTo>
                  <a:lnTo>
                    <a:pt x="4955" y="2325"/>
                  </a:lnTo>
                  <a:lnTo>
                    <a:pt x="4938" y="2322"/>
                  </a:lnTo>
                  <a:lnTo>
                    <a:pt x="4919" y="2317"/>
                  </a:lnTo>
                  <a:lnTo>
                    <a:pt x="4911" y="2314"/>
                  </a:lnTo>
                  <a:lnTo>
                    <a:pt x="4902" y="2311"/>
                  </a:lnTo>
                  <a:lnTo>
                    <a:pt x="4893" y="2306"/>
                  </a:lnTo>
                  <a:lnTo>
                    <a:pt x="4885" y="2302"/>
                  </a:lnTo>
                  <a:lnTo>
                    <a:pt x="4876" y="2296"/>
                  </a:lnTo>
                  <a:lnTo>
                    <a:pt x="4868" y="2289"/>
                  </a:lnTo>
                  <a:lnTo>
                    <a:pt x="4861" y="2282"/>
                  </a:lnTo>
                  <a:lnTo>
                    <a:pt x="4854" y="2273"/>
                  </a:lnTo>
                  <a:lnTo>
                    <a:pt x="4848" y="2264"/>
                  </a:lnTo>
                  <a:lnTo>
                    <a:pt x="4842" y="22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</p:grpSp>
      <p:sp>
        <p:nvSpPr>
          <p:cNvPr id="95" name="Otsikko 1"/>
          <p:cNvSpPr>
            <a:spLocks noGrp="1"/>
          </p:cNvSpPr>
          <p:nvPr userDrawn="1">
            <p:ph type="ctrTitle" hasCustomPrompt="1"/>
          </p:nvPr>
        </p:nvSpPr>
        <p:spPr>
          <a:xfrm>
            <a:off x="5668106" y="2341010"/>
            <a:ext cx="6178703" cy="1866900"/>
          </a:xfrm>
        </p:spPr>
        <p:txBody>
          <a:bodyPr anchor="b" anchorCtr="0">
            <a:noAutofit/>
          </a:bodyPr>
          <a:lstStyle>
            <a:lvl1pPr algn="l">
              <a:defRPr sz="5333">
                <a:solidFill>
                  <a:srgbClr val="FFFFFF"/>
                </a:solidFill>
              </a:defRPr>
            </a:lvl1pPr>
          </a:lstStyle>
          <a:p>
            <a:r>
              <a:rPr lang="fi-FI" dirty="0" smtClean="0"/>
              <a:t>Esityksen päättävä teksti</a:t>
            </a:r>
            <a:endParaRPr lang="fi-FI" dirty="0"/>
          </a:p>
        </p:txBody>
      </p:sp>
      <p:sp>
        <p:nvSpPr>
          <p:cNvPr id="96" name="Alaotsikko 2"/>
          <p:cNvSpPr>
            <a:spLocks noGrp="1"/>
          </p:cNvSpPr>
          <p:nvPr userDrawn="1">
            <p:ph type="subTitle" idx="1"/>
          </p:nvPr>
        </p:nvSpPr>
        <p:spPr>
          <a:xfrm>
            <a:off x="5668106" y="4550811"/>
            <a:ext cx="6127460" cy="175850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88161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Prentaation alk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722B05-239D-0643-93B5-2899FBB1B7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01" y="2002632"/>
            <a:ext cx="9347399" cy="2852737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Bef>
                <a:spcPts val="80"/>
              </a:spcBef>
              <a:defRPr sz="6000" spc="-1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858AD-DC95-2F44-89C2-1218375A0C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22302" y="4855369"/>
            <a:ext cx="9347398" cy="2259479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Kuva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1289" y="0"/>
            <a:ext cx="1560711" cy="174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83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rst slide white bg/gre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4457" y="275167"/>
            <a:ext cx="8930555" cy="1143000"/>
          </a:xfrm>
          <a:prstGeom prst="rect">
            <a:avLst/>
          </a:prstGeom>
        </p:spPr>
        <p:txBody>
          <a:bodyPr anchor="ctr"/>
          <a:lstStyle>
            <a:lvl1pPr>
              <a:defRPr b="1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B931221-06D7-47DC-858C-0577E9D0C0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4458" y="1614153"/>
            <a:ext cx="8930553" cy="436754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990575" indent="-380990"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523962" indent="-304792">
              <a:buFont typeface="Segoe UI" panose="020B0502040204020203" pitchFamily="34" charset="0"/>
              <a:buChar char="‒"/>
              <a:defRPr sz="2133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2133547" indent="-304792">
              <a:buFont typeface="Segoe UI" panose="020B0502040204020203" pitchFamily="34" charset="0"/>
              <a:buChar char="‐"/>
              <a:defRPr sz="1867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3" name="Freeform 40">
            <a:extLst>
              <a:ext uri="{FF2B5EF4-FFF2-40B4-BE49-F238E27FC236}">
                <a16:creationId xmlns:a16="http://schemas.microsoft.com/office/drawing/2014/main" id="{41D533AA-8B68-4BB7-8162-41C7C3D5AD8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auto">
          <a:xfrm>
            <a:off x="8095013" y="-36341"/>
            <a:ext cx="4109576" cy="6956592"/>
          </a:xfrm>
          <a:custGeom>
            <a:avLst/>
            <a:gdLst>
              <a:gd name="T0" fmla="*/ 400 w 435"/>
              <a:gd name="T1" fmla="*/ 415 h 735"/>
              <a:gd name="T2" fmla="*/ 315 w 435"/>
              <a:gd name="T3" fmla="*/ 366 h 735"/>
              <a:gd name="T4" fmla="*/ 254 w 435"/>
              <a:gd name="T5" fmla="*/ 0 h 735"/>
              <a:gd name="T6" fmla="*/ 8 w 435"/>
              <a:gd name="T7" fmla="*/ 0 h 735"/>
              <a:gd name="T8" fmla="*/ 5 w 435"/>
              <a:gd name="T9" fmla="*/ 35 h 735"/>
              <a:gd name="T10" fmla="*/ 132 w 435"/>
              <a:gd name="T11" fmla="*/ 350 h 735"/>
              <a:gd name="T12" fmla="*/ 388 w 435"/>
              <a:gd name="T13" fmla="*/ 498 h 735"/>
              <a:gd name="T14" fmla="*/ 389 w 435"/>
              <a:gd name="T15" fmla="*/ 499 h 735"/>
              <a:gd name="T16" fmla="*/ 388 w 435"/>
              <a:gd name="T17" fmla="*/ 500 h 735"/>
              <a:gd name="T18" fmla="*/ 388 w 435"/>
              <a:gd name="T19" fmla="*/ 500 h 735"/>
              <a:gd name="T20" fmla="*/ 208 w 435"/>
              <a:gd name="T21" fmla="*/ 735 h 735"/>
              <a:gd name="T22" fmla="*/ 302 w 435"/>
              <a:gd name="T23" fmla="*/ 735 h 735"/>
              <a:gd name="T24" fmla="*/ 435 w 435"/>
              <a:gd name="T25" fmla="*/ 640 h 735"/>
              <a:gd name="T26" fmla="*/ 435 w 435"/>
              <a:gd name="T27" fmla="*/ 373 h 735"/>
              <a:gd name="T28" fmla="*/ 400 w 435"/>
              <a:gd name="T29" fmla="*/ 415 h 7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35" h="735">
                <a:moveTo>
                  <a:pt x="400" y="415"/>
                </a:moveTo>
                <a:cubicBezTo>
                  <a:pt x="367" y="403"/>
                  <a:pt x="338" y="386"/>
                  <a:pt x="315" y="366"/>
                </a:cubicBezTo>
                <a:cubicBezTo>
                  <a:pt x="209" y="272"/>
                  <a:pt x="194" y="122"/>
                  <a:pt x="254" y="0"/>
                </a:cubicBezTo>
                <a:cubicBezTo>
                  <a:pt x="8" y="0"/>
                  <a:pt x="8" y="0"/>
                  <a:pt x="8" y="0"/>
                </a:cubicBezTo>
                <a:cubicBezTo>
                  <a:pt x="6" y="12"/>
                  <a:pt x="5" y="23"/>
                  <a:pt x="5" y="35"/>
                </a:cubicBezTo>
                <a:cubicBezTo>
                  <a:pt x="0" y="147"/>
                  <a:pt x="36" y="260"/>
                  <a:pt x="132" y="350"/>
                </a:cubicBezTo>
                <a:cubicBezTo>
                  <a:pt x="260" y="470"/>
                  <a:pt x="387" y="498"/>
                  <a:pt x="388" y="498"/>
                </a:cubicBezTo>
                <a:cubicBezTo>
                  <a:pt x="388" y="498"/>
                  <a:pt x="389" y="498"/>
                  <a:pt x="389" y="499"/>
                </a:cubicBezTo>
                <a:cubicBezTo>
                  <a:pt x="388" y="500"/>
                  <a:pt x="388" y="500"/>
                  <a:pt x="388" y="500"/>
                </a:cubicBezTo>
                <a:cubicBezTo>
                  <a:pt x="388" y="500"/>
                  <a:pt x="388" y="500"/>
                  <a:pt x="388" y="500"/>
                </a:cubicBezTo>
                <a:cubicBezTo>
                  <a:pt x="376" y="516"/>
                  <a:pt x="218" y="722"/>
                  <a:pt x="208" y="735"/>
                </a:cubicBezTo>
                <a:cubicBezTo>
                  <a:pt x="302" y="735"/>
                  <a:pt x="302" y="735"/>
                  <a:pt x="302" y="735"/>
                </a:cubicBezTo>
                <a:cubicBezTo>
                  <a:pt x="333" y="709"/>
                  <a:pt x="383" y="674"/>
                  <a:pt x="435" y="640"/>
                </a:cubicBezTo>
                <a:cubicBezTo>
                  <a:pt x="435" y="373"/>
                  <a:pt x="435" y="373"/>
                  <a:pt x="435" y="373"/>
                </a:cubicBezTo>
                <a:cubicBezTo>
                  <a:pt x="423" y="387"/>
                  <a:pt x="412" y="400"/>
                  <a:pt x="400" y="41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ED39398D-E9ED-4EC7-A043-8E5EE63518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3541" y="6118578"/>
            <a:ext cx="4411473" cy="603956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 algn="l">
              <a:defRPr sz="13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A39C7F7E-80D5-46FB-85AF-0477236068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06626" y="6457047"/>
            <a:ext cx="1078725" cy="265487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 algn="r">
              <a:defRPr sz="1333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40BDD77C-B894-414B-90C2-975A579D7D69}" type="datetimeFigureOut">
              <a:rPr lang="fi-FI" smtClean="0"/>
              <a:pPr/>
              <a:t>26.4.2023</a:t>
            </a:fld>
            <a:endParaRPr lang="fi-FI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0FB1BA3-94F6-4098-85F1-1DFF8B26D33D}"/>
              </a:ext>
            </a:extLst>
          </p:cNvPr>
          <p:cNvSpPr txBox="1">
            <a:spLocks/>
          </p:cNvSpPr>
          <p:nvPr userDrawn="1"/>
        </p:nvSpPr>
        <p:spPr>
          <a:xfrm>
            <a:off x="9407199" y="6434533"/>
            <a:ext cx="596900" cy="288000"/>
          </a:xfrm>
          <a:prstGeom prst="rect">
            <a:avLst/>
          </a:prstGeom>
        </p:spPr>
        <p:txBody>
          <a:bodyPr bIns="0" anchor="b" anchorCtr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1"/>
                </a:solidFill>
                <a:latin typeface="Arial"/>
                <a:ea typeface="ＭＳ Ｐゴシック" pitchFamily="34" charset="-128"/>
                <a:cs typeface="Arial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>
              <a:defRPr/>
            </a:pPr>
            <a:fld id="{717CD448-BDE5-4446-AE75-A0344141D28E}" type="slidenum">
              <a:rPr lang="en-US" sz="1333" smtClean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>
                <a:defRPr/>
              </a:pPr>
              <a:t>‹#›</a:t>
            </a:fld>
            <a:endParaRPr lang="en-US" sz="1333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1007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65E371DC-8926-4597-9E03-DE088A122E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4F9291-A092-4DB8-9522-0D7FEC7D80BA}" type="datetimeFigureOut">
              <a:rPr lang="fi-FI" smtClean="0"/>
              <a:t>26.4.2023</a:t>
            </a:fld>
            <a:endParaRPr lang="fi-FI" dirty="0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D14D009A-DFE9-4F1D-9D80-781CD27CF0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A3B4E5C6-E348-4F28-B9EE-56E3F18F0C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1B2FE4-CA8C-4C45-A81C-FC637E53ACE2}" type="slidenum">
              <a:rPr lang="fi-FI" smtClean="0"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278239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lumn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6" descr="&quot;&quot;">
            <a:extLst>
              <a:ext uri="{FF2B5EF4-FFF2-40B4-BE49-F238E27FC236}">
                <a16:creationId xmlns:a16="http://schemas.microsoft.com/office/drawing/2014/main" id="{DA05E529-8AAC-2E54-CEC2-30DEBDB99DD2}"/>
              </a:ext>
            </a:extLst>
          </p:cNvPr>
          <p:cNvCxnSpPr/>
          <p:nvPr userDrawn="1"/>
        </p:nvCxnSpPr>
        <p:spPr>
          <a:xfrm>
            <a:off x="11164277" y="6419851"/>
            <a:ext cx="0" cy="434975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62176B39-A3E2-B958-F99D-1228B61FF21B}"/>
              </a:ext>
            </a:extLst>
          </p:cNvPr>
          <p:cNvSpPr txBox="1">
            <a:spLocks/>
          </p:cNvSpPr>
          <p:nvPr userDrawn="1"/>
        </p:nvSpPr>
        <p:spPr>
          <a:xfrm>
            <a:off x="11228755" y="6434139"/>
            <a:ext cx="597877" cy="288925"/>
          </a:xfrm>
          <a:prstGeom prst="rect">
            <a:avLst/>
          </a:prstGeom>
        </p:spPr>
        <p:txBody>
          <a:bodyPr bIns="0" anchor="b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1"/>
                </a:solidFill>
                <a:latin typeface="Arial"/>
                <a:ea typeface="ＭＳ Ｐゴシック" pitchFamily="34" charset="-128"/>
                <a:cs typeface="Arial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>
              <a:defRPr/>
            </a:pPr>
            <a:fld id="{176E6404-E1E7-4AEE-BDEF-ACC85C89DEF6}" type="slidenum">
              <a:rPr lang="en-US" sz="1083" smtClean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>
                <a:defRPr/>
              </a:pPr>
              <a:t>‹#›</a:t>
            </a:fld>
            <a:endParaRPr lang="en-US" sz="1083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" name="Group 14">
            <a:extLst>
              <a:ext uri="{FF2B5EF4-FFF2-40B4-BE49-F238E27FC236}">
                <a16:creationId xmlns:a16="http://schemas.microsoft.com/office/drawing/2014/main" id="{D575533C-B3EA-B48D-DF34-4B39C9763CD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459155" y="6242051"/>
            <a:ext cx="2846753" cy="493713"/>
            <a:chOff x="343996" y="4687773"/>
            <a:chExt cx="2135728" cy="370764"/>
          </a:xfrm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9CC516AC-6E7A-9BE3-3035-94A65A7832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3996" y="4859445"/>
              <a:ext cx="99677" cy="162135"/>
            </a:xfrm>
            <a:custGeom>
              <a:avLst/>
              <a:gdLst>
                <a:gd name="T0" fmla="*/ 0 w 57"/>
                <a:gd name="T1" fmla="*/ 0 h 92"/>
                <a:gd name="T2" fmla="*/ 0 w 57"/>
                <a:gd name="T3" fmla="*/ 73 h 92"/>
                <a:gd name="T4" fmla="*/ 21 w 57"/>
                <a:gd name="T5" fmla="*/ 92 h 92"/>
                <a:gd name="T6" fmla="*/ 57 w 57"/>
                <a:gd name="T7" fmla="*/ 91 h 92"/>
                <a:gd name="T8" fmla="*/ 56 w 57"/>
                <a:gd name="T9" fmla="*/ 78 h 92"/>
                <a:gd name="T10" fmla="*/ 24 w 57"/>
                <a:gd name="T11" fmla="*/ 78 h 92"/>
                <a:gd name="T12" fmla="*/ 18 w 57"/>
                <a:gd name="T13" fmla="*/ 76 h 92"/>
                <a:gd name="T14" fmla="*/ 17 w 57"/>
                <a:gd name="T15" fmla="*/ 71 h 92"/>
                <a:gd name="T16" fmla="*/ 17 w 57"/>
                <a:gd name="T17" fmla="*/ 0 h 92"/>
                <a:gd name="T18" fmla="*/ 0 w 57"/>
                <a:gd name="T1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92">
                  <a:moveTo>
                    <a:pt x="0" y="0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0" y="86"/>
                    <a:pt x="7" y="92"/>
                    <a:pt x="21" y="92"/>
                  </a:cubicBezTo>
                  <a:cubicBezTo>
                    <a:pt x="36" y="92"/>
                    <a:pt x="48" y="92"/>
                    <a:pt x="57" y="91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2" y="78"/>
                    <a:pt x="19" y="78"/>
                    <a:pt x="18" y="76"/>
                  </a:cubicBezTo>
                  <a:cubicBezTo>
                    <a:pt x="17" y="75"/>
                    <a:pt x="17" y="73"/>
                    <a:pt x="17" y="71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fi-FI" sz="2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B75583C0-7FF2-C3E7-5B08-19951BD1C1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1002" y="4905940"/>
              <a:ext cx="105540" cy="119217"/>
            </a:xfrm>
            <a:custGeom>
              <a:avLst/>
              <a:gdLst>
                <a:gd name="T0" fmla="*/ 44 w 60"/>
                <a:gd name="T1" fmla="*/ 0 h 67"/>
                <a:gd name="T2" fmla="*/ 44 w 60"/>
                <a:gd name="T3" fmla="*/ 46 h 67"/>
                <a:gd name="T4" fmla="*/ 25 w 60"/>
                <a:gd name="T5" fmla="*/ 53 h 67"/>
                <a:gd name="T6" fmla="*/ 18 w 60"/>
                <a:gd name="T7" fmla="*/ 51 h 67"/>
                <a:gd name="T8" fmla="*/ 17 w 60"/>
                <a:gd name="T9" fmla="*/ 44 h 67"/>
                <a:gd name="T10" fmla="*/ 17 w 60"/>
                <a:gd name="T11" fmla="*/ 0 h 67"/>
                <a:gd name="T12" fmla="*/ 0 w 60"/>
                <a:gd name="T13" fmla="*/ 0 h 67"/>
                <a:gd name="T14" fmla="*/ 0 w 60"/>
                <a:gd name="T15" fmla="*/ 49 h 67"/>
                <a:gd name="T16" fmla="*/ 18 w 60"/>
                <a:gd name="T17" fmla="*/ 67 h 67"/>
                <a:gd name="T18" fmla="*/ 46 w 60"/>
                <a:gd name="T19" fmla="*/ 56 h 67"/>
                <a:gd name="T20" fmla="*/ 47 w 60"/>
                <a:gd name="T21" fmla="*/ 65 h 67"/>
                <a:gd name="T22" fmla="*/ 60 w 60"/>
                <a:gd name="T23" fmla="*/ 65 h 67"/>
                <a:gd name="T24" fmla="*/ 60 w 60"/>
                <a:gd name="T25" fmla="*/ 0 h 67"/>
                <a:gd name="T26" fmla="*/ 44 w 60"/>
                <a:gd name="T2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67">
                  <a:moveTo>
                    <a:pt x="44" y="0"/>
                  </a:moveTo>
                  <a:cubicBezTo>
                    <a:pt x="44" y="46"/>
                    <a:pt x="44" y="46"/>
                    <a:pt x="44" y="46"/>
                  </a:cubicBezTo>
                  <a:cubicBezTo>
                    <a:pt x="35" y="51"/>
                    <a:pt x="29" y="53"/>
                    <a:pt x="25" y="53"/>
                  </a:cubicBezTo>
                  <a:cubicBezTo>
                    <a:pt x="21" y="53"/>
                    <a:pt x="19" y="52"/>
                    <a:pt x="18" y="51"/>
                  </a:cubicBezTo>
                  <a:cubicBezTo>
                    <a:pt x="17" y="50"/>
                    <a:pt x="16" y="47"/>
                    <a:pt x="17" y="44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1"/>
                    <a:pt x="6" y="67"/>
                    <a:pt x="18" y="67"/>
                  </a:cubicBezTo>
                  <a:cubicBezTo>
                    <a:pt x="27" y="67"/>
                    <a:pt x="36" y="63"/>
                    <a:pt x="46" y="56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4" y="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fi-FI" sz="2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B67345DB-AD17-FCDA-AA83-C627382188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8530" y="4859445"/>
              <a:ext cx="107006" cy="162135"/>
            </a:xfrm>
            <a:custGeom>
              <a:avLst/>
              <a:gdLst>
                <a:gd name="T0" fmla="*/ 43 w 61"/>
                <a:gd name="T1" fmla="*/ 92 h 92"/>
                <a:gd name="T2" fmla="*/ 61 w 61"/>
                <a:gd name="T3" fmla="*/ 92 h 92"/>
                <a:gd name="T4" fmla="*/ 41 w 61"/>
                <a:gd name="T5" fmla="*/ 62 h 92"/>
                <a:gd name="T6" fmla="*/ 35 w 61"/>
                <a:gd name="T7" fmla="*/ 56 h 92"/>
                <a:gd name="T8" fmla="*/ 35 w 61"/>
                <a:gd name="T9" fmla="*/ 55 h 92"/>
                <a:gd name="T10" fmla="*/ 41 w 61"/>
                <a:gd name="T11" fmla="*/ 50 h 92"/>
                <a:gd name="T12" fmla="*/ 59 w 61"/>
                <a:gd name="T13" fmla="*/ 27 h 92"/>
                <a:gd name="T14" fmla="*/ 41 w 61"/>
                <a:gd name="T15" fmla="*/ 27 h 92"/>
                <a:gd name="T16" fmla="*/ 23 w 61"/>
                <a:gd name="T17" fmla="*/ 50 h 92"/>
                <a:gd name="T18" fmla="*/ 16 w 61"/>
                <a:gd name="T19" fmla="*/ 50 h 92"/>
                <a:gd name="T20" fmla="*/ 17 w 61"/>
                <a:gd name="T21" fmla="*/ 39 h 92"/>
                <a:gd name="T22" fmla="*/ 17 w 61"/>
                <a:gd name="T23" fmla="*/ 0 h 92"/>
                <a:gd name="T24" fmla="*/ 0 w 61"/>
                <a:gd name="T25" fmla="*/ 0 h 92"/>
                <a:gd name="T26" fmla="*/ 0 w 61"/>
                <a:gd name="T27" fmla="*/ 92 h 92"/>
                <a:gd name="T28" fmla="*/ 16 w 61"/>
                <a:gd name="T29" fmla="*/ 92 h 92"/>
                <a:gd name="T30" fmla="*/ 16 w 61"/>
                <a:gd name="T31" fmla="*/ 71 h 92"/>
                <a:gd name="T32" fmla="*/ 16 w 61"/>
                <a:gd name="T33" fmla="*/ 61 h 92"/>
                <a:gd name="T34" fmla="*/ 23 w 61"/>
                <a:gd name="T35" fmla="*/ 61 h 92"/>
                <a:gd name="T36" fmla="*/ 43 w 61"/>
                <a:gd name="T3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92">
                  <a:moveTo>
                    <a:pt x="43" y="92"/>
                  </a:moveTo>
                  <a:cubicBezTo>
                    <a:pt x="61" y="92"/>
                    <a:pt x="61" y="92"/>
                    <a:pt x="61" y="9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39" y="59"/>
                    <a:pt x="37" y="57"/>
                    <a:pt x="35" y="56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7" y="54"/>
                    <a:pt x="39" y="52"/>
                    <a:pt x="41" y="50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47"/>
                    <a:pt x="17" y="43"/>
                    <a:pt x="17" y="39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9"/>
                    <a:pt x="16" y="65"/>
                    <a:pt x="16" y="61"/>
                  </a:cubicBezTo>
                  <a:cubicBezTo>
                    <a:pt x="23" y="61"/>
                    <a:pt x="23" y="61"/>
                    <a:pt x="23" y="61"/>
                  </a:cubicBezTo>
                  <a:lnTo>
                    <a:pt x="43" y="92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fi-FI" sz="2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FCAD8B83-8A98-DBED-C8B1-9AADBCA0768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1139" y="4903555"/>
              <a:ext cx="107006" cy="121601"/>
            </a:xfrm>
            <a:custGeom>
              <a:avLst/>
              <a:gdLst>
                <a:gd name="T0" fmla="*/ 61 w 61"/>
                <a:gd name="T1" fmla="*/ 23 h 69"/>
                <a:gd name="T2" fmla="*/ 54 w 61"/>
                <a:gd name="T3" fmla="*/ 6 h 69"/>
                <a:gd name="T4" fmla="*/ 31 w 61"/>
                <a:gd name="T5" fmla="*/ 0 h 69"/>
                <a:gd name="T6" fmla="*/ 7 w 61"/>
                <a:gd name="T7" fmla="*/ 8 h 69"/>
                <a:gd name="T8" fmla="*/ 0 w 61"/>
                <a:gd name="T9" fmla="*/ 34 h 69"/>
                <a:gd name="T10" fmla="*/ 7 w 61"/>
                <a:gd name="T11" fmla="*/ 61 h 69"/>
                <a:gd name="T12" fmla="*/ 32 w 61"/>
                <a:gd name="T13" fmla="*/ 69 h 69"/>
                <a:gd name="T14" fmla="*/ 59 w 61"/>
                <a:gd name="T15" fmla="*/ 64 h 69"/>
                <a:gd name="T16" fmla="*/ 58 w 61"/>
                <a:gd name="T17" fmla="*/ 54 h 69"/>
                <a:gd name="T18" fmla="*/ 34 w 61"/>
                <a:gd name="T19" fmla="*/ 55 h 69"/>
                <a:gd name="T20" fmla="*/ 22 w 61"/>
                <a:gd name="T21" fmla="*/ 53 h 69"/>
                <a:gd name="T22" fmla="*/ 17 w 61"/>
                <a:gd name="T23" fmla="*/ 41 h 69"/>
                <a:gd name="T24" fmla="*/ 44 w 61"/>
                <a:gd name="T25" fmla="*/ 41 h 69"/>
                <a:gd name="T26" fmla="*/ 61 w 61"/>
                <a:gd name="T27" fmla="*/ 23 h 69"/>
                <a:gd name="T28" fmla="*/ 45 w 61"/>
                <a:gd name="T29" fmla="*/ 22 h 69"/>
                <a:gd name="T30" fmla="*/ 39 w 61"/>
                <a:gd name="T31" fmla="*/ 30 h 69"/>
                <a:gd name="T32" fmla="*/ 17 w 61"/>
                <a:gd name="T33" fmla="*/ 30 h 69"/>
                <a:gd name="T34" fmla="*/ 20 w 61"/>
                <a:gd name="T35" fmla="*/ 16 h 69"/>
                <a:gd name="T36" fmla="*/ 32 w 61"/>
                <a:gd name="T37" fmla="*/ 13 h 69"/>
                <a:gd name="T38" fmla="*/ 42 w 61"/>
                <a:gd name="T39" fmla="*/ 15 h 69"/>
                <a:gd name="T40" fmla="*/ 45 w 61"/>
                <a:gd name="T41" fmla="*/ 2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" h="69">
                  <a:moveTo>
                    <a:pt x="61" y="23"/>
                  </a:moveTo>
                  <a:cubicBezTo>
                    <a:pt x="61" y="15"/>
                    <a:pt x="59" y="9"/>
                    <a:pt x="54" y="6"/>
                  </a:cubicBezTo>
                  <a:cubicBezTo>
                    <a:pt x="49" y="2"/>
                    <a:pt x="42" y="0"/>
                    <a:pt x="31" y="0"/>
                  </a:cubicBezTo>
                  <a:cubicBezTo>
                    <a:pt x="20" y="0"/>
                    <a:pt x="12" y="3"/>
                    <a:pt x="7" y="8"/>
                  </a:cubicBezTo>
                  <a:cubicBezTo>
                    <a:pt x="2" y="13"/>
                    <a:pt x="0" y="22"/>
                    <a:pt x="0" y="34"/>
                  </a:cubicBezTo>
                  <a:cubicBezTo>
                    <a:pt x="0" y="47"/>
                    <a:pt x="2" y="55"/>
                    <a:pt x="7" y="61"/>
                  </a:cubicBezTo>
                  <a:cubicBezTo>
                    <a:pt x="12" y="66"/>
                    <a:pt x="21" y="69"/>
                    <a:pt x="32" y="69"/>
                  </a:cubicBezTo>
                  <a:cubicBezTo>
                    <a:pt x="44" y="69"/>
                    <a:pt x="53" y="67"/>
                    <a:pt x="59" y="64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49" y="55"/>
                    <a:pt x="41" y="55"/>
                    <a:pt x="34" y="55"/>
                  </a:cubicBezTo>
                  <a:cubicBezTo>
                    <a:pt x="29" y="55"/>
                    <a:pt x="24" y="54"/>
                    <a:pt x="22" y="53"/>
                  </a:cubicBezTo>
                  <a:cubicBezTo>
                    <a:pt x="19" y="51"/>
                    <a:pt x="18" y="47"/>
                    <a:pt x="17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55" y="41"/>
                    <a:pt x="61" y="35"/>
                    <a:pt x="61" y="23"/>
                  </a:cubicBezTo>
                  <a:moveTo>
                    <a:pt x="45" y="22"/>
                  </a:moveTo>
                  <a:cubicBezTo>
                    <a:pt x="45" y="27"/>
                    <a:pt x="43" y="30"/>
                    <a:pt x="39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23"/>
                    <a:pt x="18" y="19"/>
                    <a:pt x="20" y="16"/>
                  </a:cubicBezTo>
                  <a:cubicBezTo>
                    <a:pt x="22" y="14"/>
                    <a:pt x="26" y="13"/>
                    <a:pt x="32" y="13"/>
                  </a:cubicBezTo>
                  <a:cubicBezTo>
                    <a:pt x="37" y="13"/>
                    <a:pt x="40" y="13"/>
                    <a:pt x="42" y="15"/>
                  </a:cubicBezTo>
                  <a:cubicBezTo>
                    <a:pt x="44" y="16"/>
                    <a:pt x="45" y="19"/>
                    <a:pt x="45" y="22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fi-FI" sz="2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112372C-25AF-A0F2-580C-DC3E562ED84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3971" y="4687773"/>
              <a:ext cx="219876" cy="205053"/>
            </a:xfrm>
            <a:custGeom>
              <a:avLst/>
              <a:gdLst>
                <a:gd name="T0" fmla="*/ 65 w 125"/>
                <a:gd name="T1" fmla="*/ 1 h 116"/>
                <a:gd name="T2" fmla="*/ 0 w 125"/>
                <a:gd name="T3" fmla="*/ 44 h 116"/>
                <a:gd name="T4" fmla="*/ 13 w 125"/>
                <a:gd name="T5" fmla="*/ 76 h 116"/>
                <a:gd name="T6" fmla="*/ 39 w 125"/>
                <a:gd name="T7" fmla="*/ 91 h 116"/>
                <a:gd name="T8" fmla="*/ 39 w 125"/>
                <a:gd name="T9" fmla="*/ 91 h 116"/>
                <a:gd name="T10" fmla="*/ 39 w 125"/>
                <a:gd name="T11" fmla="*/ 92 h 116"/>
                <a:gd name="T12" fmla="*/ 39 w 125"/>
                <a:gd name="T13" fmla="*/ 92 h 116"/>
                <a:gd name="T14" fmla="*/ 21 w 125"/>
                <a:gd name="T15" fmla="*/ 116 h 116"/>
                <a:gd name="T16" fmla="*/ 30 w 125"/>
                <a:gd name="T17" fmla="*/ 116 h 116"/>
                <a:gd name="T18" fmla="*/ 66 w 125"/>
                <a:gd name="T19" fmla="*/ 95 h 116"/>
                <a:gd name="T20" fmla="*/ 124 w 125"/>
                <a:gd name="T21" fmla="*/ 49 h 116"/>
                <a:gd name="T22" fmla="*/ 65 w 125"/>
                <a:gd name="T23" fmla="*/ 1 h 116"/>
                <a:gd name="T24" fmla="*/ 82 w 125"/>
                <a:gd name="T25" fmla="*/ 77 h 116"/>
                <a:gd name="T26" fmla="*/ 52 w 125"/>
                <a:gd name="T27" fmla="*/ 85 h 116"/>
                <a:gd name="T28" fmla="*/ 70 w 125"/>
                <a:gd name="T29" fmla="*/ 56 h 116"/>
                <a:gd name="T30" fmla="*/ 68 w 125"/>
                <a:gd name="T31" fmla="*/ 56 h 116"/>
                <a:gd name="T32" fmla="*/ 41 w 125"/>
                <a:gd name="T33" fmla="*/ 83 h 116"/>
                <a:gd name="T34" fmla="*/ 32 w 125"/>
                <a:gd name="T35" fmla="*/ 78 h 116"/>
                <a:gd name="T36" fmla="*/ 35 w 125"/>
                <a:gd name="T37" fmla="*/ 29 h 116"/>
                <a:gd name="T38" fmla="*/ 75 w 125"/>
                <a:gd name="T39" fmla="*/ 19 h 116"/>
                <a:gd name="T40" fmla="*/ 99 w 125"/>
                <a:gd name="T41" fmla="*/ 16 h 116"/>
                <a:gd name="T42" fmla="*/ 82 w 125"/>
                <a:gd name="T43" fmla="*/ 7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5" h="116">
                  <a:moveTo>
                    <a:pt x="65" y="1"/>
                  </a:moveTo>
                  <a:cubicBezTo>
                    <a:pt x="30" y="0"/>
                    <a:pt x="1" y="19"/>
                    <a:pt x="0" y="44"/>
                  </a:cubicBezTo>
                  <a:cubicBezTo>
                    <a:pt x="0" y="56"/>
                    <a:pt x="3" y="67"/>
                    <a:pt x="13" y="76"/>
                  </a:cubicBezTo>
                  <a:cubicBezTo>
                    <a:pt x="26" y="89"/>
                    <a:pt x="39" y="91"/>
                    <a:pt x="39" y="91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8" y="93"/>
                    <a:pt x="21" y="116"/>
                    <a:pt x="21" y="116"/>
                  </a:cubicBezTo>
                  <a:cubicBezTo>
                    <a:pt x="30" y="116"/>
                    <a:pt x="30" y="116"/>
                    <a:pt x="30" y="116"/>
                  </a:cubicBezTo>
                  <a:cubicBezTo>
                    <a:pt x="39" y="109"/>
                    <a:pt x="60" y="95"/>
                    <a:pt x="66" y="95"/>
                  </a:cubicBezTo>
                  <a:cubicBezTo>
                    <a:pt x="104" y="94"/>
                    <a:pt x="124" y="70"/>
                    <a:pt x="124" y="49"/>
                  </a:cubicBezTo>
                  <a:cubicBezTo>
                    <a:pt x="125" y="24"/>
                    <a:pt x="100" y="3"/>
                    <a:pt x="65" y="1"/>
                  </a:cubicBezTo>
                  <a:close/>
                  <a:moveTo>
                    <a:pt x="82" y="77"/>
                  </a:moveTo>
                  <a:cubicBezTo>
                    <a:pt x="74" y="83"/>
                    <a:pt x="62" y="86"/>
                    <a:pt x="52" y="85"/>
                  </a:cubicBezTo>
                  <a:cubicBezTo>
                    <a:pt x="60" y="71"/>
                    <a:pt x="70" y="56"/>
                    <a:pt x="70" y="56"/>
                  </a:cubicBezTo>
                  <a:cubicBezTo>
                    <a:pt x="68" y="56"/>
                    <a:pt x="68" y="56"/>
                    <a:pt x="68" y="56"/>
                  </a:cubicBezTo>
                  <a:cubicBezTo>
                    <a:pt x="65" y="59"/>
                    <a:pt x="52" y="69"/>
                    <a:pt x="41" y="83"/>
                  </a:cubicBezTo>
                  <a:cubicBezTo>
                    <a:pt x="37" y="82"/>
                    <a:pt x="34" y="80"/>
                    <a:pt x="32" y="78"/>
                  </a:cubicBezTo>
                  <a:cubicBezTo>
                    <a:pt x="17" y="65"/>
                    <a:pt x="20" y="41"/>
                    <a:pt x="35" y="29"/>
                  </a:cubicBezTo>
                  <a:cubicBezTo>
                    <a:pt x="47" y="19"/>
                    <a:pt x="62" y="19"/>
                    <a:pt x="75" y="19"/>
                  </a:cubicBezTo>
                  <a:cubicBezTo>
                    <a:pt x="89" y="19"/>
                    <a:pt x="99" y="16"/>
                    <a:pt x="99" y="16"/>
                  </a:cubicBezTo>
                  <a:cubicBezTo>
                    <a:pt x="99" y="16"/>
                    <a:pt x="108" y="56"/>
                    <a:pt x="82" y="77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fi-FI" sz="2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1" name="Picture 30">
              <a:extLst>
                <a:ext uri="{FF2B5EF4-FFF2-40B4-BE49-F238E27FC236}">
                  <a16:creationId xmlns:a16="http://schemas.microsoft.com/office/drawing/2014/main" id="{EF3B6A39-C436-2619-F600-3CE00DB301F5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5698" y="4885868"/>
              <a:ext cx="1554026" cy="1726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458" y="275167"/>
            <a:ext cx="11263086" cy="1143000"/>
          </a:xfrm>
          <a:prstGeom prst="rect">
            <a:avLst/>
          </a:prstGeom>
        </p:spPr>
        <p:txBody>
          <a:bodyPr anchor="ctr"/>
          <a:lstStyle>
            <a:lvl1pPr>
              <a:defRPr b="1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4458" y="1614153"/>
            <a:ext cx="11263086" cy="436754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804838" indent="-309553">
              <a:buFont typeface="Arial" panose="020B0604020202020204" pitchFamily="34" charset="0"/>
              <a:buChar char="•"/>
              <a:defRPr sz="195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238212" indent="-247642">
              <a:buFont typeface="Segoe UI" panose="020B0502040204020203" pitchFamily="34" charset="0"/>
              <a:buChar char="‒"/>
              <a:defRPr sz="1733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733497" indent="-247642">
              <a:buFont typeface="Segoe UI" panose="020B0502040204020203" pitchFamily="34" charset="0"/>
              <a:buChar char="‐"/>
              <a:defRPr sz="1517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13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F3967E8-385E-74E0-BF4C-37E4401DD1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3001" y="6118225"/>
            <a:ext cx="6312876" cy="604838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 algn="l">
              <a:defRPr sz="108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5FEF4D8D-F292-92BB-0031-F2B2F6BBF05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068170" y="6456363"/>
            <a:ext cx="1062892" cy="266700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 algn="r">
              <a:defRPr sz="1083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defRPr/>
            </a:pPr>
            <a:fld id="{40BDD77C-B894-414B-90C2-975A579D7D69}" type="datetimeFigureOut">
              <a:rPr lang="fi-FI"/>
              <a:pPr>
                <a:defRPr/>
              </a:pPr>
              <a:t>26.4.2023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440276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Prentaation alk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722B05-239D-0643-93B5-2899FBB1B7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301" y="2002632"/>
            <a:ext cx="9347399" cy="2852737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spcBef>
                <a:spcPts val="80"/>
              </a:spcBef>
              <a:defRPr sz="6000" spc="-1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858AD-DC95-2F44-89C2-1218375A0C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22302" y="4855369"/>
            <a:ext cx="9347398" cy="2259479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Kuva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1289" y="0"/>
            <a:ext cx="1560711" cy="174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798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erus bulllet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978EE9-F05E-6B42-BD66-E8997A6B5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729188" cy="1325563"/>
          </a:xfrm>
        </p:spPr>
        <p:txBody>
          <a:bodyPr>
            <a:normAutofit/>
          </a:bodyPr>
          <a:lstStyle>
            <a:lvl1pPr>
              <a:defRPr sz="4000">
                <a:solidFill>
                  <a:srgbClr val="002F5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A0DB2E-9A5E-AA42-AB8C-DF85F03C0A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28E9409-3262-8A43-9AC6-41184C1C1C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7841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rgbClr val="002F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5BB522-C2A2-944F-BE3C-E8AEDC463307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4" name="Kuva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1289" y="14549"/>
            <a:ext cx="1560711" cy="174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699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Bulletit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977FFF-98B7-0647-BB1C-EE8CA23E1D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729188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8AC24F-74C8-D846-9FB3-6CAF2AA9D1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D2042A-92A6-2240-8510-115D1F6795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3EF570-D6F7-FE4C-97DE-0A0FE1D3B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BB522-C2A2-944F-BE3C-E8AEDC463307}" type="slidenum">
              <a:rPr lang="fi-FI" smtClean="0"/>
              <a:t>‹#›</a:t>
            </a:fld>
            <a:endParaRPr lang="fi-FI" dirty="0"/>
          </a:p>
        </p:txBody>
      </p:sp>
      <p:pic>
        <p:nvPicPr>
          <p:cNvPr id="5" name="Kuva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1289" y="0"/>
            <a:ext cx="1560711" cy="174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74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olla ty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977FFF-98B7-0647-BB1C-EE8CA23E1D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729188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3EF570-D6F7-FE4C-97DE-0A0FE1D3B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BB522-C2A2-944F-BE3C-E8AEDC463307}" type="slidenum">
              <a:rPr lang="fi-FI" smtClean="0"/>
              <a:t>‹#›</a:t>
            </a:fld>
            <a:endParaRPr lang="fi-FI" dirty="0"/>
          </a:p>
        </p:txBody>
      </p:sp>
      <p:pic>
        <p:nvPicPr>
          <p:cNvPr id="3" name="Kuva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3615" y="37249"/>
            <a:ext cx="1560711" cy="174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52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Bulletit 2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977FFF-98B7-0647-BB1C-EE8CA23E1D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729188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8AC24F-74C8-D846-9FB3-6CAF2AA9D19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D2042A-92A6-2240-8510-115D1F6795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3EF570-D6F7-FE4C-97DE-0A0FE1D3B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BB522-C2A2-944F-BE3C-E8AEDC463307}" type="slidenum">
              <a:rPr lang="fi-FI" smtClean="0"/>
              <a:t>‹#›</a:t>
            </a:fld>
            <a:endParaRPr lang="fi-FI" dirty="0"/>
          </a:p>
        </p:txBody>
      </p:sp>
      <p:pic>
        <p:nvPicPr>
          <p:cNvPr id="5" name="Kuva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1289" y="0"/>
            <a:ext cx="1560711" cy="174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20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keskellä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9AD7897-9039-5143-AEA3-1A666D20F8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09831" y="1513230"/>
            <a:ext cx="9093964" cy="3831541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BFC237-E277-3944-816A-F5CA6824E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7841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5BB522-C2A2-944F-BE3C-E8AEDC463307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2" name="Kuva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1289" y="0"/>
            <a:ext cx="1560711" cy="174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69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va vasen txt oi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8313" y="0"/>
            <a:ext cx="1563687" cy="174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7D279B4-7217-244B-8ECA-D772EB4A43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9419" y="0"/>
            <a:ext cx="3060000" cy="6858000"/>
          </a:xfrm>
        </p:spPr>
        <p:txBody>
          <a:bodyPr rtlCol="0">
            <a:normAutofit/>
          </a:bodyPr>
          <a:lstStyle/>
          <a:p>
            <a:pPr lvl="0"/>
            <a:endParaRPr lang="fi-FI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748105-46DB-0948-9024-F289F32E9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7319" y="371122"/>
            <a:ext cx="6953506" cy="1686278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rgbClr val="002F5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F8FAB2A-4222-654B-AB95-220C6BE37FD0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3787319" y="2152062"/>
            <a:ext cx="7666095" cy="420428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D4C94274-4373-024F-9669-EEF75967392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015663" y="6356350"/>
            <a:ext cx="906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5FE7FC-CF72-49CA-B9F9-821BDFF14A42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46146664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rve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/>
          <p:cNvSpPr>
            <a:spLocks/>
          </p:cNvSpPr>
          <p:nvPr userDrawn="1"/>
        </p:nvSpPr>
        <p:spPr bwMode="auto">
          <a:xfrm>
            <a:off x="1" y="0"/>
            <a:ext cx="10604499" cy="6857816"/>
          </a:xfrm>
          <a:custGeom>
            <a:avLst/>
            <a:gdLst>
              <a:gd name="T0" fmla="*/ 4989 w 5022"/>
              <a:gd name="T1" fmla="*/ 0 h 3531"/>
              <a:gd name="T2" fmla="*/ 0 w 5022"/>
              <a:gd name="T3" fmla="*/ 0 h 3531"/>
              <a:gd name="T4" fmla="*/ 0 w 5022"/>
              <a:gd name="T5" fmla="*/ 3531 h 3531"/>
              <a:gd name="T6" fmla="*/ 3916 w 5022"/>
              <a:gd name="T7" fmla="*/ 3531 h 3531"/>
              <a:gd name="T8" fmla="*/ 3916 w 5022"/>
              <a:gd name="T9" fmla="*/ 3531 h 3531"/>
              <a:gd name="T10" fmla="*/ 3980 w 5022"/>
              <a:gd name="T11" fmla="*/ 3449 h 3531"/>
              <a:gd name="T12" fmla="*/ 4044 w 5022"/>
              <a:gd name="T13" fmla="*/ 3365 h 3531"/>
              <a:gd name="T14" fmla="*/ 4106 w 5022"/>
              <a:gd name="T15" fmla="*/ 3282 h 3531"/>
              <a:gd name="T16" fmla="*/ 4165 w 5022"/>
              <a:gd name="T17" fmla="*/ 3197 h 3531"/>
              <a:gd name="T18" fmla="*/ 4222 w 5022"/>
              <a:gd name="T19" fmla="*/ 3111 h 3531"/>
              <a:gd name="T20" fmla="*/ 4279 w 5022"/>
              <a:gd name="T21" fmla="*/ 3025 h 3531"/>
              <a:gd name="T22" fmla="*/ 4333 w 5022"/>
              <a:gd name="T23" fmla="*/ 2937 h 3531"/>
              <a:gd name="T24" fmla="*/ 4385 w 5022"/>
              <a:gd name="T25" fmla="*/ 2849 h 3531"/>
              <a:gd name="T26" fmla="*/ 4435 w 5022"/>
              <a:gd name="T27" fmla="*/ 2759 h 3531"/>
              <a:gd name="T28" fmla="*/ 4483 w 5022"/>
              <a:gd name="T29" fmla="*/ 2670 h 3531"/>
              <a:gd name="T30" fmla="*/ 4530 w 5022"/>
              <a:gd name="T31" fmla="*/ 2578 h 3531"/>
              <a:gd name="T32" fmla="*/ 4574 w 5022"/>
              <a:gd name="T33" fmla="*/ 2487 h 3531"/>
              <a:gd name="T34" fmla="*/ 4616 w 5022"/>
              <a:gd name="T35" fmla="*/ 2396 h 3531"/>
              <a:gd name="T36" fmla="*/ 4658 w 5022"/>
              <a:gd name="T37" fmla="*/ 2304 h 3531"/>
              <a:gd name="T38" fmla="*/ 4695 w 5022"/>
              <a:gd name="T39" fmla="*/ 2210 h 3531"/>
              <a:gd name="T40" fmla="*/ 4732 w 5022"/>
              <a:gd name="T41" fmla="*/ 2116 h 3531"/>
              <a:gd name="T42" fmla="*/ 4767 w 5022"/>
              <a:gd name="T43" fmla="*/ 2022 h 3531"/>
              <a:gd name="T44" fmla="*/ 4798 w 5022"/>
              <a:gd name="T45" fmla="*/ 1926 h 3531"/>
              <a:gd name="T46" fmla="*/ 4829 w 5022"/>
              <a:gd name="T47" fmla="*/ 1830 h 3531"/>
              <a:gd name="T48" fmla="*/ 4858 w 5022"/>
              <a:gd name="T49" fmla="*/ 1733 h 3531"/>
              <a:gd name="T50" fmla="*/ 4883 w 5022"/>
              <a:gd name="T51" fmla="*/ 1636 h 3531"/>
              <a:gd name="T52" fmla="*/ 4907 w 5022"/>
              <a:gd name="T53" fmla="*/ 1538 h 3531"/>
              <a:gd name="T54" fmla="*/ 4928 w 5022"/>
              <a:gd name="T55" fmla="*/ 1441 h 3531"/>
              <a:gd name="T56" fmla="*/ 4947 w 5022"/>
              <a:gd name="T57" fmla="*/ 1341 h 3531"/>
              <a:gd name="T58" fmla="*/ 4965 w 5022"/>
              <a:gd name="T59" fmla="*/ 1242 h 3531"/>
              <a:gd name="T60" fmla="*/ 4980 w 5022"/>
              <a:gd name="T61" fmla="*/ 1142 h 3531"/>
              <a:gd name="T62" fmla="*/ 4992 w 5022"/>
              <a:gd name="T63" fmla="*/ 1042 h 3531"/>
              <a:gd name="T64" fmla="*/ 5003 w 5022"/>
              <a:gd name="T65" fmla="*/ 941 h 3531"/>
              <a:gd name="T66" fmla="*/ 5012 w 5022"/>
              <a:gd name="T67" fmla="*/ 839 h 3531"/>
              <a:gd name="T68" fmla="*/ 5018 w 5022"/>
              <a:gd name="T69" fmla="*/ 738 h 3531"/>
              <a:gd name="T70" fmla="*/ 5021 w 5022"/>
              <a:gd name="T71" fmla="*/ 635 h 3531"/>
              <a:gd name="T72" fmla="*/ 5022 w 5022"/>
              <a:gd name="T73" fmla="*/ 533 h 3531"/>
              <a:gd name="T74" fmla="*/ 5022 w 5022"/>
              <a:gd name="T75" fmla="*/ 533 h 3531"/>
              <a:gd name="T76" fmla="*/ 5022 w 5022"/>
              <a:gd name="T77" fmla="*/ 466 h 3531"/>
              <a:gd name="T78" fmla="*/ 5021 w 5022"/>
              <a:gd name="T79" fmla="*/ 399 h 3531"/>
              <a:gd name="T80" fmla="*/ 5018 w 5022"/>
              <a:gd name="T81" fmla="*/ 331 h 3531"/>
              <a:gd name="T82" fmla="*/ 5015 w 5022"/>
              <a:gd name="T83" fmla="*/ 264 h 3531"/>
              <a:gd name="T84" fmla="*/ 5010 w 5022"/>
              <a:gd name="T85" fmla="*/ 197 h 3531"/>
              <a:gd name="T86" fmla="*/ 5004 w 5022"/>
              <a:gd name="T87" fmla="*/ 131 h 3531"/>
              <a:gd name="T88" fmla="*/ 4997 w 5022"/>
              <a:gd name="T89" fmla="*/ 66 h 3531"/>
              <a:gd name="T90" fmla="*/ 4989 w 5022"/>
              <a:gd name="T91" fmla="*/ 0 h 3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022" h="3531">
                <a:moveTo>
                  <a:pt x="4989" y="0"/>
                </a:moveTo>
                <a:lnTo>
                  <a:pt x="0" y="0"/>
                </a:lnTo>
                <a:lnTo>
                  <a:pt x="0" y="3531"/>
                </a:lnTo>
                <a:lnTo>
                  <a:pt x="3916" y="3531"/>
                </a:lnTo>
                <a:lnTo>
                  <a:pt x="3916" y="3531"/>
                </a:lnTo>
                <a:lnTo>
                  <a:pt x="3980" y="3449"/>
                </a:lnTo>
                <a:lnTo>
                  <a:pt x="4044" y="3365"/>
                </a:lnTo>
                <a:lnTo>
                  <a:pt x="4106" y="3282"/>
                </a:lnTo>
                <a:lnTo>
                  <a:pt x="4165" y="3197"/>
                </a:lnTo>
                <a:lnTo>
                  <a:pt x="4222" y="3111"/>
                </a:lnTo>
                <a:lnTo>
                  <a:pt x="4279" y="3025"/>
                </a:lnTo>
                <a:lnTo>
                  <a:pt x="4333" y="2937"/>
                </a:lnTo>
                <a:lnTo>
                  <a:pt x="4385" y="2849"/>
                </a:lnTo>
                <a:lnTo>
                  <a:pt x="4435" y="2759"/>
                </a:lnTo>
                <a:lnTo>
                  <a:pt x="4483" y="2670"/>
                </a:lnTo>
                <a:lnTo>
                  <a:pt x="4530" y="2578"/>
                </a:lnTo>
                <a:lnTo>
                  <a:pt x="4574" y="2487"/>
                </a:lnTo>
                <a:lnTo>
                  <a:pt x="4616" y="2396"/>
                </a:lnTo>
                <a:lnTo>
                  <a:pt x="4658" y="2304"/>
                </a:lnTo>
                <a:lnTo>
                  <a:pt x="4695" y="2210"/>
                </a:lnTo>
                <a:lnTo>
                  <a:pt x="4732" y="2116"/>
                </a:lnTo>
                <a:lnTo>
                  <a:pt x="4767" y="2022"/>
                </a:lnTo>
                <a:lnTo>
                  <a:pt x="4798" y="1926"/>
                </a:lnTo>
                <a:lnTo>
                  <a:pt x="4829" y="1830"/>
                </a:lnTo>
                <a:lnTo>
                  <a:pt x="4858" y="1733"/>
                </a:lnTo>
                <a:lnTo>
                  <a:pt x="4883" y="1636"/>
                </a:lnTo>
                <a:lnTo>
                  <a:pt x="4907" y="1538"/>
                </a:lnTo>
                <a:lnTo>
                  <a:pt x="4928" y="1441"/>
                </a:lnTo>
                <a:lnTo>
                  <a:pt x="4947" y="1341"/>
                </a:lnTo>
                <a:lnTo>
                  <a:pt x="4965" y="1242"/>
                </a:lnTo>
                <a:lnTo>
                  <a:pt x="4980" y="1142"/>
                </a:lnTo>
                <a:lnTo>
                  <a:pt x="4992" y="1042"/>
                </a:lnTo>
                <a:lnTo>
                  <a:pt x="5003" y="941"/>
                </a:lnTo>
                <a:lnTo>
                  <a:pt x="5012" y="839"/>
                </a:lnTo>
                <a:lnTo>
                  <a:pt x="5018" y="738"/>
                </a:lnTo>
                <a:lnTo>
                  <a:pt x="5021" y="635"/>
                </a:lnTo>
                <a:lnTo>
                  <a:pt x="5022" y="533"/>
                </a:lnTo>
                <a:lnTo>
                  <a:pt x="5022" y="533"/>
                </a:lnTo>
                <a:lnTo>
                  <a:pt x="5022" y="466"/>
                </a:lnTo>
                <a:lnTo>
                  <a:pt x="5021" y="399"/>
                </a:lnTo>
                <a:lnTo>
                  <a:pt x="5018" y="331"/>
                </a:lnTo>
                <a:lnTo>
                  <a:pt x="5015" y="264"/>
                </a:lnTo>
                <a:lnTo>
                  <a:pt x="5010" y="197"/>
                </a:lnTo>
                <a:lnTo>
                  <a:pt x="5004" y="131"/>
                </a:lnTo>
                <a:lnTo>
                  <a:pt x="4997" y="66"/>
                </a:lnTo>
                <a:lnTo>
                  <a:pt x="498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88900" dist="50800" algn="l" rotWithShape="0">
              <a:prstClr val="black">
                <a:alpha val="50000"/>
              </a:prstClr>
            </a:outerShdw>
          </a:effec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24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64457" y="275167"/>
            <a:ext cx="8930555" cy="1143000"/>
          </a:xfrm>
          <a:prstGeom prst="rect">
            <a:avLst/>
          </a:prstGeom>
        </p:spPr>
        <p:txBody>
          <a:bodyPr anchor="ctr"/>
          <a:lstStyle>
            <a:lvl1pPr>
              <a:defRPr b="1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314022" y="6461878"/>
            <a:ext cx="596900" cy="27304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1"/>
                </a:solidFill>
                <a:latin typeface="Arial"/>
                <a:ea typeface="ＭＳ Ｐゴシック" pitchFamily="34" charset="-128"/>
                <a:cs typeface="Arial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17CD448-BDE5-4446-AE75-A0344141D28E}" type="slidenum">
              <a:rPr kumimoji="0" lang="en-US" sz="1333" b="1" i="0" u="none" strike="noStrike" kern="1200" cap="none" spc="0" normalizeH="0" baseline="0" noProof="0" smtClean="0">
                <a:ln>
                  <a:noFill/>
                </a:ln>
                <a:solidFill>
                  <a:srgbClr val="54585A">
                    <a:lumMod val="40000"/>
                    <a:lumOff val="6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1200" cap="none" spc="0" normalizeH="0" baseline="0" noProof="0" dirty="0">
              <a:ln>
                <a:noFill/>
              </a:ln>
              <a:solidFill>
                <a:srgbClr val="54585A">
                  <a:lumMod val="40000"/>
                  <a:lumOff val="6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Date Placeholder 3"/>
          <p:cNvSpPr txBox="1">
            <a:spLocks/>
          </p:cNvSpPr>
          <p:nvPr userDrawn="1"/>
        </p:nvSpPr>
        <p:spPr>
          <a:xfrm>
            <a:off x="822682" y="6461878"/>
            <a:ext cx="1159933" cy="27304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Arial"/>
                <a:ea typeface="ＭＳ Ｐゴシック" pitchFamily="34" charset="-128"/>
                <a:cs typeface="Arial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3965593-D00A-4D19-B125-70848567FE46}" type="datetime1">
              <a:rPr kumimoji="0" lang="fi-FI" sz="1333" b="0" i="0" u="none" strike="noStrike" kern="1200" cap="none" spc="0" normalizeH="0" baseline="0" noProof="0" smtClean="0">
                <a:ln>
                  <a:noFill/>
                </a:ln>
                <a:solidFill>
                  <a:srgbClr val="54585A">
                    <a:lumMod val="40000"/>
                    <a:lumOff val="6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.4.2023</a:t>
            </a:fld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54585A">
                  <a:lumMod val="40000"/>
                  <a:lumOff val="6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813904" y="6432027"/>
            <a:ext cx="0" cy="434152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5" name="Picture 2" descr="C:\Essi yleiset\LUKE töitä\Powerpoint-pohjat\Esityspohja 2019\c_natural_resources_grey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2677" y="6521551"/>
            <a:ext cx="3458633" cy="224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1CBD42F-850B-4673-8A7B-238DFFCE47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4458" y="1614152"/>
            <a:ext cx="8930551" cy="469498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990575" indent="-380990"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523962" indent="-304792">
              <a:buFont typeface="Segoe UI" panose="020B0502040204020203" pitchFamily="34" charset="0"/>
              <a:buChar char="‒"/>
              <a:defRPr sz="2133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2133547" indent="-304792">
              <a:buFont typeface="Segoe UI" panose="020B0502040204020203" pitchFamily="34" charset="0"/>
              <a:buChar char="‐"/>
              <a:defRPr sz="1867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594936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lumn white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458" y="275167"/>
            <a:ext cx="11263085" cy="1143000"/>
          </a:xfrm>
          <a:prstGeom prst="rect">
            <a:avLst/>
          </a:prstGeom>
        </p:spPr>
        <p:txBody>
          <a:bodyPr anchor="ctr"/>
          <a:lstStyle>
            <a:lvl1pPr>
              <a:defRPr b="1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Slide Number Placeholder 6"/>
          <p:cNvSpPr txBox="1">
            <a:spLocks/>
          </p:cNvSpPr>
          <p:nvPr userDrawn="1"/>
        </p:nvSpPr>
        <p:spPr>
          <a:xfrm>
            <a:off x="11229238" y="6449956"/>
            <a:ext cx="596900" cy="27304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1"/>
                </a:solidFill>
                <a:latin typeface="Arial"/>
                <a:ea typeface="ＭＳ Ｐゴシック" pitchFamily="34" charset="-128"/>
                <a:cs typeface="Arial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17CD448-BDE5-4446-AE75-A0344141D28E}" type="slidenum">
              <a:rPr kumimoji="0" lang="en-US" sz="1333" b="1" i="0" u="none" strike="noStrike" kern="1200" cap="none" spc="0" normalizeH="0" baseline="0" noProof="0" smtClean="0">
                <a:ln>
                  <a:noFill/>
                </a:ln>
                <a:solidFill>
                  <a:srgbClr val="54585A">
                    <a:lumMod val="40000"/>
                    <a:lumOff val="6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1200" cap="none" spc="0" normalizeH="0" baseline="0" noProof="0" dirty="0">
              <a:ln>
                <a:noFill/>
              </a:ln>
              <a:solidFill>
                <a:srgbClr val="54585A">
                  <a:lumMod val="40000"/>
                  <a:lumOff val="6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1163836" y="6420104"/>
            <a:ext cx="0" cy="434152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Date Placeholder 2"/>
          <p:cNvSpPr>
            <a:spLocks noGrp="1"/>
          </p:cNvSpPr>
          <p:nvPr>
            <p:ph type="dt" sz="half" idx="2"/>
          </p:nvPr>
        </p:nvSpPr>
        <p:spPr>
          <a:xfrm>
            <a:off x="10044927" y="6457047"/>
            <a:ext cx="1062461" cy="265487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 algn="r">
              <a:defRPr sz="1333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fld id="{A14BA6D4-E5A4-4401-8D3D-034C13C00E0D}" type="datetime1">
              <a:rPr lang="fi-FI" smtClean="0">
                <a:solidFill>
                  <a:prstClr val="white">
                    <a:lumMod val="65000"/>
                  </a:prstClr>
                </a:solidFill>
              </a:rPr>
              <a:pPr defTabSz="609585" fontAlgn="base">
                <a:spcBef>
                  <a:spcPct val="0"/>
                </a:spcBef>
                <a:spcAft>
                  <a:spcPct val="0"/>
                </a:spcAft>
              </a:pPr>
              <a:t>26.4.2023</a:t>
            </a:fld>
            <a:endParaRPr lang="fi-FI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748D695-EFAC-4E50-A090-552ABE8F14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4458" y="1614153"/>
            <a:ext cx="11263085" cy="436754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990575" indent="-380990"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523962" indent="-304792">
              <a:buFont typeface="Segoe UI" panose="020B0502040204020203" pitchFamily="34" charset="0"/>
              <a:buChar char="‒"/>
              <a:defRPr sz="2133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2133547" indent="-304792">
              <a:buFont typeface="Segoe UI" panose="020B0502040204020203" pitchFamily="34" charset="0"/>
              <a:buChar char="‐"/>
              <a:defRPr sz="1867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30" name="Freeform 5">
            <a:extLst>
              <a:ext uri="{FF2B5EF4-FFF2-40B4-BE49-F238E27FC236}">
                <a16:creationId xmlns:a16="http://schemas.microsoft.com/office/drawing/2014/main" id="{A20DA4BC-C5D1-451C-B99C-E2BA6A8E3EE8}"/>
              </a:ext>
            </a:extLst>
          </p:cNvPr>
          <p:cNvSpPr>
            <a:spLocks/>
          </p:cNvSpPr>
          <p:nvPr userDrawn="1"/>
        </p:nvSpPr>
        <p:spPr bwMode="auto">
          <a:xfrm>
            <a:off x="458661" y="6464775"/>
            <a:ext cx="133523" cy="216973"/>
          </a:xfrm>
          <a:custGeom>
            <a:avLst/>
            <a:gdLst>
              <a:gd name="T0" fmla="*/ 0 w 57"/>
              <a:gd name="T1" fmla="*/ 0 h 92"/>
              <a:gd name="T2" fmla="*/ 0 w 57"/>
              <a:gd name="T3" fmla="*/ 73 h 92"/>
              <a:gd name="T4" fmla="*/ 21 w 57"/>
              <a:gd name="T5" fmla="*/ 92 h 92"/>
              <a:gd name="T6" fmla="*/ 57 w 57"/>
              <a:gd name="T7" fmla="*/ 91 h 92"/>
              <a:gd name="T8" fmla="*/ 56 w 57"/>
              <a:gd name="T9" fmla="*/ 78 h 92"/>
              <a:gd name="T10" fmla="*/ 24 w 57"/>
              <a:gd name="T11" fmla="*/ 78 h 92"/>
              <a:gd name="T12" fmla="*/ 18 w 57"/>
              <a:gd name="T13" fmla="*/ 76 h 92"/>
              <a:gd name="T14" fmla="*/ 17 w 57"/>
              <a:gd name="T15" fmla="*/ 71 h 92"/>
              <a:gd name="T16" fmla="*/ 17 w 57"/>
              <a:gd name="T17" fmla="*/ 0 h 92"/>
              <a:gd name="T18" fmla="*/ 0 w 57"/>
              <a:gd name="T19" fmla="*/ 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7" h="92">
                <a:moveTo>
                  <a:pt x="0" y="0"/>
                </a:moveTo>
                <a:cubicBezTo>
                  <a:pt x="0" y="73"/>
                  <a:pt x="0" y="73"/>
                  <a:pt x="0" y="73"/>
                </a:cubicBezTo>
                <a:cubicBezTo>
                  <a:pt x="0" y="86"/>
                  <a:pt x="7" y="92"/>
                  <a:pt x="21" y="92"/>
                </a:cubicBezTo>
                <a:cubicBezTo>
                  <a:pt x="36" y="92"/>
                  <a:pt x="48" y="92"/>
                  <a:pt x="57" y="91"/>
                </a:cubicBezTo>
                <a:cubicBezTo>
                  <a:pt x="56" y="78"/>
                  <a:pt x="56" y="78"/>
                  <a:pt x="56" y="78"/>
                </a:cubicBezTo>
                <a:cubicBezTo>
                  <a:pt x="24" y="78"/>
                  <a:pt x="24" y="78"/>
                  <a:pt x="24" y="78"/>
                </a:cubicBezTo>
                <a:cubicBezTo>
                  <a:pt x="22" y="78"/>
                  <a:pt x="19" y="78"/>
                  <a:pt x="18" y="76"/>
                </a:cubicBezTo>
                <a:cubicBezTo>
                  <a:pt x="17" y="75"/>
                  <a:pt x="17" y="73"/>
                  <a:pt x="17" y="71"/>
                </a:cubicBezTo>
                <a:cubicBezTo>
                  <a:pt x="17" y="0"/>
                  <a:pt x="17" y="0"/>
                  <a:pt x="1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24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Freeform 6">
            <a:extLst>
              <a:ext uri="{FF2B5EF4-FFF2-40B4-BE49-F238E27FC236}">
                <a16:creationId xmlns:a16="http://schemas.microsoft.com/office/drawing/2014/main" id="{F144F034-BB0B-49F1-B9C7-AB1E3700BA4A}"/>
              </a:ext>
            </a:extLst>
          </p:cNvPr>
          <p:cNvSpPr>
            <a:spLocks/>
          </p:cNvSpPr>
          <p:nvPr userDrawn="1"/>
        </p:nvSpPr>
        <p:spPr bwMode="auto">
          <a:xfrm>
            <a:off x="602001" y="6527609"/>
            <a:ext cx="140395" cy="158067"/>
          </a:xfrm>
          <a:custGeom>
            <a:avLst/>
            <a:gdLst>
              <a:gd name="T0" fmla="*/ 44 w 60"/>
              <a:gd name="T1" fmla="*/ 0 h 67"/>
              <a:gd name="T2" fmla="*/ 44 w 60"/>
              <a:gd name="T3" fmla="*/ 46 h 67"/>
              <a:gd name="T4" fmla="*/ 25 w 60"/>
              <a:gd name="T5" fmla="*/ 53 h 67"/>
              <a:gd name="T6" fmla="*/ 18 w 60"/>
              <a:gd name="T7" fmla="*/ 51 h 67"/>
              <a:gd name="T8" fmla="*/ 17 w 60"/>
              <a:gd name="T9" fmla="*/ 44 h 67"/>
              <a:gd name="T10" fmla="*/ 17 w 60"/>
              <a:gd name="T11" fmla="*/ 0 h 67"/>
              <a:gd name="T12" fmla="*/ 0 w 60"/>
              <a:gd name="T13" fmla="*/ 0 h 67"/>
              <a:gd name="T14" fmla="*/ 0 w 60"/>
              <a:gd name="T15" fmla="*/ 49 h 67"/>
              <a:gd name="T16" fmla="*/ 18 w 60"/>
              <a:gd name="T17" fmla="*/ 67 h 67"/>
              <a:gd name="T18" fmla="*/ 46 w 60"/>
              <a:gd name="T19" fmla="*/ 56 h 67"/>
              <a:gd name="T20" fmla="*/ 47 w 60"/>
              <a:gd name="T21" fmla="*/ 65 h 67"/>
              <a:gd name="T22" fmla="*/ 60 w 60"/>
              <a:gd name="T23" fmla="*/ 65 h 67"/>
              <a:gd name="T24" fmla="*/ 60 w 60"/>
              <a:gd name="T25" fmla="*/ 0 h 67"/>
              <a:gd name="T26" fmla="*/ 44 w 60"/>
              <a:gd name="T27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0" h="67">
                <a:moveTo>
                  <a:pt x="44" y="0"/>
                </a:moveTo>
                <a:cubicBezTo>
                  <a:pt x="44" y="46"/>
                  <a:pt x="44" y="46"/>
                  <a:pt x="44" y="46"/>
                </a:cubicBezTo>
                <a:cubicBezTo>
                  <a:pt x="35" y="51"/>
                  <a:pt x="29" y="53"/>
                  <a:pt x="25" y="53"/>
                </a:cubicBezTo>
                <a:cubicBezTo>
                  <a:pt x="21" y="53"/>
                  <a:pt x="19" y="52"/>
                  <a:pt x="18" y="51"/>
                </a:cubicBezTo>
                <a:cubicBezTo>
                  <a:pt x="17" y="50"/>
                  <a:pt x="16" y="47"/>
                  <a:pt x="17" y="44"/>
                </a:cubicBezTo>
                <a:cubicBezTo>
                  <a:pt x="17" y="0"/>
                  <a:pt x="17" y="0"/>
                  <a:pt x="1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61"/>
                  <a:pt x="6" y="67"/>
                  <a:pt x="18" y="67"/>
                </a:cubicBezTo>
                <a:cubicBezTo>
                  <a:pt x="27" y="67"/>
                  <a:pt x="36" y="63"/>
                  <a:pt x="46" y="56"/>
                </a:cubicBezTo>
                <a:cubicBezTo>
                  <a:pt x="47" y="65"/>
                  <a:pt x="47" y="65"/>
                  <a:pt x="47" y="65"/>
                </a:cubicBezTo>
                <a:cubicBezTo>
                  <a:pt x="60" y="65"/>
                  <a:pt x="60" y="65"/>
                  <a:pt x="60" y="65"/>
                </a:cubicBezTo>
                <a:cubicBezTo>
                  <a:pt x="60" y="0"/>
                  <a:pt x="60" y="0"/>
                  <a:pt x="60" y="0"/>
                </a:cubicBezTo>
                <a:lnTo>
                  <a:pt x="44" y="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24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Freeform 7">
            <a:extLst>
              <a:ext uri="{FF2B5EF4-FFF2-40B4-BE49-F238E27FC236}">
                <a16:creationId xmlns:a16="http://schemas.microsoft.com/office/drawing/2014/main" id="{97D64070-E7F7-4E60-B850-F41FA0981D77}"/>
              </a:ext>
            </a:extLst>
          </p:cNvPr>
          <p:cNvSpPr>
            <a:spLocks/>
          </p:cNvSpPr>
          <p:nvPr userDrawn="1"/>
        </p:nvSpPr>
        <p:spPr bwMode="auto">
          <a:xfrm>
            <a:off x="770867" y="6464775"/>
            <a:ext cx="142359" cy="216973"/>
          </a:xfrm>
          <a:custGeom>
            <a:avLst/>
            <a:gdLst>
              <a:gd name="T0" fmla="*/ 43 w 61"/>
              <a:gd name="T1" fmla="*/ 92 h 92"/>
              <a:gd name="T2" fmla="*/ 61 w 61"/>
              <a:gd name="T3" fmla="*/ 92 h 92"/>
              <a:gd name="T4" fmla="*/ 41 w 61"/>
              <a:gd name="T5" fmla="*/ 62 h 92"/>
              <a:gd name="T6" fmla="*/ 35 w 61"/>
              <a:gd name="T7" fmla="*/ 56 h 92"/>
              <a:gd name="T8" fmla="*/ 35 w 61"/>
              <a:gd name="T9" fmla="*/ 55 h 92"/>
              <a:gd name="T10" fmla="*/ 41 w 61"/>
              <a:gd name="T11" fmla="*/ 50 h 92"/>
              <a:gd name="T12" fmla="*/ 59 w 61"/>
              <a:gd name="T13" fmla="*/ 27 h 92"/>
              <a:gd name="T14" fmla="*/ 41 w 61"/>
              <a:gd name="T15" fmla="*/ 27 h 92"/>
              <a:gd name="T16" fmla="*/ 23 w 61"/>
              <a:gd name="T17" fmla="*/ 50 h 92"/>
              <a:gd name="T18" fmla="*/ 16 w 61"/>
              <a:gd name="T19" fmla="*/ 50 h 92"/>
              <a:gd name="T20" fmla="*/ 17 w 61"/>
              <a:gd name="T21" fmla="*/ 39 h 92"/>
              <a:gd name="T22" fmla="*/ 17 w 61"/>
              <a:gd name="T23" fmla="*/ 0 h 92"/>
              <a:gd name="T24" fmla="*/ 0 w 61"/>
              <a:gd name="T25" fmla="*/ 0 h 92"/>
              <a:gd name="T26" fmla="*/ 0 w 61"/>
              <a:gd name="T27" fmla="*/ 92 h 92"/>
              <a:gd name="T28" fmla="*/ 16 w 61"/>
              <a:gd name="T29" fmla="*/ 92 h 92"/>
              <a:gd name="T30" fmla="*/ 16 w 61"/>
              <a:gd name="T31" fmla="*/ 71 h 92"/>
              <a:gd name="T32" fmla="*/ 16 w 61"/>
              <a:gd name="T33" fmla="*/ 61 h 92"/>
              <a:gd name="T34" fmla="*/ 23 w 61"/>
              <a:gd name="T35" fmla="*/ 61 h 92"/>
              <a:gd name="T36" fmla="*/ 43 w 61"/>
              <a:gd name="T37" fmla="*/ 9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1" h="92">
                <a:moveTo>
                  <a:pt x="43" y="92"/>
                </a:moveTo>
                <a:cubicBezTo>
                  <a:pt x="61" y="92"/>
                  <a:pt x="61" y="92"/>
                  <a:pt x="61" y="92"/>
                </a:cubicBezTo>
                <a:cubicBezTo>
                  <a:pt x="41" y="62"/>
                  <a:pt x="41" y="62"/>
                  <a:pt x="41" y="62"/>
                </a:cubicBezTo>
                <a:cubicBezTo>
                  <a:pt x="39" y="59"/>
                  <a:pt x="37" y="57"/>
                  <a:pt x="35" y="56"/>
                </a:cubicBezTo>
                <a:cubicBezTo>
                  <a:pt x="35" y="55"/>
                  <a:pt x="35" y="55"/>
                  <a:pt x="35" y="55"/>
                </a:cubicBezTo>
                <a:cubicBezTo>
                  <a:pt x="37" y="54"/>
                  <a:pt x="39" y="52"/>
                  <a:pt x="41" y="50"/>
                </a:cubicBezTo>
                <a:cubicBezTo>
                  <a:pt x="59" y="27"/>
                  <a:pt x="59" y="27"/>
                  <a:pt x="59" y="27"/>
                </a:cubicBezTo>
                <a:cubicBezTo>
                  <a:pt x="41" y="27"/>
                  <a:pt x="41" y="27"/>
                  <a:pt x="41" y="27"/>
                </a:cubicBezTo>
                <a:cubicBezTo>
                  <a:pt x="23" y="50"/>
                  <a:pt x="23" y="50"/>
                  <a:pt x="23" y="50"/>
                </a:cubicBezTo>
                <a:cubicBezTo>
                  <a:pt x="16" y="50"/>
                  <a:pt x="16" y="50"/>
                  <a:pt x="16" y="50"/>
                </a:cubicBezTo>
                <a:cubicBezTo>
                  <a:pt x="16" y="47"/>
                  <a:pt x="17" y="43"/>
                  <a:pt x="17" y="39"/>
                </a:cubicBezTo>
                <a:cubicBezTo>
                  <a:pt x="17" y="0"/>
                  <a:pt x="17" y="0"/>
                  <a:pt x="1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92"/>
                  <a:pt x="0" y="92"/>
                  <a:pt x="0" y="92"/>
                </a:cubicBezTo>
                <a:cubicBezTo>
                  <a:pt x="16" y="92"/>
                  <a:pt x="16" y="92"/>
                  <a:pt x="16" y="92"/>
                </a:cubicBezTo>
                <a:cubicBezTo>
                  <a:pt x="16" y="71"/>
                  <a:pt x="16" y="71"/>
                  <a:pt x="16" y="71"/>
                </a:cubicBezTo>
                <a:cubicBezTo>
                  <a:pt x="16" y="69"/>
                  <a:pt x="16" y="65"/>
                  <a:pt x="16" y="61"/>
                </a:cubicBezTo>
                <a:cubicBezTo>
                  <a:pt x="23" y="61"/>
                  <a:pt x="23" y="61"/>
                  <a:pt x="23" y="61"/>
                </a:cubicBezTo>
                <a:lnTo>
                  <a:pt x="43" y="92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24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Freeform 8">
            <a:extLst>
              <a:ext uri="{FF2B5EF4-FFF2-40B4-BE49-F238E27FC236}">
                <a16:creationId xmlns:a16="http://schemas.microsoft.com/office/drawing/2014/main" id="{9F14B8C7-AA7A-4A6B-BA99-5C6FBFD08F0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08317" y="6523681"/>
            <a:ext cx="143340" cy="161995"/>
          </a:xfrm>
          <a:custGeom>
            <a:avLst/>
            <a:gdLst>
              <a:gd name="T0" fmla="*/ 61 w 61"/>
              <a:gd name="T1" fmla="*/ 23 h 69"/>
              <a:gd name="T2" fmla="*/ 54 w 61"/>
              <a:gd name="T3" fmla="*/ 6 h 69"/>
              <a:gd name="T4" fmla="*/ 31 w 61"/>
              <a:gd name="T5" fmla="*/ 0 h 69"/>
              <a:gd name="T6" fmla="*/ 7 w 61"/>
              <a:gd name="T7" fmla="*/ 8 h 69"/>
              <a:gd name="T8" fmla="*/ 0 w 61"/>
              <a:gd name="T9" fmla="*/ 34 h 69"/>
              <a:gd name="T10" fmla="*/ 7 w 61"/>
              <a:gd name="T11" fmla="*/ 61 h 69"/>
              <a:gd name="T12" fmla="*/ 32 w 61"/>
              <a:gd name="T13" fmla="*/ 69 h 69"/>
              <a:gd name="T14" fmla="*/ 59 w 61"/>
              <a:gd name="T15" fmla="*/ 64 h 69"/>
              <a:gd name="T16" fmla="*/ 58 w 61"/>
              <a:gd name="T17" fmla="*/ 54 h 69"/>
              <a:gd name="T18" fmla="*/ 34 w 61"/>
              <a:gd name="T19" fmla="*/ 55 h 69"/>
              <a:gd name="T20" fmla="*/ 22 w 61"/>
              <a:gd name="T21" fmla="*/ 53 h 69"/>
              <a:gd name="T22" fmla="*/ 17 w 61"/>
              <a:gd name="T23" fmla="*/ 41 h 69"/>
              <a:gd name="T24" fmla="*/ 44 w 61"/>
              <a:gd name="T25" fmla="*/ 41 h 69"/>
              <a:gd name="T26" fmla="*/ 61 w 61"/>
              <a:gd name="T27" fmla="*/ 23 h 69"/>
              <a:gd name="T28" fmla="*/ 45 w 61"/>
              <a:gd name="T29" fmla="*/ 22 h 69"/>
              <a:gd name="T30" fmla="*/ 39 w 61"/>
              <a:gd name="T31" fmla="*/ 30 h 69"/>
              <a:gd name="T32" fmla="*/ 17 w 61"/>
              <a:gd name="T33" fmla="*/ 30 h 69"/>
              <a:gd name="T34" fmla="*/ 20 w 61"/>
              <a:gd name="T35" fmla="*/ 16 h 69"/>
              <a:gd name="T36" fmla="*/ 32 w 61"/>
              <a:gd name="T37" fmla="*/ 13 h 69"/>
              <a:gd name="T38" fmla="*/ 42 w 61"/>
              <a:gd name="T39" fmla="*/ 15 h 69"/>
              <a:gd name="T40" fmla="*/ 45 w 61"/>
              <a:gd name="T41" fmla="*/ 22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61" h="69">
                <a:moveTo>
                  <a:pt x="61" y="23"/>
                </a:moveTo>
                <a:cubicBezTo>
                  <a:pt x="61" y="15"/>
                  <a:pt x="59" y="9"/>
                  <a:pt x="54" y="6"/>
                </a:cubicBezTo>
                <a:cubicBezTo>
                  <a:pt x="49" y="2"/>
                  <a:pt x="42" y="0"/>
                  <a:pt x="31" y="0"/>
                </a:cubicBezTo>
                <a:cubicBezTo>
                  <a:pt x="20" y="0"/>
                  <a:pt x="12" y="3"/>
                  <a:pt x="7" y="8"/>
                </a:cubicBezTo>
                <a:cubicBezTo>
                  <a:pt x="2" y="13"/>
                  <a:pt x="0" y="22"/>
                  <a:pt x="0" y="34"/>
                </a:cubicBezTo>
                <a:cubicBezTo>
                  <a:pt x="0" y="47"/>
                  <a:pt x="2" y="55"/>
                  <a:pt x="7" y="61"/>
                </a:cubicBezTo>
                <a:cubicBezTo>
                  <a:pt x="12" y="66"/>
                  <a:pt x="21" y="69"/>
                  <a:pt x="32" y="69"/>
                </a:cubicBezTo>
                <a:cubicBezTo>
                  <a:pt x="44" y="69"/>
                  <a:pt x="53" y="67"/>
                  <a:pt x="59" y="64"/>
                </a:cubicBezTo>
                <a:cubicBezTo>
                  <a:pt x="58" y="54"/>
                  <a:pt x="58" y="54"/>
                  <a:pt x="58" y="54"/>
                </a:cubicBezTo>
                <a:cubicBezTo>
                  <a:pt x="49" y="55"/>
                  <a:pt x="41" y="55"/>
                  <a:pt x="34" y="55"/>
                </a:cubicBezTo>
                <a:cubicBezTo>
                  <a:pt x="29" y="55"/>
                  <a:pt x="24" y="54"/>
                  <a:pt x="22" y="53"/>
                </a:cubicBezTo>
                <a:cubicBezTo>
                  <a:pt x="19" y="51"/>
                  <a:pt x="18" y="47"/>
                  <a:pt x="17" y="41"/>
                </a:cubicBezTo>
                <a:cubicBezTo>
                  <a:pt x="44" y="41"/>
                  <a:pt x="44" y="41"/>
                  <a:pt x="44" y="41"/>
                </a:cubicBezTo>
                <a:cubicBezTo>
                  <a:pt x="55" y="41"/>
                  <a:pt x="61" y="35"/>
                  <a:pt x="61" y="23"/>
                </a:cubicBezTo>
                <a:moveTo>
                  <a:pt x="45" y="22"/>
                </a:moveTo>
                <a:cubicBezTo>
                  <a:pt x="45" y="27"/>
                  <a:pt x="43" y="30"/>
                  <a:pt x="39" y="30"/>
                </a:cubicBezTo>
                <a:cubicBezTo>
                  <a:pt x="17" y="30"/>
                  <a:pt x="17" y="30"/>
                  <a:pt x="17" y="30"/>
                </a:cubicBezTo>
                <a:cubicBezTo>
                  <a:pt x="17" y="23"/>
                  <a:pt x="18" y="19"/>
                  <a:pt x="20" y="16"/>
                </a:cubicBezTo>
                <a:cubicBezTo>
                  <a:pt x="22" y="14"/>
                  <a:pt x="26" y="13"/>
                  <a:pt x="32" y="13"/>
                </a:cubicBezTo>
                <a:cubicBezTo>
                  <a:pt x="37" y="13"/>
                  <a:pt x="40" y="13"/>
                  <a:pt x="42" y="15"/>
                </a:cubicBezTo>
                <a:cubicBezTo>
                  <a:pt x="44" y="16"/>
                  <a:pt x="45" y="19"/>
                  <a:pt x="45" y="22"/>
                </a:cubicBezTo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24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Freeform 9">
            <a:extLst>
              <a:ext uri="{FF2B5EF4-FFF2-40B4-BE49-F238E27FC236}">
                <a16:creationId xmlns:a16="http://schemas.microsoft.com/office/drawing/2014/main" id="{50E33ED2-5D28-4346-84C3-123D5C1507F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1737" y="6236021"/>
            <a:ext cx="292571" cy="272935"/>
          </a:xfrm>
          <a:custGeom>
            <a:avLst/>
            <a:gdLst>
              <a:gd name="T0" fmla="*/ 65 w 125"/>
              <a:gd name="T1" fmla="*/ 1 h 116"/>
              <a:gd name="T2" fmla="*/ 0 w 125"/>
              <a:gd name="T3" fmla="*/ 44 h 116"/>
              <a:gd name="T4" fmla="*/ 13 w 125"/>
              <a:gd name="T5" fmla="*/ 76 h 116"/>
              <a:gd name="T6" fmla="*/ 39 w 125"/>
              <a:gd name="T7" fmla="*/ 91 h 116"/>
              <a:gd name="T8" fmla="*/ 39 w 125"/>
              <a:gd name="T9" fmla="*/ 91 h 116"/>
              <a:gd name="T10" fmla="*/ 39 w 125"/>
              <a:gd name="T11" fmla="*/ 92 h 116"/>
              <a:gd name="T12" fmla="*/ 39 w 125"/>
              <a:gd name="T13" fmla="*/ 92 h 116"/>
              <a:gd name="T14" fmla="*/ 21 w 125"/>
              <a:gd name="T15" fmla="*/ 116 h 116"/>
              <a:gd name="T16" fmla="*/ 30 w 125"/>
              <a:gd name="T17" fmla="*/ 116 h 116"/>
              <a:gd name="T18" fmla="*/ 66 w 125"/>
              <a:gd name="T19" fmla="*/ 95 h 116"/>
              <a:gd name="T20" fmla="*/ 124 w 125"/>
              <a:gd name="T21" fmla="*/ 49 h 116"/>
              <a:gd name="T22" fmla="*/ 65 w 125"/>
              <a:gd name="T23" fmla="*/ 1 h 116"/>
              <a:gd name="T24" fmla="*/ 82 w 125"/>
              <a:gd name="T25" fmla="*/ 77 h 116"/>
              <a:gd name="T26" fmla="*/ 52 w 125"/>
              <a:gd name="T27" fmla="*/ 85 h 116"/>
              <a:gd name="T28" fmla="*/ 70 w 125"/>
              <a:gd name="T29" fmla="*/ 56 h 116"/>
              <a:gd name="T30" fmla="*/ 68 w 125"/>
              <a:gd name="T31" fmla="*/ 56 h 116"/>
              <a:gd name="T32" fmla="*/ 41 w 125"/>
              <a:gd name="T33" fmla="*/ 83 h 116"/>
              <a:gd name="T34" fmla="*/ 32 w 125"/>
              <a:gd name="T35" fmla="*/ 78 h 116"/>
              <a:gd name="T36" fmla="*/ 35 w 125"/>
              <a:gd name="T37" fmla="*/ 29 h 116"/>
              <a:gd name="T38" fmla="*/ 75 w 125"/>
              <a:gd name="T39" fmla="*/ 19 h 116"/>
              <a:gd name="T40" fmla="*/ 99 w 125"/>
              <a:gd name="T41" fmla="*/ 16 h 116"/>
              <a:gd name="T42" fmla="*/ 82 w 125"/>
              <a:gd name="T43" fmla="*/ 77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5" h="116">
                <a:moveTo>
                  <a:pt x="65" y="1"/>
                </a:moveTo>
                <a:cubicBezTo>
                  <a:pt x="30" y="0"/>
                  <a:pt x="1" y="19"/>
                  <a:pt x="0" y="44"/>
                </a:cubicBezTo>
                <a:cubicBezTo>
                  <a:pt x="0" y="56"/>
                  <a:pt x="3" y="67"/>
                  <a:pt x="13" y="76"/>
                </a:cubicBezTo>
                <a:cubicBezTo>
                  <a:pt x="26" y="89"/>
                  <a:pt x="39" y="91"/>
                  <a:pt x="39" y="91"/>
                </a:cubicBezTo>
                <a:cubicBezTo>
                  <a:pt x="39" y="91"/>
                  <a:pt x="39" y="91"/>
                  <a:pt x="39" y="91"/>
                </a:cubicBezTo>
                <a:cubicBezTo>
                  <a:pt x="39" y="92"/>
                  <a:pt x="39" y="92"/>
                  <a:pt x="39" y="92"/>
                </a:cubicBezTo>
                <a:cubicBezTo>
                  <a:pt x="39" y="92"/>
                  <a:pt x="39" y="92"/>
                  <a:pt x="39" y="92"/>
                </a:cubicBezTo>
                <a:cubicBezTo>
                  <a:pt x="38" y="93"/>
                  <a:pt x="21" y="116"/>
                  <a:pt x="21" y="116"/>
                </a:cubicBezTo>
                <a:cubicBezTo>
                  <a:pt x="30" y="116"/>
                  <a:pt x="30" y="116"/>
                  <a:pt x="30" y="116"/>
                </a:cubicBezTo>
                <a:cubicBezTo>
                  <a:pt x="39" y="109"/>
                  <a:pt x="60" y="95"/>
                  <a:pt x="66" y="95"/>
                </a:cubicBezTo>
                <a:cubicBezTo>
                  <a:pt x="104" y="94"/>
                  <a:pt x="124" y="70"/>
                  <a:pt x="124" y="49"/>
                </a:cubicBezTo>
                <a:cubicBezTo>
                  <a:pt x="125" y="24"/>
                  <a:pt x="100" y="3"/>
                  <a:pt x="65" y="1"/>
                </a:cubicBezTo>
                <a:close/>
                <a:moveTo>
                  <a:pt x="82" y="77"/>
                </a:moveTo>
                <a:cubicBezTo>
                  <a:pt x="74" y="83"/>
                  <a:pt x="62" y="86"/>
                  <a:pt x="52" y="85"/>
                </a:cubicBezTo>
                <a:cubicBezTo>
                  <a:pt x="60" y="71"/>
                  <a:pt x="70" y="56"/>
                  <a:pt x="70" y="56"/>
                </a:cubicBezTo>
                <a:cubicBezTo>
                  <a:pt x="68" y="56"/>
                  <a:pt x="68" y="56"/>
                  <a:pt x="68" y="56"/>
                </a:cubicBezTo>
                <a:cubicBezTo>
                  <a:pt x="65" y="59"/>
                  <a:pt x="52" y="69"/>
                  <a:pt x="41" y="83"/>
                </a:cubicBezTo>
                <a:cubicBezTo>
                  <a:pt x="37" y="82"/>
                  <a:pt x="34" y="80"/>
                  <a:pt x="32" y="78"/>
                </a:cubicBezTo>
                <a:cubicBezTo>
                  <a:pt x="17" y="65"/>
                  <a:pt x="20" y="41"/>
                  <a:pt x="35" y="29"/>
                </a:cubicBezTo>
                <a:cubicBezTo>
                  <a:pt x="47" y="19"/>
                  <a:pt x="62" y="19"/>
                  <a:pt x="75" y="19"/>
                </a:cubicBezTo>
                <a:cubicBezTo>
                  <a:pt x="89" y="19"/>
                  <a:pt x="99" y="16"/>
                  <a:pt x="99" y="16"/>
                </a:cubicBezTo>
                <a:cubicBezTo>
                  <a:pt x="99" y="16"/>
                  <a:pt x="108" y="56"/>
                  <a:pt x="82" y="77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24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5" name="Picture 2" descr="C:\Essi yleiset\LUKE töitä\Powerpoint-pohjat\Esityspohja 2019\c_natural_resources_grey.png">
            <a:extLst>
              <a:ext uri="{FF2B5EF4-FFF2-40B4-BE49-F238E27FC236}">
                <a16:creationId xmlns:a16="http://schemas.microsoft.com/office/drawing/2014/main" id="{1AC5D7F0-83EF-4E2E-B549-C6103AA9BC8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5629" y="6532256"/>
            <a:ext cx="2959687" cy="1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7CD3EBE7-32A7-4CCA-9E4B-5CA42EE7CC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46101" y="6118578"/>
            <a:ext cx="5633425" cy="603956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 algn="l">
              <a:defRPr sz="13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endParaRPr lang="fi-FI" dirty="0">
              <a:solidFill>
                <a:prstClr val="white">
                  <a:lumMod val="65000"/>
                </a:prstClr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7973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rve gra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5"/>
          <p:cNvSpPr>
            <a:spLocks/>
          </p:cNvSpPr>
          <p:nvPr userDrawn="1"/>
        </p:nvSpPr>
        <p:spPr bwMode="auto">
          <a:xfrm>
            <a:off x="1" y="0"/>
            <a:ext cx="10604499" cy="6857816"/>
          </a:xfrm>
          <a:custGeom>
            <a:avLst/>
            <a:gdLst>
              <a:gd name="T0" fmla="*/ 4989 w 5022"/>
              <a:gd name="T1" fmla="*/ 0 h 3531"/>
              <a:gd name="T2" fmla="*/ 0 w 5022"/>
              <a:gd name="T3" fmla="*/ 0 h 3531"/>
              <a:gd name="T4" fmla="*/ 0 w 5022"/>
              <a:gd name="T5" fmla="*/ 3531 h 3531"/>
              <a:gd name="T6" fmla="*/ 3916 w 5022"/>
              <a:gd name="T7" fmla="*/ 3531 h 3531"/>
              <a:gd name="T8" fmla="*/ 3916 w 5022"/>
              <a:gd name="T9" fmla="*/ 3531 h 3531"/>
              <a:gd name="T10" fmla="*/ 3980 w 5022"/>
              <a:gd name="T11" fmla="*/ 3449 h 3531"/>
              <a:gd name="T12" fmla="*/ 4044 w 5022"/>
              <a:gd name="T13" fmla="*/ 3365 h 3531"/>
              <a:gd name="T14" fmla="*/ 4106 w 5022"/>
              <a:gd name="T15" fmla="*/ 3282 h 3531"/>
              <a:gd name="T16" fmla="*/ 4165 w 5022"/>
              <a:gd name="T17" fmla="*/ 3197 h 3531"/>
              <a:gd name="T18" fmla="*/ 4222 w 5022"/>
              <a:gd name="T19" fmla="*/ 3111 h 3531"/>
              <a:gd name="T20" fmla="*/ 4279 w 5022"/>
              <a:gd name="T21" fmla="*/ 3025 h 3531"/>
              <a:gd name="T22" fmla="*/ 4333 w 5022"/>
              <a:gd name="T23" fmla="*/ 2937 h 3531"/>
              <a:gd name="T24" fmla="*/ 4385 w 5022"/>
              <a:gd name="T25" fmla="*/ 2849 h 3531"/>
              <a:gd name="T26" fmla="*/ 4435 w 5022"/>
              <a:gd name="T27" fmla="*/ 2759 h 3531"/>
              <a:gd name="T28" fmla="*/ 4483 w 5022"/>
              <a:gd name="T29" fmla="*/ 2670 h 3531"/>
              <a:gd name="T30" fmla="*/ 4530 w 5022"/>
              <a:gd name="T31" fmla="*/ 2578 h 3531"/>
              <a:gd name="T32" fmla="*/ 4574 w 5022"/>
              <a:gd name="T33" fmla="*/ 2487 h 3531"/>
              <a:gd name="T34" fmla="*/ 4616 w 5022"/>
              <a:gd name="T35" fmla="*/ 2396 h 3531"/>
              <a:gd name="T36" fmla="*/ 4658 w 5022"/>
              <a:gd name="T37" fmla="*/ 2304 h 3531"/>
              <a:gd name="T38" fmla="*/ 4695 w 5022"/>
              <a:gd name="T39" fmla="*/ 2210 h 3531"/>
              <a:gd name="T40" fmla="*/ 4732 w 5022"/>
              <a:gd name="T41" fmla="*/ 2116 h 3531"/>
              <a:gd name="T42" fmla="*/ 4767 w 5022"/>
              <a:gd name="T43" fmla="*/ 2022 h 3531"/>
              <a:gd name="T44" fmla="*/ 4798 w 5022"/>
              <a:gd name="T45" fmla="*/ 1926 h 3531"/>
              <a:gd name="T46" fmla="*/ 4829 w 5022"/>
              <a:gd name="T47" fmla="*/ 1830 h 3531"/>
              <a:gd name="T48" fmla="*/ 4858 w 5022"/>
              <a:gd name="T49" fmla="*/ 1733 h 3531"/>
              <a:gd name="T50" fmla="*/ 4883 w 5022"/>
              <a:gd name="T51" fmla="*/ 1636 h 3531"/>
              <a:gd name="T52" fmla="*/ 4907 w 5022"/>
              <a:gd name="T53" fmla="*/ 1538 h 3531"/>
              <a:gd name="T54" fmla="*/ 4928 w 5022"/>
              <a:gd name="T55" fmla="*/ 1441 h 3531"/>
              <a:gd name="T56" fmla="*/ 4947 w 5022"/>
              <a:gd name="T57" fmla="*/ 1341 h 3531"/>
              <a:gd name="T58" fmla="*/ 4965 w 5022"/>
              <a:gd name="T59" fmla="*/ 1242 h 3531"/>
              <a:gd name="T60" fmla="*/ 4980 w 5022"/>
              <a:gd name="T61" fmla="*/ 1142 h 3531"/>
              <a:gd name="T62" fmla="*/ 4992 w 5022"/>
              <a:gd name="T63" fmla="*/ 1042 h 3531"/>
              <a:gd name="T64" fmla="*/ 5003 w 5022"/>
              <a:gd name="T65" fmla="*/ 941 h 3531"/>
              <a:gd name="T66" fmla="*/ 5012 w 5022"/>
              <a:gd name="T67" fmla="*/ 839 h 3531"/>
              <a:gd name="T68" fmla="*/ 5018 w 5022"/>
              <a:gd name="T69" fmla="*/ 738 h 3531"/>
              <a:gd name="T70" fmla="*/ 5021 w 5022"/>
              <a:gd name="T71" fmla="*/ 635 h 3531"/>
              <a:gd name="T72" fmla="*/ 5022 w 5022"/>
              <a:gd name="T73" fmla="*/ 533 h 3531"/>
              <a:gd name="T74" fmla="*/ 5022 w 5022"/>
              <a:gd name="T75" fmla="*/ 533 h 3531"/>
              <a:gd name="T76" fmla="*/ 5022 w 5022"/>
              <a:gd name="T77" fmla="*/ 466 h 3531"/>
              <a:gd name="T78" fmla="*/ 5021 w 5022"/>
              <a:gd name="T79" fmla="*/ 399 h 3531"/>
              <a:gd name="T80" fmla="*/ 5018 w 5022"/>
              <a:gd name="T81" fmla="*/ 331 h 3531"/>
              <a:gd name="T82" fmla="*/ 5015 w 5022"/>
              <a:gd name="T83" fmla="*/ 264 h 3531"/>
              <a:gd name="T84" fmla="*/ 5010 w 5022"/>
              <a:gd name="T85" fmla="*/ 197 h 3531"/>
              <a:gd name="T86" fmla="*/ 5004 w 5022"/>
              <a:gd name="T87" fmla="*/ 131 h 3531"/>
              <a:gd name="T88" fmla="*/ 4997 w 5022"/>
              <a:gd name="T89" fmla="*/ 66 h 3531"/>
              <a:gd name="T90" fmla="*/ 4989 w 5022"/>
              <a:gd name="T91" fmla="*/ 0 h 3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022" h="3531">
                <a:moveTo>
                  <a:pt x="4989" y="0"/>
                </a:moveTo>
                <a:lnTo>
                  <a:pt x="0" y="0"/>
                </a:lnTo>
                <a:lnTo>
                  <a:pt x="0" y="3531"/>
                </a:lnTo>
                <a:lnTo>
                  <a:pt x="3916" y="3531"/>
                </a:lnTo>
                <a:lnTo>
                  <a:pt x="3916" y="3531"/>
                </a:lnTo>
                <a:lnTo>
                  <a:pt x="3980" y="3449"/>
                </a:lnTo>
                <a:lnTo>
                  <a:pt x="4044" y="3365"/>
                </a:lnTo>
                <a:lnTo>
                  <a:pt x="4106" y="3282"/>
                </a:lnTo>
                <a:lnTo>
                  <a:pt x="4165" y="3197"/>
                </a:lnTo>
                <a:lnTo>
                  <a:pt x="4222" y="3111"/>
                </a:lnTo>
                <a:lnTo>
                  <a:pt x="4279" y="3025"/>
                </a:lnTo>
                <a:lnTo>
                  <a:pt x="4333" y="2937"/>
                </a:lnTo>
                <a:lnTo>
                  <a:pt x="4385" y="2849"/>
                </a:lnTo>
                <a:lnTo>
                  <a:pt x="4435" y="2759"/>
                </a:lnTo>
                <a:lnTo>
                  <a:pt x="4483" y="2670"/>
                </a:lnTo>
                <a:lnTo>
                  <a:pt x="4530" y="2578"/>
                </a:lnTo>
                <a:lnTo>
                  <a:pt x="4574" y="2487"/>
                </a:lnTo>
                <a:lnTo>
                  <a:pt x="4616" y="2396"/>
                </a:lnTo>
                <a:lnTo>
                  <a:pt x="4658" y="2304"/>
                </a:lnTo>
                <a:lnTo>
                  <a:pt x="4695" y="2210"/>
                </a:lnTo>
                <a:lnTo>
                  <a:pt x="4732" y="2116"/>
                </a:lnTo>
                <a:lnTo>
                  <a:pt x="4767" y="2022"/>
                </a:lnTo>
                <a:lnTo>
                  <a:pt x="4798" y="1926"/>
                </a:lnTo>
                <a:lnTo>
                  <a:pt x="4829" y="1830"/>
                </a:lnTo>
                <a:lnTo>
                  <a:pt x="4858" y="1733"/>
                </a:lnTo>
                <a:lnTo>
                  <a:pt x="4883" y="1636"/>
                </a:lnTo>
                <a:lnTo>
                  <a:pt x="4907" y="1538"/>
                </a:lnTo>
                <a:lnTo>
                  <a:pt x="4928" y="1441"/>
                </a:lnTo>
                <a:lnTo>
                  <a:pt x="4947" y="1341"/>
                </a:lnTo>
                <a:lnTo>
                  <a:pt x="4965" y="1242"/>
                </a:lnTo>
                <a:lnTo>
                  <a:pt x="4980" y="1142"/>
                </a:lnTo>
                <a:lnTo>
                  <a:pt x="4992" y="1042"/>
                </a:lnTo>
                <a:lnTo>
                  <a:pt x="5003" y="941"/>
                </a:lnTo>
                <a:lnTo>
                  <a:pt x="5012" y="839"/>
                </a:lnTo>
                <a:lnTo>
                  <a:pt x="5018" y="738"/>
                </a:lnTo>
                <a:lnTo>
                  <a:pt x="5021" y="635"/>
                </a:lnTo>
                <a:lnTo>
                  <a:pt x="5022" y="533"/>
                </a:lnTo>
                <a:lnTo>
                  <a:pt x="5022" y="533"/>
                </a:lnTo>
                <a:lnTo>
                  <a:pt x="5022" y="466"/>
                </a:lnTo>
                <a:lnTo>
                  <a:pt x="5021" y="399"/>
                </a:lnTo>
                <a:lnTo>
                  <a:pt x="5018" y="331"/>
                </a:lnTo>
                <a:lnTo>
                  <a:pt x="5015" y="264"/>
                </a:lnTo>
                <a:lnTo>
                  <a:pt x="5010" y="197"/>
                </a:lnTo>
                <a:lnTo>
                  <a:pt x="5004" y="131"/>
                </a:lnTo>
                <a:lnTo>
                  <a:pt x="4997" y="66"/>
                </a:lnTo>
                <a:lnTo>
                  <a:pt x="498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88900" dist="50800" algn="l" rotWithShape="0">
              <a:prstClr val="black">
                <a:alpha val="50000"/>
              </a:prstClr>
            </a:outerShdw>
          </a:effec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24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64457" y="275167"/>
            <a:ext cx="8930555" cy="1143000"/>
          </a:xfrm>
          <a:prstGeom prst="rect">
            <a:avLst/>
          </a:prstGeom>
        </p:spPr>
        <p:txBody>
          <a:bodyPr anchor="ctr"/>
          <a:lstStyle>
            <a:lvl1pPr>
              <a:defRPr b="1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314022" y="6461878"/>
            <a:ext cx="596900" cy="27304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1"/>
                </a:solidFill>
                <a:latin typeface="Arial"/>
                <a:ea typeface="ＭＳ Ｐゴシック" pitchFamily="34" charset="-128"/>
                <a:cs typeface="Arial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17CD448-BDE5-4446-AE75-A0344141D28E}" type="slidenum">
              <a:rPr kumimoji="0" lang="en-US" sz="1333" b="1" i="0" u="none" strike="noStrike" kern="1200" cap="none" spc="0" normalizeH="0" baseline="0" noProof="0" smtClean="0">
                <a:ln>
                  <a:noFill/>
                </a:ln>
                <a:solidFill>
                  <a:srgbClr val="54585A">
                    <a:lumMod val="40000"/>
                    <a:lumOff val="6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1200" cap="none" spc="0" normalizeH="0" baseline="0" noProof="0" dirty="0">
              <a:ln>
                <a:noFill/>
              </a:ln>
              <a:solidFill>
                <a:srgbClr val="54585A">
                  <a:lumMod val="40000"/>
                  <a:lumOff val="6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813904" y="6432027"/>
            <a:ext cx="0" cy="434152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5" name="Picture 2" descr="C:\Essi yleiset\LUKE töitä\Powerpoint-pohjat\Esityspohja 2019\c_natural_resources_grey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2677" y="6521551"/>
            <a:ext cx="3458633" cy="224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1CBD42F-850B-4673-8A7B-238DFFCE47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4458" y="1614152"/>
            <a:ext cx="8930551" cy="469498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990575" indent="-380990"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523962" indent="-304792">
              <a:buFont typeface="Segoe UI" panose="020B0502040204020203" pitchFamily="34" charset="0"/>
              <a:buChar char="‒"/>
              <a:defRPr sz="2133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2133547" indent="-304792">
              <a:buFont typeface="Segoe UI" panose="020B0502040204020203" pitchFamily="34" charset="0"/>
              <a:buChar char="‐"/>
              <a:defRPr sz="1867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DC5DC2E-2AA3-4F4B-8842-109204485A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3905" y="6463498"/>
            <a:ext cx="977775" cy="265487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 algn="r">
              <a:defRPr sz="1333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fld id="{40BDD77C-B894-414B-90C2-975A579D7D69}" type="datetimeFigureOut">
              <a:rPr lang="fi-FI" smtClean="0">
                <a:solidFill>
                  <a:prstClr val="white">
                    <a:lumMod val="65000"/>
                  </a:prstClr>
                </a:solidFill>
              </a:rPr>
              <a:pPr defTabSz="609585" fontAlgn="base">
                <a:spcBef>
                  <a:spcPct val="0"/>
                </a:spcBef>
                <a:spcAft>
                  <a:spcPct val="0"/>
                </a:spcAft>
              </a:pPr>
              <a:t>26.4.2023</a:t>
            </a:fld>
            <a:endParaRPr lang="fi-FI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6D034557-5B7B-4049-8F33-0A52559FB9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42905" y="6143978"/>
            <a:ext cx="2395160" cy="603956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 algn="l">
              <a:defRPr sz="13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endParaRPr lang="fi-FI" dirty="0">
              <a:solidFill>
                <a:prstClr val="white">
                  <a:lumMod val="65000"/>
                </a:prstClr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8249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lumn white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458" y="275167"/>
            <a:ext cx="11263085" cy="1143000"/>
          </a:xfrm>
          <a:prstGeom prst="rect">
            <a:avLst/>
          </a:prstGeom>
        </p:spPr>
        <p:txBody>
          <a:bodyPr anchor="ctr"/>
          <a:lstStyle>
            <a:lvl1pPr>
              <a:defRPr b="1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Slide Number Placeholder 6"/>
          <p:cNvSpPr txBox="1">
            <a:spLocks/>
          </p:cNvSpPr>
          <p:nvPr userDrawn="1"/>
        </p:nvSpPr>
        <p:spPr>
          <a:xfrm>
            <a:off x="11229238" y="6449956"/>
            <a:ext cx="596900" cy="27304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1"/>
                </a:solidFill>
                <a:latin typeface="Arial"/>
                <a:ea typeface="ＭＳ Ｐゴシック" pitchFamily="34" charset="-128"/>
                <a:cs typeface="Arial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17CD448-BDE5-4446-AE75-A0344141D28E}" type="slidenum">
              <a:rPr kumimoji="0" lang="en-US" sz="1333" b="1" i="0" u="none" strike="noStrike" kern="1200" cap="none" spc="0" normalizeH="0" baseline="0" noProof="0" smtClean="0">
                <a:ln>
                  <a:noFill/>
                </a:ln>
                <a:solidFill>
                  <a:srgbClr val="54585A">
                    <a:lumMod val="40000"/>
                    <a:lumOff val="60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marL="0" marR="0" lvl="0" indent="0" algn="l" defTabSz="60958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1200" cap="none" spc="0" normalizeH="0" baseline="0" noProof="0" dirty="0">
              <a:ln>
                <a:noFill/>
              </a:ln>
              <a:solidFill>
                <a:srgbClr val="54585A">
                  <a:lumMod val="40000"/>
                  <a:lumOff val="60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1163836" y="6420104"/>
            <a:ext cx="0" cy="434152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Date Placeholder 2"/>
          <p:cNvSpPr>
            <a:spLocks noGrp="1"/>
          </p:cNvSpPr>
          <p:nvPr>
            <p:ph type="dt" sz="half" idx="2"/>
          </p:nvPr>
        </p:nvSpPr>
        <p:spPr>
          <a:xfrm>
            <a:off x="10044927" y="6457047"/>
            <a:ext cx="1062461" cy="265487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 algn="r">
              <a:defRPr sz="1333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fld id="{A14BA6D4-E5A4-4401-8D3D-034C13C00E0D}" type="datetime1">
              <a:rPr lang="fi-FI" smtClean="0">
                <a:solidFill>
                  <a:prstClr val="white">
                    <a:lumMod val="65000"/>
                  </a:prstClr>
                </a:solidFill>
              </a:rPr>
              <a:pPr defTabSz="609585" fontAlgn="base">
                <a:spcBef>
                  <a:spcPct val="0"/>
                </a:spcBef>
                <a:spcAft>
                  <a:spcPct val="0"/>
                </a:spcAft>
              </a:pPr>
              <a:t>26.4.2023</a:t>
            </a:fld>
            <a:endParaRPr lang="fi-FI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748D695-EFAC-4E50-A090-552ABE8F14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4458" y="1614153"/>
            <a:ext cx="11263085" cy="436754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990575" indent="-380990"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523962" indent="-304792">
              <a:buFont typeface="Segoe UI" panose="020B0502040204020203" pitchFamily="34" charset="0"/>
              <a:buChar char="‒"/>
              <a:defRPr sz="2133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2133547" indent="-304792">
              <a:buFont typeface="Segoe UI" panose="020B0502040204020203" pitchFamily="34" charset="0"/>
              <a:buChar char="‐"/>
              <a:defRPr sz="1867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30" name="Freeform 5">
            <a:extLst>
              <a:ext uri="{FF2B5EF4-FFF2-40B4-BE49-F238E27FC236}">
                <a16:creationId xmlns:a16="http://schemas.microsoft.com/office/drawing/2014/main" id="{A20DA4BC-C5D1-451C-B99C-E2BA6A8E3EE8}"/>
              </a:ext>
            </a:extLst>
          </p:cNvPr>
          <p:cNvSpPr>
            <a:spLocks/>
          </p:cNvSpPr>
          <p:nvPr userDrawn="1"/>
        </p:nvSpPr>
        <p:spPr bwMode="auto">
          <a:xfrm>
            <a:off x="458661" y="6464775"/>
            <a:ext cx="133523" cy="216973"/>
          </a:xfrm>
          <a:custGeom>
            <a:avLst/>
            <a:gdLst>
              <a:gd name="T0" fmla="*/ 0 w 57"/>
              <a:gd name="T1" fmla="*/ 0 h 92"/>
              <a:gd name="T2" fmla="*/ 0 w 57"/>
              <a:gd name="T3" fmla="*/ 73 h 92"/>
              <a:gd name="T4" fmla="*/ 21 w 57"/>
              <a:gd name="T5" fmla="*/ 92 h 92"/>
              <a:gd name="T6" fmla="*/ 57 w 57"/>
              <a:gd name="T7" fmla="*/ 91 h 92"/>
              <a:gd name="T8" fmla="*/ 56 w 57"/>
              <a:gd name="T9" fmla="*/ 78 h 92"/>
              <a:gd name="T10" fmla="*/ 24 w 57"/>
              <a:gd name="T11" fmla="*/ 78 h 92"/>
              <a:gd name="T12" fmla="*/ 18 w 57"/>
              <a:gd name="T13" fmla="*/ 76 h 92"/>
              <a:gd name="T14" fmla="*/ 17 w 57"/>
              <a:gd name="T15" fmla="*/ 71 h 92"/>
              <a:gd name="T16" fmla="*/ 17 w 57"/>
              <a:gd name="T17" fmla="*/ 0 h 92"/>
              <a:gd name="T18" fmla="*/ 0 w 57"/>
              <a:gd name="T19" fmla="*/ 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7" h="92">
                <a:moveTo>
                  <a:pt x="0" y="0"/>
                </a:moveTo>
                <a:cubicBezTo>
                  <a:pt x="0" y="73"/>
                  <a:pt x="0" y="73"/>
                  <a:pt x="0" y="73"/>
                </a:cubicBezTo>
                <a:cubicBezTo>
                  <a:pt x="0" y="86"/>
                  <a:pt x="7" y="92"/>
                  <a:pt x="21" y="92"/>
                </a:cubicBezTo>
                <a:cubicBezTo>
                  <a:pt x="36" y="92"/>
                  <a:pt x="48" y="92"/>
                  <a:pt x="57" y="91"/>
                </a:cubicBezTo>
                <a:cubicBezTo>
                  <a:pt x="56" y="78"/>
                  <a:pt x="56" y="78"/>
                  <a:pt x="56" y="78"/>
                </a:cubicBezTo>
                <a:cubicBezTo>
                  <a:pt x="24" y="78"/>
                  <a:pt x="24" y="78"/>
                  <a:pt x="24" y="78"/>
                </a:cubicBezTo>
                <a:cubicBezTo>
                  <a:pt x="22" y="78"/>
                  <a:pt x="19" y="78"/>
                  <a:pt x="18" y="76"/>
                </a:cubicBezTo>
                <a:cubicBezTo>
                  <a:pt x="17" y="75"/>
                  <a:pt x="17" y="73"/>
                  <a:pt x="17" y="71"/>
                </a:cubicBezTo>
                <a:cubicBezTo>
                  <a:pt x="17" y="0"/>
                  <a:pt x="17" y="0"/>
                  <a:pt x="17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24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Freeform 6">
            <a:extLst>
              <a:ext uri="{FF2B5EF4-FFF2-40B4-BE49-F238E27FC236}">
                <a16:creationId xmlns:a16="http://schemas.microsoft.com/office/drawing/2014/main" id="{F144F034-BB0B-49F1-B9C7-AB1E3700BA4A}"/>
              </a:ext>
            </a:extLst>
          </p:cNvPr>
          <p:cNvSpPr>
            <a:spLocks/>
          </p:cNvSpPr>
          <p:nvPr userDrawn="1"/>
        </p:nvSpPr>
        <p:spPr bwMode="auto">
          <a:xfrm>
            <a:off x="602001" y="6527609"/>
            <a:ext cx="140395" cy="158067"/>
          </a:xfrm>
          <a:custGeom>
            <a:avLst/>
            <a:gdLst>
              <a:gd name="T0" fmla="*/ 44 w 60"/>
              <a:gd name="T1" fmla="*/ 0 h 67"/>
              <a:gd name="T2" fmla="*/ 44 w 60"/>
              <a:gd name="T3" fmla="*/ 46 h 67"/>
              <a:gd name="T4" fmla="*/ 25 w 60"/>
              <a:gd name="T5" fmla="*/ 53 h 67"/>
              <a:gd name="T6" fmla="*/ 18 w 60"/>
              <a:gd name="T7" fmla="*/ 51 h 67"/>
              <a:gd name="T8" fmla="*/ 17 w 60"/>
              <a:gd name="T9" fmla="*/ 44 h 67"/>
              <a:gd name="T10" fmla="*/ 17 w 60"/>
              <a:gd name="T11" fmla="*/ 0 h 67"/>
              <a:gd name="T12" fmla="*/ 0 w 60"/>
              <a:gd name="T13" fmla="*/ 0 h 67"/>
              <a:gd name="T14" fmla="*/ 0 w 60"/>
              <a:gd name="T15" fmla="*/ 49 h 67"/>
              <a:gd name="T16" fmla="*/ 18 w 60"/>
              <a:gd name="T17" fmla="*/ 67 h 67"/>
              <a:gd name="T18" fmla="*/ 46 w 60"/>
              <a:gd name="T19" fmla="*/ 56 h 67"/>
              <a:gd name="T20" fmla="*/ 47 w 60"/>
              <a:gd name="T21" fmla="*/ 65 h 67"/>
              <a:gd name="T22" fmla="*/ 60 w 60"/>
              <a:gd name="T23" fmla="*/ 65 h 67"/>
              <a:gd name="T24" fmla="*/ 60 w 60"/>
              <a:gd name="T25" fmla="*/ 0 h 67"/>
              <a:gd name="T26" fmla="*/ 44 w 60"/>
              <a:gd name="T27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0" h="67">
                <a:moveTo>
                  <a:pt x="44" y="0"/>
                </a:moveTo>
                <a:cubicBezTo>
                  <a:pt x="44" y="46"/>
                  <a:pt x="44" y="46"/>
                  <a:pt x="44" y="46"/>
                </a:cubicBezTo>
                <a:cubicBezTo>
                  <a:pt x="35" y="51"/>
                  <a:pt x="29" y="53"/>
                  <a:pt x="25" y="53"/>
                </a:cubicBezTo>
                <a:cubicBezTo>
                  <a:pt x="21" y="53"/>
                  <a:pt x="19" y="52"/>
                  <a:pt x="18" y="51"/>
                </a:cubicBezTo>
                <a:cubicBezTo>
                  <a:pt x="17" y="50"/>
                  <a:pt x="16" y="47"/>
                  <a:pt x="17" y="44"/>
                </a:cubicBezTo>
                <a:cubicBezTo>
                  <a:pt x="17" y="0"/>
                  <a:pt x="17" y="0"/>
                  <a:pt x="1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61"/>
                  <a:pt x="6" y="67"/>
                  <a:pt x="18" y="67"/>
                </a:cubicBezTo>
                <a:cubicBezTo>
                  <a:pt x="27" y="67"/>
                  <a:pt x="36" y="63"/>
                  <a:pt x="46" y="56"/>
                </a:cubicBezTo>
                <a:cubicBezTo>
                  <a:pt x="47" y="65"/>
                  <a:pt x="47" y="65"/>
                  <a:pt x="47" y="65"/>
                </a:cubicBezTo>
                <a:cubicBezTo>
                  <a:pt x="60" y="65"/>
                  <a:pt x="60" y="65"/>
                  <a:pt x="60" y="65"/>
                </a:cubicBezTo>
                <a:cubicBezTo>
                  <a:pt x="60" y="0"/>
                  <a:pt x="60" y="0"/>
                  <a:pt x="60" y="0"/>
                </a:cubicBezTo>
                <a:lnTo>
                  <a:pt x="44" y="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24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Freeform 7">
            <a:extLst>
              <a:ext uri="{FF2B5EF4-FFF2-40B4-BE49-F238E27FC236}">
                <a16:creationId xmlns:a16="http://schemas.microsoft.com/office/drawing/2014/main" id="{97D64070-E7F7-4E60-B850-F41FA0981D77}"/>
              </a:ext>
            </a:extLst>
          </p:cNvPr>
          <p:cNvSpPr>
            <a:spLocks/>
          </p:cNvSpPr>
          <p:nvPr userDrawn="1"/>
        </p:nvSpPr>
        <p:spPr bwMode="auto">
          <a:xfrm>
            <a:off x="770867" y="6464775"/>
            <a:ext cx="142359" cy="216973"/>
          </a:xfrm>
          <a:custGeom>
            <a:avLst/>
            <a:gdLst>
              <a:gd name="T0" fmla="*/ 43 w 61"/>
              <a:gd name="T1" fmla="*/ 92 h 92"/>
              <a:gd name="T2" fmla="*/ 61 w 61"/>
              <a:gd name="T3" fmla="*/ 92 h 92"/>
              <a:gd name="T4" fmla="*/ 41 w 61"/>
              <a:gd name="T5" fmla="*/ 62 h 92"/>
              <a:gd name="T6" fmla="*/ 35 w 61"/>
              <a:gd name="T7" fmla="*/ 56 h 92"/>
              <a:gd name="T8" fmla="*/ 35 w 61"/>
              <a:gd name="T9" fmla="*/ 55 h 92"/>
              <a:gd name="T10" fmla="*/ 41 w 61"/>
              <a:gd name="T11" fmla="*/ 50 h 92"/>
              <a:gd name="T12" fmla="*/ 59 w 61"/>
              <a:gd name="T13" fmla="*/ 27 h 92"/>
              <a:gd name="T14" fmla="*/ 41 w 61"/>
              <a:gd name="T15" fmla="*/ 27 h 92"/>
              <a:gd name="T16" fmla="*/ 23 w 61"/>
              <a:gd name="T17" fmla="*/ 50 h 92"/>
              <a:gd name="T18" fmla="*/ 16 w 61"/>
              <a:gd name="T19" fmla="*/ 50 h 92"/>
              <a:gd name="T20" fmla="*/ 17 w 61"/>
              <a:gd name="T21" fmla="*/ 39 h 92"/>
              <a:gd name="T22" fmla="*/ 17 w 61"/>
              <a:gd name="T23" fmla="*/ 0 h 92"/>
              <a:gd name="T24" fmla="*/ 0 w 61"/>
              <a:gd name="T25" fmla="*/ 0 h 92"/>
              <a:gd name="T26" fmla="*/ 0 w 61"/>
              <a:gd name="T27" fmla="*/ 92 h 92"/>
              <a:gd name="T28" fmla="*/ 16 w 61"/>
              <a:gd name="T29" fmla="*/ 92 h 92"/>
              <a:gd name="T30" fmla="*/ 16 w 61"/>
              <a:gd name="T31" fmla="*/ 71 h 92"/>
              <a:gd name="T32" fmla="*/ 16 w 61"/>
              <a:gd name="T33" fmla="*/ 61 h 92"/>
              <a:gd name="T34" fmla="*/ 23 w 61"/>
              <a:gd name="T35" fmla="*/ 61 h 92"/>
              <a:gd name="T36" fmla="*/ 43 w 61"/>
              <a:gd name="T37" fmla="*/ 9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1" h="92">
                <a:moveTo>
                  <a:pt x="43" y="92"/>
                </a:moveTo>
                <a:cubicBezTo>
                  <a:pt x="61" y="92"/>
                  <a:pt x="61" y="92"/>
                  <a:pt x="61" y="92"/>
                </a:cubicBezTo>
                <a:cubicBezTo>
                  <a:pt x="41" y="62"/>
                  <a:pt x="41" y="62"/>
                  <a:pt x="41" y="62"/>
                </a:cubicBezTo>
                <a:cubicBezTo>
                  <a:pt x="39" y="59"/>
                  <a:pt x="37" y="57"/>
                  <a:pt x="35" y="56"/>
                </a:cubicBezTo>
                <a:cubicBezTo>
                  <a:pt x="35" y="55"/>
                  <a:pt x="35" y="55"/>
                  <a:pt x="35" y="55"/>
                </a:cubicBezTo>
                <a:cubicBezTo>
                  <a:pt x="37" y="54"/>
                  <a:pt x="39" y="52"/>
                  <a:pt x="41" y="50"/>
                </a:cubicBezTo>
                <a:cubicBezTo>
                  <a:pt x="59" y="27"/>
                  <a:pt x="59" y="27"/>
                  <a:pt x="59" y="27"/>
                </a:cubicBezTo>
                <a:cubicBezTo>
                  <a:pt x="41" y="27"/>
                  <a:pt x="41" y="27"/>
                  <a:pt x="41" y="27"/>
                </a:cubicBezTo>
                <a:cubicBezTo>
                  <a:pt x="23" y="50"/>
                  <a:pt x="23" y="50"/>
                  <a:pt x="23" y="50"/>
                </a:cubicBezTo>
                <a:cubicBezTo>
                  <a:pt x="16" y="50"/>
                  <a:pt x="16" y="50"/>
                  <a:pt x="16" y="50"/>
                </a:cubicBezTo>
                <a:cubicBezTo>
                  <a:pt x="16" y="47"/>
                  <a:pt x="17" y="43"/>
                  <a:pt x="17" y="39"/>
                </a:cubicBezTo>
                <a:cubicBezTo>
                  <a:pt x="17" y="0"/>
                  <a:pt x="17" y="0"/>
                  <a:pt x="1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92"/>
                  <a:pt x="0" y="92"/>
                  <a:pt x="0" y="92"/>
                </a:cubicBezTo>
                <a:cubicBezTo>
                  <a:pt x="16" y="92"/>
                  <a:pt x="16" y="92"/>
                  <a:pt x="16" y="92"/>
                </a:cubicBezTo>
                <a:cubicBezTo>
                  <a:pt x="16" y="71"/>
                  <a:pt x="16" y="71"/>
                  <a:pt x="16" y="71"/>
                </a:cubicBezTo>
                <a:cubicBezTo>
                  <a:pt x="16" y="69"/>
                  <a:pt x="16" y="65"/>
                  <a:pt x="16" y="61"/>
                </a:cubicBezTo>
                <a:cubicBezTo>
                  <a:pt x="23" y="61"/>
                  <a:pt x="23" y="61"/>
                  <a:pt x="23" y="61"/>
                </a:cubicBezTo>
                <a:lnTo>
                  <a:pt x="43" y="92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24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Freeform 8">
            <a:extLst>
              <a:ext uri="{FF2B5EF4-FFF2-40B4-BE49-F238E27FC236}">
                <a16:creationId xmlns:a16="http://schemas.microsoft.com/office/drawing/2014/main" id="{9F14B8C7-AA7A-4A6B-BA99-5C6FBFD08F0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08317" y="6523681"/>
            <a:ext cx="143340" cy="161995"/>
          </a:xfrm>
          <a:custGeom>
            <a:avLst/>
            <a:gdLst>
              <a:gd name="T0" fmla="*/ 61 w 61"/>
              <a:gd name="T1" fmla="*/ 23 h 69"/>
              <a:gd name="T2" fmla="*/ 54 w 61"/>
              <a:gd name="T3" fmla="*/ 6 h 69"/>
              <a:gd name="T4" fmla="*/ 31 w 61"/>
              <a:gd name="T5" fmla="*/ 0 h 69"/>
              <a:gd name="T6" fmla="*/ 7 w 61"/>
              <a:gd name="T7" fmla="*/ 8 h 69"/>
              <a:gd name="T8" fmla="*/ 0 w 61"/>
              <a:gd name="T9" fmla="*/ 34 h 69"/>
              <a:gd name="T10" fmla="*/ 7 w 61"/>
              <a:gd name="T11" fmla="*/ 61 h 69"/>
              <a:gd name="T12" fmla="*/ 32 w 61"/>
              <a:gd name="T13" fmla="*/ 69 h 69"/>
              <a:gd name="T14" fmla="*/ 59 w 61"/>
              <a:gd name="T15" fmla="*/ 64 h 69"/>
              <a:gd name="T16" fmla="*/ 58 w 61"/>
              <a:gd name="T17" fmla="*/ 54 h 69"/>
              <a:gd name="T18" fmla="*/ 34 w 61"/>
              <a:gd name="T19" fmla="*/ 55 h 69"/>
              <a:gd name="T20" fmla="*/ 22 w 61"/>
              <a:gd name="T21" fmla="*/ 53 h 69"/>
              <a:gd name="T22" fmla="*/ 17 w 61"/>
              <a:gd name="T23" fmla="*/ 41 h 69"/>
              <a:gd name="T24" fmla="*/ 44 w 61"/>
              <a:gd name="T25" fmla="*/ 41 h 69"/>
              <a:gd name="T26" fmla="*/ 61 w 61"/>
              <a:gd name="T27" fmla="*/ 23 h 69"/>
              <a:gd name="T28" fmla="*/ 45 w 61"/>
              <a:gd name="T29" fmla="*/ 22 h 69"/>
              <a:gd name="T30" fmla="*/ 39 w 61"/>
              <a:gd name="T31" fmla="*/ 30 h 69"/>
              <a:gd name="T32" fmla="*/ 17 w 61"/>
              <a:gd name="T33" fmla="*/ 30 h 69"/>
              <a:gd name="T34" fmla="*/ 20 w 61"/>
              <a:gd name="T35" fmla="*/ 16 h 69"/>
              <a:gd name="T36" fmla="*/ 32 w 61"/>
              <a:gd name="T37" fmla="*/ 13 h 69"/>
              <a:gd name="T38" fmla="*/ 42 w 61"/>
              <a:gd name="T39" fmla="*/ 15 h 69"/>
              <a:gd name="T40" fmla="*/ 45 w 61"/>
              <a:gd name="T41" fmla="*/ 22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61" h="69">
                <a:moveTo>
                  <a:pt x="61" y="23"/>
                </a:moveTo>
                <a:cubicBezTo>
                  <a:pt x="61" y="15"/>
                  <a:pt x="59" y="9"/>
                  <a:pt x="54" y="6"/>
                </a:cubicBezTo>
                <a:cubicBezTo>
                  <a:pt x="49" y="2"/>
                  <a:pt x="42" y="0"/>
                  <a:pt x="31" y="0"/>
                </a:cubicBezTo>
                <a:cubicBezTo>
                  <a:pt x="20" y="0"/>
                  <a:pt x="12" y="3"/>
                  <a:pt x="7" y="8"/>
                </a:cubicBezTo>
                <a:cubicBezTo>
                  <a:pt x="2" y="13"/>
                  <a:pt x="0" y="22"/>
                  <a:pt x="0" y="34"/>
                </a:cubicBezTo>
                <a:cubicBezTo>
                  <a:pt x="0" y="47"/>
                  <a:pt x="2" y="55"/>
                  <a:pt x="7" y="61"/>
                </a:cubicBezTo>
                <a:cubicBezTo>
                  <a:pt x="12" y="66"/>
                  <a:pt x="21" y="69"/>
                  <a:pt x="32" y="69"/>
                </a:cubicBezTo>
                <a:cubicBezTo>
                  <a:pt x="44" y="69"/>
                  <a:pt x="53" y="67"/>
                  <a:pt x="59" y="64"/>
                </a:cubicBezTo>
                <a:cubicBezTo>
                  <a:pt x="58" y="54"/>
                  <a:pt x="58" y="54"/>
                  <a:pt x="58" y="54"/>
                </a:cubicBezTo>
                <a:cubicBezTo>
                  <a:pt x="49" y="55"/>
                  <a:pt x="41" y="55"/>
                  <a:pt x="34" y="55"/>
                </a:cubicBezTo>
                <a:cubicBezTo>
                  <a:pt x="29" y="55"/>
                  <a:pt x="24" y="54"/>
                  <a:pt x="22" y="53"/>
                </a:cubicBezTo>
                <a:cubicBezTo>
                  <a:pt x="19" y="51"/>
                  <a:pt x="18" y="47"/>
                  <a:pt x="17" y="41"/>
                </a:cubicBezTo>
                <a:cubicBezTo>
                  <a:pt x="44" y="41"/>
                  <a:pt x="44" y="41"/>
                  <a:pt x="44" y="41"/>
                </a:cubicBezTo>
                <a:cubicBezTo>
                  <a:pt x="55" y="41"/>
                  <a:pt x="61" y="35"/>
                  <a:pt x="61" y="23"/>
                </a:cubicBezTo>
                <a:moveTo>
                  <a:pt x="45" y="22"/>
                </a:moveTo>
                <a:cubicBezTo>
                  <a:pt x="45" y="27"/>
                  <a:pt x="43" y="30"/>
                  <a:pt x="39" y="30"/>
                </a:cubicBezTo>
                <a:cubicBezTo>
                  <a:pt x="17" y="30"/>
                  <a:pt x="17" y="30"/>
                  <a:pt x="17" y="30"/>
                </a:cubicBezTo>
                <a:cubicBezTo>
                  <a:pt x="17" y="23"/>
                  <a:pt x="18" y="19"/>
                  <a:pt x="20" y="16"/>
                </a:cubicBezTo>
                <a:cubicBezTo>
                  <a:pt x="22" y="14"/>
                  <a:pt x="26" y="13"/>
                  <a:pt x="32" y="13"/>
                </a:cubicBezTo>
                <a:cubicBezTo>
                  <a:pt x="37" y="13"/>
                  <a:pt x="40" y="13"/>
                  <a:pt x="42" y="15"/>
                </a:cubicBezTo>
                <a:cubicBezTo>
                  <a:pt x="44" y="16"/>
                  <a:pt x="45" y="19"/>
                  <a:pt x="45" y="22"/>
                </a:cubicBezTo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24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Freeform 9">
            <a:extLst>
              <a:ext uri="{FF2B5EF4-FFF2-40B4-BE49-F238E27FC236}">
                <a16:creationId xmlns:a16="http://schemas.microsoft.com/office/drawing/2014/main" id="{50E33ED2-5D28-4346-84C3-123D5C1507F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31737" y="6236021"/>
            <a:ext cx="292571" cy="272935"/>
          </a:xfrm>
          <a:custGeom>
            <a:avLst/>
            <a:gdLst>
              <a:gd name="T0" fmla="*/ 65 w 125"/>
              <a:gd name="T1" fmla="*/ 1 h 116"/>
              <a:gd name="T2" fmla="*/ 0 w 125"/>
              <a:gd name="T3" fmla="*/ 44 h 116"/>
              <a:gd name="T4" fmla="*/ 13 w 125"/>
              <a:gd name="T5" fmla="*/ 76 h 116"/>
              <a:gd name="T6" fmla="*/ 39 w 125"/>
              <a:gd name="T7" fmla="*/ 91 h 116"/>
              <a:gd name="T8" fmla="*/ 39 w 125"/>
              <a:gd name="T9" fmla="*/ 91 h 116"/>
              <a:gd name="T10" fmla="*/ 39 w 125"/>
              <a:gd name="T11" fmla="*/ 92 h 116"/>
              <a:gd name="T12" fmla="*/ 39 w 125"/>
              <a:gd name="T13" fmla="*/ 92 h 116"/>
              <a:gd name="T14" fmla="*/ 21 w 125"/>
              <a:gd name="T15" fmla="*/ 116 h 116"/>
              <a:gd name="T16" fmla="*/ 30 w 125"/>
              <a:gd name="T17" fmla="*/ 116 h 116"/>
              <a:gd name="T18" fmla="*/ 66 w 125"/>
              <a:gd name="T19" fmla="*/ 95 h 116"/>
              <a:gd name="T20" fmla="*/ 124 w 125"/>
              <a:gd name="T21" fmla="*/ 49 h 116"/>
              <a:gd name="T22" fmla="*/ 65 w 125"/>
              <a:gd name="T23" fmla="*/ 1 h 116"/>
              <a:gd name="T24" fmla="*/ 82 w 125"/>
              <a:gd name="T25" fmla="*/ 77 h 116"/>
              <a:gd name="T26" fmla="*/ 52 w 125"/>
              <a:gd name="T27" fmla="*/ 85 h 116"/>
              <a:gd name="T28" fmla="*/ 70 w 125"/>
              <a:gd name="T29" fmla="*/ 56 h 116"/>
              <a:gd name="T30" fmla="*/ 68 w 125"/>
              <a:gd name="T31" fmla="*/ 56 h 116"/>
              <a:gd name="T32" fmla="*/ 41 w 125"/>
              <a:gd name="T33" fmla="*/ 83 h 116"/>
              <a:gd name="T34" fmla="*/ 32 w 125"/>
              <a:gd name="T35" fmla="*/ 78 h 116"/>
              <a:gd name="T36" fmla="*/ 35 w 125"/>
              <a:gd name="T37" fmla="*/ 29 h 116"/>
              <a:gd name="T38" fmla="*/ 75 w 125"/>
              <a:gd name="T39" fmla="*/ 19 h 116"/>
              <a:gd name="T40" fmla="*/ 99 w 125"/>
              <a:gd name="T41" fmla="*/ 16 h 116"/>
              <a:gd name="T42" fmla="*/ 82 w 125"/>
              <a:gd name="T43" fmla="*/ 77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5" h="116">
                <a:moveTo>
                  <a:pt x="65" y="1"/>
                </a:moveTo>
                <a:cubicBezTo>
                  <a:pt x="30" y="0"/>
                  <a:pt x="1" y="19"/>
                  <a:pt x="0" y="44"/>
                </a:cubicBezTo>
                <a:cubicBezTo>
                  <a:pt x="0" y="56"/>
                  <a:pt x="3" y="67"/>
                  <a:pt x="13" y="76"/>
                </a:cubicBezTo>
                <a:cubicBezTo>
                  <a:pt x="26" y="89"/>
                  <a:pt x="39" y="91"/>
                  <a:pt x="39" y="91"/>
                </a:cubicBezTo>
                <a:cubicBezTo>
                  <a:pt x="39" y="91"/>
                  <a:pt x="39" y="91"/>
                  <a:pt x="39" y="91"/>
                </a:cubicBezTo>
                <a:cubicBezTo>
                  <a:pt x="39" y="92"/>
                  <a:pt x="39" y="92"/>
                  <a:pt x="39" y="92"/>
                </a:cubicBezTo>
                <a:cubicBezTo>
                  <a:pt x="39" y="92"/>
                  <a:pt x="39" y="92"/>
                  <a:pt x="39" y="92"/>
                </a:cubicBezTo>
                <a:cubicBezTo>
                  <a:pt x="38" y="93"/>
                  <a:pt x="21" y="116"/>
                  <a:pt x="21" y="116"/>
                </a:cubicBezTo>
                <a:cubicBezTo>
                  <a:pt x="30" y="116"/>
                  <a:pt x="30" y="116"/>
                  <a:pt x="30" y="116"/>
                </a:cubicBezTo>
                <a:cubicBezTo>
                  <a:pt x="39" y="109"/>
                  <a:pt x="60" y="95"/>
                  <a:pt x="66" y="95"/>
                </a:cubicBezTo>
                <a:cubicBezTo>
                  <a:pt x="104" y="94"/>
                  <a:pt x="124" y="70"/>
                  <a:pt x="124" y="49"/>
                </a:cubicBezTo>
                <a:cubicBezTo>
                  <a:pt x="125" y="24"/>
                  <a:pt x="100" y="3"/>
                  <a:pt x="65" y="1"/>
                </a:cubicBezTo>
                <a:close/>
                <a:moveTo>
                  <a:pt x="82" y="77"/>
                </a:moveTo>
                <a:cubicBezTo>
                  <a:pt x="74" y="83"/>
                  <a:pt x="62" y="86"/>
                  <a:pt x="52" y="85"/>
                </a:cubicBezTo>
                <a:cubicBezTo>
                  <a:pt x="60" y="71"/>
                  <a:pt x="70" y="56"/>
                  <a:pt x="70" y="56"/>
                </a:cubicBezTo>
                <a:cubicBezTo>
                  <a:pt x="68" y="56"/>
                  <a:pt x="68" y="56"/>
                  <a:pt x="68" y="56"/>
                </a:cubicBezTo>
                <a:cubicBezTo>
                  <a:pt x="65" y="59"/>
                  <a:pt x="52" y="69"/>
                  <a:pt x="41" y="83"/>
                </a:cubicBezTo>
                <a:cubicBezTo>
                  <a:pt x="37" y="82"/>
                  <a:pt x="34" y="80"/>
                  <a:pt x="32" y="78"/>
                </a:cubicBezTo>
                <a:cubicBezTo>
                  <a:pt x="17" y="65"/>
                  <a:pt x="20" y="41"/>
                  <a:pt x="35" y="29"/>
                </a:cubicBezTo>
                <a:cubicBezTo>
                  <a:pt x="47" y="19"/>
                  <a:pt x="62" y="19"/>
                  <a:pt x="75" y="19"/>
                </a:cubicBezTo>
                <a:cubicBezTo>
                  <a:pt x="89" y="19"/>
                  <a:pt x="99" y="16"/>
                  <a:pt x="99" y="16"/>
                </a:cubicBezTo>
                <a:cubicBezTo>
                  <a:pt x="99" y="16"/>
                  <a:pt x="108" y="56"/>
                  <a:pt x="82" y="77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24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5" name="Picture 2" descr="C:\Essi yleiset\LUKE töitä\Powerpoint-pohjat\Esityspohja 2019\c_natural_resources_grey.png">
            <a:extLst>
              <a:ext uri="{FF2B5EF4-FFF2-40B4-BE49-F238E27FC236}">
                <a16:creationId xmlns:a16="http://schemas.microsoft.com/office/drawing/2014/main" id="{1AC5D7F0-83EF-4E2E-B549-C6103AA9BC8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5629" y="6532256"/>
            <a:ext cx="2959687" cy="1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7CD3EBE7-32A7-4CCA-9E4B-5CA42EE7CC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46101" y="6118578"/>
            <a:ext cx="5633425" cy="603956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 algn="l">
              <a:defRPr sz="13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endParaRPr lang="fi-FI" dirty="0">
              <a:solidFill>
                <a:prstClr val="white">
                  <a:lumMod val="65000"/>
                </a:prstClr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9892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Green">
    <p:bg>
      <p:bgPr>
        <a:solidFill>
          <a:srgbClr val="183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1FFCCC17-D994-3B6E-9E49-F25EE963B1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7251" t="15078" r="6852" b="14392"/>
          <a:stretch/>
        </p:blipFill>
        <p:spPr>
          <a:xfrm>
            <a:off x="9957588" y="224582"/>
            <a:ext cx="1976285" cy="79216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05E673FE-EC90-8637-8174-A669EB3AA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620713"/>
            <a:ext cx="9001125" cy="792063"/>
          </a:xfrm>
        </p:spPr>
        <p:txBody>
          <a:bodyPr anchor="t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AA37762-4B8F-C1D3-6411-E36F05206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381327"/>
            <a:ext cx="8785225" cy="14401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onsolas" panose="020B0609020204030204" pitchFamily="49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800" b="0" i="0" u="none" strike="noStrike" kern="1200" cap="all" spc="1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7355A67-CFD6-3877-5CC5-008E52CFCA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6400" y="404813"/>
            <a:ext cx="9001126" cy="215901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200" b="0" cap="all" spc="100" baseline="0">
                <a:solidFill>
                  <a:schemeClr val="bg1"/>
                </a:solidFill>
                <a:latin typeface="Consolas" panose="020B0609020204030204" pitchFamily="49" charset="0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100"/>
            </a:lvl2pPr>
            <a:lvl3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100"/>
            </a:lvl3pPr>
            <a:lvl4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100"/>
            </a:lvl4pPr>
            <a:lvl5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100"/>
            </a:lvl5pPr>
          </a:lstStyle>
          <a:p>
            <a:pPr lvl="0"/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58F72493-8380-A355-3981-3CED0CE696A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6399" y="6093296"/>
            <a:ext cx="11377613" cy="215900"/>
          </a:xfrm>
        </p:spPr>
        <p:txBody>
          <a:bodyPr wrap="square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800" baseline="0">
                <a:solidFill>
                  <a:schemeClr val="bg1"/>
                </a:solidFill>
                <a:latin typeface="Consolas" panose="020B0609020204030204" pitchFamily="49" charset="0"/>
              </a:defRPr>
            </a:lvl1pPr>
            <a:lvl2pPr>
              <a:spcBef>
                <a:spcPts val="200"/>
              </a:spcBef>
              <a:defRPr sz="1000"/>
            </a:lvl2pPr>
            <a:lvl3pPr>
              <a:spcBef>
                <a:spcPts val="200"/>
              </a:spcBef>
              <a:defRPr sz="1000"/>
            </a:lvl3pPr>
            <a:lvl4pPr>
              <a:spcBef>
                <a:spcPts val="200"/>
              </a:spcBef>
              <a:defRPr sz="1050"/>
            </a:lvl4pPr>
            <a:lvl5pPr>
              <a:spcBef>
                <a:spcPts val="200"/>
              </a:spcBef>
              <a:defRPr sz="1000"/>
            </a:lvl5pPr>
          </a:lstStyle>
          <a:p>
            <a:pPr lvl="0"/>
            <a:r>
              <a:rPr lang="en-US" dirty="0"/>
              <a:t>Add source or additional info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87272505-DEFF-962C-1943-14F73397D6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91485" y="6381179"/>
            <a:ext cx="2492528" cy="144017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  <a:latin typeface="Consolas" panose="020B0609020204030204" pitchFamily="49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55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E269ED0-65D6-CE35-8027-EF8FEBAB7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620713"/>
            <a:ext cx="9001125" cy="792063"/>
          </a:xfrm>
        </p:spPr>
        <p:txBody>
          <a:bodyPr anchor="t"/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7B31406-FC28-1EB2-0E6A-BAB0CFCD3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381327"/>
            <a:ext cx="8785225" cy="144017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800" b="0" i="0" u="none" strike="noStrike" kern="1200" cap="all" spc="100" normalizeH="0" baseline="0" noProof="0" dirty="0">
              <a:ln>
                <a:noFill/>
              </a:ln>
              <a:solidFill>
                <a:srgbClr val="18332F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0940315-8739-190C-F84A-E263BD6ECA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6400" y="404813"/>
            <a:ext cx="9001126" cy="215901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200" b="0" cap="all" spc="100" baseline="0">
                <a:solidFill>
                  <a:schemeClr val="bg2"/>
                </a:solidFill>
                <a:latin typeface="Consolas" panose="020B0609020204030204" pitchFamily="49" charset="0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100"/>
            </a:lvl2pPr>
            <a:lvl3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100"/>
            </a:lvl3pPr>
            <a:lvl4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100"/>
            </a:lvl4pPr>
            <a:lvl5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100"/>
            </a:lvl5pPr>
          </a:lstStyle>
          <a:p>
            <a:pPr lvl="0"/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3CF4D891-858F-3291-A2E6-C9D05633A97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6399" y="6093296"/>
            <a:ext cx="11377613" cy="215900"/>
          </a:xfrm>
        </p:spPr>
        <p:txBody>
          <a:bodyPr wrap="square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800" baseline="0">
                <a:solidFill>
                  <a:schemeClr val="bg2"/>
                </a:solidFill>
                <a:latin typeface="Consolas" panose="020B0609020204030204" pitchFamily="49" charset="0"/>
              </a:defRPr>
            </a:lvl1pPr>
            <a:lvl2pPr>
              <a:spcBef>
                <a:spcPts val="200"/>
              </a:spcBef>
              <a:defRPr sz="1000"/>
            </a:lvl2pPr>
            <a:lvl3pPr>
              <a:spcBef>
                <a:spcPts val="200"/>
              </a:spcBef>
              <a:defRPr sz="1000"/>
            </a:lvl3pPr>
            <a:lvl4pPr>
              <a:spcBef>
                <a:spcPts val="200"/>
              </a:spcBef>
              <a:defRPr sz="1050"/>
            </a:lvl4pPr>
            <a:lvl5pPr>
              <a:spcBef>
                <a:spcPts val="200"/>
              </a:spcBef>
              <a:defRPr sz="1000"/>
            </a:lvl5pPr>
          </a:lstStyle>
          <a:p>
            <a:pPr lvl="0"/>
            <a:r>
              <a:rPr lang="en-US" dirty="0"/>
              <a:t>Add source or additional info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5759EF27-FCBE-E742-2FC1-E32138631C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91485" y="6381179"/>
            <a:ext cx="2492528" cy="144017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800" b="0" i="0" u="none" strike="noStrike" kern="1200" cap="none" spc="0" normalizeH="0" baseline="0" noProof="0" dirty="0">
              <a:ln>
                <a:noFill/>
              </a:ln>
              <a:solidFill>
                <a:srgbClr val="18332F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0709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Grey">
    <p:bg>
      <p:bgPr>
        <a:solidFill>
          <a:srgbClr val="DBE2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0FF3505-A4F4-3725-4DB7-193D2FE7D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620713"/>
            <a:ext cx="9001125" cy="792063"/>
          </a:xfrm>
        </p:spPr>
        <p:txBody>
          <a:bodyPr anchor="t"/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8CF7A41-BE28-6842-EE0E-FB94EF2C5E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381327"/>
            <a:ext cx="8785225" cy="144017"/>
          </a:xfrm>
        </p:spPr>
        <p:txBody>
          <a:bodyPr/>
          <a:lstStyle>
            <a:lvl1pPr>
              <a:defRPr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800" b="0" i="0" u="none" strike="noStrike" kern="1200" cap="all" spc="100" normalizeH="0" baseline="0" noProof="0" dirty="0">
              <a:ln>
                <a:noFill/>
              </a:ln>
              <a:solidFill>
                <a:srgbClr val="18332F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D81E86A2-6A9B-7848-A977-094A169C11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6400" y="404813"/>
            <a:ext cx="9001126" cy="215901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200" b="0" cap="all" spc="100" baseline="0">
                <a:solidFill>
                  <a:schemeClr val="bg2"/>
                </a:solidFill>
                <a:latin typeface="Consolas" panose="020B0609020204030204" pitchFamily="49" charset="0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100"/>
            </a:lvl2pPr>
            <a:lvl3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100"/>
            </a:lvl3pPr>
            <a:lvl4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100"/>
            </a:lvl4pPr>
            <a:lvl5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100"/>
            </a:lvl5pPr>
          </a:lstStyle>
          <a:p>
            <a:pPr lvl="0"/>
            <a:endParaRPr lang="en-US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CEC7E6B0-9FA0-236E-F8FE-921EF5CF838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06399" y="6093296"/>
            <a:ext cx="11377613" cy="215900"/>
          </a:xfrm>
        </p:spPr>
        <p:txBody>
          <a:bodyPr wrap="square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800" baseline="0">
                <a:solidFill>
                  <a:schemeClr val="bg2"/>
                </a:solidFill>
                <a:latin typeface="Consolas" panose="020B0609020204030204" pitchFamily="49" charset="0"/>
              </a:defRPr>
            </a:lvl1pPr>
            <a:lvl2pPr>
              <a:spcBef>
                <a:spcPts val="200"/>
              </a:spcBef>
              <a:defRPr sz="1000"/>
            </a:lvl2pPr>
            <a:lvl3pPr>
              <a:spcBef>
                <a:spcPts val="200"/>
              </a:spcBef>
              <a:defRPr sz="1000"/>
            </a:lvl3pPr>
            <a:lvl4pPr>
              <a:spcBef>
                <a:spcPts val="200"/>
              </a:spcBef>
              <a:defRPr sz="1050"/>
            </a:lvl4pPr>
            <a:lvl5pPr>
              <a:spcBef>
                <a:spcPts val="200"/>
              </a:spcBef>
              <a:defRPr sz="1000"/>
            </a:lvl5pPr>
          </a:lstStyle>
          <a:p>
            <a:pPr lvl="0"/>
            <a:r>
              <a:rPr lang="en-US" dirty="0"/>
              <a:t>Add source or additional info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C972FAB2-135E-3417-5504-30CD38F737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91485" y="6381179"/>
            <a:ext cx="2492528" cy="144017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800" b="0" i="0" u="none" strike="noStrike" kern="1200" cap="none" spc="0" normalizeH="0" baseline="0" noProof="0" dirty="0">
              <a:ln>
                <a:noFill/>
              </a:ln>
              <a:solidFill>
                <a:srgbClr val="18332F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808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-Slogan EN - Green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DCF02B2-0411-A28E-624D-09E8A76C21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B16AC5D-6759-F5B9-BC91-685B799F6B6E}"/>
              </a:ext>
            </a:extLst>
          </p:cNvPr>
          <p:cNvSpPr txBox="1"/>
          <p:nvPr userDrawn="1"/>
        </p:nvSpPr>
        <p:spPr>
          <a:xfrm>
            <a:off x="623888" y="2106592"/>
            <a:ext cx="10944225" cy="2395960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EADING THE WA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 THE GREEN TRANSI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B0DC230-CE6E-4E91-4EB1-B52E364954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7251" t="15078" r="6852" b="14392"/>
          <a:stretch/>
        </p:blipFill>
        <p:spPr>
          <a:xfrm>
            <a:off x="4815542" y="4994787"/>
            <a:ext cx="2560916" cy="102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122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olla ty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977FFF-98B7-0647-BB1C-EE8CA23E1D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729188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3EF570-D6F7-FE4C-97DE-0A0FE1D3B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5BB522-C2A2-944F-BE3C-E8AEDC463307}" type="slidenum">
              <a:rPr lang="fi-FI" smtClean="0"/>
              <a:t>‹#›</a:t>
            </a:fld>
            <a:endParaRPr lang="fi-FI" dirty="0"/>
          </a:p>
        </p:txBody>
      </p:sp>
      <p:pic>
        <p:nvPicPr>
          <p:cNvPr id="3" name="Kuva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3615" y="37249"/>
            <a:ext cx="1560711" cy="174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526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ksi os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0D45708-EFB9-4CAE-93CB-2AB2F77BA7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997849"/>
          </a:xfrm>
        </p:spPr>
        <p:txBody>
          <a:bodyPr>
            <a:normAutofit/>
          </a:bodyPr>
          <a:lstStyle>
            <a:lvl1pPr>
              <a:defRPr sz="3500" b="1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r>
              <a:rPr lang="fi-FI"/>
              <a:t>OTSIKKO TARVITTAESSA</a:t>
            </a:r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5692352C-FA65-4434-9107-C8E5C4EB7D6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835435" y="1587261"/>
            <a:ext cx="5183188" cy="4597382"/>
          </a:xfrm>
        </p:spPr>
        <p:txBody>
          <a:bodyPr>
            <a:normAutofit/>
          </a:bodyPr>
          <a:lstStyle>
            <a:lvl1pPr marL="0" indent="0">
              <a:buFont typeface="+mj-lt"/>
              <a:buNone/>
              <a:defRPr sz="2000">
                <a:latin typeface="Gill Sans MT" panose="020B0502020104020203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/>
            </a:lvl3pPr>
            <a:lvl4pPr marL="1371600" indent="0">
              <a:buFont typeface="+mj-lt"/>
              <a:buNone/>
              <a:defRPr sz="2000"/>
            </a:lvl4pPr>
          </a:lstStyle>
          <a:p>
            <a:pPr lvl="0"/>
            <a:r>
              <a:rPr lang="fi-FI"/>
              <a:t>Fontti min 17 </a:t>
            </a:r>
            <a:r>
              <a:rPr lang="fi-FI" err="1"/>
              <a:t>Gil</a:t>
            </a:r>
            <a:r>
              <a:rPr lang="fi-FI"/>
              <a:t> </a:t>
            </a:r>
            <a:r>
              <a:rPr lang="fi-FI" err="1"/>
              <a:t>sans</a:t>
            </a:r>
            <a:endParaRPr lang="fi-FI"/>
          </a:p>
        </p:txBody>
      </p:sp>
      <p:sp>
        <p:nvSpPr>
          <p:cNvPr id="7" name="Päivämäärän paikkamerkki 6">
            <a:extLst>
              <a:ext uri="{FF2B5EF4-FFF2-40B4-BE49-F238E27FC236}">
                <a16:creationId xmlns:a16="http://schemas.microsoft.com/office/drawing/2014/main" id="{B2B6FAE3-72D8-48BC-9A30-18996FC651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0DD987-ADA6-418B-A873-74C3DE3F8181}" type="datetime1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4.2023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B1D4C4F2-4B8E-47A4-AA6B-BB8A5AF14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cxnSp>
        <p:nvCxnSpPr>
          <p:cNvPr id="11" name="Suora yhdysviiva 10">
            <a:extLst>
              <a:ext uri="{FF2B5EF4-FFF2-40B4-BE49-F238E27FC236}">
                <a16:creationId xmlns:a16="http://schemas.microsoft.com/office/drawing/2014/main" id="{C7375A42-6D71-4B09-AEA6-1DA49257E8EB}"/>
              </a:ext>
            </a:extLst>
          </p:cNvPr>
          <p:cNvCxnSpPr/>
          <p:nvPr userDrawn="1"/>
        </p:nvCxnSpPr>
        <p:spPr>
          <a:xfrm>
            <a:off x="831273" y="6267796"/>
            <a:ext cx="10523912" cy="0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Kuva 18" descr="Kuva, joka sisältää kohteen kello, piirtäminen&#10;&#10;Kuvaus luotu automaattisesti">
            <a:extLst>
              <a:ext uri="{FF2B5EF4-FFF2-40B4-BE49-F238E27FC236}">
                <a16:creationId xmlns:a16="http://schemas.microsoft.com/office/drawing/2014/main" id="{3151067E-6F00-4C3C-9653-B81076ECCA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7147" y="6368116"/>
            <a:ext cx="551414" cy="278464"/>
          </a:xfrm>
          <a:prstGeom prst="rect">
            <a:avLst/>
          </a:prstGeom>
        </p:spPr>
      </p:pic>
      <p:sp>
        <p:nvSpPr>
          <p:cNvPr id="13" name="Sisällön paikkamerkki 5">
            <a:extLst>
              <a:ext uri="{FF2B5EF4-FFF2-40B4-BE49-F238E27FC236}">
                <a16:creationId xmlns:a16="http://schemas.microsoft.com/office/drawing/2014/main" id="{8703B73C-DE86-4BDA-94F0-88E0F9DA4AB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187480" y="1578635"/>
            <a:ext cx="5183188" cy="460650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Gill Sans MT" panose="020B0502020104020203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</a:lstStyle>
          <a:p>
            <a:pPr lvl="0"/>
            <a:r>
              <a:rPr lang="fi-FI"/>
              <a:t>Tähän kuva / kuvio</a:t>
            </a:r>
          </a:p>
        </p:txBody>
      </p:sp>
    </p:spTree>
    <p:extLst>
      <p:ext uri="{BB962C8B-B14F-4D97-AF65-F5344CB8AC3E}">
        <p14:creationId xmlns:p14="http://schemas.microsoft.com/office/powerpoint/2010/main" val="31855055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42DB3A6-A1CE-45C3-BB29-3129DB0860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000" b="1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r>
              <a:rPr lang="fi-FI"/>
              <a:t>ESITYKSEN OTSIKKO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DB11A208-E831-4519-AFAF-E440C7A610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Gill Sans MT" panose="020B05020201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Alaotsikko ja tekijät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7FAFF623-C772-45BF-ABEE-0ADE1CE41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C2ACC8-1D7C-4062-87FC-0E3B7D7FA81C}" type="datetime1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4.2023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5F276B1-717E-4159-831C-8CE1ECE194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cxnSp>
        <p:nvCxnSpPr>
          <p:cNvPr id="7" name="Suora yhdysviiva 6">
            <a:extLst>
              <a:ext uri="{FF2B5EF4-FFF2-40B4-BE49-F238E27FC236}">
                <a16:creationId xmlns:a16="http://schemas.microsoft.com/office/drawing/2014/main" id="{65847B47-7947-4AF6-BE19-E417DA9D7E4F}"/>
              </a:ext>
            </a:extLst>
          </p:cNvPr>
          <p:cNvCxnSpPr/>
          <p:nvPr userDrawn="1"/>
        </p:nvCxnSpPr>
        <p:spPr>
          <a:xfrm>
            <a:off x="831273" y="6267796"/>
            <a:ext cx="10523912" cy="0"/>
          </a:xfrm>
          <a:prstGeom prst="line">
            <a:avLst/>
          </a:prstGeom>
          <a:ln w="127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Kuva 8" descr="Kuva, joka sisältää kohteen kello, piirtäminen&#10;&#10;Kuvaus luotu automaattisesti">
            <a:extLst>
              <a:ext uri="{FF2B5EF4-FFF2-40B4-BE49-F238E27FC236}">
                <a16:creationId xmlns:a16="http://schemas.microsoft.com/office/drawing/2014/main" id="{96089321-D1F0-472E-AFF2-B0FBD1C5DB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7147" y="6368116"/>
            <a:ext cx="551414" cy="278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7504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keskellä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9AD7897-9039-5143-AEA3-1A666D20F8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09831" y="1513230"/>
            <a:ext cx="9093964" cy="3831541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BFC237-E277-3944-816A-F5CA6824E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7841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5BB522-C2A2-944F-BE3C-E8AEDC463307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2" name="Kuva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1289" y="0"/>
            <a:ext cx="1560711" cy="1743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253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va vasen txt oi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7D279B4-7217-244B-8ECA-D772EB4A43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9419" y="0"/>
            <a:ext cx="6105419" cy="6858000"/>
          </a:xfrm>
        </p:spPr>
        <p:txBody>
          <a:bodyPr/>
          <a:lstStyle/>
          <a:p>
            <a:endParaRPr lang="fi-FI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C94274-4373-024F-9669-EEF7596739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5999" y="6356350"/>
            <a:ext cx="905613" cy="365125"/>
          </a:xfrm>
        </p:spPr>
        <p:txBody>
          <a:bodyPr/>
          <a:lstStyle/>
          <a:p>
            <a:fld id="{1E5BB522-C2A2-944F-BE3C-E8AEDC463307}" type="slidenum">
              <a:rPr lang="fi-FI" smtClean="0"/>
              <a:t>‹#›</a:t>
            </a:fld>
            <a:endParaRPr lang="fi-FI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9ACDDF0-3262-234C-A075-BC0D935C2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8588" y="371122"/>
            <a:ext cx="3932237" cy="1686278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200">
                <a:solidFill>
                  <a:srgbClr val="002F5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F8A2CDA-1C3A-0C41-B281-08EC34E01382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808588" y="2152062"/>
            <a:ext cx="4644826" cy="420428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2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9B4ABC2-B1E5-5646-A58B-E94FD5EACE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28520" y="0"/>
            <a:ext cx="1563480" cy="17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392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va vasen txt oi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7D279B4-7217-244B-8ECA-D772EB4A43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9419" y="0"/>
            <a:ext cx="3060000" cy="6858000"/>
          </a:xfrm>
        </p:spPr>
        <p:txBody>
          <a:bodyPr/>
          <a:lstStyle/>
          <a:p>
            <a:endParaRPr lang="fi-FI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748105-46DB-0948-9024-F289F32E9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7319" y="371122"/>
            <a:ext cx="6953506" cy="1686278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rgbClr val="002F5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C94274-4373-024F-9669-EEF7596739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15999" y="6356350"/>
            <a:ext cx="905613" cy="365125"/>
          </a:xfrm>
        </p:spPr>
        <p:txBody>
          <a:bodyPr/>
          <a:lstStyle/>
          <a:p>
            <a:fld id="{1E5BB522-C2A2-944F-BE3C-E8AEDC463307}" type="slidenum">
              <a:rPr lang="fi-FI" smtClean="0"/>
              <a:t>‹#›</a:t>
            </a:fld>
            <a:endParaRPr lang="fi-FI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F8FAB2A-4222-654B-AB95-220C6BE37FD0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3787319" y="2152062"/>
            <a:ext cx="7666095" cy="420428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None/>
              <a:defRPr sz="2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2C9908C-B801-1B46-85EF-C1B0FF17AE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28520" y="0"/>
            <a:ext cx="1563480" cy="174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374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ääotsikko VN-tee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roup 60"/>
          <p:cNvGrpSpPr>
            <a:grpSpLocks noChangeAspect="1"/>
          </p:cNvGrpSpPr>
          <p:nvPr userDrawn="1"/>
        </p:nvGrpSpPr>
        <p:grpSpPr bwMode="auto">
          <a:xfrm>
            <a:off x="2118" y="0"/>
            <a:ext cx="12187767" cy="6858000"/>
            <a:chOff x="1" y="0"/>
            <a:chExt cx="5758" cy="3240"/>
          </a:xfrm>
        </p:grpSpPr>
        <p:sp>
          <p:nvSpPr>
            <p:cNvPr id="59" name="AutoShape 59"/>
            <p:cNvSpPr>
              <a:spLocks noChangeAspect="1" noChangeArrowheads="1" noTextEdit="1"/>
            </p:cNvSpPr>
            <p:nvPr userDrawn="1"/>
          </p:nvSpPr>
          <p:spPr bwMode="auto">
            <a:xfrm>
              <a:off x="1" y="0"/>
              <a:ext cx="5758" cy="3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0" name="Freeform 61"/>
            <p:cNvSpPr>
              <a:spLocks/>
            </p:cNvSpPr>
            <p:nvPr userDrawn="1"/>
          </p:nvSpPr>
          <p:spPr bwMode="auto">
            <a:xfrm>
              <a:off x="1" y="0"/>
              <a:ext cx="4878" cy="3240"/>
            </a:xfrm>
            <a:custGeom>
              <a:avLst/>
              <a:gdLst>
                <a:gd name="T0" fmla="*/ 3559 w 4854"/>
                <a:gd name="T1" fmla="*/ 0 h 3240"/>
                <a:gd name="T2" fmla="*/ 0 w 4854"/>
                <a:gd name="T3" fmla="*/ 0 h 3240"/>
                <a:gd name="T4" fmla="*/ 0 w 4854"/>
                <a:gd name="T5" fmla="*/ 3240 h 3240"/>
                <a:gd name="T6" fmla="*/ 3231 w 4854"/>
                <a:gd name="T7" fmla="*/ 3240 h 3240"/>
                <a:gd name="T8" fmla="*/ 4854 w 4854"/>
                <a:gd name="T9" fmla="*/ 1361 h 3240"/>
                <a:gd name="T10" fmla="*/ 3559 w 4854"/>
                <a:gd name="T11" fmla="*/ 0 h 3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54" h="3240">
                  <a:moveTo>
                    <a:pt x="3559" y="0"/>
                  </a:moveTo>
                  <a:lnTo>
                    <a:pt x="0" y="0"/>
                  </a:lnTo>
                  <a:lnTo>
                    <a:pt x="0" y="3240"/>
                  </a:lnTo>
                  <a:lnTo>
                    <a:pt x="3231" y="3240"/>
                  </a:lnTo>
                  <a:lnTo>
                    <a:pt x="4854" y="1361"/>
                  </a:lnTo>
                  <a:lnTo>
                    <a:pt x="3559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1" name="Freeform 62"/>
            <p:cNvSpPr>
              <a:spLocks/>
            </p:cNvSpPr>
            <p:nvPr userDrawn="1"/>
          </p:nvSpPr>
          <p:spPr bwMode="auto">
            <a:xfrm>
              <a:off x="3947" y="0"/>
              <a:ext cx="1450" cy="1361"/>
            </a:xfrm>
            <a:custGeom>
              <a:avLst/>
              <a:gdLst>
                <a:gd name="T0" fmla="*/ 0 w 1450"/>
                <a:gd name="T1" fmla="*/ 0 h 1361"/>
                <a:gd name="T2" fmla="*/ 24 w 1450"/>
                <a:gd name="T3" fmla="*/ 153 h 1361"/>
                <a:gd name="T4" fmla="*/ 38 w 1450"/>
                <a:gd name="T5" fmla="*/ 228 h 1361"/>
                <a:gd name="T6" fmla="*/ 59 w 1450"/>
                <a:gd name="T7" fmla="*/ 303 h 1361"/>
                <a:gd name="T8" fmla="*/ 73 w 1450"/>
                <a:gd name="T9" fmla="*/ 343 h 1361"/>
                <a:gd name="T10" fmla="*/ 105 w 1450"/>
                <a:gd name="T11" fmla="*/ 424 h 1361"/>
                <a:gd name="T12" fmla="*/ 141 w 1450"/>
                <a:gd name="T13" fmla="*/ 504 h 1361"/>
                <a:gd name="T14" fmla="*/ 181 w 1450"/>
                <a:gd name="T15" fmla="*/ 581 h 1361"/>
                <a:gd name="T16" fmla="*/ 225 w 1450"/>
                <a:gd name="T17" fmla="*/ 656 h 1361"/>
                <a:gd name="T18" fmla="*/ 272 w 1450"/>
                <a:gd name="T19" fmla="*/ 729 h 1361"/>
                <a:gd name="T20" fmla="*/ 323 w 1450"/>
                <a:gd name="T21" fmla="*/ 800 h 1361"/>
                <a:gd name="T22" fmla="*/ 377 w 1450"/>
                <a:gd name="T23" fmla="*/ 869 h 1361"/>
                <a:gd name="T24" fmla="*/ 433 w 1450"/>
                <a:gd name="T25" fmla="*/ 936 h 1361"/>
                <a:gd name="T26" fmla="*/ 491 w 1450"/>
                <a:gd name="T27" fmla="*/ 1000 h 1361"/>
                <a:gd name="T28" fmla="*/ 551 w 1450"/>
                <a:gd name="T29" fmla="*/ 1062 h 1361"/>
                <a:gd name="T30" fmla="*/ 645 w 1450"/>
                <a:gd name="T31" fmla="*/ 1151 h 1361"/>
                <a:gd name="T32" fmla="*/ 773 w 1450"/>
                <a:gd name="T33" fmla="*/ 1261 h 1361"/>
                <a:gd name="T34" fmla="*/ 904 w 1450"/>
                <a:gd name="T35" fmla="*/ 1361 h 1361"/>
                <a:gd name="T36" fmla="*/ 904 w 1450"/>
                <a:gd name="T37" fmla="*/ 1361 h 1361"/>
                <a:gd name="T38" fmla="*/ 965 w 1450"/>
                <a:gd name="T39" fmla="*/ 1283 h 1361"/>
                <a:gd name="T40" fmla="*/ 1023 w 1450"/>
                <a:gd name="T41" fmla="*/ 1202 h 1361"/>
                <a:gd name="T42" fmla="*/ 1077 w 1450"/>
                <a:gd name="T43" fmla="*/ 1119 h 1361"/>
                <a:gd name="T44" fmla="*/ 1126 w 1450"/>
                <a:gd name="T45" fmla="*/ 1036 h 1361"/>
                <a:gd name="T46" fmla="*/ 1173 w 1450"/>
                <a:gd name="T47" fmla="*/ 953 h 1361"/>
                <a:gd name="T48" fmla="*/ 1216 w 1450"/>
                <a:gd name="T49" fmla="*/ 867 h 1361"/>
                <a:gd name="T50" fmla="*/ 1255 w 1450"/>
                <a:gd name="T51" fmla="*/ 781 h 1361"/>
                <a:gd name="T52" fmla="*/ 1291 w 1450"/>
                <a:gd name="T53" fmla="*/ 694 h 1361"/>
                <a:gd name="T54" fmla="*/ 1324 w 1450"/>
                <a:gd name="T55" fmla="*/ 608 h 1361"/>
                <a:gd name="T56" fmla="*/ 1352 w 1450"/>
                <a:gd name="T57" fmla="*/ 520 h 1361"/>
                <a:gd name="T58" fmla="*/ 1378 w 1450"/>
                <a:gd name="T59" fmla="*/ 433 h 1361"/>
                <a:gd name="T60" fmla="*/ 1399 w 1450"/>
                <a:gd name="T61" fmla="*/ 345 h 1361"/>
                <a:gd name="T62" fmla="*/ 1417 w 1450"/>
                <a:gd name="T63" fmla="*/ 258 h 1361"/>
                <a:gd name="T64" fmla="*/ 1432 w 1450"/>
                <a:gd name="T65" fmla="*/ 171 h 1361"/>
                <a:gd name="T66" fmla="*/ 1442 w 1450"/>
                <a:gd name="T67" fmla="*/ 86 h 1361"/>
                <a:gd name="T68" fmla="*/ 1450 w 1450"/>
                <a:gd name="T69" fmla="*/ 0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50" h="1361">
                  <a:moveTo>
                    <a:pt x="0" y="0"/>
                  </a:moveTo>
                  <a:lnTo>
                    <a:pt x="0" y="0"/>
                  </a:lnTo>
                  <a:lnTo>
                    <a:pt x="13" y="77"/>
                  </a:lnTo>
                  <a:lnTo>
                    <a:pt x="24" y="153"/>
                  </a:lnTo>
                  <a:lnTo>
                    <a:pt x="31" y="190"/>
                  </a:lnTo>
                  <a:lnTo>
                    <a:pt x="38" y="228"/>
                  </a:lnTo>
                  <a:lnTo>
                    <a:pt x="49" y="266"/>
                  </a:lnTo>
                  <a:lnTo>
                    <a:pt x="59" y="303"/>
                  </a:lnTo>
                  <a:lnTo>
                    <a:pt x="59" y="303"/>
                  </a:lnTo>
                  <a:lnTo>
                    <a:pt x="73" y="343"/>
                  </a:lnTo>
                  <a:lnTo>
                    <a:pt x="88" y="385"/>
                  </a:lnTo>
                  <a:lnTo>
                    <a:pt x="105" y="424"/>
                  </a:lnTo>
                  <a:lnTo>
                    <a:pt x="123" y="465"/>
                  </a:lnTo>
                  <a:lnTo>
                    <a:pt x="141" y="504"/>
                  </a:lnTo>
                  <a:lnTo>
                    <a:pt x="161" y="542"/>
                  </a:lnTo>
                  <a:lnTo>
                    <a:pt x="181" y="581"/>
                  </a:lnTo>
                  <a:lnTo>
                    <a:pt x="203" y="619"/>
                  </a:lnTo>
                  <a:lnTo>
                    <a:pt x="225" y="656"/>
                  </a:lnTo>
                  <a:lnTo>
                    <a:pt x="249" y="693"/>
                  </a:lnTo>
                  <a:lnTo>
                    <a:pt x="272" y="729"/>
                  </a:lnTo>
                  <a:lnTo>
                    <a:pt x="297" y="765"/>
                  </a:lnTo>
                  <a:lnTo>
                    <a:pt x="323" y="800"/>
                  </a:lnTo>
                  <a:lnTo>
                    <a:pt x="350" y="835"/>
                  </a:lnTo>
                  <a:lnTo>
                    <a:pt x="377" y="869"/>
                  </a:lnTo>
                  <a:lnTo>
                    <a:pt x="404" y="902"/>
                  </a:lnTo>
                  <a:lnTo>
                    <a:pt x="433" y="936"/>
                  </a:lnTo>
                  <a:lnTo>
                    <a:pt x="461" y="968"/>
                  </a:lnTo>
                  <a:lnTo>
                    <a:pt x="491" y="1000"/>
                  </a:lnTo>
                  <a:lnTo>
                    <a:pt x="521" y="1032"/>
                  </a:lnTo>
                  <a:lnTo>
                    <a:pt x="551" y="1062"/>
                  </a:lnTo>
                  <a:lnTo>
                    <a:pt x="582" y="1092"/>
                  </a:lnTo>
                  <a:lnTo>
                    <a:pt x="645" y="1151"/>
                  </a:lnTo>
                  <a:lnTo>
                    <a:pt x="709" y="1207"/>
                  </a:lnTo>
                  <a:lnTo>
                    <a:pt x="773" y="1261"/>
                  </a:lnTo>
                  <a:lnTo>
                    <a:pt x="838" y="1313"/>
                  </a:lnTo>
                  <a:lnTo>
                    <a:pt x="904" y="1361"/>
                  </a:lnTo>
                  <a:lnTo>
                    <a:pt x="904" y="1361"/>
                  </a:lnTo>
                  <a:lnTo>
                    <a:pt x="904" y="1361"/>
                  </a:lnTo>
                  <a:lnTo>
                    <a:pt x="935" y="1322"/>
                  </a:lnTo>
                  <a:lnTo>
                    <a:pt x="965" y="1283"/>
                  </a:lnTo>
                  <a:lnTo>
                    <a:pt x="994" y="1242"/>
                  </a:lnTo>
                  <a:lnTo>
                    <a:pt x="1023" y="1202"/>
                  </a:lnTo>
                  <a:lnTo>
                    <a:pt x="1050" y="1161"/>
                  </a:lnTo>
                  <a:lnTo>
                    <a:pt x="1077" y="1119"/>
                  </a:lnTo>
                  <a:lnTo>
                    <a:pt x="1101" y="1079"/>
                  </a:lnTo>
                  <a:lnTo>
                    <a:pt x="1126" y="1036"/>
                  </a:lnTo>
                  <a:lnTo>
                    <a:pt x="1150" y="995"/>
                  </a:lnTo>
                  <a:lnTo>
                    <a:pt x="1173" y="953"/>
                  </a:lnTo>
                  <a:lnTo>
                    <a:pt x="1195" y="910"/>
                  </a:lnTo>
                  <a:lnTo>
                    <a:pt x="1216" y="867"/>
                  </a:lnTo>
                  <a:lnTo>
                    <a:pt x="1236" y="825"/>
                  </a:lnTo>
                  <a:lnTo>
                    <a:pt x="1255" y="781"/>
                  </a:lnTo>
                  <a:lnTo>
                    <a:pt x="1273" y="738"/>
                  </a:lnTo>
                  <a:lnTo>
                    <a:pt x="1291" y="694"/>
                  </a:lnTo>
                  <a:lnTo>
                    <a:pt x="1308" y="651"/>
                  </a:lnTo>
                  <a:lnTo>
                    <a:pt x="1324" y="608"/>
                  </a:lnTo>
                  <a:lnTo>
                    <a:pt x="1339" y="564"/>
                  </a:lnTo>
                  <a:lnTo>
                    <a:pt x="1352" y="520"/>
                  </a:lnTo>
                  <a:lnTo>
                    <a:pt x="1366" y="476"/>
                  </a:lnTo>
                  <a:lnTo>
                    <a:pt x="1378" y="433"/>
                  </a:lnTo>
                  <a:lnTo>
                    <a:pt x="1389" y="389"/>
                  </a:lnTo>
                  <a:lnTo>
                    <a:pt x="1399" y="345"/>
                  </a:lnTo>
                  <a:lnTo>
                    <a:pt x="1408" y="302"/>
                  </a:lnTo>
                  <a:lnTo>
                    <a:pt x="1417" y="258"/>
                  </a:lnTo>
                  <a:lnTo>
                    <a:pt x="1425" y="215"/>
                  </a:lnTo>
                  <a:lnTo>
                    <a:pt x="1432" y="171"/>
                  </a:lnTo>
                  <a:lnTo>
                    <a:pt x="1438" y="128"/>
                  </a:lnTo>
                  <a:lnTo>
                    <a:pt x="1442" y="86"/>
                  </a:lnTo>
                  <a:lnTo>
                    <a:pt x="1447" y="43"/>
                  </a:lnTo>
                  <a:lnTo>
                    <a:pt x="145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CC8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2" name="Freeform 63"/>
            <p:cNvSpPr>
              <a:spLocks/>
            </p:cNvSpPr>
            <p:nvPr userDrawn="1"/>
          </p:nvSpPr>
          <p:spPr bwMode="auto">
            <a:xfrm>
              <a:off x="4851" y="738"/>
              <a:ext cx="908" cy="1044"/>
            </a:xfrm>
            <a:custGeom>
              <a:avLst/>
              <a:gdLst>
                <a:gd name="T0" fmla="*/ 908 w 908"/>
                <a:gd name="T1" fmla="*/ 0 h 1044"/>
                <a:gd name="T2" fmla="*/ 908 w 908"/>
                <a:gd name="T3" fmla="*/ 0 h 1044"/>
                <a:gd name="T4" fmla="*/ 848 w 908"/>
                <a:gd name="T5" fmla="*/ 28 h 1044"/>
                <a:gd name="T6" fmla="*/ 789 w 908"/>
                <a:gd name="T7" fmla="*/ 59 h 1044"/>
                <a:gd name="T8" fmla="*/ 729 w 908"/>
                <a:gd name="T9" fmla="*/ 89 h 1044"/>
                <a:gd name="T10" fmla="*/ 671 w 908"/>
                <a:gd name="T11" fmla="*/ 120 h 1044"/>
                <a:gd name="T12" fmla="*/ 612 w 908"/>
                <a:gd name="T13" fmla="*/ 153 h 1044"/>
                <a:gd name="T14" fmla="*/ 555 w 908"/>
                <a:gd name="T15" fmla="*/ 187 h 1044"/>
                <a:gd name="T16" fmla="*/ 498 w 908"/>
                <a:gd name="T17" fmla="*/ 222 h 1044"/>
                <a:gd name="T18" fmla="*/ 440 w 908"/>
                <a:gd name="T19" fmla="*/ 259 h 1044"/>
                <a:gd name="T20" fmla="*/ 384 w 908"/>
                <a:gd name="T21" fmla="*/ 298 h 1044"/>
                <a:gd name="T22" fmla="*/ 328 w 908"/>
                <a:gd name="T23" fmla="*/ 339 h 1044"/>
                <a:gd name="T24" fmla="*/ 273 w 908"/>
                <a:gd name="T25" fmla="*/ 380 h 1044"/>
                <a:gd name="T26" fmla="*/ 217 w 908"/>
                <a:gd name="T27" fmla="*/ 424 h 1044"/>
                <a:gd name="T28" fmla="*/ 162 w 908"/>
                <a:gd name="T29" fmla="*/ 471 h 1044"/>
                <a:gd name="T30" fmla="*/ 107 w 908"/>
                <a:gd name="T31" fmla="*/ 520 h 1044"/>
                <a:gd name="T32" fmla="*/ 53 w 908"/>
                <a:gd name="T33" fmla="*/ 570 h 1044"/>
                <a:gd name="T34" fmla="*/ 0 w 908"/>
                <a:gd name="T35" fmla="*/ 623 h 1044"/>
                <a:gd name="T36" fmla="*/ 0 w 908"/>
                <a:gd name="T37" fmla="*/ 623 h 1044"/>
                <a:gd name="T38" fmla="*/ 0 w 908"/>
                <a:gd name="T39" fmla="*/ 623 h 1044"/>
                <a:gd name="T40" fmla="*/ 53 w 908"/>
                <a:gd name="T41" fmla="*/ 660 h 1044"/>
                <a:gd name="T42" fmla="*/ 106 w 908"/>
                <a:gd name="T43" fmla="*/ 698 h 1044"/>
                <a:gd name="T44" fmla="*/ 160 w 908"/>
                <a:gd name="T45" fmla="*/ 732 h 1044"/>
                <a:gd name="T46" fmla="*/ 215 w 908"/>
                <a:gd name="T47" fmla="*/ 767 h 1044"/>
                <a:gd name="T48" fmla="*/ 270 w 908"/>
                <a:gd name="T49" fmla="*/ 800 h 1044"/>
                <a:gd name="T50" fmla="*/ 325 w 908"/>
                <a:gd name="T51" fmla="*/ 831 h 1044"/>
                <a:gd name="T52" fmla="*/ 383 w 908"/>
                <a:gd name="T53" fmla="*/ 862 h 1044"/>
                <a:gd name="T54" fmla="*/ 439 w 908"/>
                <a:gd name="T55" fmla="*/ 890 h 1044"/>
                <a:gd name="T56" fmla="*/ 496 w 908"/>
                <a:gd name="T57" fmla="*/ 917 h 1044"/>
                <a:gd name="T58" fmla="*/ 555 w 908"/>
                <a:gd name="T59" fmla="*/ 942 h 1044"/>
                <a:gd name="T60" fmla="*/ 612 w 908"/>
                <a:gd name="T61" fmla="*/ 964 h 1044"/>
                <a:gd name="T62" fmla="*/ 671 w 908"/>
                <a:gd name="T63" fmla="*/ 986 h 1044"/>
                <a:gd name="T64" fmla="*/ 730 w 908"/>
                <a:gd name="T65" fmla="*/ 1004 h 1044"/>
                <a:gd name="T66" fmla="*/ 789 w 908"/>
                <a:gd name="T67" fmla="*/ 1019 h 1044"/>
                <a:gd name="T68" fmla="*/ 848 w 908"/>
                <a:gd name="T69" fmla="*/ 1033 h 1044"/>
                <a:gd name="T70" fmla="*/ 908 w 908"/>
                <a:gd name="T71" fmla="*/ 1044 h 1044"/>
                <a:gd name="T72" fmla="*/ 908 w 908"/>
                <a:gd name="T7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8" h="1044">
                  <a:moveTo>
                    <a:pt x="908" y="0"/>
                  </a:moveTo>
                  <a:lnTo>
                    <a:pt x="908" y="0"/>
                  </a:lnTo>
                  <a:lnTo>
                    <a:pt x="848" y="28"/>
                  </a:lnTo>
                  <a:lnTo>
                    <a:pt x="789" y="59"/>
                  </a:lnTo>
                  <a:lnTo>
                    <a:pt x="729" y="89"/>
                  </a:lnTo>
                  <a:lnTo>
                    <a:pt x="671" y="120"/>
                  </a:lnTo>
                  <a:lnTo>
                    <a:pt x="612" y="153"/>
                  </a:lnTo>
                  <a:lnTo>
                    <a:pt x="555" y="187"/>
                  </a:lnTo>
                  <a:lnTo>
                    <a:pt x="498" y="222"/>
                  </a:lnTo>
                  <a:lnTo>
                    <a:pt x="440" y="259"/>
                  </a:lnTo>
                  <a:lnTo>
                    <a:pt x="384" y="298"/>
                  </a:lnTo>
                  <a:lnTo>
                    <a:pt x="328" y="339"/>
                  </a:lnTo>
                  <a:lnTo>
                    <a:pt x="273" y="380"/>
                  </a:lnTo>
                  <a:lnTo>
                    <a:pt x="217" y="424"/>
                  </a:lnTo>
                  <a:lnTo>
                    <a:pt x="162" y="471"/>
                  </a:lnTo>
                  <a:lnTo>
                    <a:pt x="107" y="520"/>
                  </a:lnTo>
                  <a:lnTo>
                    <a:pt x="53" y="570"/>
                  </a:lnTo>
                  <a:lnTo>
                    <a:pt x="0" y="623"/>
                  </a:lnTo>
                  <a:lnTo>
                    <a:pt x="0" y="623"/>
                  </a:lnTo>
                  <a:lnTo>
                    <a:pt x="0" y="623"/>
                  </a:lnTo>
                  <a:lnTo>
                    <a:pt x="53" y="660"/>
                  </a:lnTo>
                  <a:lnTo>
                    <a:pt x="106" y="698"/>
                  </a:lnTo>
                  <a:lnTo>
                    <a:pt x="160" y="732"/>
                  </a:lnTo>
                  <a:lnTo>
                    <a:pt x="215" y="767"/>
                  </a:lnTo>
                  <a:lnTo>
                    <a:pt x="270" y="800"/>
                  </a:lnTo>
                  <a:lnTo>
                    <a:pt x="325" y="831"/>
                  </a:lnTo>
                  <a:lnTo>
                    <a:pt x="383" y="862"/>
                  </a:lnTo>
                  <a:lnTo>
                    <a:pt x="439" y="890"/>
                  </a:lnTo>
                  <a:lnTo>
                    <a:pt x="496" y="917"/>
                  </a:lnTo>
                  <a:lnTo>
                    <a:pt x="555" y="942"/>
                  </a:lnTo>
                  <a:lnTo>
                    <a:pt x="612" y="964"/>
                  </a:lnTo>
                  <a:lnTo>
                    <a:pt x="671" y="986"/>
                  </a:lnTo>
                  <a:lnTo>
                    <a:pt x="730" y="1004"/>
                  </a:lnTo>
                  <a:lnTo>
                    <a:pt x="789" y="1019"/>
                  </a:lnTo>
                  <a:lnTo>
                    <a:pt x="848" y="1033"/>
                  </a:lnTo>
                  <a:lnTo>
                    <a:pt x="908" y="1044"/>
                  </a:lnTo>
                  <a:lnTo>
                    <a:pt x="908" y="0"/>
                  </a:lnTo>
                  <a:close/>
                </a:path>
              </a:pathLst>
            </a:custGeom>
            <a:solidFill>
              <a:srgbClr val="80D3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3" name="Freeform 64"/>
            <p:cNvSpPr>
              <a:spLocks/>
            </p:cNvSpPr>
            <p:nvPr userDrawn="1"/>
          </p:nvSpPr>
          <p:spPr bwMode="auto">
            <a:xfrm>
              <a:off x="3637" y="1361"/>
              <a:ext cx="2122" cy="1879"/>
            </a:xfrm>
            <a:custGeom>
              <a:avLst/>
              <a:gdLst>
                <a:gd name="T0" fmla="*/ 2122 w 2122"/>
                <a:gd name="T1" fmla="*/ 1879 h 1879"/>
                <a:gd name="T2" fmla="*/ 2122 w 2122"/>
                <a:gd name="T3" fmla="*/ 502 h 1879"/>
                <a:gd name="T4" fmla="*/ 2122 w 2122"/>
                <a:gd name="T5" fmla="*/ 502 h 1879"/>
                <a:gd name="T6" fmla="*/ 2005 w 2122"/>
                <a:gd name="T7" fmla="*/ 447 h 1879"/>
                <a:gd name="T8" fmla="*/ 1889 w 2122"/>
                <a:gd name="T9" fmla="*/ 392 h 1879"/>
                <a:gd name="T10" fmla="*/ 1773 w 2122"/>
                <a:gd name="T11" fmla="*/ 334 h 1879"/>
                <a:gd name="T12" fmla="*/ 1716 w 2122"/>
                <a:gd name="T13" fmla="*/ 305 h 1879"/>
                <a:gd name="T14" fmla="*/ 1660 w 2122"/>
                <a:gd name="T15" fmla="*/ 275 h 1879"/>
                <a:gd name="T16" fmla="*/ 1602 w 2122"/>
                <a:gd name="T17" fmla="*/ 244 h 1879"/>
                <a:gd name="T18" fmla="*/ 1546 w 2122"/>
                <a:gd name="T19" fmla="*/ 213 h 1879"/>
                <a:gd name="T20" fmla="*/ 1490 w 2122"/>
                <a:gd name="T21" fmla="*/ 180 h 1879"/>
                <a:gd name="T22" fmla="*/ 1435 w 2122"/>
                <a:gd name="T23" fmla="*/ 147 h 1879"/>
                <a:gd name="T24" fmla="*/ 1379 w 2122"/>
                <a:gd name="T25" fmla="*/ 113 h 1879"/>
                <a:gd name="T26" fmla="*/ 1324 w 2122"/>
                <a:gd name="T27" fmla="*/ 77 h 1879"/>
                <a:gd name="T28" fmla="*/ 1268 w 2122"/>
                <a:gd name="T29" fmla="*/ 39 h 1879"/>
                <a:gd name="T30" fmla="*/ 1214 w 2122"/>
                <a:gd name="T31" fmla="*/ 0 h 1879"/>
                <a:gd name="T32" fmla="*/ 1214 w 2122"/>
                <a:gd name="T33" fmla="*/ 0 h 1879"/>
                <a:gd name="T34" fmla="*/ 1131 w 2122"/>
                <a:gd name="T35" fmla="*/ 132 h 1879"/>
                <a:gd name="T36" fmla="*/ 1052 w 2122"/>
                <a:gd name="T37" fmla="*/ 261 h 1879"/>
                <a:gd name="T38" fmla="*/ 976 w 2122"/>
                <a:gd name="T39" fmla="*/ 388 h 1879"/>
                <a:gd name="T40" fmla="*/ 902 w 2122"/>
                <a:gd name="T41" fmla="*/ 514 h 1879"/>
                <a:gd name="T42" fmla="*/ 758 w 2122"/>
                <a:gd name="T43" fmla="*/ 759 h 1879"/>
                <a:gd name="T44" fmla="*/ 687 w 2122"/>
                <a:gd name="T45" fmla="*/ 878 h 1879"/>
                <a:gd name="T46" fmla="*/ 617 w 2122"/>
                <a:gd name="T47" fmla="*/ 996 h 1879"/>
                <a:gd name="T48" fmla="*/ 546 w 2122"/>
                <a:gd name="T49" fmla="*/ 1111 h 1879"/>
                <a:gd name="T50" fmla="*/ 476 w 2122"/>
                <a:gd name="T51" fmla="*/ 1225 h 1879"/>
                <a:gd name="T52" fmla="*/ 402 w 2122"/>
                <a:gd name="T53" fmla="*/ 1338 h 1879"/>
                <a:gd name="T54" fmla="*/ 327 w 2122"/>
                <a:gd name="T55" fmla="*/ 1449 h 1879"/>
                <a:gd name="T56" fmla="*/ 289 w 2122"/>
                <a:gd name="T57" fmla="*/ 1503 h 1879"/>
                <a:gd name="T58" fmla="*/ 251 w 2122"/>
                <a:gd name="T59" fmla="*/ 1558 h 1879"/>
                <a:gd name="T60" fmla="*/ 211 w 2122"/>
                <a:gd name="T61" fmla="*/ 1612 h 1879"/>
                <a:gd name="T62" fmla="*/ 171 w 2122"/>
                <a:gd name="T63" fmla="*/ 1666 h 1879"/>
                <a:gd name="T64" fmla="*/ 129 w 2122"/>
                <a:gd name="T65" fmla="*/ 1720 h 1879"/>
                <a:gd name="T66" fmla="*/ 88 w 2122"/>
                <a:gd name="T67" fmla="*/ 1773 h 1879"/>
                <a:gd name="T68" fmla="*/ 44 w 2122"/>
                <a:gd name="T69" fmla="*/ 1826 h 1879"/>
                <a:gd name="T70" fmla="*/ 0 w 2122"/>
                <a:gd name="T71" fmla="*/ 1879 h 1879"/>
                <a:gd name="T72" fmla="*/ 2122 w 2122"/>
                <a:gd name="T73" fmla="*/ 1879 h 1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22" h="1879">
                  <a:moveTo>
                    <a:pt x="2122" y="1879"/>
                  </a:moveTo>
                  <a:lnTo>
                    <a:pt x="2122" y="502"/>
                  </a:lnTo>
                  <a:lnTo>
                    <a:pt x="2122" y="502"/>
                  </a:lnTo>
                  <a:lnTo>
                    <a:pt x="2005" y="447"/>
                  </a:lnTo>
                  <a:lnTo>
                    <a:pt x="1889" y="392"/>
                  </a:lnTo>
                  <a:lnTo>
                    <a:pt x="1773" y="334"/>
                  </a:lnTo>
                  <a:lnTo>
                    <a:pt x="1716" y="305"/>
                  </a:lnTo>
                  <a:lnTo>
                    <a:pt x="1660" y="275"/>
                  </a:lnTo>
                  <a:lnTo>
                    <a:pt x="1602" y="244"/>
                  </a:lnTo>
                  <a:lnTo>
                    <a:pt x="1546" y="213"/>
                  </a:lnTo>
                  <a:lnTo>
                    <a:pt x="1490" y="180"/>
                  </a:lnTo>
                  <a:lnTo>
                    <a:pt x="1435" y="147"/>
                  </a:lnTo>
                  <a:lnTo>
                    <a:pt x="1379" y="113"/>
                  </a:lnTo>
                  <a:lnTo>
                    <a:pt x="1324" y="77"/>
                  </a:lnTo>
                  <a:lnTo>
                    <a:pt x="1268" y="39"/>
                  </a:lnTo>
                  <a:lnTo>
                    <a:pt x="1214" y="0"/>
                  </a:lnTo>
                  <a:lnTo>
                    <a:pt x="1214" y="0"/>
                  </a:lnTo>
                  <a:lnTo>
                    <a:pt x="1131" y="132"/>
                  </a:lnTo>
                  <a:lnTo>
                    <a:pt x="1052" y="261"/>
                  </a:lnTo>
                  <a:lnTo>
                    <a:pt x="976" y="388"/>
                  </a:lnTo>
                  <a:lnTo>
                    <a:pt x="902" y="514"/>
                  </a:lnTo>
                  <a:lnTo>
                    <a:pt x="758" y="759"/>
                  </a:lnTo>
                  <a:lnTo>
                    <a:pt x="687" y="878"/>
                  </a:lnTo>
                  <a:lnTo>
                    <a:pt x="617" y="996"/>
                  </a:lnTo>
                  <a:lnTo>
                    <a:pt x="546" y="1111"/>
                  </a:lnTo>
                  <a:lnTo>
                    <a:pt x="476" y="1225"/>
                  </a:lnTo>
                  <a:lnTo>
                    <a:pt x="402" y="1338"/>
                  </a:lnTo>
                  <a:lnTo>
                    <a:pt x="327" y="1449"/>
                  </a:lnTo>
                  <a:lnTo>
                    <a:pt x="289" y="1503"/>
                  </a:lnTo>
                  <a:lnTo>
                    <a:pt x="251" y="1558"/>
                  </a:lnTo>
                  <a:lnTo>
                    <a:pt x="211" y="1612"/>
                  </a:lnTo>
                  <a:lnTo>
                    <a:pt x="171" y="1666"/>
                  </a:lnTo>
                  <a:lnTo>
                    <a:pt x="129" y="1720"/>
                  </a:lnTo>
                  <a:lnTo>
                    <a:pt x="88" y="1773"/>
                  </a:lnTo>
                  <a:lnTo>
                    <a:pt x="44" y="1826"/>
                  </a:lnTo>
                  <a:lnTo>
                    <a:pt x="0" y="1879"/>
                  </a:lnTo>
                  <a:lnTo>
                    <a:pt x="2122" y="187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4" name="Freeform 65"/>
            <p:cNvSpPr>
              <a:spLocks/>
            </p:cNvSpPr>
            <p:nvPr userDrawn="1"/>
          </p:nvSpPr>
          <p:spPr bwMode="auto">
            <a:xfrm>
              <a:off x="4851" y="0"/>
              <a:ext cx="908" cy="1361"/>
            </a:xfrm>
            <a:custGeom>
              <a:avLst/>
              <a:gdLst>
                <a:gd name="T0" fmla="*/ 0 w 908"/>
                <a:gd name="T1" fmla="*/ 1361 h 1361"/>
                <a:gd name="T2" fmla="*/ 0 w 908"/>
                <a:gd name="T3" fmla="*/ 1361 h 1361"/>
                <a:gd name="T4" fmla="*/ 53 w 908"/>
                <a:gd name="T5" fmla="*/ 1323 h 1361"/>
                <a:gd name="T6" fmla="*/ 107 w 908"/>
                <a:gd name="T7" fmla="*/ 1285 h 1361"/>
                <a:gd name="T8" fmla="*/ 161 w 908"/>
                <a:gd name="T9" fmla="*/ 1248 h 1361"/>
                <a:gd name="T10" fmla="*/ 216 w 908"/>
                <a:gd name="T11" fmla="*/ 1212 h 1361"/>
                <a:gd name="T12" fmla="*/ 271 w 908"/>
                <a:gd name="T13" fmla="*/ 1176 h 1361"/>
                <a:gd name="T14" fmla="*/ 328 w 908"/>
                <a:gd name="T15" fmla="*/ 1141 h 1361"/>
                <a:gd name="T16" fmla="*/ 384 w 908"/>
                <a:gd name="T17" fmla="*/ 1106 h 1361"/>
                <a:gd name="T18" fmla="*/ 440 w 908"/>
                <a:gd name="T19" fmla="*/ 1072 h 1361"/>
                <a:gd name="T20" fmla="*/ 498 w 908"/>
                <a:gd name="T21" fmla="*/ 1038 h 1361"/>
                <a:gd name="T22" fmla="*/ 555 w 908"/>
                <a:gd name="T23" fmla="*/ 1006 h 1361"/>
                <a:gd name="T24" fmla="*/ 612 w 908"/>
                <a:gd name="T25" fmla="*/ 974 h 1361"/>
                <a:gd name="T26" fmla="*/ 671 w 908"/>
                <a:gd name="T27" fmla="*/ 943 h 1361"/>
                <a:gd name="T28" fmla="*/ 729 w 908"/>
                <a:gd name="T29" fmla="*/ 912 h 1361"/>
                <a:gd name="T30" fmla="*/ 789 w 908"/>
                <a:gd name="T31" fmla="*/ 882 h 1361"/>
                <a:gd name="T32" fmla="*/ 848 w 908"/>
                <a:gd name="T33" fmla="*/ 853 h 1361"/>
                <a:gd name="T34" fmla="*/ 908 w 908"/>
                <a:gd name="T35" fmla="*/ 825 h 1361"/>
                <a:gd name="T36" fmla="*/ 908 w 908"/>
                <a:gd name="T37" fmla="*/ 0 h 1361"/>
                <a:gd name="T38" fmla="*/ 261 w 908"/>
                <a:gd name="T39" fmla="*/ 0 h 1361"/>
                <a:gd name="T40" fmla="*/ 261 w 908"/>
                <a:gd name="T41" fmla="*/ 0 h 1361"/>
                <a:gd name="T42" fmla="*/ 256 w 908"/>
                <a:gd name="T43" fmla="*/ 86 h 1361"/>
                <a:gd name="T44" fmla="*/ 248 w 908"/>
                <a:gd name="T45" fmla="*/ 170 h 1361"/>
                <a:gd name="T46" fmla="*/ 239 w 908"/>
                <a:gd name="T47" fmla="*/ 255 h 1361"/>
                <a:gd name="T48" fmla="*/ 229 w 908"/>
                <a:gd name="T49" fmla="*/ 340 h 1361"/>
                <a:gd name="T50" fmla="*/ 217 w 908"/>
                <a:gd name="T51" fmla="*/ 425 h 1361"/>
                <a:gd name="T52" fmla="*/ 205 w 908"/>
                <a:gd name="T53" fmla="*/ 511 h 1361"/>
                <a:gd name="T54" fmla="*/ 190 w 908"/>
                <a:gd name="T55" fmla="*/ 596 h 1361"/>
                <a:gd name="T56" fmla="*/ 175 w 908"/>
                <a:gd name="T57" fmla="*/ 681 h 1361"/>
                <a:gd name="T58" fmla="*/ 158 w 908"/>
                <a:gd name="T59" fmla="*/ 766 h 1361"/>
                <a:gd name="T60" fmla="*/ 140 w 908"/>
                <a:gd name="T61" fmla="*/ 852 h 1361"/>
                <a:gd name="T62" fmla="*/ 120 w 908"/>
                <a:gd name="T63" fmla="*/ 937 h 1361"/>
                <a:gd name="T64" fmla="*/ 99 w 908"/>
                <a:gd name="T65" fmla="*/ 1022 h 1361"/>
                <a:gd name="T66" fmla="*/ 76 w 908"/>
                <a:gd name="T67" fmla="*/ 1107 h 1361"/>
                <a:gd name="T68" fmla="*/ 52 w 908"/>
                <a:gd name="T69" fmla="*/ 1191 h 1361"/>
                <a:gd name="T70" fmla="*/ 27 w 908"/>
                <a:gd name="T71" fmla="*/ 1277 h 1361"/>
                <a:gd name="T72" fmla="*/ 0 w 908"/>
                <a:gd name="T73" fmla="*/ 1361 h 1361"/>
                <a:gd name="T74" fmla="*/ 0 w 908"/>
                <a:gd name="T75" fmla="*/ 1361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8" h="1361">
                  <a:moveTo>
                    <a:pt x="0" y="1361"/>
                  </a:moveTo>
                  <a:lnTo>
                    <a:pt x="0" y="1361"/>
                  </a:lnTo>
                  <a:lnTo>
                    <a:pt x="53" y="1323"/>
                  </a:lnTo>
                  <a:lnTo>
                    <a:pt x="107" y="1285"/>
                  </a:lnTo>
                  <a:lnTo>
                    <a:pt x="161" y="1248"/>
                  </a:lnTo>
                  <a:lnTo>
                    <a:pt x="216" y="1212"/>
                  </a:lnTo>
                  <a:lnTo>
                    <a:pt x="271" y="1176"/>
                  </a:lnTo>
                  <a:lnTo>
                    <a:pt x="328" y="1141"/>
                  </a:lnTo>
                  <a:lnTo>
                    <a:pt x="384" y="1106"/>
                  </a:lnTo>
                  <a:lnTo>
                    <a:pt x="440" y="1072"/>
                  </a:lnTo>
                  <a:lnTo>
                    <a:pt x="498" y="1038"/>
                  </a:lnTo>
                  <a:lnTo>
                    <a:pt x="555" y="1006"/>
                  </a:lnTo>
                  <a:lnTo>
                    <a:pt x="612" y="974"/>
                  </a:lnTo>
                  <a:lnTo>
                    <a:pt x="671" y="943"/>
                  </a:lnTo>
                  <a:lnTo>
                    <a:pt x="729" y="912"/>
                  </a:lnTo>
                  <a:lnTo>
                    <a:pt x="789" y="882"/>
                  </a:lnTo>
                  <a:lnTo>
                    <a:pt x="848" y="853"/>
                  </a:lnTo>
                  <a:lnTo>
                    <a:pt x="908" y="825"/>
                  </a:lnTo>
                  <a:lnTo>
                    <a:pt x="908" y="0"/>
                  </a:lnTo>
                  <a:lnTo>
                    <a:pt x="261" y="0"/>
                  </a:lnTo>
                  <a:lnTo>
                    <a:pt x="261" y="0"/>
                  </a:lnTo>
                  <a:lnTo>
                    <a:pt x="256" y="86"/>
                  </a:lnTo>
                  <a:lnTo>
                    <a:pt x="248" y="170"/>
                  </a:lnTo>
                  <a:lnTo>
                    <a:pt x="239" y="255"/>
                  </a:lnTo>
                  <a:lnTo>
                    <a:pt x="229" y="340"/>
                  </a:lnTo>
                  <a:lnTo>
                    <a:pt x="217" y="425"/>
                  </a:lnTo>
                  <a:lnTo>
                    <a:pt x="205" y="511"/>
                  </a:lnTo>
                  <a:lnTo>
                    <a:pt x="190" y="596"/>
                  </a:lnTo>
                  <a:lnTo>
                    <a:pt x="175" y="681"/>
                  </a:lnTo>
                  <a:lnTo>
                    <a:pt x="158" y="766"/>
                  </a:lnTo>
                  <a:lnTo>
                    <a:pt x="140" y="852"/>
                  </a:lnTo>
                  <a:lnTo>
                    <a:pt x="120" y="937"/>
                  </a:lnTo>
                  <a:lnTo>
                    <a:pt x="99" y="1022"/>
                  </a:lnTo>
                  <a:lnTo>
                    <a:pt x="76" y="1107"/>
                  </a:lnTo>
                  <a:lnTo>
                    <a:pt x="52" y="1191"/>
                  </a:lnTo>
                  <a:lnTo>
                    <a:pt x="27" y="1277"/>
                  </a:lnTo>
                  <a:lnTo>
                    <a:pt x="0" y="1361"/>
                  </a:lnTo>
                  <a:lnTo>
                    <a:pt x="0" y="13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2" name="Freeform 66"/>
            <p:cNvSpPr>
              <a:spLocks/>
            </p:cNvSpPr>
            <p:nvPr userDrawn="1"/>
          </p:nvSpPr>
          <p:spPr bwMode="auto">
            <a:xfrm>
              <a:off x="3528" y="0"/>
              <a:ext cx="1323" cy="1361"/>
            </a:xfrm>
            <a:custGeom>
              <a:avLst/>
              <a:gdLst>
                <a:gd name="T0" fmla="*/ 1323 w 1323"/>
                <a:gd name="T1" fmla="*/ 1361 h 1361"/>
                <a:gd name="T2" fmla="*/ 1323 w 1323"/>
                <a:gd name="T3" fmla="*/ 1361 h 1361"/>
                <a:gd name="T4" fmla="*/ 1291 w 1323"/>
                <a:gd name="T5" fmla="*/ 1338 h 1361"/>
                <a:gd name="T6" fmla="*/ 1258 w 1323"/>
                <a:gd name="T7" fmla="*/ 1313 h 1361"/>
                <a:gd name="T8" fmla="*/ 1227 w 1323"/>
                <a:gd name="T9" fmla="*/ 1287 h 1361"/>
                <a:gd name="T10" fmla="*/ 1195 w 1323"/>
                <a:gd name="T11" fmla="*/ 1261 h 1361"/>
                <a:gd name="T12" fmla="*/ 1165 w 1323"/>
                <a:gd name="T13" fmla="*/ 1234 h 1361"/>
                <a:gd name="T14" fmla="*/ 1135 w 1323"/>
                <a:gd name="T15" fmla="*/ 1207 h 1361"/>
                <a:gd name="T16" fmla="*/ 1105 w 1323"/>
                <a:gd name="T17" fmla="*/ 1179 h 1361"/>
                <a:gd name="T18" fmla="*/ 1076 w 1323"/>
                <a:gd name="T19" fmla="*/ 1151 h 1361"/>
                <a:gd name="T20" fmla="*/ 1047 w 1323"/>
                <a:gd name="T21" fmla="*/ 1122 h 1361"/>
                <a:gd name="T22" fmla="*/ 1019 w 1323"/>
                <a:gd name="T23" fmla="*/ 1092 h 1361"/>
                <a:gd name="T24" fmla="*/ 991 w 1323"/>
                <a:gd name="T25" fmla="*/ 1062 h 1361"/>
                <a:gd name="T26" fmla="*/ 964 w 1323"/>
                <a:gd name="T27" fmla="*/ 1032 h 1361"/>
                <a:gd name="T28" fmla="*/ 938 w 1323"/>
                <a:gd name="T29" fmla="*/ 1000 h 1361"/>
                <a:gd name="T30" fmla="*/ 912 w 1323"/>
                <a:gd name="T31" fmla="*/ 968 h 1361"/>
                <a:gd name="T32" fmla="*/ 886 w 1323"/>
                <a:gd name="T33" fmla="*/ 936 h 1361"/>
                <a:gd name="T34" fmla="*/ 861 w 1323"/>
                <a:gd name="T35" fmla="*/ 902 h 1361"/>
                <a:gd name="T36" fmla="*/ 836 w 1323"/>
                <a:gd name="T37" fmla="*/ 869 h 1361"/>
                <a:gd name="T38" fmla="*/ 813 w 1323"/>
                <a:gd name="T39" fmla="*/ 835 h 1361"/>
                <a:gd name="T40" fmla="*/ 790 w 1323"/>
                <a:gd name="T41" fmla="*/ 800 h 1361"/>
                <a:gd name="T42" fmla="*/ 768 w 1323"/>
                <a:gd name="T43" fmla="*/ 765 h 1361"/>
                <a:gd name="T44" fmla="*/ 747 w 1323"/>
                <a:gd name="T45" fmla="*/ 729 h 1361"/>
                <a:gd name="T46" fmla="*/ 725 w 1323"/>
                <a:gd name="T47" fmla="*/ 693 h 1361"/>
                <a:gd name="T48" fmla="*/ 705 w 1323"/>
                <a:gd name="T49" fmla="*/ 656 h 1361"/>
                <a:gd name="T50" fmla="*/ 686 w 1323"/>
                <a:gd name="T51" fmla="*/ 619 h 1361"/>
                <a:gd name="T52" fmla="*/ 667 w 1323"/>
                <a:gd name="T53" fmla="*/ 581 h 1361"/>
                <a:gd name="T54" fmla="*/ 649 w 1323"/>
                <a:gd name="T55" fmla="*/ 542 h 1361"/>
                <a:gd name="T56" fmla="*/ 631 w 1323"/>
                <a:gd name="T57" fmla="*/ 504 h 1361"/>
                <a:gd name="T58" fmla="*/ 614 w 1323"/>
                <a:gd name="T59" fmla="*/ 465 h 1361"/>
                <a:gd name="T60" fmla="*/ 598 w 1323"/>
                <a:gd name="T61" fmla="*/ 424 h 1361"/>
                <a:gd name="T62" fmla="*/ 582 w 1323"/>
                <a:gd name="T63" fmla="*/ 385 h 1361"/>
                <a:gd name="T64" fmla="*/ 568 w 1323"/>
                <a:gd name="T65" fmla="*/ 343 h 1361"/>
                <a:gd name="T66" fmla="*/ 554 w 1323"/>
                <a:gd name="T67" fmla="*/ 303 h 1361"/>
                <a:gd name="T68" fmla="*/ 554 w 1323"/>
                <a:gd name="T69" fmla="*/ 303 h 1361"/>
                <a:gd name="T70" fmla="*/ 542 w 1323"/>
                <a:gd name="T71" fmla="*/ 266 h 1361"/>
                <a:gd name="T72" fmla="*/ 531 w 1323"/>
                <a:gd name="T73" fmla="*/ 228 h 1361"/>
                <a:gd name="T74" fmla="*/ 520 w 1323"/>
                <a:gd name="T75" fmla="*/ 190 h 1361"/>
                <a:gd name="T76" fmla="*/ 511 w 1323"/>
                <a:gd name="T77" fmla="*/ 153 h 1361"/>
                <a:gd name="T78" fmla="*/ 502 w 1323"/>
                <a:gd name="T79" fmla="*/ 115 h 1361"/>
                <a:gd name="T80" fmla="*/ 493 w 1323"/>
                <a:gd name="T81" fmla="*/ 77 h 1361"/>
                <a:gd name="T82" fmla="*/ 487 w 1323"/>
                <a:gd name="T83" fmla="*/ 38 h 1361"/>
                <a:gd name="T84" fmla="*/ 479 w 1323"/>
                <a:gd name="T85" fmla="*/ 0 h 1361"/>
                <a:gd name="T86" fmla="*/ 0 w 1323"/>
                <a:gd name="T87" fmla="*/ 0 h 1361"/>
                <a:gd name="T88" fmla="*/ 0 w 1323"/>
                <a:gd name="T89" fmla="*/ 0 h 1361"/>
                <a:gd name="T90" fmla="*/ 70 w 1323"/>
                <a:gd name="T91" fmla="*/ 99 h 1361"/>
                <a:gd name="T92" fmla="*/ 140 w 1323"/>
                <a:gd name="T93" fmla="*/ 197 h 1361"/>
                <a:gd name="T94" fmla="*/ 213 w 1323"/>
                <a:gd name="T95" fmla="*/ 293 h 1361"/>
                <a:gd name="T96" fmla="*/ 289 w 1323"/>
                <a:gd name="T97" fmla="*/ 386 h 1361"/>
                <a:gd name="T98" fmla="*/ 365 w 1323"/>
                <a:gd name="T99" fmla="*/ 477 h 1361"/>
                <a:gd name="T100" fmla="*/ 444 w 1323"/>
                <a:gd name="T101" fmla="*/ 568 h 1361"/>
                <a:gd name="T102" fmla="*/ 525 w 1323"/>
                <a:gd name="T103" fmla="*/ 656 h 1361"/>
                <a:gd name="T104" fmla="*/ 607 w 1323"/>
                <a:gd name="T105" fmla="*/ 743 h 1361"/>
                <a:gd name="T106" fmla="*/ 690 w 1323"/>
                <a:gd name="T107" fmla="*/ 826 h 1361"/>
                <a:gd name="T108" fmla="*/ 777 w 1323"/>
                <a:gd name="T109" fmla="*/ 909 h 1361"/>
                <a:gd name="T110" fmla="*/ 863 w 1323"/>
                <a:gd name="T111" fmla="*/ 989 h 1361"/>
                <a:gd name="T112" fmla="*/ 952 w 1323"/>
                <a:gd name="T113" fmla="*/ 1068 h 1361"/>
                <a:gd name="T114" fmla="*/ 1043 w 1323"/>
                <a:gd name="T115" fmla="*/ 1144 h 1361"/>
                <a:gd name="T116" fmla="*/ 1135 w 1323"/>
                <a:gd name="T117" fmla="*/ 1218 h 1361"/>
                <a:gd name="T118" fmla="*/ 1228 w 1323"/>
                <a:gd name="T119" fmla="*/ 1290 h 1361"/>
                <a:gd name="T120" fmla="*/ 1323 w 1323"/>
                <a:gd name="T121" fmla="*/ 1361 h 1361"/>
                <a:gd name="T122" fmla="*/ 1323 w 1323"/>
                <a:gd name="T123" fmla="*/ 1361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23" h="1361">
                  <a:moveTo>
                    <a:pt x="1323" y="1361"/>
                  </a:moveTo>
                  <a:lnTo>
                    <a:pt x="1323" y="1361"/>
                  </a:lnTo>
                  <a:lnTo>
                    <a:pt x="1291" y="1338"/>
                  </a:lnTo>
                  <a:lnTo>
                    <a:pt x="1258" y="1313"/>
                  </a:lnTo>
                  <a:lnTo>
                    <a:pt x="1227" y="1287"/>
                  </a:lnTo>
                  <a:lnTo>
                    <a:pt x="1195" y="1261"/>
                  </a:lnTo>
                  <a:lnTo>
                    <a:pt x="1165" y="1234"/>
                  </a:lnTo>
                  <a:lnTo>
                    <a:pt x="1135" y="1207"/>
                  </a:lnTo>
                  <a:lnTo>
                    <a:pt x="1105" y="1179"/>
                  </a:lnTo>
                  <a:lnTo>
                    <a:pt x="1076" y="1151"/>
                  </a:lnTo>
                  <a:lnTo>
                    <a:pt x="1047" y="1122"/>
                  </a:lnTo>
                  <a:lnTo>
                    <a:pt x="1019" y="1092"/>
                  </a:lnTo>
                  <a:lnTo>
                    <a:pt x="991" y="1062"/>
                  </a:lnTo>
                  <a:lnTo>
                    <a:pt x="964" y="1032"/>
                  </a:lnTo>
                  <a:lnTo>
                    <a:pt x="938" y="1000"/>
                  </a:lnTo>
                  <a:lnTo>
                    <a:pt x="912" y="968"/>
                  </a:lnTo>
                  <a:lnTo>
                    <a:pt x="886" y="936"/>
                  </a:lnTo>
                  <a:lnTo>
                    <a:pt x="861" y="902"/>
                  </a:lnTo>
                  <a:lnTo>
                    <a:pt x="836" y="869"/>
                  </a:lnTo>
                  <a:lnTo>
                    <a:pt x="813" y="835"/>
                  </a:lnTo>
                  <a:lnTo>
                    <a:pt x="790" y="800"/>
                  </a:lnTo>
                  <a:lnTo>
                    <a:pt x="768" y="765"/>
                  </a:lnTo>
                  <a:lnTo>
                    <a:pt x="747" y="729"/>
                  </a:lnTo>
                  <a:lnTo>
                    <a:pt x="725" y="693"/>
                  </a:lnTo>
                  <a:lnTo>
                    <a:pt x="705" y="656"/>
                  </a:lnTo>
                  <a:lnTo>
                    <a:pt x="686" y="619"/>
                  </a:lnTo>
                  <a:lnTo>
                    <a:pt x="667" y="581"/>
                  </a:lnTo>
                  <a:lnTo>
                    <a:pt x="649" y="542"/>
                  </a:lnTo>
                  <a:lnTo>
                    <a:pt x="631" y="504"/>
                  </a:lnTo>
                  <a:lnTo>
                    <a:pt x="614" y="465"/>
                  </a:lnTo>
                  <a:lnTo>
                    <a:pt x="598" y="424"/>
                  </a:lnTo>
                  <a:lnTo>
                    <a:pt x="582" y="385"/>
                  </a:lnTo>
                  <a:lnTo>
                    <a:pt x="568" y="343"/>
                  </a:lnTo>
                  <a:lnTo>
                    <a:pt x="554" y="303"/>
                  </a:lnTo>
                  <a:lnTo>
                    <a:pt x="554" y="303"/>
                  </a:lnTo>
                  <a:lnTo>
                    <a:pt x="542" y="266"/>
                  </a:lnTo>
                  <a:lnTo>
                    <a:pt x="531" y="228"/>
                  </a:lnTo>
                  <a:lnTo>
                    <a:pt x="520" y="190"/>
                  </a:lnTo>
                  <a:lnTo>
                    <a:pt x="511" y="153"/>
                  </a:lnTo>
                  <a:lnTo>
                    <a:pt x="502" y="115"/>
                  </a:lnTo>
                  <a:lnTo>
                    <a:pt x="493" y="77"/>
                  </a:lnTo>
                  <a:lnTo>
                    <a:pt x="487" y="38"/>
                  </a:lnTo>
                  <a:lnTo>
                    <a:pt x="479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70" y="99"/>
                  </a:lnTo>
                  <a:lnTo>
                    <a:pt x="140" y="197"/>
                  </a:lnTo>
                  <a:lnTo>
                    <a:pt x="213" y="293"/>
                  </a:lnTo>
                  <a:lnTo>
                    <a:pt x="289" y="386"/>
                  </a:lnTo>
                  <a:lnTo>
                    <a:pt x="365" y="477"/>
                  </a:lnTo>
                  <a:lnTo>
                    <a:pt x="444" y="568"/>
                  </a:lnTo>
                  <a:lnTo>
                    <a:pt x="525" y="656"/>
                  </a:lnTo>
                  <a:lnTo>
                    <a:pt x="607" y="743"/>
                  </a:lnTo>
                  <a:lnTo>
                    <a:pt x="690" y="826"/>
                  </a:lnTo>
                  <a:lnTo>
                    <a:pt x="777" y="909"/>
                  </a:lnTo>
                  <a:lnTo>
                    <a:pt x="863" y="989"/>
                  </a:lnTo>
                  <a:lnTo>
                    <a:pt x="952" y="1068"/>
                  </a:lnTo>
                  <a:lnTo>
                    <a:pt x="1043" y="1144"/>
                  </a:lnTo>
                  <a:lnTo>
                    <a:pt x="1135" y="1218"/>
                  </a:lnTo>
                  <a:lnTo>
                    <a:pt x="1228" y="1290"/>
                  </a:lnTo>
                  <a:lnTo>
                    <a:pt x="1323" y="1361"/>
                  </a:lnTo>
                  <a:lnTo>
                    <a:pt x="1323" y="1361"/>
                  </a:lnTo>
                  <a:close/>
                </a:path>
              </a:pathLst>
            </a:custGeom>
            <a:solidFill>
              <a:srgbClr val="799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3" name="Freeform 67"/>
            <p:cNvSpPr>
              <a:spLocks/>
            </p:cNvSpPr>
            <p:nvPr userDrawn="1"/>
          </p:nvSpPr>
          <p:spPr bwMode="auto">
            <a:xfrm>
              <a:off x="4851" y="1361"/>
              <a:ext cx="908" cy="537"/>
            </a:xfrm>
            <a:custGeom>
              <a:avLst/>
              <a:gdLst>
                <a:gd name="T0" fmla="*/ 908 w 908"/>
                <a:gd name="T1" fmla="*/ 378 h 537"/>
                <a:gd name="T2" fmla="*/ 908 w 908"/>
                <a:gd name="T3" fmla="*/ 378 h 537"/>
                <a:gd name="T4" fmla="*/ 848 w 908"/>
                <a:gd name="T5" fmla="*/ 367 h 537"/>
                <a:gd name="T6" fmla="*/ 789 w 908"/>
                <a:gd name="T7" fmla="*/ 356 h 537"/>
                <a:gd name="T8" fmla="*/ 730 w 908"/>
                <a:gd name="T9" fmla="*/ 341 h 537"/>
                <a:gd name="T10" fmla="*/ 671 w 908"/>
                <a:gd name="T11" fmla="*/ 325 h 537"/>
                <a:gd name="T12" fmla="*/ 612 w 908"/>
                <a:gd name="T13" fmla="*/ 309 h 537"/>
                <a:gd name="T14" fmla="*/ 555 w 908"/>
                <a:gd name="T15" fmla="*/ 289 h 537"/>
                <a:gd name="T16" fmla="*/ 496 w 908"/>
                <a:gd name="T17" fmla="*/ 268 h 537"/>
                <a:gd name="T18" fmla="*/ 439 w 908"/>
                <a:gd name="T19" fmla="*/ 246 h 537"/>
                <a:gd name="T20" fmla="*/ 383 w 908"/>
                <a:gd name="T21" fmla="*/ 222 h 537"/>
                <a:gd name="T22" fmla="*/ 325 w 908"/>
                <a:gd name="T23" fmla="*/ 195 h 537"/>
                <a:gd name="T24" fmla="*/ 270 w 908"/>
                <a:gd name="T25" fmla="*/ 167 h 537"/>
                <a:gd name="T26" fmla="*/ 215 w 908"/>
                <a:gd name="T27" fmla="*/ 138 h 537"/>
                <a:gd name="T28" fmla="*/ 160 w 908"/>
                <a:gd name="T29" fmla="*/ 106 h 537"/>
                <a:gd name="T30" fmla="*/ 106 w 908"/>
                <a:gd name="T31" fmla="*/ 72 h 537"/>
                <a:gd name="T32" fmla="*/ 53 w 908"/>
                <a:gd name="T33" fmla="*/ 37 h 537"/>
                <a:gd name="T34" fmla="*/ 0 w 908"/>
                <a:gd name="T35" fmla="*/ 0 h 537"/>
                <a:gd name="T36" fmla="*/ 0 w 908"/>
                <a:gd name="T37" fmla="*/ 0 h 537"/>
                <a:gd name="T38" fmla="*/ 54 w 908"/>
                <a:gd name="T39" fmla="*/ 40 h 537"/>
                <a:gd name="T40" fmla="*/ 110 w 908"/>
                <a:gd name="T41" fmla="*/ 78 h 537"/>
                <a:gd name="T42" fmla="*/ 165 w 908"/>
                <a:gd name="T43" fmla="*/ 115 h 537"/>
                <a:gd name="T44" fmla="*/ 221 w 908"/>
                <a:gd name="T45" fmla="*/ 152 h 537"/>
                <a:gd name="T46" fmla="*/ 276 w 908"/>
                <a:gd name="T47" fmla="*/ 188 h 537"/>
                <a:gd name="T48" fmla="*/ 332 w 908"/>
                <a:gd name="T49" fmla="*/ 224 h 537"/>
                <a:gd name="T50" fmla="*/ 388 w 908"/>
                <a:gd name="T51" fmla="*/ 259 h 537"/>
                <a:gd name="T52" fmla="*/ 446 w 908"/>
                <a:gd name="T53" fmla="*/ 293 h 537"/>
                <a:gd name="T54" fmla="*/ 502 w 908"/>
                <a:gd name="T55" fmla="*/ 325 h 537"/>
                <a:gd name="T56" fmla="*/ 559 w 908"/>
                <a:gd name="T57" fmla="*/ 358 h 537"/>
                <a:gd name="T58" fmla="*/ 617 w 908"/>
                <a:gd name="T59" fmla="*/ 390 h 537"/>
                <a:gd name="T60" fmla="*/ 675 w 908"/>
                <a:gd name="T61" fmla="*/ 421 h 537"/>
                <a:gd name="T62" fmla="*/ 733 w 908"/>
                <a:gd name="T63" fmla="*/ 450 h 537"/>
                <a:gd name="T64" fmla="*/ 791 w 908"/>
                <a:gd name="T65" fmla="*/ 480 h 537"/>
                <a:gd name="T66" fmla="*/ 850 w 908"/>
                <a:gd name="T67" fmla="*/ 509 h 537"/>
                <a:gd name="T68" fmla="*/ 908 w 908"/>
                <a:gd name="T69" fmla="*/ 537 h 537"/>
                <a:gd name="T70" fmla="*/ 908 w 908"/>
                <a:gd name="T71" fmla="*/ 378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8" h="537">
                  <a:moveTo>
                    <a:pt x="908" y="378"/>
                  </a:moveTo>
                  <a:lnTo>
                    <a:pt x="908" y="378"/>
                  </a:lnTo>
                  <a:lnTo>
                    <a:pt x="848" y="367"/>
                  </a:lnTo>
                  <a:lnTo>
                    <a:pt x="789" y="356"/>
                  </a:lnTo>
                  <a:lnTo>
                    <a:pt x="730" y="341"/>
                  </a:lnTo>
                  <a:lnTo>
                    <a:pt x="671" y="325"/>
                  </a:lnTo>
                  <a:lnTo>
                    <a:pt x="612" y="309"/>
                  </a:lnTo>
                  <a:lnTo>
                    <a:pt x="555" y="289"/>
                  </a:lnTo>
                  <a:lnTo>
                    <a:pt x="496" y="268"/>
                  </a:lnTo>
                  <a:lnTo>
                    <a:pt x="439" y="246"/>
                  </a:lnTo>
                  <a:lnTo>
                    <a:pt x="383" y="222"/>
                  </a:lnTo>
                  <a:lnTo>
                    <a:pt x="325" y="195"/>
                  </a:lnTo>
                  <a:lnTo>
                    <a:pt x="270" y="167"/>
                  </a:lnTo>
                  <a:lnTo>
                    <a:pt x="215" y="138"/>
                  </a:lnTo>
                  <a:lnTo>
                    <a:pt x="160" y="106"/>
                  </a:lnTo>
                  <a:lnTo>
                    <a:pt x="106" y="72"/>
                  </a:lnTo>
                  <a:lnTo>
                    <a:pt x="53" y="37"/>
                  </a:lnTo>
                  <a:lnTo>
                    <a:pt x="0" y="0"/>
                  </a:lnTo>
                  <a:lnTo>
                    <a:pt x="0" y="0"/>
                  </a:lnTo>
                  <a:lnTo>
                    <a:pt x="54" y="40"/>
                  </a:lnTo>
                  <a:lnTo>
                    <a:pt x="110" y="78"/>
                  </a:lnTo>
                  <a:lnTo>
                    <a:pt x="165" y="115"/>
                  </a:lnTo>
                  <a:lnTo>
                    <a:pt x="221" y="152"/>
                  </a:lnTo>
                  <a:lnTo>
                    <a:pt x="276" y="188"/>
                  </a:lnTo>
                  <a:lnTo>
                    <a:pt x="332" y="224"/>
                  </a:lnTo>
                  <a:lnTo>
                    <a:pt x="388" y="259"/>
                  </a:lnTo>
                  <a:lnTo>
                    <a:pt x="446" y="293"/>
                  </a:lnTo>
                  <a:lnTo>
                    <a:pt x="502" y="325"/>
                  </a:lnTo>
                  <a:lnTo>
                    <a:pt x="559" y="358"/>
                  </a:lnTo>
                  <a:lnTo>
                    <a:pt x="617" y="390"/>
                  </a:lnTo>
                  <a:lnTo>
                    <a:pt x="675" y="421"/>
                  </a:lnTo>
                  <a:lnTo>
                    <a:pt x="733" y="450"/>
                  </a:lnTo>
                  <a:lnTo>
                    <a:pt x="791" y="480"/>
                  </a:lnTo>
                  <a:lnTo>
                    <a:pt x="850" y="509"/>
                  </a:lnTo>
                  <a:lnTo>
                    <a:pt x="908" y="537"/>
                  </a:lnTo>
                  <a:lnTo>
                    <a:pt x="908" y="378"/>
                  </a:lnTo>
                  <a:close/>
                </a:path>
              </a:pathLst>
            </a:custGeom>
            <a:solidFill>
              <a:srgbClr val="2BB6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4" name="Freeform 68"/>
            <p:cNvSpPr>
              <a:spLocks/>
            </p:cNvSpPr>
            <p:nvPr userDrawn="1"/>
          </p:nvSpPr>
          <p:spPr bwMode="auto">
            <a:xfrm>
              <a:off x="3215" y="1361"/>
              <a:ext cx="1636" cy="1879"/>
            </a:xfrm>
            <a:custGeom>
              <a:avLst/>
              <a:gdLst>
                <a:gd name="T0" fmla="*/ 588 w 1636"/>
                <a:gd name="T1" fmla="*/ 1879 h 1879"/>
                <a:gd name="T2" fmla="*/ 632 w 1636"/>
                <a:gd name="T3" fmla="*/ 1826 h 1879"/>
                <a:gd name="T4" fmla="*/ 719 w 1636"/>
                <a:gd name="T5" fmla="*/ 1719 h 1879"/>
                <a:gd name="T6" fmla="*/ 802 w 1636"/>
                <a:gd name="T7" fmla="*/ 1611 h 1879"/>
                <a:gd name="T8" fmla="*/ 883 w 1636"/>
                <a:gd name="T9" fmla="*/ 1501 h 1879"/>
                <a:gd name="T10" fmla="*/ 961 w 1636"/>
                <a:gd name="T11" fmla="*/ 1389 h 1879"/>
                <a:gd name="T12" fmla="*/ 1035 w 1636"/>
                <a:gd name="T13" fmla="*/ 1275 h 1879"/>
                <a:gd name="T14" fmla="*/ 1107 w 1636"/>
                <a:gd name="T15" fmla="*/ 1160 h 1879"/>
                <a:gd name="T16" fmla="*/ 1175 w 1636"/>
                <a:gd name="T17" fmla="*/ 1043 h 1879"/>
                <a:gd name="T18" fmla="*/ 1241 w 1636"/>
                <a:gd name="T19" fmla="*/ 925 h 1879"/>
                <a:gd name="T20" fmla="*/ 1304 w 1636"/>
                <a:gd name="T21" fmla="*/ 806 h 1879"/>
                <a:gd name="T22" fmla="*/ 1363 w 1636"/>
                <a:gd name="T23" fmla="*/ 684 h 1879"/>
                <a:gd name="T24" fmla="*/ 1419 w 1636"/>
                <a:gd name="T25" fmla="*/ 563 h 1879"/>
                <a:gd name="T26" fmla="*/ 1473 w 1636"/>
                <a:gd name="T27" fmla="*/ 440 h 1879"/>
                <a:gd name="T28" fmla="*/ 1524 w 1636"/>
                <a:gd name="T29" fmla="*/ 315 h 1879"/>
                <a:gd name="T30" fmla="*/ 1571 w 1636"/>
                <a:gd name="T31" fmla="*/ 190 h 1879"/>
                <a:gd name="T32" fmla="*/ 1615 w 1636"/>
                <a:gd name="T33" fmla="*/ 63 h 1879"/>
                <a:gd name="T34" fmla="*/ 1636 w 1636"/>
                <a:gd name="T35" fmla="*/ 0 h 1879"/>
                <a:gd name="T36" fmla="*/ 1570 w 1636"/>
                <a:gd name="T37" fmla="*/ 49 h 1879"/>
                <a:gd name="T38" fmla="*/ 1442 w 1636"/>
                <a:gd name="T39" fmla="*/ 148 h 1879"/>
                <a:gd name="T40" fmla="*/ 1317 w 1636"/>
                <a:gd name="T41" fmla="*/ 250 h 1879"/>
                <a:gd name="T42" fmla="*/ 1197 w 1636"/>
                <a:gd name="T43" fmla="*/ 355 h 1879"/>
                <a:gd name="T44" fmla="*/ 1079 w 1636"/>
                <a:gd name="T45" fmla="*/ 463 h 1879"/>
                <a:gd name="T46" fmla="*/ 965 w 1636"/>
                <a:gd name="T47" fmla="*/ 573 h 1879"/>
                <a:gd name="T48" fmla="*/ 856 w 1636"/>
                <a:gd name="T49" fmla="*/ 687 h 1879"/>
                <a:gd name="T50" fmla="*/ 749 w 1636"/>
                <a:gd name="T51" fmla="*/ 802 h 1879"/>
                <a:gd name="T52" fmla="*/ 647 w 1636"/>
                <a:gd name="T53" fmla="*/ 921 h 1879"/>
                <a:gd name="T54" fmla="*/ 549 w 1636"/>
                <a:gd name="T55" fmla="*/ 1042 h 1879"/>
                <a:gd name="T56" fmla="*/ 453 w 1636"/>
                <a:gd name="T57" fmla="*/ 1165 h 1879"/>
                <a:gd name="T58" fmla="*/ 362 w 1636"/>
                <a:gd name="T59" fmla="*/ 1291 h 1879"/>
                <a:gd name="T60" fmla="*/ 276 w 1636"/>
                <a:gd name="T61" fmla="*/ 1418 h 1879"/>
                <a:gd name="T62" fmla="*/ 192 w 1636"/>
                <a:gd name="T63" fmla="*/ 1547 h 1879"/>
                <a:gd name="T64" fmla="*/ 113 w 1636"/>
                <a:gd name="T65" fmla="*/ 1679 h 1879"/>
                <a:gd name="T66" fmla="*/ 37 w 1636"/>
                <a:gd name="T67" fmla="*/ 1812 h 1879"/>
                <a:gd name="T68" fmla="*/ 0 w 1636"/>
                <a:gd name="T69" fmla="*/ 1879 h 1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36" h="1879">
                  <a:moveTo>
                    <a:pt x="0" y="1879"/>
                  </a:moveTo>
                  <a:lnTo>
                    <a:pt x="588" y="1879"/>
                  </a:lnTo>
                  <a:lnTo>
                    <a:pt x="588" y="1879"/>
                  </a:lnTo>
                  <a:lnTo>
                    <a:pt x="632" y="1826"/>
                  </a:lnTo>
                  <a:lnTo>
                    <a:pt x="676" y="1773"/>
                  </a:lnTo>
                  <a:lnTo>
                    <a:pt x="719" y="1719"/>
                  </a:lnTo>
                  <a:lnTo>
                    <a:pt x="760" y="1665"/>
                  </a:lnTo>
                  <a:lnTo>
                    <a:pt x="802" y="1611"/>
                  </a:lnTo>
                  <a:lnTo>
                    <a:pt x="842" y="1556"/>
                  </a:lnTo>
                  <a:lnTo>
                    <a:pt x="883" y="1501"/>
                  </a:lnTo>
                  <a:lnTo>
                    <a:pt x="922" y="1445"/>
                  </a:lnTo>
                  <a:lnTo>
                    <a:pt x="961" y="1389"/>
                  </a:lnTo>
                  <a:lnTo>
                    <a:pt x="998" y="1332"/>
                  </a:lnTo>
                  <a:lnTo>
                    <a:pt x="1035" y="1275"/>
                  </a:lnTo>
                  <a:lnTo>
                    <a:pt x="1071" y="1218"/>
                  </a:lnTo>
                  <a:lnTo>
                    <a:pt x="1107" y="1160"/>
                  </a:lnTo>
                  <a:lnTo>
                    <a:pt x="1142" y="1102"/>
                  </a:lnTo>
                  <a:lnTo>
                    <a:pt x="1175" y="1043"/>
                  </a:lnTo>
                  <a:lnTo>
                    <a:pt x="1208" y="985"/>
                  </a:lnTo>
                  <a:lnTo>
                    <a:pt x="1241" y="925"/>
                  </a:lnTo>
                  <a:lnTo>
                    <a:pt x="1272" y="865"/>
                  </a:lnTo>
                  <a:lnTo>
                    <a:pt x="1304" y="806"/>
                  </a:lnTo>
                  <a:lnTo>
                    <a:pt x="1334" y="745"/>
                  </a:lnTo>
                  <a:lnTo>
                    <a:pt x="1363" y="684"/>
                  </a:lnTo>
                  <a:lnTo>
                    <a:pt x="1391" y="624"/>
                  </a:lnTo>
                  <a:lnTo>
                    <a:pt x="1419" y="563"/>
                  </a:lnTo>
                  <a:lnTo>
                    <a:pt x="1446" y="501"/>
                  </a:lnTo>
                  <a:lnTo>
                    <a:pt x="1473" y="440"/>
                  </a:lnTo>
                  <a:lnTo>
                    <a:pt x="1498" y="377"/>
                  </a:lnTo>
                  <a:lnTo>
                    <a:pt x="1524" y="315"/>
                  </a:lnTo>
                  <a:lnTo>
                    <a:pt x="1548" y="253"/>
                  </a:lnTo>
                  <a:lnTo>
                    <a:pt x="1571" y="190"/>
                  </a:lnTo>
                  <a:lnTo>
                    <a:pt x="1594" y="127"/>
                  </a:lnTo>
                  <a:lnTo>
                    <a:pt x="1615" y="63"/>
                  </a:lnTo>
                  <a:lnTo>
                    <a:pt x="1636" y="0"/>
                  </a:lnTo>
                  <a:lnTo>
                    <a:pt x="1636" y="0"/>
                  </a:lnTo>
                  <a:lnTo>
                    <a:pt x="1636" y="0"/>
                  </a:lnTo>
                  <a:lnTo>
                    <a:pt x="1570" y="49"/>
                  </a:lnTo>
                  <a:lnTo>
                    <a:pt x="1506" y="98"/>
                  </a:lnTo>
                  <a:lnTo>
                    <a:pt x="1442" y="148"/>
                  </a:lnTo>
                  <a:lnTo>
                    <a:pt x="1379" y="198"/>
                  </a:lnTo>
                  <a:lnTo>
                    <a:pt x="1317" y="250"/>
                  </a:lnTo>
                  <a:lnTo>
                    <a:pt x="1256" y="302"/>
                  </a:lnTo>
                  <a:lnTo>
                    <a:pt x="1197" y="355"/>
                  </a:lnTo>
                  <a:lnTo>
                    <a:pt x="1137" y="409"/>
                  </a:lnTo>
                  <a:lnTo>
                    <a:pt x="1079" y="463"/>
                  </a:lnTo>
                  <a:lnTo>
                    <a:pt x="1021" y="518"/>
                  </a:lnTo>
                  <a:lnTo>
                    <a:pt x="965" y="573"/>
                  </a:lnTo>
                  <a:lnTo>
                    <a:pt x="910" y="629"/>
                  </a:lnTo>
                  <a:lnTo>
                    <a:pt x="856" y="687"/>
                  </a:lnTo>
                  <a:lnTo>
                    <a:pt x="802" y="744"/>
                  </a:lnTo>
                  <a:lnTo>
                    <a:pt x="749" y="802"/>
                  </a:lnTo>
                  <a:lnTo>
                    <a:pt x="697" y="861"/>
                  </a:lnTo>
                  <a:lnTo>
                    <a:pt x="647" y="921"/>
                  </a:lnTo>
                  <a:lnTo>
                    <a:pt x="597" y="981"/>
                  </a:lnTo>
                  <a:lnTo>
                    <a:pt x="549" y="1042"/>
                  </a:lnTo>
                  <a:lnTo>
                    <a:pt x="501" y="1103"/>
                  </a:lnTo>
                  <a:lnTo>
                    <a:pt x="453" y="1165"/>
                  </a:lnTo>
                  <a:lnTo>
                    <a:pt x="407" y="1228"/>
                  </a:lnTo>
                  <a:lnTo>
                    <a:pt x="362" y="1291"/>
                  </a:lnTo>
                  <a:lnTo>
                    <a:pt x="318" y="1354"/>
                  </a:lnTo>
                  <a:lnTo>
                    <a:pt x="276" y="1418"/>
                  </a:lnTo>
                  <a:lnTo>
                    <a:pt x="233" y="1482"/>
                  </a:lnTo>
                  <a:lnTo>
                    <a:pt x="192" y="1547"/>
                  </a:lnTo>
                  <a:lnTo>
                    <a:pt x="152" y="1612"/>
                  </a:lnTo>
                  <a:lnTo>
                    <a:pt x="113" y="1679"/>
                  </a:lnTo>
                  <a:lnTo>
                    <a:pt x="74" y="1745"/>
                  </a:lnTo>
                  <a:lnTo>
                    <a:pt x="37" y="1812"/>
                  </a:lnTo>
                  <a:lnTo>
                    <a:pt x="0" y="1879"/>
                  </a:lnTo>
                  <a:lnTo>
                    <a:pt x="0" y="1879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</p:grpSp>
      <p:sp>
        <p:nvSpPr>
          <p:cNvPr id="7" name="Otsikko 1"/>
          <p:cNvSpPr>
            <a:spLocks noGrp="1"/>
          </p:cNvSpPr>
          <p:nvPr userDrawn="1">
            <p:ph type="ctrTitle"/>
          </p:nvPr>
        </p:nvSpPr>
        <p:spPr>
          <a:xfrm>
            <a:off x="911424" y="2468894"/>
            <a:ext cx="7776864" cy="2794037"/>
          </a:xfrm>
        </p:spPr>
        <p:txBody>
          <a:bodyPr anchor="b" anchorCtr="0">
            <a:noAutofit/>
          </a:bodyPr>
          <a:lstStyle>
            <a:lvl1pPr algn="l">
              <a:defRPr sz="5333">
                <a:solidFill>
                  <a:srgbClr val="FFFFFF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8" name="Alaotsikko 2"/>
          <p:cNvSpPr>
            <a:spLocks noGrp="1"/>
          </p:cNvSpPr>
          <p:nvPr userDrawn="1">
            <p:ph type="subTitle" idx="1"/>
          </p:nvPr>
        </p:nvSpPr>
        <p:spPr>
          <a:xfrm>
            <a:off x="911424" y="5419437"/>
            <a:ext cx="7776864" cy="88988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937685" y="836085"/>
            <a:ext cx="4102100" cy="1198033"/>
            <a:chOff x="703263" y="627063"/>
            <a:chExt cx="3076575" cy="89852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1528763" y="893763"/>
              <a:ext cx="160338" cy="141288"/>
            </a:xfrm>
            <a:custGeom>
              <a:avLst/>
              <a:gdLst>
                <a:gd name="T0" fmla="*/ 623 w 1210"/>
                <a:gd name="T1" fmla="*/ 1065 h 1065"/>
                <a:gd name="T2" fmla="*/ 211 w 1210"/>
                <a:gd name="T3" fmla="*/ 202 h 1065"/>
                <a:gd name="T4" fmla="*/ 194 w 1210"/>
                <a:gd name="T5" fmla="*/ 163 h 1065"/>
                <a:gd name="T6" fmla="*/ 177 w 1210"/>
                <a:gd name="T7" fmla="*/ 131 h 1065"/>
                <a:gd name="T8" fmla="*/ 160 w 1210"/>
                <a:gd name="T9" fmla="*/ 105 h 1065"/>
                <a:gd name="T10" fmla="*/ 139 w 1210"/>
                <a:gd name="T11" fmla="*/ 84 h 1065"/>
                <a:gd name="T12" fmla="*/ 115 w 1210"/>
                <a:gd name="T13" fmla="*/ 69 h 1065"/>
                <a:gd name="T14" fmla="*/ 84 w 1210"/>
                <a:gd name="T15" fmla="*/ 59 h 1065"/>
                <a:gd name="T16" fmla="*/ 47 w 1210"/>
                <a:gd name="T17" fmla="*/ 52 h 1065"/>
                <a:gd name="T18" fmla="*/ 0 w 1210"/>
                <a:gd name="T19" fmla="*/ 50 h 1065"/>
                <a:gd name="T20" fmla="*/ 566 w 1210"/>
                <a:gd name="T21" fmla="*/ 0 h 1065"/>
                <a:gd name="T22" fmla="*/ 566 w 1210"/>
                <a:gd name="T23" fmla="*/ 50 h 1065"/>
                <a:gd name="T24" fmla="*/ 516 w 1210"/>
                <a:gd name="T25" fmla="*/ 52 h 1065"/>
                <a:gd name="T26" fmla="*/ 477 w 1210"/>
                <a:gd name="T27" fmla="*/ 58 h 1065"/>
                <a:gd name="T28" fmla="*/ 448 w 1210"/>
                <a:gd name="T29" fmla="*/ 68 h 1065"/>
                <a:gd name="T30" fmla="*/ 430 w 1210"/>
                <a:gd name="T31" fmla="*/ 81 h 1065"/>
                <a:gd name="T32" fmla="*/ 421 w 1210"/>
                <a:gd name="T33" fmla="*/ 99 h 1065"/>
                <a:gd name="T34" fmla="*/ 419 w 1210"/>
                <a:gd name="T35" fmla="*/ 122 h 1065"/>
                <a:gd name="T36" fmla="*/ 425 w 1210"/>
                <a:gd name="T37" fmla="*/ 150 h 1065"/>
                <a:gd name="T38" fmla="*/ 437 w 1210"/>
                <a:gd name="T39" fmla="*/ 181 h 1065"/>
                <a:gd name="T40" fmla="*/ 922 w 1210"/>
                <a:gd name="T41" fmla="*/ 181 h 1065"/>
                <a:gd name="T42" fmla="*/ 928 w 1210"/>
                <a:gd name="T43" fmla="*/ 165 h 1065"/>
                <a:gd name="T44" fmla="*/ 937 w 1210"/>
                <a:gd name="T45" fmla="*/ 134 h 1065"/>
                <a:gd name="T46" fmla="*/ 938 w 1210"/>
                <a:gd name="T47" fmla="*/ 110 h 1065"/>
                <a:gd name="T48" fmla="*/ 932 w 1210"/>
                <a:gd name="T49" fmla="*/ 89 h 1065"/>
                <a:gd name="T50" fmla="*/ 918 w 1210"/>
                <a:gd name="T51" fmla="*/ 74 h 1065"/>
                <a:gd name="T52" fmla="*/ 894 w 1210"/>
                <a:gd name="T53" fmla="*/ 62 h 1065"/>
                <a:gd name="T54" fmla="*/ 860 w 1210"/>
                <a:gd name="T55" fmla="*/ 54 h 1065"/>
                <a:gd name="T56" fmla="*/ 817 w 1210"/>
                <a:gd name="T57" fmla="*/ 50 h 1065"/>
                <a:gd name="T58" fmla="*/ 792 w 1210"/>
                <a:gd name="T59" fmla="*/ 0 h 1065"/>
                <a:gd name="T60" fmla="*/ 1210 w 1210"/>
                <a:gd name="T61" fmla="*/ 50 h 1065"/>
                <a:gd name="T62" fmla="*/ 1189 w 1210"/>
                <a:gd name="T63" fmla="*/ 50 h 1065"/>
                <a:gd name="T64" fmla="*/ 1151 w 1210"/>
                <a:gd name="T65" fmla="*/ 53 h 1065"/>
                <a:gd name="T66" fmla="*/ 1119 w 1210"/>
                <a:gd name="T67" fmla="*/ 61 h 1065"/>
                <a:gd name="T68" fmla="*/ 1091 w 1210"/>
                <a:gd name="T69" fmla="*/ 73 h 1065"/>
                <a:gd name="T70" fmla="*/ 1068 w 1210"/>
                <a:gd name="T71" fmla="*/ 89 h 1065"/>
                <a:gd name="T72" fmla="*/ 1046 w 1210"/>
                <a:gd name="T73" fmla="*/ 113 h 1065"/>
                <a:gd name="T74" fmla="*/ 1027 w 1210"/>
                <a:gd name="T75" fmla="*/ 142 h 1065"/>
                <a:gd name="T76" fmla="*/ 1008 w 1210"/>
                <a:gd name="T77" fmla="*/ 180 h 1065"/>
                <a:gd name="T78" fmla="*/ 997 w 1210"/>
                <a:gd name="T79" fmla="*/ 20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0" h="1065">
                  <a:moveTo>
                    <a:pt x="997" y="202"/>
                  </a:moveTo>
                  <a:lnTo>
                    <a:pt x="623" y="1065"/>
                  </a:lnTo>
                  <a:lnTo>
                    <a:pt x="587" y="1065"/>
                  </a:lnTo>
                  <a:lnTo>
                    <a:pt x="211" y="202"/>
                  </a:lnTo>
                  <a:lnTo>
                    <a:pt x="211" y="202"/>
                  </a:lnTo>
                  <a:lnTo>
                    <a:pt x="194" y="163"/>
                  </a:lnTo>
                  <a:lnTo>
                    <a:pt x="185" y="146"/>
                  </a:lnTo>
                  <a:lnTo>
                    <a:pt x="177" y="131"/>
                  </a:lnTo>
                  <a:lnTo>
                    <a:pt x="168" y="117"/>
                  </a:lnTo>
                  <a:lnTo>
                    <a:pt x="160" y="105"/>
                  </a:lnTo>
                  <a:lnTo>
                    <a:pt x="150" y="93"/>
                  </a:lnTo>
                  <a:lnTo>
                    <a:pt x="139" y="84"/>
                  </a:lnTo>
                  <a:lnTo>
                    <a:pt x="128" y="76"/>
                  </a:lnTo>
                  <a:lnTo>
                    <a:pt x="115" y="69"/>
                  </a:lnTo>
                  <a:lnTo>
                    <a:pt x="101" y="63"/>
                  </a:lnTo>
                  <a:lnTo>
                    <a:pt x="84" y="59"/>
                  </a:lnTo>
                  <a:lnTo>
                    <a:pt x="67" y="54"/>
                  </a:lnTo>
                  <a:lnTo>
                    <a:pt x="47" y="52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66" y="0"/>
                  </a:lnTo>
                  <a:lnTo>
                    <a:pt x="566" y="50"/>
                  </a:lnTo>
                  <a:lnTo>
                    <a:pt x="566" y="50"/>
                  </a:lnTo>
                  <a:lnTo>
                    <a:pt x="539" y="50"/>
                  </a:lnTo>
                  <a:lnTo>
                    <a:pt x="516" y="52"/>
                  </a:lnTo>
                  <a:lnTo>
                    <a:pt x="494" y="54"/>
                  </a:lnTo>
                  <a:lnTo>
                    <a:pt x="477" y="58"/>
                  </a:lnTo>
                  <a:lnTo>
                    <a:pt x="460" y="63"/>
                  </a:lnTo>
                  <a:lnTo>
                    <a:pt x="448" y="68"/>
                  </a:lnTo>
                  <a:lnTo>
                    <a:pt x="438" y="74"/>
                  </a:lnTo>
                  <a:lnTo>
                    <a:pt x="430" y="81"/>
                  </a:lnTo>
                  <a:lnTo>
                    <a:pt x="424" y="90"/>
                  </a:lnTo>
                  <a:lnTo>
                    <a:pt x="421" y="99"/>
                  </a:lnTo>
                  <a:lnTo>
                    <a:pt x="419" y="111"/>
                  </a:lnTo>
                  <a:lnTo>
                    <a:pt x="419" y="122"/>
                  </a:lnTo>
                  <a:lnTo>
                    <a:pt x="421" y="135"/>
                  </a:lnTo>
                  <a:lnTo>
                    <a:pt x="425" y="150"/>
                  </a:lnTo>
                  <a:lnTo>
                    <a:pt x="430" y="165"/>
                  </a:lnTo>
                  <a:lnTo>
                    <a:pt x="437" y="181"/>
                  </a:lnTo>
                  <a:lnTo>
                    <a:pt x="678" y="742"/>
                  </a:lnTo>
                  <a:lnTo>
                    <a:pt x="922" y="181"/>
                  </a:lnTo>
                  <a:lnTo>
                    <a:pt x="922" y="181"/>
                  </a:lnTo>
                  <a:lnTo>
                    <a:pt x="928" y="165"/>
                  </a:lnTo>
                  <a:lnTo>
                    <a:pt x="933" y="149"/>
                  </a:lnTo>
                  <a:lnTo>
                    <a:pt x="937" y="134"/>
                  </a:lnTo>
                  <a:lnTo>
                    <a:pt x="938" y="122"/>
                  </a:lnTo>
                  <a:lnTo>
                    <a:pt x="938" y="110"/>
                  </a:lnTo>
                  <a:lnTo>
                    <a:pt x="936" y="98"/>
                  </a:lnTo>
                  <a:lnTo>
                    <a:pt x="932" y="89"/>
                  </a:lnTo>
                  <a:lnTo>
                    <a:pt x="926" y="81"/>
                  </a:lnTo>
                  <a:lnTo>
                    <a:pt x="918" y="74"/>
                  </a:lnTo>
                  <a:lnTo>
                    <a:pt x="906" y="67"/>
                  </a:lnTo>
                  <a:lnTo>
                    <a:pt x="894" y="62"/>
                  </a:lnTo>
                  <a:lnTo>
                    <a:pt x="879" y="58"/>
                  </a:lnTo>
                  <a:lnTo>
                    <a:pt x="860" y="54"/>
                  </a:lnTo>
                  <a:lnTo>
                    <a:pt x="841" y="52"/>
                  </a:lnTo>
                  <a:lnTo>
                    <a:pt x="817" y="50"/>
                  </a:lnTo>
                  <a:lnTo>
                    <a:pt x="792" y="50"/>
                  </a:lnTo>
                  <a:lnTo>
                    <a:pt x="792" y="0"/>
                  </a:lnTo>
                  <a:lnTo>
                    <a:pt x="1210" y="0"/>
                  </a:lnTo>
                  <a:lnTo>
                    <a:pt x="1210" y="50"/>
                  </a:lnTo>
                  <a:lnTo>
                    <a:pt x="1210" y="50"/>
                  </a:lnTo>
                  <a:lnTo>
                    <a:pt x="1189" y="50"/>
                  </a:lnTo>
                  <a:lnTo>
                    <a:pt x="1169" y="51"/>
                  </a:lnTo>
                  <a:lnTo>
                    <a:pt x="1151" y="53"/>
                  </a:lnTo>
                  <a:lnTo>
                    <a:pt x="1134" y="57"/>
                  </a:lnTo>
                  <a:lnTo>
                    <a:pt x="1119" y="61"/>
                  </a:lnTo>
                  <a:lnTo>
                    <a:pt x="1105" y="66"/>
                  </a:lnTo>
                  <a:lnTo>
                    <a:pt x="1091" y="73"/>
                  </a:lnTo>
                  <a:lnTo>
                    <a:pt x="1079" y="80"/>
                  </a:lnTo>
                  <a:lnTo>
                    <a:pt x="1068" y="89"/>
                  </a:lnTo>
                  <a:lnTo>
                    <a:pt x="1057" y="100"/>
                  </a:lnTo>
                  <a:lnTo>
                    <a:pt x="1046" y="113"/>
                  </a:lnTo>
                  <a:lnTo>
                    <a:pt x="1036" y="127"/>
                  </a:lnTo>
                  <a:lnTo>
                    <a:pt x="1027" y="142"/>
                  </a:lnTo>
                  <a:lnTo>
                    <a:pt x="1017" y="161"/>
                  </a:lnTo>
                  <a:lnTo>
                    <a:pt x="1008" y="180"/>
                  </a:lnTo>
                  <a:lnTo>
                    <a:pt x="997" y="202"/>
                  </a:lnTo>
                  <a:lnTo>
                    <a:pt x="997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5" name="Freeform 6"/>
            <p:cNvSpPr>
              <a:spLocks noEditPoints="1"/>
            </p:cNvSpPr>
            <p:nvPr userDrawn="1"/>
          </p:nvSpPr>
          <p:spPr bwMode="auto">
            <a:xfrm>
              <a:off x="1671638" y="890588"/>
              <a:ext cx="160338" cy="139700"/>
            </a:xfrm>
            <a:custGeom>
              <a:avLst/>
              <a:gdLst>
                <a:gd name="T0" fmla="*/ 289 w 1210"/>
                <a:gd name="T1" fmla="*/ 883 h 1064"/>
                <a:gd name="T2" fmla="*/ 276 w 1210"/>
                <a:gd name="T3" fmla="*/ 916 h 1064"/>
                <a:gd name="T4" fmla="*/ 271 w 1210"/>
                <a:gd name="T5" fmla="*/ 943 h 1064"/>
                <a:gd name="T6" fmla="*/ 274 w 1210"/>
                <a:gd name="T7" fmla="*/ 966 h 1064"/>
                <a:gd name="T8" fmla="*/ 284 w 1210"/>
                <a:gd name="T9" fmla="*/ 983 h 1064"/>
                <a:gd name="T10" fmla="*/ 303 w 1210"/>
                <a:gd name="T11" fmla="*/ 998 h 1064"/>
                <a:gd name="T12" fmla="*/ 331 w 1210"/>
                <a:gd name="T13" fmla="*/ 1007 h 1064"/>
                <a:gd name="T14" fmla="*/ 369 w 1210"/>
                <a:gd name="T15" fmla="*/ 1013 h 1064"/>
                <a:gd name="T16" fmla="*/ 417 w 1210"/>
                <a:gd name="T17" fmla="*/ 1014 h 1064"/>
                <a:gd name="T18" fmla="*/ 0 w 1210"/>
                <a:gd name="T19" fmla="*/ 1064 h 1064"/>
                <a:gd name="T20" fmla="*/ 0 w 1210"/>
                <a:gd name="T21" fmla="*/ 1014 h 1064"/>
                <a:gd name="T22" fmla="*/ 41 w 1210"/>
                <a:gd name="T23" fmla="*/ 1013 h 1064"/>
                <a:gd name="T24" fmla="*/ 76 w 1210"/>
                <a:gd name="T25" fmla="*/ 1008 h 1064"/>
                <a:gd name="T26" fmla="*/ 106 w 1210"/>
                <a:gd name="T27" fmla="*/ 999 h 1064"/>
                <a:gd name="T28" fmla="*/ 131 w 1210"/>
                <a:gd name="T29" fmla="*/ 984 h 1064"/>
                <a:gd name="T30" fmla="*/ 153 w 1210"/>
                <a:gd name="T31" fmla="*/ 964 h 1064"/>
                <a:gd name="T32" fmla="*/ 173 w 1210"/>
                <a:gd name="T33" fmla="*/ 938 h 1064"/>
                <a:gd name="T34" fmla="*/ 192 w 1210"/>
                <a:gd name="T35" fmla="*/ 904 h 1064"/>
                <a:gd name="T36" fmla="*/ 212 w 1210"/>
                <a:gd name="T37" fmla="*/ 863 h 1064"/>
                <a:gd name="T38" fmla="*/ 623 w 1210"/>
                <a:gd name="T39" fmla="*/ 0 h 1064"/>
                <a:gd name="T40" fmla="*/ 999 w 1210"/>
                <a:gd name="T41" fmla="*/ 863 h 1064"/>
                <a:gd name="T42" fmla="*/ 1025 w 1210"/>
                <a:gd name="T43" fmla="*/ 918 h 1064"/>
                <a:gd name="T44" fmla="*/ 1041 w 1210"/>
                <a:gd name="T45" fmla="*/ 946 h 1064"/>
                <a:gd name="T46" fmla="*/ 1060 w 1210"/>
                <a:gd name="T47" fmla="*/ 970 h 1064"/>
                <a:gd name="T48" fmla="*/ 1082 w 1210"/>
                <a:gd name="T49" fmla="*/ 988 h 1064"/>
                <a:gd name="T50" fmla="*/ 1110 w 1210"/>
                <a:gd name="T51" fmla="*/ 1002 h 1064"/>
                <a:gd name="T52" fmla="*/ 1142 w 1210"/>
                <a:gd name="T53" fmla="*/ 1010 h 1064"/>
                <a:gd name="T54" fmla="*/ 1185 w 1210"/>
                <a:gd name="T55" fmla="*/ 1014 h 1064"/>
                <a:gd name="T56" fmla="*/ 1210 w 1210"/>
                <a:gd name="T57" fmla="*/ 1064 h 1064"/>
                <a:gd name="T58" fmla="*/ 647 w 1210"/>
                <a:gd name="T59" fmla="*/ 1014 h 1064"/>
                <a:gd name="T60" fmla="*/ 674 w 1210"/>
                <a:gd name="T61" fmla="*/ 1014 h 1064"/>
                <a:gd name="T62" fmla="*/ 719 w 1210"/>
                <a:gd name="T63" fmla="*/ 1010 h 1064"/>
                <a:gd name="T64" fmla="*/ 752 w 1210"/>
                <a:gd name="T65" fmla="*/ 1003 h 1064"/>
                <a:gd name="T66" fmla="*/ 775 w 1210"/>
                <a:gd name="T67" fmla="*/ 990 h 1064"/>
                <a:gd name="T68" fmla="*/ 790 w 1210"/>
                <a:gd name="T69" fmla="*/ 974 h 1064"/>
                <a:gd name="T70" fmla="*/ 795 w 1210"/>
                <a:gd name="T71" fmla="*/ 954 h 1064"/>
                <a:gd name="T72" fmla="*/ 793 w 1210"/>
                <a:gd name="T73" fmla="*/ 929 h 1064"/>
                <a:gd name="T74" fmla="*/ 783 w 1210"/>
                <a:gd name="T75" fmla="*/ 899 h 1064"/>
                <a:gd name="T76" fmla="*/ 704 w 1210"/>
                <a:gd name="T77" fmla="*/ 719 h 1064"/>
                <a:gd name="T78" fmla="*/ 289 w 1210"/>
                <a:gd name="T79" fmla="*/ 883 h 1064"/>
                <a:gd name="T80" fmla="*/ 394 w 1210"/>
                <a:gd name="T81" fmla="*/ 642 h 1064"/>
                <a:gd name="T82" fmla="*/ 533 w 1210"/>
                <a:gd name="T83" fmla="*/ 318 h 1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10" h="1064">
                  <a:moveTo>
                    <a:pt x="289" y="883"/>
                  </a:moveTo>
                  <a:lnTo>
                    <a:pt x="289" y="883"/>
                  </a:lnTo>
                  <a:lnTo>
                    <a:pt x="281" y="900"/>
                  </a:lnTo>
                  <a:lnTo>
                    <a:pt x="276" y="916"/>
                  </a:lnTo>
                  <a:lnTo>
                    <a:pt x="273" y="930"/>
                  </a:lnTo>
                  <a:lnTo>
                    <a:pt x="271" y="943"/>
                  </a:lnTo>
                  <a:lnTo>
                    <a:pt x="272" y="955"/>
                  </a:lnTo>
                  <a:lnTo>
                    <a:pt x="274" y="966"/>
                  </a:lnTo>
                  <a:lnTo>
                    <a:pt x="278" y="975"/>
                  </a:lnTo>
                  <a:lnTo>
                    <a:pt x="284" y="983"/>
                  </a:lnTo>
                  <a:lnTo>
                    <a:pt x="293" y="991"/>
                  </a:lnTo>
                  <a:lnTo>
                    <a:pt x="303" y="998"/>
                  </a:lnTo>
                  <a:lnTo>
                    <a:pt x="316" y="1003"/>
                  </a:lnTo>
                  <a:lnTo>
                    <a:pt x="331" y="1007"/>
                  </a:lnTo>
                  <a:lnTo>
                    <a:pt x="349" y="1010"/>
                  </a:lnTo>
                  <a:lnTo>
                    <a:pt x="369" y="1013"/>
                  </a:lnTo>
                  <a:lnTo>
                    <a:pt x="392" y="1014"/>
                  </a:lnTo>
                  <a:lnTo>
                    <a:pt x="417" y="1014"/>
                  </a:lnTo>
                  <a:lnTo>
                    <a:pt x="417" y="1064"/>
                  </a:lnTo>
                  <a:lnTo>
                    <a:pt x="0" y="1064"/>
                  </a:lnTo>
                  <a:lnTo>
                    <a:pt x="0" y="1014"/>
                  </a:lnTo>
                  <a:lnTo>
                    <a:pt x="0" y="1014"/>
                  </a:lnTo>
                  <a:lnTo>
                    <a:pt x="22" y="1014"/>
                  </a:lnTo>
                  <a:lnTo>
                    <a:pt x="41" y="1013"/>
                  </a:lnTo>
                  <a:lnTo>
                    <a:pt x="59" y="1011"/>
                  </a:lnTo>
                  <a:lnTo>
                    <a:pt x="76" y="1008"/>
                  </a:lnTo>
                  <a:lnTo>
                    <a:pt x="91" y="1004"/>
                  </a:lnTo>
                  <a:lnTo>
                    <a:pt x="106" y="999"/>
                  </a:lnTo>
                  <a:lnTo>
                    <a:pt x="119" y="992"/>
                  </a:lnTo>
                  <a:lnTo>
                    <a:pt x="131" y="984"/>
                  </a:lnTo>
                  <a:lnTo>
                    <a:pt x="142" y="975"/>
                  </a:lnTo>
                  <a:lnTo>
                    <a:pt x="153" y="964"/>
                  </a:lnTo>
                  <a:lnTo>
                    <a:pt x="164" y="952"/>
                  </a:lnTo>
                  <a:lnTo>
                    <a:pt x="173" y="938"/>
                  </a:lnTo>
                  <a:lnTo>
                    <a:pt x="183" y="922"/>
                  </a:lnTo>
                  <a:lnTo>
                    <a:pt x="192" y="904"/>
                  </a:lnTo>
                  <a:lnTo>
                    <a:pt x="203" y="884"/>
                  </a:lnTo>
                  <a:lnTo>
                    <a:pt x="212" y="863"/>
                  </a:lnTo>
                  <a:lnTo>
                    <a:pt x="586" y="0"/>
                  </a:lnTo>
                  <a:lnTo>
                    <a:pt x="623" y="0"/>
                  </a:lnTo>
                  <a:lnTo>
                    <a:pt x="999" y="863"/>
                  </a:lnTo>
                  <a:lnTo>
                    <a:pt x="999" y="863"/>
                  </a:lnTo>
                  <a:lnTo>
                    <a:pt x="1017" y="900"/>
                  </a:lnTo>
                  <a:lnTo>
                    <a:pt x="1025" y="918"/>
                  </a:lnTo>
                  <a:lnTo>
                    <a:pt x="1033" y="933"/>
                  </a:lnTo>
                  <a:lnTo>
                    <a:pt x="1041" y="946"/>
                  </a:lnTo>
                  <a:lnTo>
                    <a:pt x="1050" y="959"/>
                  </a:lnTo>
                  <a:lnTo>
                    <a:pt x="1060" y="970"/>
                  </a:lnTo>
                  <a:lnTo>
                    <a:pt x="1071" y="980"/>
                  </a:lnTo>
                  <a:lnTo>
                    <a:pt x="1082" y="988"/>
                  </a:lnTo>
                  <a:lnTo>
                    <a:pt x="1095" y="995"/>
                  </a:lnTo>
                  <a:lnTo>
                    <a:pt x="1110" y="1002"/>
                  </a:lnTo>
                  <a:lnTo>
                    <a:pt x="1125" y="1006"/>
                  </a:lnTo>
                  <a:lnTo>
                    <a:pt x="1142" y="1010"/>
                  </a:lnTo>
                  <a:lnTo>
                    <a:pt x="1163" y="1012"/>
                  </a:lnTo>
                  <a:lnTo>
                    <a:pt x="1185" y="1014"/>
                  </a:lnTo>
                  <a:lnTo>
                    <a:pt x="1210" y="1014"/>
                  </a:lnTo>
                  <a:lnTo>
                    <a:pt x="1210" y="1064"/>
                  </a:lnTo>
                  <a:lnTo>
                    <a:pt x="647" y="1064"/>
                  </a:lnTo>
                  <a:lnTo>
                    <a:pt x="647" y="1014"/>
                  </a:lnTo>
                  <a:lnTo>
                    <a:pt x="647" y="1014"/>
                  </a:lnTo>
                  <a:lnTo>
                    <a:pt x="674" y="1014"/>
                  </a:lnTo>
                  <a:lnTo>
                    <a:pt x="698" y="1012"/>
                  </a:lnTo>
                  <a:lnTo>
                    <a:pt x="719" y="1010"/>
                  </a:lnTo>
                  <a:lnTo>
                    <a:pt x="736" y="1007"/>
                  </a:lnTo>
                  <a:lnTo>
                    <a:pt x="752" y="1003"/>
                  </a:lnTo>
                  <a:lnTo>
                    <a:pt x="765" y="996"/>
                  </a:lnTo>
                  <a:lnTo>
                    <a:pt x="775" y="990"/>
                  </a:lnTo>
                  <a:lnTo>
                    <a:pt x="783" y="983"/>
                  </a:lnTo>
                  <a:lnTo>
                    <a:pt x="790" y="974"/>
                  </a:lnTo>
                  <a:lnTo>
                    <a:pt x="793" y="965"/>
                  </a:lnTo>
                  <a:lnTo>
                    <a:pt x="795" y="954"/>
                  </a:lnTo>
                  <a:lnTo>
                    <a:pt x="795" y="942"/>
                  </a:lnTo>
                  <a:lnTo>
                    <a:pt x="793" y="929"/>
                  </a:lnTo>
                  <a:lnTo>
                    <a:pt x="789" y="915"/>
                  </a:lnTo>
                  <a:lnTo>
                    <a:pt x="783" y="899"/>
                  </a:lnTo>
                  <a:lnTo>
                    <a:pt x="776" y="883"/>
                  </a:lnTo>
                  <a:lnTo>
                    <a:pt x="704" y="719"/>
                  </a:lnTo>
                  <a:lnTo>
                    <a:pt x="359" y="719"/>
                  </a:lnTo>
                  <a:lnTo>
                    <a:pt x="289" y="883"/>
                  </a:lnTo>
                  <a:close/>
                  <a:moveTo>
                    <a:pt x="533" y="318"/>
                  </a:moveTo>
                  <a:lnTo>
                    <a:pt x="394" y="642"/>
                  </a:lnTo>
                  <a:lnTo>
                    <a:pt x="671" y="642"/>
                  </a:lnTo>
                  <a:lnTo>
                    <a:pt x="533" y="3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1849438" y="893763"/>
              <a:ext cx="131763" cy="136525"/>
            </a:xfrm>
            <a:custGeom>
              <a:avLst/>
              <a:gdLst>
                <a:gd name="T0" fmla="*/ 0 w 1002"/>
                <a:gd name="T1" fmla="*/ 0 h 1035"/>
                <a:gd name="T2" fmla="*/ 545 w 1002"/>
                <a:gd name="T3" fmla="*/ 50 h 1035"/>
                <a:gd name="T4" fmla="*/ 519 w 1002"/>
                <a:gd name="T5" fmla="*/ 50 h 1035"/>
                <a:gd name="T6" fmla="*/ 476 w 1002"/>
                <a:gd name="T7" fmla="*/ 54 h 1035"/>
                <a:gd name="T8" fmla="*/ 443 w 1002"/>
                <a:gd name="T9" fmla="*/ 63 h 1035"/>
                <a:gd name="T10" fmla="*/ 424 w 1002"/>
                <a:gd name="T11" fmla="*/ 73 h 1035"/>
                <a:gd name="T12" fmla="*/ 413 w 1002"/>
                <a:gd name="T13" fmla="*/ 81 h 1035"/>
                <a:gd name="T14" fmla="*/ 405 w 1002"/>
                <a:gd name="T15" fmla="*/ 92 h 1035"/>
                <a:gd name="T16" fmla="*/ 394 w 1002"/>
                <a:gd name="T17" fmla="*/ 113 h 1035"/>
                <a:gd name="T18" fmla="*/ 385 w 1002"/>
                <a:gd name="T19" fmla="*/ 148 h 1035"/>
                <a:gd name="T20" fmla="*/ 380 w 1002"/>
                <a:gd name="T21" fmla="*/ 194 h 1035"/>
                <a:gd name="T22" fmla="*/ 379 w 1002"/>
                <a:gd name="T23" fmla="*/ 252 h 1035"/>
                <a:gd name="T24" fmla="*/ 379 w 1002"/>
                <a:gd name="T25" fmla="*/ 756 h 1035"/>
                <a:gd name="T26" fmla="*/ 380 w 1002"/>
                <a:gd name="T27" fmla="*/ 814 h 1035"/>
                <a:gd name="T28" fmla="*/ 385 w 1002"/>
                <a:gd name="T29" fmla="*/ 860 h 1035"/>
                <a:gd name="T30" fmla="*/ 394 w 1002"/>
                <a:gd name="T31" fmla="*/ 896 h 1035"/>
                <a:gd name="T32" fmla="*/ 405 w 1002"/>
                <a:gd name="T33" fmla="*/ 915 h 1035"/>
                <a:gd name="T34" fmla="*/ 413 w 1002"/>
                <a:gd name="T35" fmla="*/ 927 h 1035"/>
                <a:gd name="T36" fmla="*/ 424 w 1002"/>
                <a:gd name="T37" fmla="*/ 936 h 1035"/>
                <a:gd name="T38" fmla="*/ 443 w 1002"/>
                <a:gd name="T39" fmla="*/ 946 h 1035"/>
                <a:gd name="T40" fmla="*/ 476 w 1002"/>
                <a:gd name="T41" fmla="*/ 954 h 1035"/>
                <a:gd name="T42" fmla="*/ 519 w 1002"/>
                <a:gd name="T43" fmla="*/ 957 h 1035"/>
                <a:gd name="T44" fmla="*/ 743 w 1002"/>
                <a:gd name="T45" fmla="*/ 957 h 1035"/>
                <a:gd name="T46" fmla="*/ 772 w 1002"/>
                <a:gd name="T47" fmla="*/ 957 h 1035"/>
                <a:gd name="T48" fmla="*/ 819 w 1002"/>
                <a:gd name="T49" fmla="*/ 953 h 1035"/>
                <a:gd name="T50" fmla="*/ 855 w 1002"/>
                <a:gd name="T51" fmla="*/ 946 h 1035"/>
                <a:gd name="T52" fmla="*/ 883 w 1002"/>
                <a:gd name="T53" fmla="*/ 934 h 1035"/>
                <a:gd name="T54" fmla="*/ 904 w 1002"/>
                <a:gd name="T55" fmla="*/ 917 h 1035"/>
                <a:gd name="T56" fmla="*/ 919 w 1002"/>
                <a:gd name="T57" fmla="*/ 897 h 1035"/>
                <a:gd name="T58" fmla="*/ 930 w 1002"/>
                <a:gd name="T59" fmla="*/ 872 h 1035"/>
                <a:gd name="T60" fmla="*/ 943 w 1002"/>
                <a:gd name="T61" fmla="*/ 826 h 1035"/>
                <a:gd name="T62" fmla="*/ 1002 w 1002"/>
                <a:gd name="T63" fmla="*/ 792 h 1035"/>
                <a:gd name="T64" fmla="*/ 0 w 1002"/>
                <a:gd name="T65" fmla="*/ 1035 h 1035"/>
                <a:gd name="T66" fmla="*/ 0 w 1002"/>
                <a:gd name="T67" fmla="*/ 985 h 1035"/>
                <a:gd name="T68" fmla="*/ 48 w 1002"/>
                <a:gd name="T69" fmla="*/ 984 h 1035"/>
                <a:gd name="T70" fmla="*/ 86 w 1002"/>
                <a:gd name="T71" fmla="*/ 978 h 1035"/>
                <a:gd name="T72" fmla="*/ 114 w 1002"/>
                <a:gd name="T73" fmla="*/ 966 h 1035"/>
                <a:gd name="T74" fmla="*/ 125 w 1002"/>
                <a:gd name="T75" fmla="*/ 958 h 1035"/>
                <a:gd name="T76" fmla="*/ 136 w 1002"/>
                <a:gd name="T77" fmla="*/ 949 h 1035"/>
                <a:gd name="T78" fmla="*/ 143 w 1002"/>
                <a:gd name="T79" fmla="*/ 937 h 1035"/>
                <a:gd name="T80" fmla="*/ 154 w 1002"/>
                <a:gd name="T81" fmla="*/ 906 h 1035"/>
                <a:gd name="T82" fmla="*/ 161 w 1002"/>
                <a:gd name="T83" fmla="*/ 866 h 1035"/>
                <a:gd name="T84" fmla="*/ 163 w 1002"/>
                <a:gd name="T85" fmla="*/ 814 h 1035"/>
                <a:gd name="T86" fmla="*/ 163 w 1002"/>
                <a:gd name="T87" fmla="*/ 252 h 1035"/>
                <a:gd name="T88" fmla="*/ 163 w 1002"/>
                <a:gd name="T89" fmla="*/ 221 h 1035"/>
                <a:gd name="T90" fmla="*/ 161 w 1002"/>
                <a:gd name="T91" fmla="*/ 169 h 1035"/>
                <a:gd name="T92" fmla="*/ 154 w 1002"/>
                <a:gd name="T93" fmla="*/ 129 h 1035"/>
                <a:gd name="T94" fmla="*/ 143 w 1002"/>
                <a:gd name="T95" fmla="*/ 98 h 1035"/>
                <a:gd name="T96" fmla="*/ 136 w 1002"/>
                <a:gd name="T97" fmla="*/ 86 h 1035"/>
                <a:gd name="T98" fmla="*/ 125 w 1002"/>
                <a:gd name="T99" fmla="*/ 77 h 1035"/>
                <a:gd name="T100" fmla="*/ 114 w 1002"/>
                <a:gd name="T101" fmla="*/ 69 h 1035"/>
                <a:gd name="T102" fmla="*/ 86 w 1002"/>
                <a:gd name="T103" fmla="*/ 58 h 1035"/>
                <a:gd name="T104" fmla="*/ 48 w 1002"/>
                <a:gd name="T105" fmla="*/ 51 h 1035"/>
                <a:gd name="T106" fmla="*/ 0 w 1002"/>
                <a:gd name="T107" fmla="*/ 5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02" h="1035">
                  <a:moveTo>
                    <a:pt x="0" y="50"/>
                  </a:moveTo>
                  <a:lnTo>
                    <a:pt x="0" y="0"/>
                  </a:lnTo>
                  <a:lnTo>
                    <a:pt x="545" y="0"/>
                  </a:lnTo>
                  <a:lnTo>
                    <a:pt x="545" y="50"/>
                  </a:lnTo>
                  <a:lnTo>
                    <a:pt x="545" y="50"/>
                  </a:lnTo>
                  <a:lnTo>
                    <a:pt x="519" y="50"/>
                  </a:lnTo>
                  <a:lnTo>
                    <a:pt x="497" y="51"/>
                  </a:lnTo>
                  <a:lnTo>
                    <a:pt x="476" y="54"/>
                  </a:lnTo>
                  <a:lnTo>
                    <a:pt x="459" y="58"/>
                  </a:lnTo>
                  <a:lnTo>
                    <a:pt x="443" y="63"/>
                  </a:lnTo>
                  <a:lnTo>
                    <a:pt x="429" y="69"/>
                  </a:lnTo>
                  <a:lnTo>
                    <a:pt x="424" y="73"/>
                  </a:lnTo>
                  <a:lnTo>
                    <a:pt x="418" y="77"/>
                  </a:lnTo>
                  <a:lnTo>
                    <a:pt x="413" y="81"/>
                  </a:lnTo>
                  <a:lnTo>
                    <a:pt x="409" y="86"/>
                  </a:lnTo>
                  <a:lnTo>
                    <a:pt x="405" y="92"/>
                  </a:lnTo>
                  <a:lnTo>
                    <a:pt x="400" y="98"/>
                  </a:lnTo>
                  <a:lnTo>
                    <a:pt x="394" y="113"/>
                  </a:lnTo>
                  <a:lnTo>
                    <a:pt x="389" y="129"/>
                  </a:lnTo>
                  <a:lnTo>
                    <a:pt x="385" y="148"/>
                  </a:lnTo>
                  <a:lnTo>
                    <a:pt x="382" y="169"/>
                  </a:lnTo>
                  <a:lnTo>
                    <a:pt x="380" y="194"/>
                  </a:lnTo>
                  <a:lnTo>
                    <a:pt x="379" y="221"/>
                  </a:lnTo>
                  <a:lnTo>
                    <a:pt x="379" y="252"/>
                  </a:lnTo>
                  <a:lnTo>
                    <a:pt x="379" y="756"/>
                  </a:lnTo>
                  <a:lnTo>
                    <a:pt x="379" y="756"/>
                  </a:lnTo>
                  <a:lnTo>
                    <a:pt x="379" y="787"/>
                  </a:lnTo>
                  <a:lnTo>
                    <a:pt x="380" y="814"/>
                  </a:lnTo>
                  <a:lnTo>
                    <a:pt x="382" y="839"/>
                  </a:lnTo>
                  <a:lnTo>
                    <a:pt x="385" y="860"/>
                  </a:lnTo>
                  <a:lnTo>
                    <a:pt x="389" y="879"/>
                  </a:lnTo>
                  <a:lnTo>
                    <a:pt x="394" y="896"/>
                  </a:lnTo>
                  <a:lnTo>
                    <a:pt x="400" y="909"/>
                  </a:lnTo>
                  <a:lnTo>
                    <a:pt x="405" y="915"/>
                  </a:lnTo>
                  <a:lnTo>
                    <a:pt x="409" y="921"/>
                  </a:lnTo>
                  <a:lnTo>
                    <a:pt x="413" y="927"/>
                  </a:lnTo>
                  <a:lnTo>
                    <a:pt x="418" y="932"/>
                  </a:lnTo>
                  <a:lnTo>
                    <a:pt x="424" y="936"/>
                  </a:lnTo>
                  <a:lnTo>
                    <a:pt x="429" y="939"/>
                  </a:lnTo>
                  <a:lnTo>
                    <a:pt x="443" y="946"/>
                  </a:lnTo>
                  <a:lnTo>
                    <a:pt x="459" y="950"/>
                  </a:lnTo>
                  <a:lnTo>
                    <a:pt x="476" y="954"/>
                  </a:lnTo>
                  <a:lnTo>
                    <a:pt x="497" y="956"/>
                  </a:lnTo>
                  <a:lnTo>
                    <a:pt x="519" y="957"/>
                  </a:lnTo>
                  <a:lnTo>
                    <a:pt x="545" y="957"/>
                  </a:lnTo>
                  <a:lnTo>
                    <a:pt x="743" y="957"/>
                  </a:lnTo>
                  <a:lnTo>
                    <a:pt x="743" y="957"/>
                  </a:lnTo>
                  <a:lnTo>
                    <a:pt x="772" y="957"/>
                  </a:lnTo>
                  <a:lnTo>
                    <a:pt x="796" y="955"/>
                  </a:lnTo>
                  <a:lnTo>
                    <a:pt x="819" y="953"/>
                  </a:lnTo>
                  <a:lnTo>
                    <a:pt x="838" y="950"/>
                  </a:lnTo>
                  <a:lnTo>
                    <a:pt x="855" y="946"/>
                  </a:lnTo>
                  <a:lnTo>
                    <a:pt x="871" y="940"/>
                  </a:lnTo>
                  <a:lnTo>
                    <a:pt x="883" y="934"/>
                  </a:lnTo>
                  <a:lnTo>
                    <a:pt x="894" y="927"/>
                  </a:lnTo>
                  <a:lnTo>
                    <a:pt x="904" y="917"/>
                  </a:lnTo>
                  <a:lnTo>
                    <a:pt x="912" y="908"/>
                  </a:lnTo>
                  <a:lnTo>
                    <a:pt x="919" y="897"/>
                  </a:lnTo>
                  <a:lnTo>
                    <a:pt x="925" y="886"/>
                  </a:lnTo>
                  <a:lnTo>
                    <a:pt x="930" y="872"/>
                  </a:lnTo>
                  <a:lnTo>
                    <a:pt x="935" y="858"/>
                  </a:lnTo>
                  <a:lnTo>
                    <a:pt x="943" y="826"/>
                  </a:lnTo>
                  <a:lnTo>
                    <a:pt x="952" y="792"/>
                  </a:lnTo>
                  <a:lnTo>
                    <a:pt x="1002" y="792"/>
                  </a:lnTo>
                  <a:lnTo>
                    <a:pt x="988" y="1035"/>
                  </a:lnTo>
                  <a:lnTo>
                    <a:pt x="0" y="1035"/>
                  </a:lnTo>
                  <a:lnTo>
                    <a:pt x="0" y="985"/>
                  </a:lnTo>
                  <a:lnTo>
                    <a:pt x="0" y="985"/>
                  </a:lnTo>
                  <a:lnTo>
                    <a:pt x="25" y="985"/>
                  </a:lnTo>
                  <a:lnTo>
                    <a:pt x="48" y="984"/>
                  </a:lnTo>
                  <a:lnTo>
                    <a:pt x="68" y="982"/>
                  </a:lnTo>
                  <a:lnTo>
                    <a:pt x="86" y="978"/>
                  </a:lnTo>
                  <a:lnTo>
                    <a:pt x="101" y="973"/>
                  </a:lnTo>
                  <a:lnTo>
                    <a:pt x="114" y="966"/>
                  </a:lnTo>
                  <a:lnTo>
                    <a:pt x="120" y="963"/>
                  </a:lnTo>
                  <a:lnTo>
                    <a:pt x="125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0" y="923"/>
                  </a:lnTo>
                  <a:lnTo>
                    <a:pt x="154" y="906"/>
                  </a:lnTo>
                  <a:lnTo>
                    <a:pt x="158" y="888"/>
                  </a:lnTo>
                  <a:lnTo>
                    <a:pt x="161" y="866"/>
                  </a:lnTo>
                  <a:lnTo>
                    <a:pt x="162" y="842"/>
                  </a:lnTo>
                  <a:lnTo>
                    <a:pt x="163" y="814"/>
                  </a:lnTo>
                  <a:lnTo>
                    <a:pt x="163" y="783"/>
                  </a:lnTo>
                  <a:lnTo>
                    <a:pt x="163" y="252"/>
                  </a:lnTo>
                  <a:lnTo>
                    <a:pt x="163" y="252"/>
                  </a:lnTo>
                  <a:lnTo>
                    <a:pt x="163" y="221"/>
                  </a:lnTo>
                  <a:lnTo>
                    <a:pt x="162" y="194"/>
                  </a:lnTo>
                  <a:lnTo>
                    <a:pt x="161" y="169"/>
                  </a:lnTo>
                  <a:lnTo>
                    <a:pt x="158" y="148"/>
                  </a:lnTo>
                  <a:lnTo>
                    <a:pt x="154" y="129"/>
                  </a:lnTo>
                  <a:lnTo>
                    <a:pt x="150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5" y="77"/>
                  </a:lnTo>
                  <a:lnTo>
                    <a:pt x="120" y="73"/>
                  </a:lnTo>
                  <a:lnTo>
                    <a:pt x="114" y="69"/>
                  </a:lnTo>
                  <a:lnTo>
                    <a:pt x="101" y="63"/>
                  </a:lnTo>
                  <a:lnTo>
                    <a:pt x="86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1982788" y="893763"/>
              <a:ext cx="142875" cy="136525"/>
            </a:xfrm>
            <a:custGeom>
              <a:avLst/>
              <a:gdLst>
                <a:gd name="T0" fmla="*/ 1028 w 1078"/>
                <a:gd name="T1" fmla="*/ 244 h 1035"/>
                <a:gd name="T2" fmla="*/ 1019 w 1078"/>
                <a:gd name="T3" fmla="*/ 209 h 1035"/>
                <a:gd name="T4" fmla="*/ 1006 w 1078"/>
                <a:gd name="T5" fmla="*/ 163 h 1035"/>
                <a:gd name="T6" fmla="*/ 995 w 1078"/>
                <a:gd name="T7" fmla="*/ 138 h 1035"/>
                <a:gd name="T8" fmla="*/ 979 w 1078"/>
                <a:gd name="T9" fmla="*/ 118 h 1035"/>
                <a:gd name="T10" fmla="*/ 959 w 1078"/>
                <a:gd name="T11" fmla="*/ 101 h 1035"/>
                <a:gd name="T12" fmla="*/ 931 w 1078"/>
                <a:gd name="T13" fmla="*/ 90 h 1035"/>
                <a:gd name="T14" fmla="*/ 895 w 1078"/>
                <a:gd name="T15" fmla="*/ 82 h 1035"/>
                <a:gd name="T16" fmla="*/ 848 w 1078"/>
                <a:gd name="T17" fmla="*/ 78 h 1035"/>
                <a:gd name="T18" fmla="*/ 646 w 1078"/>
                <a:gd name="T19" fmla="*/ 78 h 1035"/>
                <a:gd name="T20" fmla="*/ 646 w 1078"/>
                <a:gd name="T21" fmla="*/ 783 h 1035"/>
                <a:gd name="T22" fmla="*/ 648 w 1078"/>
                <a:gd name="T23" fmla="*/ 842 h 1035"/>
                <a:gd name="T24" fmla="*/ 652 w 1078"/>
                <a:gd name="T25" fmla="*/ 888 h 1035"/>
                <a:gd name="T26" fmla="*/ 661 w 1078"/>
                <a:gd name="T27" fmla="*/ 923 h 1035"/>
                <a:gd name="T28" fmla="*/ 672 w 1078"/>
                <a:gd name="T29" fmla="*/ 943 h 1035"/>
                <a:gd name="T30" fmla="*/ 680 w 1078"/>
                <a:gd name="T31" fmla="*/ 954 h 1035"/>
                <a:gd name="T32" fmla="*/ 691 w 1078"/>
                <a:gd name="T33" fmla="*/ 963 h 1035"/>
                <a:gd name="T34" fmla="*/ 711 w 1078"/>
                <a:gd name="T35" fmla="*/ 973 h 1035"/>
                <a:gd name="T36" fmla="*/ 743 w 1078"/>
                <a:gd name="T37" fmla="*/ 982 h 1035"/>
                <a:gd name="T38" fmla="*/ 786 w 1078"/>
                <a:gd name="T39" fmla="*/ 985 h 1035"/>
                <a:gd name="T40" fmla="*/ 812 w 1078"/>
                <a:gd name="T41" fmla="*/ 1035 h 1035"/>
                <a:gd name="T42" fmla="*/ 267 w 1078"/>
                <a:gd name="T43" fmla="*/ 985 h 1035"/>
                <a:gd name="T44" fmla="*/ 292 w 1078"/>
                <a:gd name="T45" fmla="*/ 985 h 1035"/>
                <a:gd name="T46" fmla="*/ 335 w 1078"/>
                <a:gd name="T47" fmla="*/ 982 h 1035"/>
                <a:gd name="T48" fmla="*/ 368 w 1078"/>
                <a:gd name="T49" fmla="*/ 973 h 1035"/>
                <a:gd name="T50" fmla="*/ 387 w 1078"/>
                <a:gd name="T51" fmla="*/ 963 h 1035"/>
                <a:gd name="T52" fmla="*/ 398 w 1078"/>
                <a:gd name="T53" fmla="*/ 954 h 1035"/>
                <a:gd name="T54" fmla="*/ 407 w 1078"/>
                <a:gd name="T55" fmla="*/ 943 h 1035"/>
                <a:gd name="T56" fmla="*/ 417 w 1078"/>
                <a:gd name="T57" fmla="*/ 923 h 1035"/>
                <a:gd name="T58" fmla="*/ 425 w 1078"/>
                <a:gd name="T59" fmla="*/ 888 h 1035"/>
                <a:gd name="T60" fmla="*/ 429 w 1078"/>
                <a:gd name="T61" fmla="*/ 842 h 1035"/>
                <a:gd name="T62" fmla="*/ 431 w 1078"/>
                <a:gd name="T63" fmla="*/ 783 h 1035"/>
                <a:gd name="T64" fmla="*/ 259 w 1078"/>
                <a:gd name="T65" fmla="*/ 78 h 1035"/>
                <a:gd name="T66" fmla="*/ 231 w 1078"/>
                <a:gd name="T67" fmla="*/ 78 h 1035"/>
                <a:gd name="T68" fmla="*/ 184 w 1078"/>
                <a:gd name="T69" fmla="*/ 82 h 1035"/>
                <a:gd name="T70" fmla="*/ 147 w 1078"/>
                <a:gd name="T71" fmla="*/ 90 h 1035"/>
                <a:gd name="T72" fmla="*/ 120 w 1078"/>
                <a:gd name="T73" fmla="*/ 101 h 1035"/>
                <a:gd name="T74" fmla="*/ 99 w 1078"/>
                <a:gd name="T75" fmla="*/ 118 h 1035"/>
                <a:gd name="T76" fmla="*/ 85 w 1078"/>
                <a:gd name="T77" fmla="*/ 138 h 1035"/>
                <a:gd name="T78" fmla="*/ 74 w 1078"/>
                <a:gd name="T79" fmla="*/ 163 h 1035"/>
                <a:gd name="T80" fmla="*/ 60 w 1078"/>
                <a:gd name="T81" fmla="*/ 209 h 1035"/>
                <a:gd name="T82" fmla="*/ 0 w 1078"/>
                <a:gd name="T83" fmla="*/ 244 h 1035"/>
                <a:gd name="T84" fmla="*/ 1064 w 1078"/>
                <a:gd name="T85" fmla="*/ 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8" h="1035">
                  <a:moveTo>
                    <a:pt x="1078" y="244"/>
                  </a:moveTo>
                  <a:lnTo>
                    <a:pt x="1028" y="244"/>
                  </a:lnTo>
                  <a:lnTo>
                    <a:pt x="1019" y="209"/>
                  </a:lnTo>
                  <a:lnTo>
                    <a:pt x="1019" y="209"/>
                  </a:lnTo>
                  <a:lnTo>
                    <a:pt x="1011" y="177"/>
                  </a:lnTo>
                  <a:lnTo>
                    <a:pt x="1006" y="163"/>
                  </a:lnTo>
                  <a:lnTo>
                    <a:pt x="1001" y="150"/>
                  </a:lnTo>
                  <a:lnTo>
                    <a:pt x="995" y="138"/>
                  </a:lnTo>
                  <a:lnTo>
                    <a:pt x="988" y="127"/>
                  </a:lnTo>
                  <a:lnTo>
                    <a:pt x="979" y="118"/>
                  </a:lnTo>
                  <a:lnTo>
                    <a:pt x="970" y="109"/>
                  </a:lnTo>
                  <a:lnTo>
                    <a:pt x="959" y="101"/>
                  </a:lnTo>
                  <a:lnTo>
                    <a:pt x="946" y="95"/>
                  </a:lnTo>
                  <a:lnTo>
                    <a:pt x="931" y="90"/>
                  </a:lnTo>
                  <a:lnTo>
                    <a:pt x="914" y="85"/>
                  </a:lnTo>
                  <a:lnTo>
                    <a:pt x="895" y="82"/>
                  </a:lnTo>
                  <a:lnTo>
                    <a:pt x="872" y="80"/>
                  </a:lnTo>
                  <a:lnTo>
                    <a:pt x="848" y="78"/>
                  </a:lnTo>
                  <a:lnTo>
                    <a:pt x="819" y="78"/>
                  </a:lnTo>
                  <a:lnTo>
                    <a:pt x="646" y="78"/>
                  </a:lnTo>
                  <a:lnTo>
                    <a:pt x="646" y="783"/>
                  </a:lnTo>
                  <a:lnTo>
                    <a:pt x="646" y="783"/>
                  </a:lnTo>
                  <a:lnTo>
                    <a:pt x="647" y="814"/>
                  </a:lnTo>
                  <a:lnTo>
                    <a:pt x="648" y="842"/>
                  </a:lnTo>
                  <a:lnTo>
                    <a:pt x="649" y="866"/>
                  </a:lnTo>
                  <a:lnTo>
                    <a:pt x="652" y="888"/>
                  </a:lnTo>
                  <a:lnTo>
                    <a:pt x="656" y="906"/>
                  </a:lnTo>
                  <a:lnTo>
                    <a:pt x="661" y="923"/>
                  </a:lnTo>
                  <a:lnTo>
                    <a:pt x="668" y="937"/>
                  </a:lnTo>
                  <a:lnTo>
                    <a:pt x="672" y="943"/>
                  </a:lnTo>
                  <a:lnTo>
                    <a:pt x="676" y="949"/>
                  </a:lnTo>
                  <a:lnTo>
                    <a:pt x="680" y="954"/>
                  </a:lnTo>
                  <a:lnTo>
                    <a:pt x="685" y="958"/>
                  </a:lnTo>
                  <a:lnTo>
                    <a:pt x="691" y="963"/>
                  </a:lnTo>
                  <a:lnTo>
                    <a:pt x="697" y="966"/>
                  </a:lnTo>
                  <a:lnTo>
                    <a:pt x="711" y="973"/>
                  </a:lnTo>
                  <a:lnTo>
                    <a:pt x="726" y="978"/>
                  </a:lnTo>
                  <a:lnTo>
                    <a:pt x="743" y="982"/>
                  </a:lnTo>
                  <a:lnTo>
                    <a:pt x="764" y="984"/>
                  </a:lnTo>
                  <a:lnTo>
                    <a:pt x="786" y="985"/>
                  </a:lnTo>
                  <a:lnTo>
                    <a:pt x="812" y="985"/>
                  </a:lnTo>
                  <a:lnTo>
                    <a:pt x="812" y="1035"/>
                  </a:lnTo>
                  <a:lnTo>
                    <a:pt x="267" y="1035"/>
                  </a:lnTo>
                  <a:lnTo>
                    <a:pt x="267" y="985"/>
                  </a:lnTo>
                  <a:lnTo>
                    <a:pt x="267" y="985"/>
                  </a:lnTo>
                  <a:lnTo>
                    <a:pt x="292" y="985"/>
                  </a:lnTo>
                  <a:lnTo>
                    <a:pt x="315" y="984"/>
                  </a:lnTo>
                  <a:lnTo>
                    <a:pt x="335" y="982"/>
                  </a:lnTo>
                  <a:lnTo>
                    <a:pt x="353" y="978"/>
                  </a:lnTo>
                  <a:lnTo>
                    <a:pt x="368" y="973"/>
                  </a:lnTo>
                  <a:lnTo>
                    <a:pt x="381" y="966"/>
                  </a:lnTo>
                  <a:lnTo>
                    <a:pt x="387" y="963"/>
                  </a:lnTo>
                  <a:lnTo>
                    <a:pt x="394" y="958"/>
                  </a:lnTo>
                  <a:lnTo>
                    <a:pt x="398" y="954"/>
                  </a:lnTo>
                  <a:lnTo>
                    <a:pt x="403" y="949"/>
                  </a:lnTo>
                  <a:lnTo>
                    <a:pt x="407" y="943"/>
                  </a:lnTo>
                  <a:lnTo>
                    <a:pt x="411" y="937"/>
                  </a:lnTo>
                  <a:lnTo>
                    <a:pt x="417" y="923"/>
                  </a:lnTo>
                  <a:lnTo>
                    <a:pt x="422" y="906"/>
                  </a:lnTo>
                  <a:lnTo>
                    <a:pt x="425" y="888"/>
                  </a:lnTo>
                  <a:lnTo>
                    <a:pt x="428" y="866"/>
                  </a:lnTo>
                  <a:lnTo>
                    <a:pt x="429" y="842"/>
                  </a:lnTo>
                  <a:lnTo>
                    <a:pt x="430" y="814"/>
                  </a:lnTo>
                  <a:lnTo>
                    <a:pt x="431" y="783"/>
                  </a:lnTo>
                  <a:lnTo>
                    <a:pt x="431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31" y="78"/>
                  </a:lnTo>
                  <a:lnTo>
                    <a:pt x="205" y="80"/>
                  </a:lnTo>
                  <a:lnTo>
                    <a:pt x="184" y="82"/>
                  </a:lnTo>
                  <a:lnTo>
                    <a:pt x="165" y="85"/>
                  </a:lnTo>
                  <a:lnTo>
                    <a:pt x="147" y="90"/>
                  </a:lnTo>
                  <a:lnTo>
                    <a:pt x="133" y="95"/>
                  </a:lnTo>
                  <a:lnTo>
                    <a:pt x="120" y="101"/>
                  </a:lnTo>
                  <a:lnTo>
                    <a:pt x="108" y="109"/>
                  </a:lnTo>
                  <a:lnTo>
                    <a:pt x="99" y="118"/>
                  </a:lnTo>
                  <a:lnTo>
                    <a:pt x="91" y="127"/>
                  </a:lnTo>
                  <a:lnTo>
                    <a:pt x="85" y="138"/>
                  </a:lnTo>
                  <a:lnTo>
                    <a:pt x="79" y="150"/>
                  </a:lnTo>
                  <a:lnTo>
                    <a:pt x="74" y="163"/>
                  </a:lnTo>
                  <a:lnTo>
                    <a:pt x="68" y="177"/>
                  </a:lnTo>
                  <a:lnTo>
                    <a:pt x="60" y="209"/>
                  </a:lnTo>
                  <a:lnTo>
                    <a:pt x="51" y="244"/>
                  </a:lnTo>
                  <a:lnTo>
                    <a:pt x="0" y="244"/>
                  </a:lnTo>
                  <a:lnTo>
                    <a:pt x="15" y="0"/>
                  </a:lnTo>
                  <a:lnTo>
                    <a:pt x="1064" y="0"/>
                  </a:lnTo>
                  <a:lnTo>
                    <a:pt x="1078" y="2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2152651" y="893763"/>
              <a:ext cx="73025" cy="136525"/>
            </a:xfrm>
            <a:custGeom>
              <a:avLst/>
              <a:gdLst>
                <a:gd name="T0" fmla="*/ 0 w 545"/>
                <a:gd name="T1" fmla="*/ 985 h 1035"/>
                <a:gd name="T2" fmla="*/ 26 w 545"/>
                <a:gd name="T3" fmla="*/ 985 h 1035"/>
                <a:gd name="T4" fmla="*/ 69 w 545"/>
                <a:gd name="T5" fmla="*/ 982 h 1035"/>
                <a:gd name="T6" fmla="*/ 102 w 545"/>
                <a:gd name="T7" fmla="*/ 973 h 1035"/>
                <a:gd name="T8" fmla="*/ 121 w 545"/>
                <a:gd name="T9" fmla="*/ 963 h 1035"/>
                <a:gd name="T10" fmla="*/ 131 w 545"/>
                <a:gd name="T11" fmla="*/ 954 h 1035"/>
                <a:gd name="T12" fmla="*/ 140 w 545"/>
                <a:gd name="T13" fmla="*/ 943 h 1035"/>
                <a:gd name="T14" fmla="*/ 151 w 545"/>
                <a:gd name="T15" fmla="*/ 923 h 1035"/>
                <a:gd name="T16" fmla="*/ 159 w 545"/>
                <a:gd name="T17" fmla="*/ 888 h 1035"/>
                <a:gd name="T18" fmla="*/ 163 w 545"/>
                <a:gd name="T19" fmla="*/ 842 h 1035"/>
                <a:gd name="T20" fmla="*/ 164 w 545"/>
                <a:gd name="T21" fmla="*/ 783 h 1035"/>
                <a:gd name="T22" fmla="*/ 164 w 545"/>
                <a:gd name="T23" fmla="*/ 252 h 1035"/>
                <a:gd name="T24" fmla="*/ 163 w 545"/>
                <a:gd name="T25" fmla="*/ 194 h 1035"/>
                <a:gd name="T26" fmla="*/ 159 w 545"/>
                <a:gd name="T27" fmla="*/ 148 h 1035"/>
                <a:gd name="T28" fmla="*/ 151 w 545"/>
                <a:gd name="T29" fmla="*/ 113 h 1035"/>
                <a:gd name="T30" fmla="*/ 140 w 545"/>
                <a:gd name="T31" fmla="*/ 92 h 1035"/>
                <a:gd name="T32" fmla="*/ 131 w 545"/>
                <a:gd name="T33" fmla="*/ 81 h 1035"/>
                <a:gd name="T34" fmla="*/ 121 w 545"/>
                <a:gd name="T35" fmla="*/ 73 h 1035"/>
                <a:gd name="T36" fmla="*/ 102 w 545"/>
                <a:gd name="T37" fmla="*/ 63 h 1035"/>
                <a:gd name="T38" fmla="*/ 69 w 545"/>
                <a:gd name="T39" fmla="*/ 54 h 1035"/>
                <a:gd name="T40" fmla="*/ 26 w 545"/>
                <a:gd name="T41" fmla="*/ 50 h 1035"/>
                <a:gd name="T42" fmla="*/ 0 w 545"/>
                <a:gd name="T43" fmla="*/ 0 h 1035"/>
                <a:gd name="T44" fmla="*/ 545 w 545"/>
                <a:gd name="T45" fmla="*/ 50 h 1035"/>
                <a:gd name="T46" fmla="*/ 520 w 545"/>
                <a:gd name="T47" fmla="*/ 50 h 1035"/>
                <a:gd name="T48" fmla="*/ 477 w 545"/>
                <a:gd name="T49" fmla="*/ 54 h 1035"/>
                <a:gd name="T50" fmla="*/ 444 w 545"/>
                <a:gd name="T51" fmla="*/ 63 h 1035"/>
                <a:gd name="T52" fmla="*/ 425 w 545"/>
                <a:gd name="T53" fmla="*/ 73 h 1035"/>
                <a:gd name="T54" fmla="*/ 413 w 545"/>
                <a:gd name="T55" fmla="*/ 81 h 1035"/>
                <a:gd name="T56" fmla="*/ 405 w 545"/>
                <a:gd name="T57" fmla="*/ 92 h 1035"/>
                <a:gd name="T58" fmla="*/ 395 w 545"/>
                <a:gd name="T59" fmla="*/ 113 h 1035"/>
                <a:gd name="T60" fmla="*/ 386 w 545"/>
                <a:gd name="T61" fmla="*/ 148 h 1035"/>
                <a:gd name="T62" fmla="*/ 381 w 545"/>
                <a:gd name="T63" fmla="*/ 194 h 1035"/>
                <a:gd name="T64" fmla="*/ 380 w 545"/>
                <a:gd name="T65" fmla="*/ 252 h 1035"/>
                <a:gd name="T66" fmla="*/ 380 w 545"/>
                <a:gd name="T67" fmla="*/ 783 h 1035"/>
                <a:gd name="T68" fmla="*/ 381 w 545"/>
                <a:gd name="T69" fmla="*/ 842 h 1035"/>
                <a:gd name="T70" fmla="*/ 386 w 545"/>
                <a:gd name="T71" fmla="*/ 888 h 1035"/>
                <a:gd name="T72" fmla="*/ 395 w 545"/>
                <a:gd name="T73" fmla="*/ 923 h 1035"/>
                <a:gd name="T74" fmla="*/ 405 w 545"/>
                <a:gd name="T75" fmla="*/ 943 h 1035"/>
                <a:gd name="T76" fmla="*/ 413 w 545"/>
                <a:gd name="T77" fmla="*/ 954 h 1035"/>
                <a:gd name="T78" fmla="*/ 425 w 545"/>
                <a:gd name="T79" fmla="*/ 963 h 1035"/>
                <a:gd name="T80" fmla="*/ 444 w 545"/>
                <a:gd name="T81" fmla="*/ 973 h 1035"/>
                <a:gd name="T82" fmla="*/ 477 w 545"/>
                <a:gd name="T83" fmla="*/ 982 h 1035"/>
                <a:gd name="T84" fmla="*/ 520 w 545"/>
                <a:gd name="T85" fmla="*/ 985 h 1035"/>
                <a:gd name="T86" fmla="*/ 545 w 545"/>
                <a:gd name="T87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5" h="1035">
                  <a:moveTo>
                    <a:pt x="0" y="1035"/>
                  </a:moveTo>
                  <a:lnTo>
                    <a:pt x="0" y="985"/>
                  </a:lnTo>
                  <a:lnTo>
                    <a:pt x="0" y="985"/>
                  </a:lnTo>
                  <a:lnTo>
                    <a:pt x="26" y="985"/>
                  </a:lnTo>
                  <a:lnTo>
                    <a:pt x="48" y="984"/>
                  </a:lnTo>
                  <a:lnTo>
                    <a:pt x="69" y="982"/>
                  </a:lnTo>
                  <a:lnTo>
                    <a:pt x="86" y="978"/>
                  </a:lnTo>
                  <a:lnTo>
                    <a:pt x="102" y="973"/>
                  </a:lnTo>
                  <a:lnTo>
                    <a:pt x="115" y="966"/>
                  </a:lnTo>
                  <a:lnTo>
                    <a:pt x="121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1" y="923"/>
                  </a:lnTo>
                  <a:lnTo>
                    <a:pt x="155" y="906"/>
                  </a:lnTo>
                  <a:lnTo>
                    <a:pt x="159" y="888"/>
                  </a:lnTo>
                  <a:lnTo>
                    <a:pt x="162" y="866"/>
                  </a:lnTo>
                  <a:lnTo>
                    <a:pt x="163" y="842"/>
                  </a:lnTo>
                  <a:lnTo>
                    <a:pt x="164" y="814"/>
                  </a:lnTo>
                  <a:lnTo>
                    <a:pt x="164" y="783"/>
                  </a:lnTo>
                  <a:lnTo>
                    <a:pt x="164" y="252"/>
                  </a:lnTo>
                  <a:lnTo>
                    <a:pt x="164" y="252"/>
                  </a:lnTo>
                  <a:lnTo>
                    <a:pt x="164" y="221"/>
                  </a:lnTo>
                  <a:lnTo>
                    <a:pt x="163" y="194"/>
                  </a:lnTo>
                  <a:lnTo>
                    <a:pt x="162" y="169"/>
                  </a:lnTo>
                  <a:lnTo>
                    <a:pt x="159" y="148"/>
                  </a:lnTo>
                  <a:lnTo>
                    <a:pt x="155" y="129"/>
                  </a:lnTo>
                  <a:lnTo>
                    <a:pt x="151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6" y="58"/>
                  </a:lnTo>
                  <a:lnTo>
                    <a:pt x="69" y="54"/>
                  </a:lnTo>
                  <a:lnTo>
                    <a:pt x="48" y="51"/>
                  </a:lnTo>
                  <a:lnTo>
                    <a:pt x="26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45" y="0"/>
                  </a:lnTo>
                  <a:lnTo>
                    <a:pt x="545" y="50"/>
                  </a:lnTo>
                  <a:lnTo>
                    <a:pt x="545" y="50"/>
                  </a:lnTo>
                  <a:lnTo>
                    <a:pt x="520" y="50"/>
                  </a:lnTo>
                  <a:lnTo>
                    <a:pt x="497" y="51"/>
                  </a:lnTo>
                  <a:lnTo>
                    <a:pt x="477" y="54"/>
                  </a:lnTo>
                  <a:lnTo>
                    <a:pt x="459" y="58"/>
                  </a:lnTo>
                  <a:lnTo>
                    <a:pt x="444" y="63"/>
                  </a:lnTo>
                  <a:lnTo>
                    <a:pt x="430" y="69"/>
                  </a:lnTo>
                  <a:lnTo>
                    <a:pt x="425" y="73"/>
                  </a:lnTo>
                  <a:lnTo>
                    <a:pt x="418" y="77"/>
                  </a:lnTo>
                  <a:lnTo>
                    <a:pt x="413" y="81"/>
                  </a:lnTo>
                  <a:lnTo>
                    <a:pt x="409" y="86"/>
                  </a:lnTo>
                  <a:lnTo>
                    <a:pt x="405" y="92"/>
                  </a:lnTo>
                  <a:lnTo>
                    <a:pt x="401" y="98"/>
                  </a:lnTo>
                  <a:lnTo>
                    <a:pt x="395" y="113"/>
                  </a:lnTo>
                  <a:lnTo>
                    <a:pt x="390" y="129"/>
                  </a:lnTo>
                  <a:lnTo>
                    <a:pt x="386" y="148"/>
                  </a:lnTo>
                  <a:lnTo>
                    <a:pt x="383" y="169"/>
                  </a:lnTo>
                  <a:lnTo>
                    <a:pt x="381" y="194"/>
                  </a:lnTo>
                  <a:lnTo>
                    <a:pt x="380" y="221"/>
                  </a:lnTo>
                  <a:lnTo>
                    <a:pt x="380" y="252"/>
                  </a:lnTo>
                  <a:lnTo>
                    <a:pt x="380" y="783"/>
                  </a:lnTo>
                  <a:lnTo>
                    <a:pt x="380" y="783"/>
                  </a:lnTo>
                  <a:lnTo>
                    <a:pt x="380" y="814"/>
                  </a:lnTo>
                  <a:lnTo>
                    <a:pt x="381" y="842"/>
                  </a:lnTo>
                  <a:lnTo>
                    <a:pt x="383" y="866"/>
                  </a:lnTo>
                  <a:lnTo>
                    <a:pt x="386" y="888"/>
                  </a:lnTo>
                  <a:lnTo>
                    <a:pt x="390" y="906"/>
                  </a:lnTo>
                  <a:lnTo>
                    <a:pt x="395" y="923"/>
                  </a:lnTo>
                  <a:lnTo>
                    <a:pt x="401" y="937"/>
                  </a:lnTo>
                  <a:lnTo>
                    <a:pt x="405" y="943"/>
                  </a:lnTo>
                  <a:lnTo>
                    <a:pt x="409" y="949"/>
                  </a:lnTo>
                  <a:lnTo>
                    <a:pt x="413" y="954"/>
                  </a:lnTo>
                  <a:lnTo>
                    <a:pt x="418" y="958"/>
                  </a:lnTo>
                  <a:lnTo>
                    <a:pt x="425" y="963"/>
                  </a:lnTo>
                  <a:lnTo>
                    <a:pt x="430" y="966"/>
                  </a:lnTo>
                  <a:lnTo>
                    <a:pt x="444" y="973"/>
                  </a:lnTo>
                  <a:lnTo>
                    <a:pt x="459" y="978"/>
                  </a:lnTo>
                  <a:lnTo>
                    <a:pt x="477" y="982"/>
                  </a:lnTo>
                  <a:lnTo>
                    <a:pt x="497" y="984"/>
                  </a:lnTo>
                  <a:lnTo>
                    <a:pt x="520" y="985"/>
                  </a:lnTo>
                  <a:lnTo>
                    <a:pt x="545" y="985"/>
                  </a:lnTo>
                  <a:lnTo>
                    <a:pt x="545" y="1035"/>
                  </a:lnTo>
                  <a:lnTo>
                    <a:pt x="0" y="103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2" name="Freeform 10"/>
            <p:cNvSpPr>
              <a:spLocks noEditPoints="1"/>
            </p:cNvSpPr>
            <p:nvPr userDrawn="1"/>
          </p:nvSpPr>
          <p:spPr bwMode="auto">
            <a:xfrm>
              <a:off x="2260601" y="890588"/>
              <a:ext cx="152400" cy="144463"/>
            </a:xfrm>
            <a:custGeom>
              <a:avLst/>
              <a:gdLst>
                <a:gd name="T0" fmla="*/ 489 w 1152"/>
                <a:gd name="T1" fmla="*/ 1087 h 1094"/>
                <a:gd name="T2" fmla="*/ 353 w 1152"/>
                <a:gd name="T3" fmla="*/ 1051 h 1094"/>
                <a:gd name="T4" fmla="*/ 232 w 1152"/>
                <a:gd name="T5" fmla="*/ 984 h 1094"/>
                <a:gd name="T6" fmla="*/ 132 w 1152"/>
                <a:gd name="T7" fmla="*/ 894 h 1094"/>
                <a:gd name="T8" fmla="*/ 57 w 1152"/>
                <a:gd name="T9" fmla="*/ 783 h 1094"/>
                <a:gd name="T10" fmla="*/ 12 w 1152"/>
                <a:gd name="T11" fmla="*/ 656 h 1094"/>
                <a:gd name="T12" fmla="*/ 0 w 1152"/>
                <a:gd name="T13" fmla="*/ 547 h 1094"/>
                <a:gd name="T14" fmla="*/ 19 w 1152"/>
                <a:gd name="T15" fmla="*/ 411 h 1094"/>
                <a:gd name="T16" fmla="*/ 70 w 1152"/>
                <a:gd name="T17" fmla="*/ 287 h 1094"/>
                <a:gd name="T18" fmla="*/ 151 w 1152"/>
                <a:gd name="T19" fmla="*/ 180 h 1094"/>
                <a:gd name="T20" fmla="*/ 255 w 1152"/>
                <a:gd name="T21" fmla="*/ 94 h 1094"/>
                <a:gd name="T22" fmla="*/ 379 w 1152"/>
                <a:gd name="T23" fmla="*/ 33 h 1094"/>
                <a:gd name="T24" fmla="*/ 518 w 1152"/>
                <a:gd name="T25" fmla="*/ 3 h 1094"/>
                <a:gd name="T26" fmla="*/ 635 w 1152"/>
                <a:gd name="T27" fmla="*/ 3 h 1094"/>
                <a:gd name="T28" fmla="*/ 773 w 1152"/>
                <a:gd name="T29" fmla="*/ 33 h 1094"/>
                <a:gd name="T30" fmla="*/ 897 w 1152"/>
                <a:gd name="T31" fmla="*/ 94 h 1094"/>
                <a:gd name="T32" fmla="*/ 1001 w 1152"/>
                <a:gd name="T33" fmla="*/ 180 h 1094"/>
                <a:gd name="T34" fmla="*/ 1082 w 1152"/>
                <a:gd name="T35" fmla="*/ 287 h 1094"/>
                <a:gd name="T36" fmla="*/ 1133 w 1152"/>
                <a:gd name="T37" fmla="*/ 411 h 1094"/>
                <a:gd name="T38" fmla="*/ 1152 w 1152"/>
                <a:gd name="T39" fmla="*/ 547 h 1094"/>
                <a:gd name="T40" fmla="*/ 1139 w 1152"/>
                <a:gd name="T41" fmla="*/ 656 h 1094"/>
                <a:gd name="T42" fmla="*/ 1094 w 1152"/>
                <a:gd name="T43" fmla="*/ 783 h 1094"/>
                <a:gd name="T44" fmla="*/ 1020 w 1152"/>
                <a:gd name="T45" fmla="*/ 894 h 1094"/>
                <a:gd name="T46" fmla="*/ 919 w 1152"/>
                <a:gd name="T47" fmla="*/ 984 h 1094"/>
                <a:gd name="T48" fmla="*/ 800 w 1152"/>
                <a:gd name="T49" fmla="*/ 1051 h 1094"/>
                <a:gd name="T50" fmla="*/ 664 w 1152"/>
                <a:gd name="T51" fmla="*/ 1087 h 1094"/>
                <a:gd name="T52" fmla="*/ 577 w 1152"/>
                <a:gd name="T53" fmla="*/ 82 h 1094"/>
                <a:gd name="T54" fmla="*/ 492 w 1152"/>
                <a:gd name="T55" fmla="*/ 94 h 1094"/>
                <a:gd name="T56" fmla="*/ 404 w 1152"/>
                <a:gd name="T57" fmla="*/ 137 h 1094"/>
                <a:gd name="T58" fmla="*/ 336 w 1152"/>
                <a:gd name="T59" fmla="*/ 204 h 1094"/>
                <a:gd name="T60" fmla="*/ 285 w 1152"/>
                <a:gd name="T61" fmla="*/ 290 h 1094"/>
                <a:gd name="T62" fmla="*/ 253 w 1152"/>
                <a:gd name="T63" fmla="*/ 386 h 1094"/>
                <a:gd name="T64" fmla="*/ 234 w 1152"/>
                <a:gd name="T65" fmla="*/ 507 h 1094"/>
                <a:gd name="T66" fmla="*/ 240 w 1152"/>
                <a:gd name="T67" fmla="*/ 647 h 1094"/>
                <a:gd name="T68" fmla="*/ 264 w 1152"/>
                <a:gd name="T69" fmla="*/ 747 h 1094"/>
                <a:gd name="T70" fmla="*/ 303 w 1152"/>
                <a:gd name="T71" fmla="*/ 840 h 1094"/>
                <a:gd name="T72" fmla="*/ 360 w 1152"/>
                <a:gd name="T73" fmla="*/ 919 h 1094"/>
                <a:gd name="T74" fmla="*/ 437 w 1152"/>
                <a:gd name="T75" fmla="*/ 977 h 1094"/>
                <a:gd name="T76" fmla="*/ 533 w 1152"/>
                <a:gd name="T77" fmla="*/ 1008 h 1094"/>
                <a:gd name="T78" fmla="*/ 621 w 1152"/>
                <a:gd name="T79" fmla="*/ 1008 h 1094"/>
                <a:gd name="T80" fmla="*/ 716 w 1152"/>
                <a:gd name="T81" fmla="*/ 977 h 1094"/>
                <a:gd name="T82" fmla="*/ 793 w 1152"/>
                <a:gd name="T83" fmla="*/ 919 h 1094"/>
                <a:gd name="T84" fmla="*/ 850 w 1152"/>
                <a:gd name="T85" fmla="*/ 840 h 1094"/>
                <a:gd name="T86" fmla="*/ 890 w 1152"/>
                <a:gd name="T87" fmla="*/ 747 h 1094"/>
                <a:gd name="T88" fmla="*/ 912 w 1152"/>
                <a:gd name="T89" fmla="*/ 647 h 1094"/>
                <a:gd name="T90" fmla="*/ 918 w 1152"/>
                <a:gd name="T91" fmla="*/ 507 h 1094"/>
                <a:gd name="T92" fmla="*/ 901 w 1152"/>
                <a:gd name="T93" fmla="*/ 386 h 1094"/>
                <a:gd name="T94" fmla="*/ 867 w 1152"/>
                <a:gd name="T95" fmla="*/ 290 h 1094"/>
                <a:gd name="T96" fmla="*/ 817 w 1152"/>
                <a:gd name="T97" fmla="*/ 204 h 1094"/>
                <a:gd name="T98" fmla="*/ 749 w 1152"/>
                <a:gd name="T99" fmla="*/ 137 h 1094"/>
                <a:gd name="T100" fmla="*/ 662 w 1152"/>
                <a:gd name="T101" fmla="*/ 94 h 1094"/>
                <a:gd name="T102" fmla="*/ 577 w 1152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2" h="1094">
                  <a:moveTo>
                    <a:pt x="577" y="1094"/>
                  </a:moveTo>
                  <a:lnTo>
                    <a:pt x="577" y="1094"/>
                  </a:lnTo>
                  <a:lnTo>
                    <a:pt x="547" y="1093"/>
                  </a:lnTo>
                  <a:lnTo>
                    <a:pt x="518" y="1091"/>
                  </a:lnTo>
                  <a:lnTo>
                    <a:pt x="489" y="1087"/>
                  </a:lnTo>
                  <a:lnTo>
                    <a:pt x="460" y="1082"/>
                  </a:lnTo>
                  <a:lnTo>
                    <a:pt x="433" y="1076"/>
                  </a:lnTo>
                  <a:lnTo>
                    <a:pt x="406" y="1069"/>
                  </a:lnTo>
                  <a:lnTo>
                    <a:pt x="379" y="1060"/>
                  </a:lnTo>
                  <a:lnTo>
                    <a:pt x="353" y="1051"/>
                  </a:lnTo>
                  <a:lnTo>
                    <a:pt x="327" y="1039"/>
                  </a:lnTo>
                  <a:lnTo>
                    <a:pt x="303" y="1027"/>
                  </a:lnTo>
                  <a:lnTo>
                    <a:pt x="278" y="1014"/>
                  </a:lnTo>
                  <a:lnTo>
                    <a:pt x="255" y="1000"/>
                  </a:lnTo>
                  <a:lnTo>
                    <a:pt x="232" y="984"/>
                  </a:lnTo>
                  <a:lnTo>
                    <a:pt x="211" y="968"/>
                  </a:lnTo>
                  <a:lnTo>
                    <a:pt x="189" y="950"/>
                  </a:lnTo>
                  <a:lnTo>
                    <a:pt x="170" y="933"/>
                  </a:lnTo>
                  <a:lnTo>
                    <a:pt x="151" y="914"/>
                  </a:lnTo>
                  <a:lnTo>
                    <a:pt x="132" y="894"/>
                  </a:lnTo>
                  <a:lnTo>
                    <a:pt x="115" y="873"/>
                  </a:lnTo>
                  <a:lnTo>
                    <a:pt x="99" y="851"/>
                  </a:lnTo>
                  <a:lnTo>
                    <a:pt x="84" y="830"/>
                  </a:lnTo>
                  <a:lnTo>
                    <a:pt x="70" y="806"/>
                  </a:lnTo>
                  <a:lnTo>
                    <a:pt x="57" y="783"/>
                  </a:lnTo>
                  <a:lnTo>
                    <a:pt x="46" y="758"/>
                  </a:lnTo>
                  <a:lnTo>
                    <a:pt x="36" y="734"/>
                  </a:lnTo>
                  <a:lnTo>
                    <a:pt x="27" y="708"/>
                  </a:lnTo>
                  <a:lnTo>
                    <a:pt x="19" y="683"/>
                  </a:lnTo>
                  <a:lnTo>
                    <a:pt x="12" y="656"/>
                  </a:lnTo>
                  <a:lnTo>
                    <a:pt x="7" y="629"/>
                  </a:lnTo>
                  <a:lnTo>
                    <a:pt x="3" y="602"/>
                  </a:lnTo>
                  <a:lnTo>
                    <a:pt x="1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1" y="519"/>
                  </a:lnTo>
                  <a:lnTo>
                    <a:pt x="3" y="491"/>
                  </a:lnTo>
                  <a:lnTo>
                    <a:pt x="7" y="464"/>
                  </a:lnTo>
                  <a:lnTo>
                    <a:pt x="12" y="437"/>
                  </a:lnTo>
                  <a:lnTo>
                    <a:pt x="19" y="411"/>
                  </a:lnTo>
                  <a:lnTo>
                    <a:pt x="27" y="385"/>
                  </a:lnTo>
                  <a:lnTo>
                    <a:pt x="36" y="360"/>
                  </a:lnTo>
                  <a:lnTo>
                    <a:pt x="46" y="335"/>
                  </a:lnTo>
                  <a:lnTo>
                    <a:pt x="57" y="310"/>
                  </a:lnTo>
                  <a:lnTo>
                    <a:pt x="70" y="287"/>
                  </a:lnTo>
                  <a:lnTo>
                    <a:pt x="84" y="264"/>
                  </a:lnTo>
                  <a:lnTo>
                    <a:pt x="99" y="242"/>
                  </a:lnTo>
                  <a:lnTo>
                    <a:pt x="115" y="220"/>
                  </a:lnTo>
                  <a:lnTo>
                    <a:pt x="132" y="200"/>
                  </a:lnTo>
                  <a:lnTo>
                    <a:pt x="151" y="180"/>
                  </a:lnTo>
                  <a:lnTo>
                    <a:pt x="170" y="161"/>
                  </a:lnTo>
                  <a:lnTo>
                    <a:pt x="189" y="143"/>
                  </a:lnTo>
                  <a:lnTo>
                    <a:pt x="211" y="125"/>
                  </a:lnTo>
                  <a:lnTo>
                    <a:pt x="232" y="109"/>
                  </a:lnTo>
                  <a:lnTo>
                    <a:pt x="255" y="94"/>
                  </a:lnTo>
                  <a:lnTo>
                    <a:pt x="278" y="79"/>
                  </a:lnTo>
                  <a:lnTo>
                    <a:pt x="303" y="66"/>
                  </a:lnTo>
                  <a:lnTo>
                    <a:pt x="327" y="54"/>
                  </a:lnTo>
                  <a:lnTo>
                    <a:pt x="353" y="44"/>
                  </a:lnTo>
                  <a:lnTo>
                    <a:pt x="379" y="33"/>
                  </a:lnTo>
                  <a:lnTo>
                    <a:pt x="406" y="24"/>
                  </a:lnTo>
                  <a:lnTo>
                    <a:pt x="433" y="17"/>
                  </a:lnTo>
                  <a:lnTo>
                    <a:pt x="460" y="11"/>
                  </a:lnTo>
                  <a:lnTo>
                    <a:pt x="489" y="6"/>
                  </a:lnTo>
                  <a:lnTo>
                    <a:pt x="518" y="3"/>
                  </a:lnTo>
                  <a:lnTo>
                    <a:pt x="547" y="1"/>
                  </a:lnTo>
                  <a:lnTo>
                    <a:pt x="577" y="0"/>
                  </a:lnTo>
                  <a:lnTo>
                    <a:pt x="577" y="0"/>
                  </a:lnTo>
                  <a:lnTo>
                    <a:pt x="607" y="1"/>
                  </a:lnTo>
                  <a:lnTo>
                    <a:pt x="635" y="3"/>
                  </a:lnTo>
                  <a:lnTo>
                    <a:pt x="664" y="6"/>
                  </a:lnTo>
                  <a:lnTo>
                    <a:pt x="692" y="11"/>
                  </a:lnTo>
                  <a:lnTo>
                    <a:pt x="720" y="17"/>
                  </a:lnTo>
                  <a:lnTo>
                    <a:pt x="747" y="24"/>
                  </a:lnTo>
                  <a:lnTo>
                    <a:pt x="773" y="33"/>
                  </a:lnTo>
                  <a:lnTo>
                    <a:pt x="800" y="44"/>
                  </a:lnTo>
                  <a:lnTo>
                    <a:pt x="825" y="54"/>
                  </a:lnTo>
                  <a:lnTo>
                    <a:pt x="850" y="66"/>
                  </a:lnTo>
                  <a:lnTo>
                    <a:pt x="873" y="79"/>
                  </a:lnTo>
                  <a:lnTo>
                    <a:pt x="897" y="94"/>
                  </a:lnTo>
                  <a:lnTo>
                    <a:pt x="919" y="109"/>
                  </a:lnTo>
                  <a:lnTo>
                    <a:pt x="942" y="125"/>
                  </a:lnTo>
                  <a:lnTo>
                    <a:pt x="962" y="143"/>
                  </a:lnTo>
                  <a:lnTo>
                    <a:pt x="983" y="161"/>
                  </a:lnTo>
                  <a:lnTo>
                    <a:pt x="1001" y="180"/>
                  </a:lnTo>
                  <a:lnTo>
                    <a:pt x="1020" y="200"/>
                  </a:lnTo>
                  <a:lnTo>
                    <a:pt x="1037" y="220"/>
                  </a:lnTo>
                  <a:lnTo>
                    <a:pt x="1052" y="242"/>
                  </a:lnTo>
                  <a:lnTo>
                    <a:pt x="1068" y="264"/>
                  </a:lnTo>
                  <a:lnTo>
                    <a:pt x="1082" y="287"/>
                  </a:lnTo>
                  <a:lnTo>
                    <a:pt x="1094" y="310"/>
                  </a:lnTo>
                  <a:lnTo>
                    <a:pt x="1106" y="335"/>
                  </a:lnTo>
                  <a:lnTo>
                    <a:pt x="1116" y="360"/>
                  </a:lnTo>
                  <a:lnTo>
                    <a:pt x="1125" y="385"/>
                  </a:lnTo>
                  <a:lnTo>
                    <a:pt x="1133" y="411"/>
                  </a:lnTo>
                  <a:lnTo>
                    <a:pt x="1139" y="437"/>
                  </a:lnTo>
                  <a:lnTo>
                    <a:pt x="1144" y="464"/>
                  </a:lnTo>
                  <a:lnTo>
                    <a:pt x="1148" y="491"/>
                  </a:lnTo>
                  <a:lnTo>
                    <a:pt x="1151" y="519"/>
                  </a:lnTo>
                  <a:lnTo>
                    <a:pt x="1152" y="547"/>
                  </a:lnTo>
                  <a:lnTo>
                    <a:pt x="1152" y="547"/>
                  </a:lnTo>
                  <a:lnTo>
                    <a:pt x="1151" y="574"/>
                  </a:lnTo>
                  <a:lnTo>
                    <a:pt x="1148" y="602"/>
                  </a:lnTo>
                  <a:lnTo>
                    <a:pt x="1144" y="629"/>
                  </a:lnTo>
                  <a:lnTo>
                    <a:pt x="1139" y="656"/>
                  </a:lnTo>
                  <a:lnTo>
                    <a:pt x="1133" y="683"/>
                  </a:lnTo>
                  <a:lnTo>
                    <a:pt x="1125" y="708"/>
                  </a:lnTo>
                  <a:lnTo>
                    <a:pt x="1116" y="734"/>
                  </a:lnTo>
                  <a:lnTo>
                    <a:pt x="1106" y="758"/>
                  </a:lnTo>
                  <a:lnTo>
                    <a:pt x="1094" y="783"/>
                  </a:lnTo>
                  <a:lnTo>
                    <a:pt x="1082" y="806"/>
                  </a:lnTo>
                  <a:lnTo>
                    <a:pt x="1068" y="830"/>
                  </a:lnTo>
                  <a:lnTo>
                    <a:pt x="1052" y="851"/>
                  </a:lnTo>
                  <a:lnTo>
                    <a:pt x="1037" y="873"/>
                  </a:lnTo>
                  <a:lnTo>
                    <a:pt x="1020" y="894"/>
                  </a:lnTo>
                  <a:lnTo>
                    <a:pt x="1001" y="914"/>
                  </a:lnTo>
                  <a:lnTo>
                    <a:pt x="983" y="933"/>
                  </a:lnTo>
                  <a:lnTo>
                    <a:pt x="962" y="950"/>
                  </a:lnTo>
                  <a:lnTo>
                    <a:pt x="942" y="968"/>
                  </a:lnTo>
                  <a:lnTo>
                    <a:pt x="919" y="984"/>
                  </a:lnTo>
                  <a:lnTo>
                    <a:pt x="897" y="1000"/>
                  </a:lnTo>
                  <a:lnTo>
                    <a:pt x="873" y="1014"/>
                  </a:lnTo>
                  <a:lnTo>
                    <a:pt x="850" y="1027"/>
                  </a:lnTo>
                  <a:lnTo>
                    <a:pt x="825" y="1039"/>
                  </a:lnTo>
                  <a:lnTo>
                    <a:pt x="800" y="1051"/>
                  </a:lnTo>
                  <a:lnTo>
                    <a:pt x="773" y="1060"/>
                  </a:lnTo>
                  <a:lnTo>
                    <a:pt x="747" y="1069"/>
                  </a:lnTo>
                  <a:lnTo>
                    <a:pt x="720" y="1076"/>
                  </a:lnTo>
                  <a:lnTo>
                    <a:pt x="692" y="1082"/>
                  </a:lnTo>
                  <a:lnTo>
                    <a:pt x="664" y="1087"/>
                  </a:lnTo>
                  <a:lnTo>
                    <a:pt x="635" y="1091"/>
                  </a:lnTo>
                  <a:lnTo>
                    <a:pt x="607" y="1093"/>
                  </a:lnTo>
                  <a:lnTo>
                    <a:pt x="577" y="1094"/>
                  </a:lnTo>
                  <a:lnTo>
                    <a:pt x="577" y="1094"/>
                  </a:lnTo>
                  <a:close/>
                  <a:moveTo>
                    <a:pt x="577" y="82"/>
                  </a:moveTo>
                  <a:lnTo>
                    <a:pt x="577" y="82"/>
                  </a:lnTo>
                  <a:lnTo>
                    <a:pt x="554" y="83"/>
                  </a:lnTo>
                  <a:lnTo>
                    <a:pt x="533" y="86"/>
                  </a:lnTo>
                  <a:lnTo>
                    <a:pt x="511" y="90"/>
                  </a:lnTo>
                  <a:lnTo>
                    <a:pt x="492" y="94"/>
                  </a:lnTo>
                  <a:lnTo>
                    <a:pt x="473" y="100"/>
                  </a:lnTo>
                  <a:lnTo>
                    <a:pt x="454" y="108"/>
                  </a:lnTo>
                  <a:lnTo>
                    <a:pt x="437" y="116"/>
                  </a:lnTo>
                  <a:lnTo>
                    <a:pt x="419" y="125"/>
                  </a:lnTo>
                  <a:lnTo>
                    <a:pt x="404" y="137"/>
                  </a:lnTo>
                  <a:lnTo>
                    <a:pt x="389" y="148"/>
                  </a:lnTo>
                  <a:lnTo>
                    <a:pt x="374" y="161"/>
                  </a:lnTo>
                  <a:lnTo>
                    <a:pt x="360" y="174"/>
                  </a:lnTo>
                  <a:lnTo>
                    <a:pt x="348" y="189"/>
                  </a:lnTo>
                  <a:lnTo>
                    <a:pt x="336" y="204"/>
                  </a:lnTo>
                  <a:lnTo>
                    <a:pt x="324" y="219"/>
                  </a:lnTo>
                  <a:lnTo>
                    <a:pt x="313" y="237"/>
                  </a:lnTo>
                  <a:lnTo>
                    <a:pt x="303" y="253"/>
                  </a:lnTo>
                  <a:lnTo>
                    <a:pt x="294" y="272"/>
                  </a:lnTo>
                  <a:lnTo>
                    <a:pt x="285" y="290"/>
                  </a:lnTo>
                  <a:lnTo>
                    <a:pt x="277" y="308"/>
                  </a:lnTo>
                  <a:lnTo>
                    <a:pt x="270" y="327"/>
                  </a:lnTo>
                  <a:lnTo>
                    <a:pt x="264" y="346"/>
                  </a:lnTo>
                  <a:lnTo>
                    <a:pt x="258" y="367"/>
                  </a:lnTo>
                  <a:lnTo>
                    <a:pt x="253" y="386"/>
                  </a:lnTo>
                  <a:lnTo>
                    <a:pt x="248" y="407"/>
                  </a:lnTo>
                  <a:lnTo>
                    <a:pt x="245" y="426"/>
                  </a:lnTo>
                  <a:lnTo>
                    <a:pt x="240" y="446"/>
                  </a:lnTo>
                  <a:lnTo>
                    <a:pt x="238" y="467"/>
                  </a:lnTo>
                  <a:lnTo>
                    <a:pt x="234" y="507"/>
                  </a:lnTo>
                  <a:lnTo>
                    <a:pt x="233" y="547"/>
                  </a:lnTo>
                  <a:lnTo>
                    <a:pt x="233" y="547"/>
                  </a:lnTo>
                  <a:lnTo>
                    <a:pt x="234" y="587"/>
                  </a:lnTo>
                  <a:lnTo>
                    <a:pt x="238" y="626"/>
                  </a:lnTo>
                  <a:lnTo>
                    <a:pt x="240" y="647"/>
                  </a:lnTo>
                  <a:lnTo>
                    <a:pt x="245" y="667"/>
                  </a:lnTo>
                  <a:lnTo>
                    <a:pt x="248" y="687"/>
                  </a:lnTo>
                  <a:lnTo>
                    <a:pt x="253" y="707"/>
                  </a:lnTo>
                  <a:lnTo>
                    <a:pt x="258" y="728"/>
                  </a:lnTo>
                  <a:lnTo>
                    <a:pt x="264" y="747"/>
                  </a:lnTo>
                  <a:lnTo>
                    <a:pt x="270" y="766"/>
                  </a:lnTo>
                  <a:lnTo>
                    <a:pt x="277" y="785"/>
                  </a:lnTo>
                  <a:lnTo>
                    <a:pt x="285" y="804"/>
                  </a:lnTo>
                  <a:lnTo>
                    <a:pt x="294" y="822"/>
                  </a:lnTo>
                  <a:lnTo>
                    <a:pt x="303" y="840"/>
                  </a:lnTo>
                  <a:lnTo>
                    <a:pt x="313" y="857"/>
                  </a:lnTo>
                  <a:lnTo>
                    <a:pt x="324" y="874"/>
                  </a:lnTo>
                  <a:lnTo>
                    <a:pt x="336" y="889"/>
                  </a:lnTo>
                  <a:lnTo>
                    <a:pt x="348" y="904"/>
                  </a:lnTo>
                  <a:lnTo>
                    <a:pt x="360" y="919"/>
                  </a:lnTo>
                  <a:lnTo>
                    <a:pt x="374" y="932"/>
                  </a:lnTo>
                  <a:lnTo>
                    <a:pt x="389" y="945"/>
                  </a:lnTo>
                  <a:lnTo>
                    <a:pt x="404" y="957"/>
                  </a:lnTo>
                  <a:lnTo>
                    <a:pt x="419" y="968"/>
                  </a:lnTo>
                  <a:lnTo>
                    <a:pt x="437" y="977"/>
                  </a:lnTo>
                  <a:lnTo>
                    <a:pt x="454" y="986"/>
                  </a:lnTo>
                  <a:lnTo>
                    <a:pt x="473" y="993"/>
                  </a:lnTo>
                  <a:lnTo>
                    <a:pt x="492" y="1000"/>
                  </a:lnTo>
                  <a:lnTo>
                    <a:pt x="511" y="1005"/>
                  </a:lnTo>
                  <a:lnTo>
                    <a:pt x="533" y="1008"/>
                  </a:lnTo>
                  <a:lnTo>
                    <a:pt x="554" y="1010"/>
                  </a:lnTo>
                  <a:lnTo>
                    <a:pt x="577" y="1011"/>
                  </a:lnTo>
                  <a:lnTo>
                    <a:pt x="577" y="1011"/>
                  </a:lnTo>
                  <a:lnTo>
                    <a:pt x="599" y="1010"/>
                  </a:lnTo>
                  <a:lnTo>
                    <a:pt x="621" y="1008"/>
                  </a:lnTo>
                  <a:lnTo>
                    <a:pt x="641" y="1005"/>
                  </a:lnTo>
                  <a:lnTo>
                    <a:pt x="662" y="1000"/>
                  </a:lnTo>
                  <a:lnTo>
                    <a:pt x="680" y="993"/>
                  </a:lnTo>
                  <a:lnTo>
                    <a:pt x="699" y="986"/>
                  </a:lnTo>
                  <a:lnTo>
                    <a:pt x="716" y="977"/>
                  </a:lnTo>
                  <a:lnTo>
                    <a:pt x="733" y="968"/>
                  </a:lnTo>
                  <a:lnTo>
                    <a:pt x="749" y="957"/>
                  </a:lnTo>
                  <a:lnTo>
                    <a:pt x="764" y="945"/>
                  </a:lnTo>
                  <a:lnTo>
                    <a:pt x="778" y="932"/>
                  </a:lnTo>
                  <a:lnTo>
                    <a:pt x="793" y="919"/>
                  </a:lnTo>
                  <a:lnTo>
                    <a:pt x="805" y="904"/>
                  </a:lnTo>
                  <a:lnTo>
                    <a:pt x="817" y="889"/>
                  </a:lnTo>
                  <a:lnTo>
                    <a:pt x="828" y="874"/>
                  </a:lnTo>
                  <a:lnTo>
                    <a:pt x="840" y="857"/>
                  </a:lnTo>
                  <a:lnTo>
                    <a:pt x="850" y="840"/>
                  </a:lnTo>
                  <a:lnTo>
                    <a:pt x="859" y="822"/>
                  </a:lnTo>
                  <a:lnTo>
                    <a:pt x="867" y="804"/>
                  </a:lnTo>
                  <a:lnTo>
                    <a:pt x="875" y="785"/>
                  </a:lnTo>
                  <a:lnTo>
                    <a:pt x="883" y="766"/>
                  </a:lnTo>
                  <a:lnTo>
                    <a:pt x="890" y="747"/>
                  </a:lnTo>
                  <a:lnTo>
                    <a:pt x="895" y="728"/>
                  </a:lnTo>
                  <a:lnTo>
                    <a:pt x="901" y="707"/>
                  </a:lnTo>
                  <a:lnTo>
                    <a:pt x="905" y="687"/>
                  </a:lnTo>
                  <a:lnTo>
                    <a:pt x="909" y="667"/>
                  </a:lnTo>
                  <a:lnTo>
                    <a:pt x="912" y="647"/>
                  </a:lnTo>
                  <a:lnTo>
                    <a:pt x="915" y="626"/>
                  </a:lnTo>
                  <a:lnTo>
                    <a:pt x="918" y="587"/>
                  </a:lnTo>
                  <a:lnTo>
                    <a:pt x="920" y="547"/>
                  </a:lnTo>
                  <a:lnTo>
                    <a:pt x="920" y="547"/>
                  </a:lnTo>
                  <a:lnTo>
                    <a:pt x="918" y="507"/>
                  </a:lnTo>
                  <a:lnTo>
                    <a:pt x="915" y="467"/>
                  </a:lnTo>
                  <a:lnTo>
                    <a:pt x="912" y="446"/>
                  </a:lnTo>
                  <a:lnTo>
                    <a:pt x="909" y="426"/>
                  </a:lnTo>
                  <a:lnTo>
                    <a:pt x="905" y="407"/>
                  </a:lnTo>
                  <a:lnTo>
                    <a:pt x="901" y="386"/>
                  </a:lnTo>
                  <a:lnTo>
                    <a:pt x="895" y="367"/>
                  </a:lnTo>
                  <a:lnTo>
                    <a:pt x="890" y="346"/>
                  </a:lnTo>
                  <a:lnTo>
                    <a:pt x="883" y="327"/>
                  </a:lnTo>
                  <a:lnTo>
                    <a:pt x="875" y="308"/>
                  </a:lnTo>
                  <a:lnTo>
                    <a:pt x="867" y="290"/>
                  </a:lnTo>
                  <a:lnTo>
                    <a:pt x="859" y="272"/>
                  </a:lnTo>
                  <a:lnTo>
                    <a:pt x="850" y="253"/>
                  </a:lnTo>
                  <a:lnTo>
                    <a:pt x="840" y="237"/>
                  </a:lnTo>
                  <a:lnTo>
                    <a:pt x="828" y="219"/>
                  </a:lnTo>
                  <a:lnTo>
                    <a:pt x="817" y="204"/>
                  </a:lnTo>
                  <a:lnTo>
                    <a:pt x="805" y="189"/>
                  </a:lnTo>
                  <a:lnTo>
                    <a:pt x="793" y="174"/>
                  </a:lnTo>
                  <a:lnTo>
                    <a:pt x="778" y="161"/>
                  </a:lnTo>
                  <a:lnTo>
                    <a:pt x="764" y="148"/>
                  </a:lnTo>
                  <a:lnTo>
                    <a:pt x="749" y="137"/>
                  </a:lnTo>
                  <a:lnTo>
                    <a:pt x="733" y="125"/>
                  </a:lnTo>
                  <a:lnTo>
                    <a:pt x="716" y="116"/>
                  </a:lnTo>
                  <a:lnTo>
                    <a:pt x="699" y="108"/>
                  </a:lnTo>
                  <a:lnTo>
                    <a:pt x="680" y="100"/>
                  </a:lnTo>
                  <a:lnTo>
                    <a:pt x="662" y="94"/>
                  </a:lnTo>
                  <a:lnTo>
                    <a:pt x="641" y="90"/>
                  </a:lnTo>
                  <a:lnTo>
                    <a:pt x="621" y="86"/>
                  </a:lnTo>
                  <a:lnTo>
                    <a:pt x="599" y="83"/>
                  </a:lnTo>
                  <a:lnTo>
                    <a:pt x="577" y="82"/>
                  </a:lnTo>
                  <a:lnTo>
                    <a:pt x="577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2447926" y="893763"/>
              <a:ext cx="155575" cy="141288"/>
            </a:xfrm>
            <a:custGeom>
              <a:avLst/>
              <a:gdLst>
                <a:gd name="T0" fmla="*/ 922 w 1165"/>
                <a:gd name="T1" fmla="*/ 252 h 1065"/>
                <a:gd name="T2" fmla="*/ 921 w 1165"/>
                <a:gd name="T3" fmla="*/ 194 h 1065"/>
                <a:gd name="T4" fmla="*/ 916 w 1165"/>
                <a:gd name="T5" fmla="*/ 148 h 1065"/>
                <a:gd name="T6" fmla="*/ 906 w 1165"/>
                <a:gd name="T7" fmla="*/ 113 h 1065"/>
                <a:gd name="T8" fmla="*/ 896 w 1165"/>
                <a:gd name="T9" fmla="*/ 92 h 1065"/>
                <a:gd name="T10" fmla="*/ 888 w 1165"/>
                <a:gd name="T11" fmla="*/ 81 h 1065"/>
                <a:gd name="T12" fmla="*/ 877 w 1165"/>
                <a:gd name="T13" fmla="*/ 73 h 1065"/>
                <a:gd name="T14" fmla="*/ 857 w 1165"/>
                <a:gd name="T15" fmla="*/ 63 h 1065"/>
                <a:gd name="T16" fmla="*/ 825 w 1165"/>
                <a:gd name="T17" fmla="*/ 54 h 1065"/>
                <a:gd name="T18" fmla="*/ 782 w 1165"/>
                <a:gd name="T19" fmla="*/ 50 h 1065"/>
                <a:gd name="T20" fmla="*/ 756 w 1165"/>
                <a:gd name="T21" fmla="*/ 0 h 1065"/>
                <a:gd name="T22" fmla="*/ 1165 w 1165"/>
                <a:gd name="T23" fmla="*/ 50 h 1065"/>
                <a:gd name="T24" fmla="*/ 1139 w 1165"/>
                <a:gd name="T25" fmla="*/ 50 h 1065"/>
                <a:gd name="T26" fmla="*/ 1096 w 1165"/>
                <a:gd name="T27" fmla="*/ 54 h 1065"/>
                <a:gd name="T28" fmla="*/ 1062 w 1165"/>
                <a:gd name="T29" fmla="*/ 63 h 1065"/>
                <a:gd name="T30" fmla="*/ 1042 w 1165"/>
                <a:gd name="T31" fmla="*/ 73 h 1065"/>
                <a:gd name="T32" fmla="*/ 1032 w 1165"/>
                <a:gd name="T33" fmla="*/ 81 h 1065"/>
                <a:gd name="T34" fmla="*/ 1023 w 1165"/>
                <a:gd name="T35" fmla="*/ 92 h 1065"/>
                <a:gd name="T36" fmla="*/ 1014 w 1165"/>
                <a:gd name="T37" fmla="*/ 113 h 1065"/>
                <a:gd name="T38" fmla="*/ 1005 w 1165"/>
                <a:gd name="T39" fmla="*/ 148 h 1065"/>
                <a:gd name="T40" fmla="*/ 1000 w 1165"/>
                <a:gd name="T41" fmla="*/ 194 h 1065"/>
                <a:gd name="T42" fmla="*/ 999 w 1165"/>
                <a:gd name="T43" fmla="*/ 252 h 1065"/>
                <a:gd name="T44" fmla="*/ 955 w 1165"/>
                <a:gd name="T45" fmla="*/ 1065 h 1065"/>
                <a:gd name="T46" fmla="*/ 242 w 1165"/>
                <a:gd name="T47" fmla="*/ 783 h 1065"/>
                <a:gd name="T48" fmla="*/ 242 w 1165"/>
                <a:gd name="T49" fmla="*/ 814 h 1065"/>
                <a:gd name="T50" fmla="*/ 245 w 1165"/>
                <a:gd name="T51" fmla="*/ 866 h 1065"/>
                <a:gd name="T52" fmla="*/ 251 w 1165"/>
                <a:gd name="T53" fmla="*/ 906 h 1065"/>
                <a:gd name="T54" fmla="*/ 263 w 1165"/>
                <a:gd name="T55" fmla="*/ 937 h 1065"/>
                <a:gd name="T56" fmla="*/ 271 w 1165"/>
                <a:gd name="T57" fmla="*/ 949 h 1065"/>
                <a:gd name="T58" fmla="*/ 281 w 1165"/>
                <a:gd name="T59" fmla="*/ 958 h 1065"/>
                <a:gd name="T60" fmla="*/ 292 w 1165"/>
                <a:gd name="T61" fmla="*/ 966 h 1065"/>
                <a:gd name="T62" fmla="*/ 322 w 1165"/>
                <a:gd name="T63" fmla="*/ 978 h 1065"/>
                <a:gd name="T64" fmla="*/ 359 w 1165"/>
                <a:gd name="T65" fmla="*/ 984 h 1065"/>
                <a:gd name="T66" fmla="*/ 407 w 1165"/>
                <a:gd name="T67" fmla="*/ 985 h 1065"/>
                <a:gd name="T68" fmla="*/ 0 w 1165"/>
                <a:gd name="T69" fmla="*/ 1035 h 1065"/>
                <a:gd name="T70" fmla="*/ 0 w 1165"/>
                <a:gd name="T71" fmla="*/ 985 h 1065"/>
                <a:gd name="T72" fmla="*/ 49 w 1165"/>
                <a:gd name="T73" fmla="*/ 984 h 1065"/>
                <a:gd name="T74" fmla="*/ 86 w 1165"/>
                <a:gd name="T75" fmla="*/ 978 h 1065"/>
                <a:gd name="T76" fmla="*/ 115 w 1165"/>
                <a:gd name="T77" fmla="*/ 966 h 1065"/>
                <a:gd name="T78" fmla="*/ 126 w 1165"/>
                <a:gd name="T79" fmla="*/ 958 h 1065"/>
                <a:gd name="T80" fmla="*/ 135 w 1165"/>
                <a:gd name="T81" fmla="*/ 949 h 1065"/>
                <a:gd name="T82" fmla="*/ 144 w 1165"/>
                <a:gd name="T83" fmla="*/ 937 h 1065"/>
                <a:gd name="T84" fmla="*/ 155 w 1165"/>
                <a:gd name="T85" fmla="*/ 906 h 1065"/>
                <a:gd name="T86" fmla="*/ 161 w 1165"/>
                <a:gd name="T87" fmla="*/ 866 h 1065"/>
                <a:gd name="T88" fmla="*/ 164 w 1165"/>
                <a:gd name="T89" fmla="*/ 814 h 1065"/>
                <a:gd name="T90" fmla="*/ 164 w 1165"/>
                <a:gd name="T91" fmla="*/ 252 h 1065"/>
                <a:gd name="T92" fmla="*/ 164 w 1165"/>
                <a:gd name="T93" fmla="*/ 221 h 1065"/>
                <a:gd name="T94" fmla="*/ 161 w 1165"/>
                <a:gd name="T95" fmla="*/ 169 h 1065"/>
                <a:gd name="T96" fmla="*/ 155 w 1165"/>
                <a:gd name="T97" fmla="*/ 129 h 1065"/>
                <a:gd name="T98" fmla="*/ 144 w 1165"/>
                <a:gd name="T99" fmla="*/ 98 h 1065"/>
                <a:gd name="T100" fmla="*/ 135 w 1165"/>
                <a:gd name="T101" fmla="*/ 86 h 1065"/>
                <a:gd name="T102" fmla="*/ 126 w 1165"/>
                <a:gd name="T103" fmla="*/ 77 h 1065"/>
                <a:gd name="T104" fmla="*/ 115 w 1165"/>
                <a:gd name="T105" fmla="*/ 69 h 1065"/>
                <a:gd name="T106" fmla="*/ 86 w 1165"/>
                <a:gd name="T107" fmla="*/ 58 h 1065"/>
                <a:gd name="T108" fmla="*/ 49 w 1165"/>
                <a:gd name="T109" fmla="*/ 51 h 1065"/>
                <a:gd name="T110" fmla="*/ 0 w 1165"/>
                <a:gd name="T111" fmla="*/ 50 h 1065"/>
                <a:gd name="T112" fmla="*/ 345 w 1165"/>
                <a:gd name="T113" fmla="*/ 0 h 1065"/>
                <a:gd name="T114" fmla="*/ 922 w 1165"/>
                <a:gd name="T115" fmla="*/ 25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65" h="1065">
                  <a:moveTo>
                    <a:pt x="922" y="252"/>
                  </a:moveTo>
                  <a:lnTo>
                    <a:pt x="922" y="252"/>
                  </a:lnTo>
                  <a:lnTo>
                    <a:pt x="921" y="221"/>
                  </a:lnTo>
                  <a:lnTo>
                    <a:pt x="921" y="194"/>
                  </a:lnTo>
                  <a:lnTo>
                    <a:pt x="919" y="169"/>
                  </a:lnTo>
                  <a:lnTo>
                    <a:pt x="916" y="148"/>
                  </a:lnTo>
                  <a:lnTo>
                    <a:pt x="912" y="129"/>
                  </a:lnTo>
                  <a:lnTo>
                    <a:pt x="906" y="113"/>
                  </a:lnTo>
                  <a:lnTo>
                    <a:pt x="900" y="98"/>
                  </a:lnTo>
                  <a:lnTo>
                    <a:pt x="896" y="92"/>
                  </a:lnTo>
                  <a:lnTo>
                    <a:pt x="892" y="86"/>
                  </a:lnTo>
                  <a:lnTo>
                    <a:pt x="888" y="81"/>
                  </a:lnTo>
                  <a:lnTo>
                    <a:pt x="883" y="77"/>
                  </a:lnTo>
                  <a:lnTo>
                    <a:pt x="877" y="73"/>
                  </a:lnTo>
                  <a:lnTo>
                    <a:pt x="872" y="69"/>
                  </a:lnTo>
                  <a:lnTo>
                    <a:pt x="857" y="63"/>
                  </a:lnTo>
                  <a:lnTo>
                    <a:pt x="842" y="58"/>
                  </a:lnTo>
                  <a:lnTo>
                    <a:pt x="825" y="54"/>
                  </a:lnTo>
                  <a:lnTo>
                    <a:pt x="804" y="51"/>
                  </a:lnTo>
                  <a:lnTo>
                    <a:pt x="782" y="50"/>
                  </a:lnTo>
                  <a:lnTo>
                    <a:pt x="756" y="50"/>
                  </a:lnTo>
                  <a:lnTo>
                    <a:pt x="756" y="0"/>
                  </a:lnTo>
                  <a:lnTo>
                    <a:pt x="1165" y="0"/>
                  </a:lnTo>
                  <a:lnTo>
                    <a:pt x="1165" y="50"/>
                  </a:lnTo>
                  <a:lnTo>
                    <a:pt x="1165" y="50"/>
                  </a:lnTo>
                  <a:lnTo>
                    <a:pt x="1139" y="50"/>
                  </a:lnTo>
                  <a:lnTo>
                    <a:pt x="1116" y="51"/>
                  </a:lnTo>
                  <a:lnTo>
                    <a:pt x="1096" y="54"/>
                  </a:lnTo>
                  <a:lnTo>
                    <a:pt x="1078" y="58"/>
                  </a:lnTo>
                  <a:lnTo>
                    <a:pt x="1062" y="63"/>
                  </a:lnTo>
                  <a:lnTo>
                    <a:pt x="1049" y="69"/>
                  </a:lnTo>
                  <a:lnTo>
                    <a:pt x="1042" y="73"/>
                  </a:lnTo>
                  <a:lnTo>
                    <a:pt x="1037" y="77"/>
                  </a:lnTo>
                  <a:lnTo>
                    <a:pt x="1032" y="81"/>
                  </a:lnTo>
                  <a:lnTo>
                    <a:pt x="1028" y="86"/>
                  </a:lnTo>
                  <a:lnTo>
                    <a:pt x="1023" y="92"/>
                  </a:lnTo>
                  <a:lnTo>
                    <a:pt x="1020" y="98"/>
                  </a:lnTo>
                  <a:lnTo>
                    <a:pt x="1014" y="113"/>
                  </a:lnTo>
                  <a:lnTo>
                    <a:pt x="1009" y="129"/>
                  </a:lnTo>
                  <a:lnTo>
                    <a:pt x="1005" y="148"/>
                  </a:lnTo>
                  <a:lnTo>
                    <a:pt x="1002" y="169"/>
                  </a:lnTo>
                  <a:lnTo>
                    <a:pt x="1000" y="194"/>
                  </a:lnTo>
                  <a:lnTo>
                    <a:pt x="999" y="221"/>
                  </a:lnTo>
                  <a:lnTo>
                    <a:pt x="999" y="252"/>
                  </a:lnTo>
                  <a:lnTo>
                    <a:pt x="999" y="1065"/>
                  </a:lnTo>
                  <a:lnTo>
                    <a:pt x="955" y="1065"/>
                  </a:lnTo>
                  <a:lnTo>
                    <a:pt x="242" y="212"/>
                  </a:lnTo>
                  <a:lnTo>
                    <a:pt x="242" y="783"/>
                  </a:lnTo>
                  <a:lnTo>
                    <a:pt x="242" y="783"/>
                  </a:lnTo>
                  <a:lnTo>
                    <a:pt x="242" y="814"/>
                  </a:lnTo>
                  <a:lnTo>
                    <a:pt x="243" y="842"/>
                  </a:lnTo>
                  <a:lnTo>
                    <a:pt x="245" y="866"/>
                  </a:lnTo>
                  <a:lnTo>
                    <a:pt x="248" y="888"/>
                  </a:lnTo>
                  <a:lnTo>
                    <a:pt x="251" y="906"/>
                  </a:lnTo>
                  <a:lnTo>
                    <a:pt x="256" y="923"/>
                  </a:lnTo>
                  <a:lnTo>
                    <a:pt x="263" y="937"/>
                  </a:lnTo>
                  <a:lnTo>
                    <a:pt x="266" y="943"/>
                  </a:lnTo>
                  <a:lnTo>
                    <a:pt x="271" y="949"/>
                  </a:lnTo>
                  <a:lnTo>
                    <a:pt x="276" y="954"/>
                  </a:lnTo>
                  <a:lnTo>
                    <a:pt x="281" y="958"/>
                  </a:lnTo>
                  <a:lnTo>
                    <a:pt x="286" y="963"/>
                  </a:lnTo>
                  <a:lnTo>
                    <a:pt x="292" y="966"/>
                  </a:lnTo>
                  <a:lnTo>
                    <a:pt x="305" y="973"/>
                  </a:lnTo>
                  <a:lnTo>
                    <a:pt x="322" y="978"/>
                  </a:lnTo>
                  <a:lnTo>
                    <a:pt x="339" y="982"/>
                  </a:lnTo>
                  <a:lnTo>
                    <a:pt x="359" y="984"/>
                  </a:lnTo>
                  <a:lnTo>
                    <a:pt x="382" y="985"/>
                  </a:lnTo>
                  <a:lnTo>
                    <a:pt x="407" y="985"/>
                  </a:lnTo>
                  <a:lnTo>
                    <a:pt x="407" y="1035"/>
                  </a:lnTo>
                  <a:lnTo>
                    <a:pt x="0" y="1035"/>
                  </a:lnTo>
                  <a:lnTo>
                    <a:pt x="0" y="985"/>
                  </a:lnTo>
                  <a:lnTo>
                    <a:pt x="0" y="985"/>
                  </a:lnTo>
                  <a:lnTo>
                    <a:pt x="26" y="985"/>
                  </a:lnTo>
                  <a:lnTo>
                    <a:pt x="49" y="984"/>
                  </a:lnTo>
                  <a:lnTo>
                    <a:pt x="69" y="982"/>
                  </a:lnTo>
                  <a:lnTo>
                    <a:pt x="86" y="978"/>
                  </a:lnTo>
                  <a:lnTo>
                    <a:pt x="102" y="973"/>
                  </a:lnTo>
                  <a:lnTo>
                    <a:pt x="115" y="966"/>
                  </a:lnTo>
                  <a:lnTo>
                    <a:pt x="121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5" y="949"/>
                  </a:lnTo>
                  <a:lnTo>
                    <a:pt x="141" y="943"/>
                  </a:lnTo>
                  <a:lnTo>
                    <a:pt x="144" y="937"/>
                  </a:lnTo>
                  <a:lnTo>
                    <a:pt x="150" y="923"/>
                  </a:lnTo>
                  <a:lnTo>
                    <a:pt x="155" y="906"/>
                  </a:lnTo>
                  <a:lnTo>
                    <a:pt x="159" y="888"/>
                  </a:lnTo>
                  <a:lnTo>
                    <a:pt x="161" y="866"/>
                  </a:lnTo>
                  <a:lnTo>
                    <a:pt x="163" y="842"/>
                  </a:lnTo>
                  <a:lnTo>
                    <a:pt x="164" y="814"/>
                  </a:lnTo>
                  <a:lnTo>
                    <a:pt x="164" y="783"/>
                  </a:lnTo>
                  <a:lnTo>
                    <a:pt x="164" y="252"/>
                  </a:lnTo>
                  <a:lnTo>
                    <a:pt x="164" y="252"/>
                  </a:lnTo>
                  <a:lnTo>
                    <a:pt x="164" y="221"/>
                  </a:lnTo>
                  <a:lnTo>
                    <a:pt x="163" y="194"/>
                  </a:lnTo>
                  <a:lnTo>
                    <a:pt x="161" y="169"/>
                  </a:lnTo>
                  <a:lnTo>
                    <a:pt x="159" y="148"/>
                  </a:lnTo>
                  <a:lnTo>
                    <a:pt x="155" y="129"/>
                  </a:lnTo>
                  <a:lnTo>
                    <a:pt x="150" y="113"/>
                  </a:lnTo>
                  <a:lnTo>
                    <a:pt x="144" y="98"/>
                  </a:lnTo>
                  <a:lnTo>
                    <a:pt x="141" y="92"/>
                  </a:lnTo>
                  <a:lnTo>
                    <a:pt x="135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6" y="58"/>
                  </a:lnTo>
                  <a:lnTo>
                    <a:pt x="69" y="54"/>
                  </a:lnTo>
                  <a:lnTo>
                    <a:pt x="49" y="51"/>
                  </a:lnTo>
                  <a:lnTo>
                    <a:pt x="26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345" y="0"/>
                  </a:lnTo>
                  <a:lnTo>
                    <a:pt x="922" y="686"/>
                  </a:lnTo>
                  <a:lnTo>
                    <a:pt x="922" y="2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2636838" y="893763"/>
              <a:ext cx="127000" cy="136525"/>
            </a:xfrm>
            <a:custGeom>
              <a:avLst/>
              <a:gdLst>
                <a:gd name="T0" fmla="*/ 25 w 959"/>
                <a:gd name="T1" fmla="*/ 985 h 1035"/>
                <a:gd name="T2" fmla="*/ 86 w 959"/>
                <a:gd name="T3" fmla="*/ 978 h 1035"/>
                <a:gd name="T4" fmla="*/ 120 w 959"/>
                <a:gd name="T5" fmla="*/ 963 h 1035"/>
                <a:gd name="T6" fmla="*/ 136 w 959"/>
                <a:gd name="T7" fmla="*/ 949 h 1035"/>
                <a:gd name="T8" fmla="*/ 150 w 959"/>
                <a:gd name="T9" fmla="*/ 923 h 1035"/>
                <a:gd name="T10" fmla="*/ 161 w 959"/>
                <a:gd name="T11" fmla="*/ 866 h 1035"/>
                <a:gd name="T12" fmla="*/ 163 w 959"/>
                <a:gd name="T13" fmla="*/ 783 h 1035"/>
                <a:gd name="T14" fmla="*/ 163 w 959"/>
                <a:gd name="T15" fmla="*/ 221 h 1035"/>
                <a:gd name="T16" fmla="*/ 158 w 959"/>
                <a:gd name="T17" fmla="*/ 148 h 1035"/>
                <a:gd name="T18" fmla="*/ 143 w 959"/>
                <a:gd name="T19" fmla="*/ 98 h 1035"/>
                <a:gd name="T20" fmla="*/ 131 w 959"/>
                <a:gd name="T21" fmla="*/ 81 h 1035"/>
                <a:gd name="T22" fmla="*/ 114 w 959"/>
                <a:gd name="T23" fmla="*/ 69 h 1035"/>
                <a:gd name="T24" fmla="*/ 68 w 959"/>
                <a:gd name="T25" fmla="*/ 54 h 1035"/>
                <a:gd name="T26" fmla="*/ 0 w 959"/>
                <a:gd name="T27" fmla="*/ 50 h 1035"/>
                <a:gd name="T28" fmla="*/ 902 w 959"/>
                <a:gd name="T29" fmla="*/ 244 h 1035"/>
                <a:gd name="T30" fmla="*/ 843 w 959"/>
                <a:gd name="T31" fmla="*/ 209 h 1035"/>
                <a:gd name="T32" fmla="*/ 824 w 959"/>
                <a:gd name="T33" fmla="*/ 150 h 1035"/>
                <a:gd name="T34" fmla="*/ 803 w 959"/>
                <a:gd name="T35" fmla="*/ 118 h 1035"/>
                <a:gd name="T36" fmla="*/ 770 w 959"/>
                <a:gd name="T37" fmla="*/ 95 h 1035"/>
                <a:gd name="T38" fmla="*/ 719 w 959"/>
                <a:gd name="T39" fmla="*/ 82 h 1035"/>
                <a:gd name="T40" fmla="*/ 643 w 959"/>
                <a:gd name="T41" fmla="*/ 78 h 1035"/>
                <a:gd name="T42" fmla="*/ 474 w 959"/>
                <a:gd name="T43" fmla="*/ 449 h 1035"/>
                <a:gd name="T44" fmla="*/ 532 w 959"/>
                <a:gd name="T45" fmla="*/ 447 h 1035"/>
                <a:gd name="T46" fmla="*/ 597 w 959"/>
                <a:gd name="T47" fmla="*/ 439 h 1035"/>
                <a:gd name="T48" fmla="*/ 634 w 959"/>
                <a:gd name="T49" fmla="*/ 424 h 1035"/>
                <a:gd name="T50" fmla="*/ 649 w 959"/>
                <a:gd name="T51" fmla="*/ 410 h 1035"/>
                <a:gd name="T52" fmla="*/ 662 w 959"/>
                <a:gd name="T53" fmla="*/ 385 h 1035"/>
                <a:gd name="T54" fmla="*/ 673 w 959"/>
                <a:gd name="T55" fmla="*/ 332 h 1035"/>
                <a:gd name="T56" fmla="*/ 725 w 959"/>
                <a:gd name="T57" fmla="*/ 283 h 1035"/>
                <a:gd name="T58" fmla="*/ 675 w 959"/>
                <a:gd name="T59" fmla="*/ 691 h 1035"/>
                <a:gd name="T60" fmla="*/ 671 w 959"/>
                <a:gd name="T61" fmla="*/ 623 h 1035"/>
                <a:gd name="T62" fmla="*/ 656 w 959"/>
                <a:gd name="T63" fmla="*/ 576 h 1035"/>
                <a:gd name="T64" fmla="*/ 644 w 959"/>
                <a:gd name="T65" fmla="*/ 560 h 1035"/>
                <a:gd name="T66" fmla="*/ 628 w 959"/>
                <a:gd name="T67" fmla="*/ 547 h 1035"/>
                <a:gd name="T68" fmla="*/ 578 w 959"/>
                <a:gd name="T69" fmla="*/ 532 h 1035"/>
                <a:gd name="T70" fmla="*/ 505 w 959"/>
                <a:gd name="T71" fmla="*/ 527 h 1035"/>
                <a:gd name="T72" fmla="*/ 379 w 959"/>
                <a:gd name="T73" fmla="*/ 756 h 1035"/>
                <a:gd name="T74" fmla="*/ 380 w 959"/>
                <a:gd name="T75" fmla="*/ 814 h 1035"/>
                <a:gd name="T76" fmla="*/ 389 w 959"/>
                <a:gd name="T77" fmla="*/ 879 h 1035"/>
                <a:gd name="T78" fmla="*/ 405 w 959"/>
                <a:gd name="T79" fmla="*/ 915 h 1035"/>
                <a:gd name="T80" fmla="*/ 418 w 959"/>
                <a:gd name="T81" fmla="*/ 932 h 1035"/>
                <a:gd name="T82" fmla="*/ 444 w 959"/>
                <a:gd name="T83" fmla="*/ 946 h 1035"/>
                <a:gd name="T84" fmla="*/ 497 w 959"/>
                <a:gd name="T85" fmla="*/ 956 h 1035"/>
                <a:gd name="T86" fmla="*/ 700 w 959"/>
                <a:gd name="T87" fmla="*/ 957 h 1035"/>
                <a:gd name="T88" fmla="*/ 753 w 959"/>
                <a:gd name="T89" fmla="*/ 955 h 1035"/>
                <a:gd name="T90" fmla="*/ 813 w 959"/>
                <a:gd name="T91" fmla="*/ 946 h 1035"/>
                <a:gd name="T92" fmla="*/ 852 w 959"/>
                <a:gd name="T93" fmla="*/ 927 h 1035"/>
                <a:gd name="T94" fmla="*/ 876 w 959"/>
                <a:gd name="T95" fmla="*/ 897 h 1035"/>
                <a:gd name="T96" fmla="*/ 891 w 959"/>
                <a:gd name="T97" fmla="*/ 858 h 1035"/>
                <a:gd name="T98" fmla="*/ 959 w 959"/>
                <a:gd name="T99" fmla="*/ 792 h 1035"/>
                <a:gd name="T100" fmla="*/ 0 w 959"/>
                <a:gd name="T101" fmla="*/ 98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59" h="1035">
                  <a:moveTo>
                    <a:pt x="0" y="985"/>
                  </a:moveTo>
                  <a:lnTo>
                    <a:pt x="0" y="985"/>
                  </a:lnTo>
                  <a:lnTo>
                    <a:pt x="25" y="985"/>
                  </a:lnTo>
                  <a:lnTo>
                    <a:pt x="48" y="984"/>
                  </a:lnTo>
                  <a:lnTo>
                    <a:pt x="68" y="982"/>
                  </a:lnTo>
                  <a:lnTo>
                    <a:pt x="86" y="978"/>
                  </a:lnTo>
                  <a:lnTo>
                    <a:pt x="101" y="973"/>
                  </a:lnTo>
                  <a:lnTo>
                    <a:pt x="114" y="966"/>
                  </a:lnTo>
                  <a:lnTo>
                    <a:pt x="120" y="963"/>
                  </a:lnTo>
                  <a:lnTo>
                    <a:pt x="126" y="958"/>
                  </a:lnTo>
                  <a:lnTo>
                    <a:pt x="131" y="954"/>
                  </a:lnTo>
                  <a:lnTo>
                    <a:pt x="136" y="949"/>
                  </a:lnTo>
                  <a:lnTo>
                    <a:pt x="140" y="943"/>
                  </a:lnTo>
                  <a:lnTo>
                    <a:pt x="143" y="937"/>
                  </a:lnTo>
                  <a:lnTo>
                    <a:pt x="150" y="923"/>
                  </a:lnTo>
                  <a:lnTo>
                    <a:pt x="154" y="906"/>
                  </a:lnTo>
                  <a:lnTo>
                    <a:pt x="158" y="888"/>
                  </a:lnTo>
                  <a:lnTo>
                    <a:pt x="161" y="866"/>
                  </a:lnTo>
                  <a:lnTo>
                    <a:pt x="162" y="842"/>
                  </a:lnTo>
                  <a:lnTo>
                    <a:pt x="163" y="814"/>
                  </a:lnTo>
                  <a:lnTo>
                    <a:pt x="163" y="783"/>
                  </a:lnTo>
                  <a:lnTo>
                    <a:pt x="163" y="252"/>
                  </a:lnTo>
                  <a:lnTo>
                    <a:pt x="163" y="252"/>
                  </a:lnTo>
                  <a:lnTo>
                    <a:pt x="163" y="221"/>
                  </a:lnTo>
                  <a:lnTo>
                    <a:pt x="162" y="194"/>
                  </a:lnTo>
                  <a:lnTo>
                    <a:pt x="161" y="169"/>
                  </a:lnTo>
                  <a:lnTo>
                    <a:pt x="158" y="148"/>
                  </a:lnTo>
                  <a:lnTo>
                    <a:pt x="154" y="129"/>
                  </a:lnTo>
                  <a:lnTo>
                    <a:pt x="150" y="113"/>
                  </a:lnTo>
                  <a:lnTo>
                    <a:pt x="143" y="98"/>
                  </a:lnTo>
                  <a:lnTo>
                    <a:pt x="140" y="92"/>
                  </a:lnTo>
                  <a:lnTo>
                    <a:pt x="136" y="86"/>
                  </a:lnTo>
                  <a:lnTo>
                    <a:pt x="131" y="81"/>
                  </a:lnTo>
                  <a:lnTo>
                    <a:pt x="126" y="77"/>
                  </a:lnTo>
                  <a:lnTo>
                    <a:pt x="120" y="73"/>
                  </a:lnTo>
                  <a:lnTo>
                    <a:pt x="114" y="69"/>
                  </a:lnTo>
                  <a:lnTo>
                    <a:pt x="101" y="63"/>
                  </a:lnTo>
                  <a:lnTo>
                    <a:pt x="86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888" y="0"/>
                  </a:lnTo>
                  <a:lnTo>
                    <a:pt x="902" y="244"/>
                  </a:lnTo>
                  <a:lnTo>
                    <a:pt x="852" y="244"/>
                  </a:lnTo>
                  <a:lnTo>
                    <a:pt x="843" y="209"/>
                  </a:lnTo>
                  <a:lnTo>
                    <a:pt x="843" y="209"/>
                  </a:lnTo>
                  <a:lnTo>
                    <a:pt x="834" y="177"/>
                  </a:lnTo>
                  <a:lnTo>
                    <a:pt x="830" y="163"/>
                  </a:lnTo>
                  <a:lnTo>
                    <a:pt x="824" y="150"/>
                  </a:lnTo>
                  <a:lnTo>
                    <a:pt x="818" y="138"/>
                  </a:lnTo>
                  <a:lnTo>
                    <a:pt x="812" y="127"/>
                  </a:lnTo>
                  <a:lnTo>
                    <a:pt x="803" y="118"/>
                  </a:lnTo>
                  <a:lnTo>
                    <a:pt x="794" y="109"/>
                  </a:lnTo>
                  <a:lnTo>
                    <a:pt x="783" y="101"/>
                  </a:lnTo>
                  <a:lnTo>
                    <a:pt x="770" y="95"/>
                  </a:lnTo>
                  <a:lnTo>
                    <a:pt x="755" y="90"/>
                  </a:lnTo>
                  <a:lnTo>
                    <a:pt x="738" y="85"/>
                  </a:lnTo>
                  <a:lnTo>
                    <a:pt x="719" y="82"/>
                  </a:lnTo>
                  <a:lnTo>
                    <a:pt x="696" y="80"/>
                  </a:lnTo>
                  <a:lnTo>
                    <a:pt x="672" y="78"/>
                  </a:lnTo>
                  <a:lnTo>
                    <a:pt x="643" y="78"/>
                  </a:lnTo>
                  <a:lnTo>
                    <a:pt x="379" y="78"/>
                  </a:lnTo>
                  <a:lnTo>
                    <a:pt x="379" y="449"/>
                  </a:lnTo>
                  <a:lnTo>
                    <a:pt x="474" y="449"/>
                  </a:lnTo>
                  <a:lnTo>
                    <a:pt x="474" y="449"/>
                  </a:lnTo>
                  <a:lnTo>
                    <a:pt x="505" y="448"/>
                  </a:lnTo>
                  <a:lnTo>
                    <a:pt x="532" y="447"/>
                  </a:lnTo>
                  <a:lnTo>
                    <a:pt x="557" y="446"/>
                  </a:lnTo>
                  <a:lnTo>
                    <a:pt x="578" y="443"/>
                  </a:lnTo>
                  <a:lnTo>
                    <a:pt x="597" y="439"/>
                  </a:lnTo>
                  <a:lnTo>
                    <a:pt x="613" y="434"/>
                  </a:lnTo>
                  <a:lnTo>
                    <a:pt x="628" y="428"/>
                  </a:lnTo>
                  <a:lnTo>
                    <a:pt x="634" y="424"/>
                  </a:lnTo>
                  <a:lnTo>
                    <a:pt x="639" y="419"/>
                  </a:lnTo>
                  <a:lnTo>
                    <a:pt x="644" y="415"/>
                  </a:lnTo>
                  <a:lnTo>
                    <a:pt x="649" y="410"/>
                  </a:lnTo>
                  <a:lnTo>
                    <a:pt x="653" y="404"/>
                  </a:lnTo>
                  <a:lnTo>
                    <a:pt x="656" y="398"/>
                  </a:lnTo>
                  <a:lnTo>
                    <a:pt x="662" y="385"/>
                  </a:lnTo>
                  <a:lnTo>
                    <a:pt x="667" y="369"/>
                  </a:lnTo>
                  <a:lnTo>
                    <a:pt x="671" y="352"/>
                  </a:lnTo>
                  <a:lnTo>
                    <a:pt x="673" y="332"/>
                  </a:lnTo>
                  <a:lnTo>
                    <a:pt x="674" y="309"/>
                  </a:lnTo>
                  <a:lnTo>
                    <a:pt x="675" y="283"/>
                  </a:lnTo>
                  <a:lnTo>
                    <a:pt x="725" y="283"/>
                  </a:lnTo>
                  <a:lnTo>
                    <a:pt x="725" y="691"/>
                  </a:lnTo>
                  <a:lnTo>
                    <a:pt x="675" y="691"/>
                  </a:lnTo>
                  <a:lnTo>
                    <a:pt x="675" y="691"/>
                  </a:lnTo>
                  <a:lnTo>
                    <a:pt x="674" y="666"/>
                  </a:lnTo>
                  <a:lnTo>
                    <a:pt x="673" y="643"/>
                  </a:lnTo>
                  <a:lnTo>
                    <a:pt x="671" y="623"/>
                  </a:lnTo>
                  <a:lnTo>
                    <a:pt x="667" y="605"/>
                  </a:lnTo>
                  <a:lnTo>
                    <a:pt x="662" y="589"/>
                  </a:lnTo>
                  <a:lnTo>
                    <a:pt x="656" y="576"/>
                  </a:lnTo>
                  <a:lnTo>
                    <a:pt x="653" y="570"/>
                  </a:lnTo>
                  <a:lnTo>
                    <a:pt x="649" y="565"/>
                  </a:lnTo>
                  <a:lnTo>
                    <a:pt x="644" y="560"/>
                  </a:lnTo>
                  <a:lnTo>
                    <a:pt x="639" y="554"/>
                  </a:lnTo>
                  <a:lnTo>
                    <a:pt x="634" y="550"/>
                  </a:lnTo>
                  <a:lnTo>
                    <a:pt x="628" y="547"/>
                  </a:lnTo>
                  <a:lnTo>
                    <a:pt x="613" y="540"/>
                  </a:lnTo>
                  <a:lnTo>
                    <a:pt x="597" y="536"/>
                  </a:lnTo>
                  <a:lnTo>
                    <a:pt x="578" y="532"/>
                  </a:lnTo>
                  <a:lnTo>
                    <a:pt x="557" y="529"/>
                  </a:lnTo>
                  <a:lnTo>
                    <a:pt x="532" y="528"/>
                  </a:lnTo>
                  <a:lnTo>
                    <a:pt x="505" y="527"/>
                  </a:lnTo>
                  <a:lnTo>
                    <a:pt x="474" y="527"/>
                  </a:lnTo>
                  <a:lnTo>
                    <a:pt x="379" y="527"/>
                  </a:lnTo>
                  <a:lnTo>
                    <a:pt x="379" y="756"/>
                  </a:lnTo>
                  <a:lnTo>
                    <a:pt x="379" y="756"/>
                  </a:lnTo>
                  <a:lnTo>
                    <a:pt x="379" y="787"/>
                  </a:lnTo>
                  <a:lnTo>
                    <a:pt x="380" y="814"/>
                  </a:lnTo>
                  <a:lnTo>
                    <a:pt x="382" y="839"/>
                  </a:lnTo>
                  <a:lnTo>
                    <a:pt x="385" y="860"/>
                  </a:lnTo>
                  <a:lnTo>
                    <a:pt x="389" y="879"/>
                  </a:lnTo>
                  <a:lnTo>
                    <a:pt x="394" y="896"/>
                  </a:lnTo>
                  <a:lnTo>
                    <a:pt x="401" y="909"/>
                  </a:lnTo>
                  <a:lnTo>
                    <a:pt x="405" y="915"/>
                  </a:lnTo>
                  <a:lnTo>
                    <a:pt x="409" y="921"/>
                  </a:lnTo>
                  <a:lnTo>
                    <a:pt x="413" y="927"/>
                  </a:lnTo>
                  <a:lnTo>
                    <a:pt x="418" y="932"/>
                  </a:lnTo>
                  <a:lnTo>
                    <a:pt x="424" y="936"/>
                  </a:lnTo>
                  <a:lnTo>
                    <a:pt x="429" y="939"/>
                  </a:lnTo>
                  <a:lnTo>
                    <a:pt x="444" y="946"/>
                  </a:lnTo>
                  <a:lnTo>
                    <a:pt x="459" y="950"/>
                  </a:lnTo>
                  <a:lnTo>
                    <a:pt x="476" y="954"/>
                  </a:lnTo>
                  <a:lnTo>
                    <a:pt x="497" y="956"/>
                  </a:lnTo>
                  <a:lnTo>
                    <a:pt x="519" y="957"/>
                  </a:lnTo>
                  <a:lnTo>
                    <a:pt x="545" y="957"/>
                  </a:lnTo>
                  <a:lnTo>
                    <a:pt x="700" y="957"/>
                  </a:lnTo>
                  <a:lnTo>
                    <a:pt x="700" y="957"/>
                  </a:lnTo>
                  <a:lnTo>
                    <a:pt x="729" y="957"/>
                  </a:lnTo>
                  <a:lnTo>
                    <a:pt x="753" y="955"/>
                  </a:lnTo>
                  <a:lnTo>
                    <a:pt x="776" y="953"/>
                  </a:lnTo>
                  <a:lnTo>
                    <a:pt x="795" y="950"/>
                  </a:lnTo>
                  <a:lnTo>
                    <a:pt x="813" y="946"/>
                  </a:lnTo>
                  <a:lnTo>
                    <a:pt x="827" y="940"/>
                  </a:lnTo>
                  <a:lnTo>
                    <a:pt x="840" y="934"/>
                  </a:lnTo>
                  <a:lnTo>
                    <a:pt x="852" y="927"/>
                  </a:lnTo>
                  <a:lnTo>
                    <a:pt x="861" y="917"/>
                  </a:lnTo>
                  <a:lnTo>
                    <a:pt x="869" y="908"/>
                  </a:lnTo>
                  <a:lnTo>
                    <a:pt x="876" y="897"/>
                  </a:lnTo>
                  <a:lnTo>
                    <a:pt x="882" y="886"/>
                  </a:lnTo>
                  <a:lnTo>
                    <a:pt x="887" y="872"/>
                  </a:lnTo>
                  <a:lnTo>
                    <a:pt x="891" y="858"/>
                  </a:lnTo>
                  <a:lnTo>
                    <a:pt x="901" y="826"/>
                  </a:lnTo>
                  <a:lnTo>
                    <a:pt x="909" y="792"/>
                  </a:lnTo>
                  <a:lnTo>
                    <a:pt x="959" y="792"/>
                  </a:lnTo>
                  <a:lnTo>
                    <a:pt x="946" y="1035"/>
                  </a:lnTo>
                  <a:lnTo>
                    <a:pt x="0" y="1035"/>
                  </a:lnTo>
                  <a:lnTo>
                    <a:pt x="0" y="9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2798763" y="893763"/>
              <a:ext cx="152400" cy="141288"/>
            </a:xfrm>
            <a:custGeom>
              <a:avLst/>
              <a:gdLst>
                <a:gd name="T0" fmla="*/ 1159 w 1159"/>
                <a:gd name="T1" fmla="*/ 50 h 1065"/>
                <a:gd name="T2" fmla="*/ 1091 w 1159"/>
                <a:gd name="T3" fmla="*/ 54 h 1065"/>
                <a:gd name="T4" fmla="*/ 1039 w 1159"/>
                <a:gd name="T5" fmla="*/ 73 h 1065"/>
                <a:gd name="T6" fmla="*/ 1019 w 1159"/>
                <a:gd name="T7" fmla="*/ 92 h 1065"/>
                <a:gd name="T8" fmla="*/ 1001 w 1159"/>
                <a:gd name="T9" fmla="*/ 148 h 1065"/>
                <a:gd name="T10" fmla="*/ 996 w 1159"/>
                <a:gd name="T11" fmla="*/ 252 h 1065"/>
                <a:gd name="T12" fmla="*/ 994 w 1159"/>
                <a:gd name="T13" fmla="*/ 700 h 1065"/>
                <a:gd name="T14" fmla="*/ 976 w 1159"/>
                <a:gd name="T15" fmla="*/ 790 h 1065"/>
                <a:gd name="T16" fmla="*/ 944 w 1159"/>
                <a:gd name="T17" fmla="*/ 866 h 1065"/>
                <a:gd name="T18" fmla="*/ 899 w 1159"/>
                <a:gd name="T19" fmla="*/ 932 h 1065"/>
                <a:gd name="T20" fmla="*/ 843 w 1159"/>
                <a:gd name="T21" fmla="*/ 984 h 1065"/>
                <a:gd name="T22" fmla="*/ 777 w 1159"/>
                <a:gd name="T23" fmla="*/ 1023 h 1065"/>
                <a:gd name="T24" fmla="*/ 702 w 1159"/>
                <a:gd name="T25" fmla="*/ 1049 h 1065"/>
                <a:gd name="T26" fmla="*/ 621 w 1159"/>
                <a:gd name="T27" fmla="*/ 1063 h 1065"/>
                <a:gd name="T28" fmla="*/ 558 w 1159"/>
                <a:gd name="T29" fmla="*/ 1065 h 1065"/>
                <a:gd name="T30" fmla="*/ 476 w 1159"/>
                <a:gd name="T31" fmla="*/ 1054 h 1065"/>
                <a:gd name="T32" fmla="*/ 399 w 1159"/>
                <a:gd name="T33" fmla="*/ 1031 h 1065"/>
                <a:gd name="T34" fmla="*/ 331 w 1159"/>
                <a:gd name="T35" fmla="*/ 995 h 1065"/>
                <a:gd name="T36" fmla="*/ 273 w 1159"/>
                <a:gd name="T37" fmla="*/ 946 h 1065"/>
                <a:gd name="T38" fmla="*/ 226 w 1159"/>
                <a:gd name="T39" fmla="*/ 884 h 1065"/>
                <a:gd name="T40" fmla="*/ 191 w 1159"/>
                <a:gd name="T41" fmla="*/ 810 h 1065"/>
                <a:gd name="T42" fmla="*/ 170 w 1159"/>
                <a:gd name="T43" fmla="*/ 723 h 1065"/>
                <a:gd name="T44" fmla="*/ 165 w 1159"/>
                <a:gd name="T45" fmla="*/ 252 h 1065"/>
                <a:gd name="T46" fmla="*/ 162 w 1159"/>
                <a:gd name="T47" fmla="*/ 169 h 1065"/>
                <a:gd name="T48" fmla="*/ 145 w 1159"/>
                <a:gd name="T49" fmla="*/ 98 h 1065"/>
                <a:gd name="T50" fmla="*/ 126 w 1159"/>
                <a:gd name="T51" fmla="*/ 77 h 1065"/>
                <a:gd name="T52" fmla="*/ 87 w 1159"/>
                <a:gd name="T53" fmla="*/ 58 h 1065"/>
                <a:gd name="T54" fmla="*/ 0 w 1159"/>
                <a:gd name="T55" fmla="*/ 50 h 1065"/>
                <a:gd name="T56" fmla="*/ 547 w 1159"/>
                <a:gd name="T57" fmla="*/ 50 h 1065"/>
                <a:gd name="T58" fmla="*/ 460 w 1159"/>
                <a:gd name="T59" fmla="*/ 58 h 1065"/>
                <a:gd name="T60" fmla="*/ 419 w 1159"/>
                <a:gd name="T61" fmla="*/ 77 h 1065"/>
                <a:gd name="T62" fmla="*/ 402 w 1159"/>
                <a:gd name="T63" fmla="*/ 98 h 1065"/>
                <a:gd name="T64" fmla="*/ 384 w 1159"/>
                <a:gd name="T65" fmla="*/ 169 h 1065"/>
                <a:gd name="T66" fmla="*/ 381 w 1159"/>
                <a:gd name="T67" fmla="*/ 631 h 1065"/>
                <a:gd name="T68" fmla="*/ 384 w 1159"/>
                <a:gd name="T69" fmla="*/ 691 h 1065"/>
                <a:gd name="T70" fmla="*/ 397 w 1159"/>
                <a:gd name="T71" fmla="*/ 761 h 1065"/>
                <a:gd name="T72" fmla="*/ 420 w 1159"/>
                <a:gd name="T73" fmla="*/ 819 h 1065"/>
                <a:gd name="T74" fmla="*/ 451 w 1159"/>
                <a:gd name="T75" fmla="*/ 867 h 1065"/>
                <a:gd name="T76" fmla="*/ 488 w 1159"/>
                <a:gd name="T77" fmla="*/ 905 h 1065"/>
                <a:gd name="T78" fmla="*/ 532 w 1159"/>
                <a:gd name="T79" fmla="*/ 933 h 1065"/>
                <a:gd name="T80" fmla="*/ 581 w 1159"/>
                <a:gd name="T81" fmla="*/ 950 h 1065"/>
                <a:gd name="T82" fmla="*/ 635 w 1159"/>
                <a:gd name="T83" fmla="*/ 957 h 1065"/>
                <a:gd name="T84" fmla="*/ 676 w 1159"/>
                <a:gd name="T85" fmla="*/ 956 h 1065"/>
                <a:gd name="T86" fmla="*/ 727 w 1159"/>
                <a:gd name="T87" fmla="*/ 947 h 1065"/>
                <a:gd name="T88" fmla="*/ 773 w 1159"/>
                <a:gd name="T89" fmla="*/ 927 h 1065"/>
                <a:gd name="T90" fmla="*/ 814 w 1159"/>
                <a:gd name="T91" fmla="*/ 897 h 1065"/>
                <a:gd name="T92" fmla="*/ 847 w 1159"/>
                <a:gd name="T93" fmla="*/ 857 h 1065"/>
                <a:gd name="T94" fmla="*/ 873 w 1159"/>
                <a:gd name="T95" fmla="*/ 806 h 1065"/>
                <a:gd name="T96" fmla="*/ 891 w 1159"/>
                <a:gd name="T97" fmla="*/ 745 h 1065"/>
                <a:gd name="T98" fmla="*/ 901 w 1159"/>
                <a:gd name="T99" fmla="*/ 672 h 1065"/>
                <a:gd name="T100" fmla="*/ 903 w 1159"/>
                <a:gd name="T101" fmla="*/ 252 h 1065"/>
                <a:gd name="T102" fmla="*/ 896 w 1159"/>
                <a:gd name="T103" fmla="*/ 148 h 1065"/>
                <a:gd name="T104" fmla="*/ 878 w 1159"/>
                <a:gd name="T105" fmla="*/ 92 h 1065"/>
                <a:gd name="T106" fmla="*/ 859 w 1159"/>
                <a:gd name="T107" fmla="*/ 73 h 1065"/>
                <a:gd name="T108" fmla="*/ 805 w 1159"/>
                <a:gd name="T109" fmla="*/ 54 h 1065"/>
                <a:gd name="T110" fmla="*/ 737 w 1159"/>
                <a:gd name="T111" fmla="*/ 50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59" h="1065">
                  <a:moveTo>
                    <a:pt x="737" y="50"/>
                  </a:moveTo>
                  <a:lnTo>
                    <a:pt x="737" y="0"/>
                  </a:lnTo>
                  <a:lnTo>
                    <a:pt x="1159" y="0"/>
                  </a:lnTo>
                  <a:lnTo>
                    <a:pt x="1159" y="50"/>
                  </a:lnTo>
                  <a:lnTo>
                    <a:pt x="1159" y="50"/>
                  </a:lnTo>
                  <a:lnTo>
                    <a:pt x="1134" y="50"/>
                  </a:lnTo>
                  <a:lnTo>
                    <a:pt x="1111" y="51"/>
                  </a:lnTo>
                  <a:lnTo>
                    <a:pt x="1091" y="54"/>
                  </a:lnTo>
                  <a:lnTo>
                    <a:pt x="1073" y="58"/>
                  </a:lnTo>
                  <a:lnTo>
                    <a:pt x="1058" y="63"/>
                  </a:lnTo>
                  <a:lnTo>
                    <a:pt x="1045" y="69"/>
                  </a:lnTo>
                  <a:lnTo>
                    <a:pt x="1039" y="73"/>
                  </a:lnTo>
                  <a:lnTo>
                    <a:pt x="1033" y="77"/>
                  </a:lnTo>
                  <a:lnTo>
                    <a:pt x="1028" y="81"/>
                  </a:lnTo>
                  <a:lnTo>
                    <a:pt x="1023" y="86"/>
                  </a:lnTo>
                  <a:lnTo>
                    <a:pt x="1019" y="92"/>
                  </a:lnTo>
                  <a:lnTo>
                    <a:pt x="1016" y="98"/>
                  </a:lnTo>
                  <a:lnTo>
                    <a:pt x="1009" y="113"/>
                  </a:lnTo>
                  <a:lnTo>
                    <a:pt x="1005" y="129"/>
                  </a:lnTo>
                  <a:lnTo>
                    <a:pt x="1001" y="148"/>
                  </a:lnTo>
                  <a:lnTo>
                    <a:pt x="998" y="169"/>
                  </a:lnTo>
                  <a:lnTo>
                    <a:pt x="997" y="194"/>
                  </a:lnTo>
                  <a:lnTo>
                    <a:pt x="996" y="221"/>
                  </a:lnTo>
                  <a:lnTo>
                    <a:pt x="996" y="252"/>
                  </a:lnTo>
                  <a:lnTo>
                    <a:pt x="996" y="651"/>
                  </a:lnTo>
                  <a:lnTo>
                    <a:pt x="996" y="651"/>
                  </a:lnTo>
                  <a:lnTo>
                    <a:pt x="995" y="675"/>
                  </a:lnTo>
                  <a:lnTo>
                    <a:pt x="994" y="700"/>
                  </a:lnTo>
                  <a:lnTo>
                    <a:pt x="990" y="723"/>
                  </a:lnTo>
                  <a:lnTo>
                    <a:pt x="986" y="746"/>
                  </a:lnTo>
                  <a:lnTo>
                    <a:pt x="982" y="768"/>
                  </a:lnTo>
                  <a:lnTo>
                    <a:pt x="976" y="790"/>
                  </a:lnTo>
                  <a:lnTo>
                    <a:pt x="970" y="810"/>
                  </a:lnTo>
                  <a:lnTo>
                    <a:pt x="962" y="829"/>
                  </a:lnTo>
                  <a:lnTo>
                    <a:pt x="954" y="849"/>
                  </a:lnTo>
                  <a:lnTo>
                    <a:pt x="944" y="866"/>
                  </a:lnTo>
                  <a:lnTo>
                    <a:pt x="934" y="884"/>
                  </a:lnTo>
                  <a:lnTo>
                    <a:pt x="924" y="901"/>
                  </a:lnTo>
                  <a:lnTo>
                    <a:pt x="912" y="916"/>
                  </a:lnTo>
                  <a:lnTo>
                    <a:pt x="899" y="932"/>
                  </a:lnTo>
                  <a:lnTo>
                    <a:pt x="886" y="946"/>
                  </a:lnTo>
                  <a:lnTo>
                    <a:pt x="873" y="959"/>
                  </a:lnTo>
                  <a:lnTo>
                    <a:pt x="859" y="972"/>
                  </a:lnTo>
                  <a:lnTo>
                    <a:pt x="843" y="984"/>
                  </a:lnTo>
                  <a:lnTo>
                    <a:pt x="828" y="995"/>
                  </a:lnTo>
                  <a:lnTo>
                    <a:pt x="812" y="1005"/>
                  </a:lnTo>
                  <a:lnTo>
                    <a:pt x="794" y="1015"/>
                  </a:lnTo>
                  <a:lnTo>
                    <a:pt x="777" y="1023"/>
                  </a:lnTo>
                  <a:lnTo>
                    <a:pt x="759" y="1031"/>
                  </a:lnTo>
                  <a:lnTo>
                    <a:pt x="741" y="1038"/>
                  </a:lnTo>
                  <a:lnTo>
                    <a:pt x="722" y="1044"/>
                  </a:lnTo>
                  <a:lnTo>
                    <a:pt x="702" y="1049"/>
                  </a:lnTo>
                  <a:lnTo>
                    <a:pt x="683" y="1054"/>
                  </a:lnTo>
                  <a:lnTo>
                    <a:pt x="662" y="1057"/>
                  </a:lnTo>
                  <a:lnTo>
                    <a:pt x="643" y="1061"/>
                  </a:lnTo>
                  <a:lnTo>
                    <a:pt x="621" y="1063"/>
                  </a:lnTo>
                  <a:lnTo>
                    <a:pt x="601" y="1065"/>
                  </a:lnTo>
                  <a:lnTo>
                    <a:pt x="579" y="1065"/>
                  </a:lnTo>
                  <a:lnTo>
                    <a:pt x="579" y="1065"/>
                  </a:lnTo>
                  <a:lnTo>
                    <a:pt x="558" y="1065"/>
                  </a:lnTo>
                  <a:lnTo>
                    <a:pt x="538" y="1063"/>
                  </a:lnTo>
                  <a:lnTo>
                    <a:pt x="516" y="1061"/>
                  </a:lnTo>
                  <a:lnTo>
                    <a:pt x="496" y="1057"/>
                  </a:lnTo>
                  <a:lnTo>
                    <a:pt x="476" y="1054"/>
                  </a:lnTo>
                  <a:lnTo>
                    <a:pt x="456" y="1049"/>
                  </a:lnTo>
                  <a:lnTo>
                    <a:pt x="437" y="1044"/>
                  </a:lnTo>
                  <a:lnTo>
                    <a:pt x="418" y="1038"/>
                  </a:lnTo>
                  <a:lnTo>
                    <a:pt x="399" y="1031"/>
                  </a:lnTo>
                  <a:lnTo>
                    <a:pt x="382" y="1023"/>
                  </a:lnTo>
                  <a:lnTo>
                    <a:pt x="365" y="1015"/>
                  </a:lnTo>
                  <a:lnTo>
                    <a:pt x="347" y="1005"/>
                  </a:lnTo>
                  <a:lnTo>
                    <a:pt x="331" y="995"/>
                  </a:lnTo>
                  <a:lnTo>
                    <a:pt x="316" y="984"/>
                  </a:lnTo>
                  <a:lnTo>
                    <a:pt x="301" y="972"/>
                  </a:lnTo>
                  <a:lnTo>
                    <a:pt x="286" y="959"/>
                  </a:lnTo>
                  <a:lnTo>
                    <a:pt x="273" y="946"/>
                  </a:lnTo>
                  <a:lnTo>
                    <a:pt x="259" y="932"/>
                  </a:lnTo>
                  <a:lnTo>
                    <a:pt x="247" y="916"/>
                  </a:lnTo>
                  <a:lnTo>
                    <a:pt x="236" y="901"/>
                  </a:lnTo>
                  <a:lnTo>
                    <a:pt x="226" y="884"/>
                  </a:lnTo>
                  <a:lnTo>
                    <a:pt x="215" y="866"/>
                  </a:lnTo>
                  <a:lnTo>
                    <a:pt x="206" y="849"/>
                  </a:lnTo>
                  <a:lnTo>
                    <a:pt x="198" y="829"/>
                  </a:lnTo>
                  <a:lnTo>
                    <a:pt x="191" y="810"/>
                  </a:lnTo>
                  <a:lnTo>
                    <a:pt x="184" y="790"/>
                  </a:lnTo>
                  <a:lnTo>
                    <a:pt x="179" y="768"/>
                  </a:lnTo>
                  <a:lnTo>
                    <a:pt x="174" y="746"/>
                  </a:lnTo>
                  <a:lnTo>
                    <a:pt x="170" y="723"/>
                  </a:lnTo>
                  <a:lnTo>
                    <a:pt x="167" y="700"/>
                  </a:lnTo>
                  <a:lnTo>
                    <a:pt x="166" y="675"/>
                  </a:lnTo>
                  <a:lnTo>
                    <a:pt x="165" y="651"/>
                  </a:lnTo>
                  <a:lnTo>
                    <a:pt x="165" y="252"/>
                  </a:lnTo>
                  <a:lnTo>
                    <a:pt x="165" y="252"/>
                  </a:lnTo>
                  <a:lnTo>
                    <a:pt x="165" y="221"/>
                  </a:lnTo>
                  <a:lnTo>
                    <a:pt x="164" y="194"/>
                  </a:lnTo>
                  <a:lnTo>
                    <a:pt x="162" y="169"/>
                  </a:lnTo>
                  <a:lnTo>
                    <a:pt x="160" y="148"/>
                  </a:lnTo>
                  <a:lnTo>
                    <a:pt x="156" y="129"/>
                  </a:lnTo>
                  <a:lnTo>
                    <a:pt x="151" y="113"/>
                  </a:lnTo>
                  <a:lnTo>
                    <a:pt x="145" y="98"/>
                  </a:lnTo>
                  <a:lnTo>
                    <a:pt x="141" y="92"/>
                  </a:lnTo>
                  <a:lnTo>
                    <a:pt x="137" y="86"/>
                  </a:lnTo>
                  <a:lnTo>
                    <a:pt x="132" y="81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15" y="69"/>
                  </a:lnTo>
                  <a:lnTo>
                    <a:pt x="102" y="63"/>
                  </a:lnTo>
                  <a:lnTo>
                    <a:pt x="87" y="58"/>
                  </a:lnTo>
                  <a:lnTo>
                    <a:pt x="68" y="54"/>
                  </a:lnTo>
                  <a:lnTo>
                    <a:pt x="48" y="51"/>
                  </a:lnTo>
                  <a:lnTo>
                    <a:pt x="25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47" y="0"/>
                  </a:lnTo>
                  <a:lnTo>
                    <a:pt x="547" y="50"/>
                  </a:lnTo>
                  <a:lnTo>
                    <a:pt x="547" y="50"/>
                  </a:lnTo>
                  <a:lnTo>
                    <a:pt x="521" y="50"/>
                  </a:lnTo>
                  <a:lnTo>
                    <a:pt x="498" y="51"/>
                  </a:lnTo>
                  <a:lnTo>
                    <a:pt x="477" y="54"/>
                  </a:lnTo>
                  <a:lnTo>
                    <a:pt x="460" y="58"/>
                  </a:lnTo>
                  <a:lnTo>
                    <a:pt x="444" y="63"/>
                  </a:lnTo>
                  <a:lnTo>
                    <a:pt x="430" y="69"/>
                  </a:lnTo>
                  <a:lnTo>
                    <a:pt x="425" y="73"/>
                  </a:lnTo>
                  <a:lnTo>
                    <a:pt x="419" y="77"/>
                  </a:lnTo>
                  <a:lnTo>
                    <a:pt x="414" y="81"/>
                  </a:lnTo>
                  <a:lnTo>
                    <a:pt x="410" y="86"/>
                  </a:lnTo>
                  <a:lnTo>
                    <a:pt x="406" y="92"/>
                  </a:lnTo>
                  <a:lnTo>
                    <a:pt x="402" y="98"/>
                  </a:lnTo>
                  <a:lnTo>
                    <a:pt x="395" y="113"/>
                  </a:lnTo>
                  <a:lnTo>
                    <a:pt x="390" y="129"/>
                  </a:lnTo>
                  <a:lnTo>
                    <a:pt x="386" y="148"/>
                  </a:lnTo>
                  <a:lnTo>
                    <a:pt x="384" y="169"/>
                  </a:lnTo>
                  <a:lnTo>
                    <a:pt x="382" y="194"/>
                  </a:lnTo>
                  <a:lnTo>
                    <a:pt x="381" y="221"/>
                  </a:lnTo>
                  <a:lnTo>
                    <a:pt x="381" y="252"/>
                  </a:lnTo>
                  <a:lnTo>
                    <a:pt x="381" y="631"/>
                  </a:lnTo>
                  <a:lnTo>
                    <a:pt x="381" y="631"/>
                  </a:lnTo>
                  <a:lnTo>
                    <a:pt x="381" y="652"/>
                  </a:lnTo>
                  <a:lnTo>
                    <a:pt x="382" y="672"/>
                  </a:lnTo>
                  <a:lnTo>
                    <a:pt x="384" y="691"/>
                  </a:lnTo>
                  <a:lnTo>
                    <a:pt x="386" y="710"/>
                  </a:lnTo>
                  <a:lnTo>
                    <a:pt x="389" y="727"/>
                  </a:lnTo>
                  <a:lnTo>
                    <a:pt x="393" y="745"/>
                  </a:lnTo>
                  <a:lnTo>
                    <a:pt x="397" y="761"/>
                  </a:lnTo>
                  <a:lnTo>
                    <a:pt x="403" y="776"/>
                  </a:lnTo>
                  <a:lnTo>
                    <a:pt x="408" y="792"/>
                  </a:lnTo>
                  <a:lnTo>
                    <a:pt x="413" y="806"/>
                  </a:lnTo>
                  <a:lnTo>
                    <a:pt x="420" y="819"/>
                  </a:lnTo>
                  <a:lnTo>
                    <a:pt x="427" y="833"/>
                  </a:lnTo>
                  <a:lnTo>
                    <a:pt x="434" y="845"/>
                  </a:lnTo>
                  <a:lnTo>
                    <a:pt x="442" y="857"/>
                  </a:lnTo>
                  <a:lnTo>
                    <a:pt x="451" y="867"/>
                  </a:lnTo>
                  <a:lnTo>
                    <a:pt x="459" y="878"/>
                  </a:lnTo>
                  <a:lnTo>
                    <a:pt x="468" y="888"/>
                  </a:lnTo>
                  <a:lnTo>
                    <a:pt x="478" y="897"/>
                  </a:lnTo>
                  <a:lnTo>
                    <a:pt x="488" y="905"/>
                  </a:lnTo>
                  <a:lnTo>
                    <a:pt x="499" y="913"/>
                  </a:lnTo>
                  <a:lnTo>
                    <a:pt x="510" y="920"/>
                  </a:lnTo>
                  <a:lnTo>
                    <a:pt x="521" y="927"/>
                  </a:lnTo>
                  <a:lnTo>
                    <a:pt x="532" y="933"/>
                  </a:lnTo>
                  <a:lnTo>
                    <a:pt x="544" y="938"/>
                  </a:lnTo>
                  <a:lnTo>
                    <a:pt x="556" y="943"/>
                  </a:lnTo>
                  <a:lnTo>
                    <a:pt x="569" y="947"/>
                  </a:lnTo>
                  <a:lnTo>
                    <a:pt x="581" y="950"/>
                  </a:lnTo>
                  <a:lnTo>
                    <a:pt x="595" y="953"/>
                  </a:lnTo>
                  <a:lnTo>
                    <a:pt x="608" y="955"/>
                  </a:lnTo>
                  <a:lnTo>
                    <a:pt x="621" y="956"/>
                  </a:lnTo>
                  <a:lnTo>
                    <a:pt x="635" y="957"/>
                  </a:lnTo>
                  <a:lnTo>
                    <a:pt x="649" y="957"/>
                  </a:lnTo>
                  <a:lnTo>
                    <a:pt x="649" y="957"/>
                  </a:lnTo>
                  <a:lnTo>
                    <a:pt x="662" y="957"/>
                  </a:lnTo>
                  <a:lnTo>
                    <a:pt x="676" y="956"/>
                  </a:lnTo>
                  <a:lnTo>
                    <a:pt x="689" y="955"/>
                  </a:lnTo>
                  <a:lnTo>
                    <a:pt x="702" y="953"/>
                  </a:lnTo>
                  <a:lnTo>
                    <a:pt x="714" y="950"/>
                  </a:lnTo>
                  <a:lnTo>
                    <a:pt x="727" y="947"/>
                  </a:lnTo>
                  <a:lnTo>
                    <a:pt x="739" y="943"/>
                  </a:lnTo>
                  <a:lnTo>
                    <a:pt x="751" y="938"/>
                  </a:lnTo>
                  <a:lnTo>
                    <a:pt x="762" y="933"/>
                  </a:lnTo>
                  <a:lnTo>
                    <a:pt x="773" y="927"/>
                  </a:lnTo>
                  <a:lnTo>
                    <a:pt x="784" y="920"/>
                  </a:lnTo>
                  <a:lnTo>
                    <a:pt x="794" y="913"/>
                  </a:lnTo>
                  <a:lnTo>
                    <a:pt x="803" y="905"/>
                  </a:lnTo>
                  <a:lnTo>
                    <a:pt x="814" y="897"/>
                  </a:lnTo>
                  <a:lnTo>
                    <a:pt x="823" y="888"/>
                  </a:lnTo>
                  <a:lnTo>
                    <a:pt x="831" y="878"/>
                  </a:lnTo>
                  <a:lnTo>
                    <a:pt x="839" y="867"/>
                  </a:lnTo>
                  <a:lnTo>
                    <a:pt x="847" y="857"/>
                  </a:lnTo>
                  <a:lnTo>
                    <a:pt x="854" y="845"/>
                  </a:lnTo>
                  <a:lnTo>
                    <a:pt x="861" y="833"/>
                  </a:lnTo>
                  <a:lnTo>
                    <a:pt x="868" y="819"/>
                  </a:lnTo>
                  <a:lnTo>
                    <a:pt x="873" y="806"/>
                  </a:lnTo>
                  <a:lnTo>
                    <a:pt x="879" y="792"/>
                  </a:lnTo>
                  <a:lnTo>
                    <a:pt x="883" y="776"/>
                  </a:lnTo>
                  <a:lnTo>
                    <a:pt x="887" y="761"/>
                  </a:lnTo>
                  <a:lnTo>
                    <a:pt x="891" y="745"/>
                  </a:lnTo>
                  <a:lnTo>
                    <a:pt x="894" y="727"/>
                  </a:lnTo>
                  <a:lnTo>
                    <a:pt x="897" y="710"/>
                  </a:lnTo>
                  <a:lnTo>
                    <a:pt x="899" y="691"/>
                  </a:lnTo>
                  <a:lnTo>
                    <a:pt x="901" y="672"/>
                  </a:lnTo>
                  <a:lnTo>
                    <a:pt x="902" y="652"/>
                  </a:lnTo>
                  <a:lnTo>
                    <a:pt x="903" y="631"/>
                  </a:lnTo>
                  <a:lnTo>
                    <a:pt x="903" y="252"/>
                  </a:lnTo>
                  <a:lnTo>
                    <a:pt x="903" y="252"/>
                  </a:lnTo>
                  <a:lnTo>
                    <a:pt x="902" y="221"/>
                  </a:lnTo>
                  <a:lnTo>
                    <a:pt x="901" y="194"/>
                  </a:lnTo>
                  <a:lnTo>
                    <a:pt x="899" y="169"/>
                  </a:lnTo>
                  <a:lnTo>
                    <a:pt x="896" y="148"/>
                  </a:lnTo>
                  <a:lnTo>
                    <a:pt x="893" y="129"/>
                  </a:lnTo>
                  <a:lnTo>
                    <a:pt x="888" y="113"/>
                  </a:lnTo>
                  <a:lnTo>
                    <a:pt x="881" y="98"/>
                  </a:lnTo>
                  <a:lnTo>
                    <a:pt x="878" y="92"/>
                  </a:lnTo>
                  <a:lnTo>
                    <a:pt x="874" y="86"/>
                  </a:lnTo>
                  <a:lnTo>
                    <a:pt x="869" y="81"/>
                  </a:lnTo>
                  <a:lnTo>
                    <a:pt x="864" y="77"/>
                  </a:lnTo>
                  <a:lnTo>
                    <a:pt x="859" y="73"/>
                  </a:lnTo>
                  <a:lnTo>
                    <a:pt x="852" y="69"/>
                  </a:lnTo>
                  <a:lnTo>
                    <a:pt x="839" y="63"/>
                  </a:lnTo>
                  <a:lnTo>
                    <a:pt x="824" y="58"/>
                  </a:lnTo>
                  <a:lnTo>
                    <a:pt x="805" y="54"/>
                  </a:lnTo>
                  <a:lnTo>
                    <a:pt x="785" y="51"/>
                  </a:lnTo>
                  <a:lnTo>
                    <a:pt x="762" y="50"/>
                  </a:lnTo>
                  <a:lnTo>
                    <a:pt x="737" y="50"/>
                  </a:lnTo>
                  <a:lnTo>
                    <a:pt x="737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2962276" y="893763"/>
              <a:ext cx="160338" cy="141288"/>
            </a:xfrm>
            <a:custGeom>
              <a:avLst/>
              <a:gdLst>
                <a:gd name="T0" fmla="*/ 623 w 1210"/>
                <a:gd name="T1" fmla="*/ 1065 h 1065"/>
                <a:gd name="T2" fmla="*/ 211 w 1210"/>
                <a:gd name="T3" fmla="*/ 202 h 1065"/>
                <a:gd name="T4" fmla="*/ 193 w 1210"/>
                <a:gd name="T5" fmla="*/ 163 h 1065"/>
                <a:gd name="T6" fmla="*/ 177 w 1210"/>
                <a:gd name="T7" fmla="*/ 131 h 1065"/>
                <a:gd name="T8" fmla="*/ 159 w 1210"/>
                <a:gd name="T9" fmla="*/ 105 h 1065"/>
                <a:gd name="T10" fmla="*/ 139 w 1210"/>
                <a:gd name="T11" fmla="*/ 84 h 1065"/>
                <a:gd name="T12" fmla="*/ 114 w 1210"/>
                <a:gd name="T13" fmla="*/ 69 h 1065"/>
                <a:gd name="T14" fmla="*/ 85 w 1210"/>
                <a:gd name="T15" fmla="*/ 59 h 1065"/>
                <a:gd name="T16" fmla="*/ 47 w 1210"/>
                <a:gd name="T17" fmla="*/ 52 h 1065"/>
                <a:gd name="T18" fmla="*/ 0 w 1210"/>
                <a:gd name="T19" fmla="*/ 50 h 1065"/>
                <a:gd name="T20" fmla="*/ 566 w 1210"/>
                <a:gd name="T21" fmla="*/ 0 h 1065"/>
                <a:gd name="T22" fmla="*/ 566 w 1210"/>
                <a:gd name="T23" fmla="*/ 50 h 1065"/>
                <a:gd name="T24" fmla="*/ 515 w 1210"/>
                <a:gd name="T25" fmla="*/ 52 h 1065"/>
                <a:gd name="T26" fmla="*/ 476 w 1210"/>
                <a:gd name="T27" fmla="*/ 58 h 1065"/>
                <a:gd name="T28" fmla="*/ 448 w 1210"/>
                <a:gd name="T29" fmla="*/ 68 h 1065"/>
                <a:gd name="T30" fmla="*/ 429 w 1210"/>
                <a:gd name="T31" fmla="*/ 81 h 1065"/>
                <a:gd name="T32" fmla="*/ 420 w 1210"/>
                <a:gd name="T33" fmla="*/ 99 h 1065"/>
                <a:gd name="T34" fmla="*/ 419 w 1210"/>
                <a:gd name="T35" fmla="*/ 122 h 1065"/>
                <a:gd name="T36" fmla="*/ 424 w 1210"/>
                <a:gd name="T37" fmla="*/ 150 h 1065"/>
                <a:gd name="T38" fmla="*/ 436 w 1210"/>
                <a:gd name="T39" fmla="*/ 181 h 1065"/>
                <a:gd name="T40" fmla="*/ 921 w 1210"/>
                <a:gd name="T41" fmla="*/ 181 h 1065"/>
                <a:gd name="T42" fmla="*/ 928 w 1210"/>
                <a:gd name="T43" fmla="*/ 165 h 1065"/>
                <a:gd name="T44" fmla="*/ 936 w 1210"/>
                <a:gd name="T45" fmla="*/ 134 h 1065"/>
                <a:gd name="T46" fmla="*/ 938 w 1210"/>
                <a:gd name="T47" fmla="*/ 110 h 1065"/>
                <a:gd name="T48" fmla="*/ 931 w 1210"/>
                <a:gd name="T49" fmla="*/ 89 h 1065"/>
                <a:gd name="T50" fmla="*/ 917 w 1210"/>
                <a:gd name="T51" fmla="*/ 74 h 1065"/>
                <a:gd name="T52" fmla="*/ 894 w 1210"/>
                <a:gd name="T53" fmla="*/ 62 h 1065"/>
                <a:gd name="T54" fmla="*/ 861 w 1210"/>
                <a:gd name="T55" fmla="*/ 54 h 1065"/>
                <a:gd name="T56" fmla="*/ 817 w 1210"/>
                <a:gd name="T57" fmla="*/ 50 h 1065"/>
                <a:gd name="T58" fmla="*/ 792 w 1210"/>
                <a:gd name="T59" fmla="*/ 0 h 1065"/>
                <a:gd name="T60" fmla="*/ 1210 w 1210"/>
                <a:gd name="T61" fmla="*/ 50 h 1065"/>
                <a:gd name="T62" fmla="*/ 1188 w 1210"/>
                <a:gd name="T63" fmla="*/ 50 h 1065"/>
                <a:gd name="T64" fmla="*/ 1150 w 1210"/>
                <a:gd name="T65" fmla="*/ 53 h 1065"/>
                <a:gd name="T66" fmla="*/ 1119 w 1210"/>
                <a:gd name="T67" fmla="*/ 61 h 1065"/>
                <a:gd name="T68" fmla="*/ 1091 w 1210"/>
                <a:gd name="T69" fmla="*/ 73 h 1065"/>
                <a:gd name="T70" fmla="*/ 1067 w 1210"/>
                <a:gd name="T71" fmla="*/ 89 h 1065"/>
                <a:gd name="T72" fmla="*/ 1046 w 1210"/>
                <a:gd name="T73" fmla="*/ 113 h 1065"/>
                <a:gd name="T74" fmla="*/ 1026 w 1210"/>
                <a:gd name="T75" fmla="*/ 142 h 1065"/>
                <a:gd name="T76" fmla="*/ 1007 w 1210"/>
                <a:gd name="T77" fmla="*/ 180 h 1065"/>
                <a:gd name="T78" fmla="*/ 997 w 1210"/>
                <a:gd name="T79" fmla="*/ 202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10" h="1065">
                  <a:moveTo>
                    <a:pt x="997" y="202"/>
                  </a:moveTo>
                  <a:lnTo>
                    <a:pt x="623" y="1065"/>
                  </a:lnTo>
                  <a:lnTo>
                    <a:pt x="587" y="1065"/>
                  </a:lnTo>
                  <a:lnTo>
                    <a:pt x="211" y="202"/>
                  </a:lnTo>
                  <a:lnTo>
                    <a:pt x="211" y="202"/>
                  </a:lnTo>
                  <a:lnTo>
                    <a:pt x="193" y="163"/>
                  </a:lnTo>
                  <a:lnTo>
                    <a:pt x="185" y="146"/>
                  </a:lnTo>
                  <a:lnTo>
                    <a:pt x="177" y="131"/>
                  </a:lnTo>
                  <a:lnTo>
                    <a:pt x="169" y="117"/>
                  </a:lnTo>
                  <a:lnTo>
                    <a:pt x="159" y="105"/>
                  </a:lnTo>
                  <a:lnTo>
                    <a:pt x="149" y="93"/>
                  </a:lnTo>
                  <a:lnTo>
                    <a:pt x="139" y="84"/>
                  </a:lnTo>
                  <a:lnTo>
                    <a:pt x="128" y="76"/>
                  </a:lnTo>
                  <a:lnTo>
                    <a:pt x="114" y="69"/>
                  </a:lnTo>
                  <a:lnTo>
                    <a:pt x="100" y="63"/>
                  </a:lnTo>
                  <a:lnTo>
                    <a:pt x="85" y="59"/>
                  </a:lnTo>
                  <a:lnTo>
                    <a:pt x="66" y="54"/>
                  </a:lnTo>
                  <a:lnTo>
                    <a:pt x="47" y="52"/>
                  </a:lnTo>
                  <a:lnTo>
                    <a:pt x="24" y="50"/>
                  </a:lnTo>
                  <a:lnTo>
                    <a:pt x="0" y="50"/>
                  </a:lnTo>
                  <a:lnTo>
                    <a:pt x="0" y="0"/>
                  </a:lnTo>
                  <a:lnTo>
                    <a:pt x="566" y="0"/>
                  </a:lnTo>
                  <a:lnTo>
                    <a:pt x="566" y="50"/>
                  </a:lnTo>
                  <a:lnTo>
                    <a:pt x="566" y="50"/>
                  </a:lnTo>
                  <a:lnTo>
                    <a:pt x="539" y="50"/>
                  </a:lnTo>
                  <a:lnTo>
                    <a:pt x="515" y="52"/>
                  </a:lnTo>
                  <a:lnTo>
                    <a:pt x="494" y="54"/>
                  </a:lnTo>
                  <a:lnTo>
                    <a:pt x="476" y="58"/>
                  </a:lnTo>
                  <a:lnTo>
                    <a:pt x="461" y="63"/>
                  </a:lnTo>
                  <a:lnTo>
                    <a:pt x="448" y="68"/>
                  </a:lnTo>
                  <a:lnTo>
                    <a:pt x="438" y="74"/>
                  </a:lnTo>
                  <a:lnTo>
                    <a:pt x="429" y="81"/>
                  </a:lnTo>
                  <a:lnTo>
                    <a:pt x="423" y="90"/>
                  </a:lnTo>
                  <a:lnTo>
                    <a:pt x="420" y="99"/>
                  </a:lnTo>
                  <a:lnTo>
                    <a:pt x="418" y="111"/>
                  </a:lnTo>
                  <a:lnTo>
                    <a:pt x="419" y="122"/>
                  </a:lnTo>
                  <a:lnTo>
                    <a:pt x="421" y="135"/>
                  </a:lnTo>
                  <a:lnTo>
                    <a:pt x="424" y="150"/>
                  </a:lnTo>
                  <a:lnTo>
                    <a:pt x="429" y="165"/>
                  </a:lnTo>
                  <a:lnTo>
                    <a:pt x="436" y="181"/>
                  </a:lnTo>
                  <a:lnTo>
                    <a:pt x="678" y="742"/>
                  </a:lnTo>
                  <a:lnTo>
                    <a:pt x="921" y="181"/>
                  </a:lnTo>
                  <a:lnTo>
                    <a:pt x="921" y="181"/>
                  </a:lnTo>
                  <a:lnTo>
                    <a:pt x="928" y="165"/>
                  </a:lnTo>
                  <a:lnTo>
                    <a:pt x="933" y="149"/>
                  </a:lnTo>
                  <a:lnTo>
                    <a:pt x="936" y="134"/>
                  </a:lnTo>
                  <a:lnTo>
                    <a:pt x="938" y="122"/>
                  </a:lnTo>
                  <a:lnTo>
                    <a:pt x="938" y="110"/>
                  </a:lnTo>
                  <a:lnTo>
                    <a:pt x="935" y="98"/>
                  </a:lnTo>
                  <a:lnTo>
                    <a:pt x="931" y="89"/>
                  </a:lnTo>
                  <a:lnTo>
                    <a:pt x="925" y="81"/>
                  </a:lnTo>
                  <a:lnTo>
                    <a:pt x="917" y="74"/>
                  </a:lnTo>
                  <a:lnTo>
                    <a:pt x="906" y="67"/>
                  </a:lnTo>
                  <a:lnTo>
                    <a:pt x="894" y="62"/>
                  </a:lnTo>
                  <a:lnTo>
                    <a:pt x="878" y="58"/>
                  </a:lnTo>
                  <a:lnTo>
                    <a:pt x="861" y="54"/>
                  </a:lnTo>
                  <a:lnTo>
                    <a:pt x="840" y="52"/>
                  </a:lnTo>
                  <a:lnTo>
                    <a:pt x="817" y="50"/>
                  </a:lnTo>
                  <a:lnTo>
                    <a:pt x="792" y="50"/>
                  </a:lnTo>
                  <a:lnTo>
                    <a:pt x="792" y="0"/>
                  </a:lnTo>
                  <a:lnTo>
                    <a:pt x="1210" y="0"/>
                  </a:lnTo>
                  <a:lnTo>
                    <a:pt x="1210" y="50"/>
                  </a:lnTo>
                  <a:lnTo>
                    <a:pt x="1210" y="50"/>
                  </a:lnTo>
                  <a:lnTo>
                    <a:pt x="1188" y="50"/>
                  </a:lnTo>
                  <a:lnTo>
                    <a:pt x="1169" y="51"/>
                  </a:lnTo>
                  <a:lnTo>
                    <a:pt x="1150" y="53"/>
                  </a:lnTo>
                  <a:lnTo>
                    <a:pt x="1134" y="57"/>
                  </a:lnTo>
                  <a:lnTo>
                    <a:pt x="1119" y="61"/>
                  </a:lnTo>
                  <a:lnTo>
                    <a:pt x="1104" y="66"/>
                  </a:lnTo>
                  <a:lnTo>
                    <a:pt x="1091" y="73"/>
                  </a:lnTo>
                  <a:lnTo>
                    <a:pt x="1079" y="80"/>
                  </a:lnTo>
                  <a:lnTo>
                    <a:pt x="1067" y="89"/>
                  </a:lnTo>
                  <a:lnTo>
                    <a:pt x="1056" y="100"/>
                  </a:lnTo>
                  <a:lnTo>
                    <a:pt x="1046" y="113"/>
                  </a:lnTo>
                  <a:lnTo>
                    <a:pt x="1036" y="127"/>
                  </a:lnTo>
                  <a:lnTo>
                    <a:pt x="1026" y="142"/>
                  </a:lnTo>
                  <a:lnTo>
                    <a:pt x="1016" y="161"/>
                  </a:lnTo>
                  <a:lnTo>
                    <a:pt x="1007" y="180"/>
                  </a:lnTo>
                  <a:lnTo>
                    <a:pt x="997" y="202"/>
                  </a:lnTo>
                  <a:lnTo>
                    <a:pt x="997" y="20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7" name="Freeform 15"/>
            <p:cNvSpPr>
              <a:spLocks noEditPoints="1"/>
            </p:cNvSpPr>
            <p:nvPr userDrawn="1"/>
          </p:nvSpPr>
          <p:spPr bwMode="auto">
            <a:xfrm>
              <a:off x="3135313" y="890588"/>
              <a:ext cx="152400" cy="144463"/>
            </a:xfrm>
            <a:custGeom>
              <a:avLst/>
              <a:gdLst>
                <a:gd name="T0" fmla="*/ 489 w 1151"/>
                <a:gd name="T1" fmla="*/ 1087 h 1094"/>
                <a:gd name="T2" fmla="*/ 353 w 1151"/>
                <a:gd name="T3" fmla="*/ 1051 h 1094"/>
                <a:gd name="T4" fmla="*/ 232 w 1151"/>
                <a:gd name="T5" fmla="*/ 984 h 1094"/>
                <a:gd name="T6" fmla="*/ 132 w 1151"/>
                <a:gd name="T7" fmla="*/ 894 h 1094"/>
                <a:gd name="T8" fmla="*/ 57 w 1151"/>
                <a:gd name="T9" fmla="*/ 783 h 1094"/>
                <a:gd name="T10" fmla="*/ 12 w 1151"/>
                <a:gd name="T11" fmla="*/ 656 h 1094"/>
                <a:gd name="T12" fmla="*/ 0 w 1151"/>
                <a:gd name="T13" fmla="*/ 547 h 1094"/>
                <a:gd name="T14" fmla="*/ 18 w 1151"/>
                <a:gd name="T15" fmla="*/ 411 h 1094"/>
                <a:gd name="T16" fmla="*/ 70 w 1151"/>
                <a:gd name="T17" fmla="*/ 287 h 1094"/>
                <a:gd name="T18" fmla="*/ 150 w 1151"/>
                <a:gd name="T19" fmla="*/ 180 h 1094"/>
                <a:gd name="T20" fmla="*/ 254 w 1151"/>
                <a:gd name="T21" fmla="*/ 94 h 1094"/>
                <a:gd name="T22" fmla="*/ 379 w 1151"/>
                <a:gd name="T23" fmla="*/ 33 h 1094"/>
                <a:gd name="T24" fmla="*/ 517 w 1151"/>
                <a:gd name="T25" fmla="*/ 3 h 1094"/>
                <a:gd name="T26" fmla="*/ 635 w 1151"/>
                <a:gd name="T27" fmla="*/ 3 h 1094"/>
                <a:gd name="T28" fmla="*/ 774 w 1151"/>
                <a:gd name="T29" fmla="*/ 33 h 1094"/>
                <a:gd name="T30" fmla="*/ 897 w 1151"/>
                <a:gd name="T31" fmla="*/ 94 h 1094"/>
                <a:gd name="T32" fmla="*/ 1001 w 1151"/>
                <a:gd name="T33" fmla="*/ 180 h 1094"/>
                <a:gd name="T34" fmla="*/ 1082 w 1151"/>
                <a:gd name="T35" fmla="*/ 287 h 1094"/>
                <a:gd name="T36" fmla="*/ 1133 w 1151"/>
                <a:gd name="T37" fmla="*/ 411 h 1094"/>
                <a:gd name="T38" fmla="*/ 1151 w 1151"/>
                <a:gd name="T39" fmla="*/ 547 h 1094"/>
                <a:gd name="T40" fmla="*/ 1139 w 1151"/>
                <a:gd name="T41" fmla="*/ 656 h 1094"/>
                <a:gd name="T42" fmla="*/ 1094 w 1151"/>
                <a:gd name="T43" fmla="*/ 783 h 1094"/>
                <a:gd name="T44" fmla="*/ 1019 w 1151"/>
                <a:gd name="T45" fmla="*/ 894 h 1094"/>
                <a:gd name="T46" fmla="*/ 919 w 1151"/>
                <a:gd name="T47" fmla="*/ 984 h 1094"/>
                <a:gd name="T48" fmla="*/ 799 w 1151"/>
                <a:gd name="T49" fmla="*/ 1051 h 1094"/>
                <a:gd name="T50" fmla="*/ 663 w 1151"/>
                <a:gd name="T51" fmla="*/ 1087 h 1094"/>
                <a:gd name="T52" fmla="*/ 577 w 1151"/>
                <a:gd name="T53" fmla="*/ 82 h 1094"/>
                <a:gd name="T54" fmla="*/ 492 w 1151"/>
                <a:gd name="T55" fmla="*/ 94 h 1094"/>
                <a:gd name="T56" fmla="*/ 404 w 1151"/>
                <a:gd name="T57" fmla="*/ 137 h 1094"/>
                <a:gd name="T58" fmla="*/ 335 w 1151"/>
                <a:gd name="T59" fmla="*/ 204 h 1094"/>
                <a:gd name="T60" fmla="*/ 285 w 1151"/>
                <a:gd name="T61" fmla="*/ 290 h 1094"/>
                <a:gd name="T62" fmla="*/ 252 w 1151"/>
                <a:gd name="T63" fmla="*/ 386 h 1094"/>
                <a:gd name="T64" fmla="*/ 234 w 1151"/>
                <a:gd name="T65" fmla="*/ 507 h 1094"/>
                <a:gd name="T66" fmla="*/ 240 w 1151"/>
                <a:gd name="T67" fmla="*/ 647 h 1094"/>
                <a:gd name="T68" fmla="*/ 264 w 1151"/>
                <a:gd name="T69" fmla="*/ 747 h 1094"/>
                <a:gd name="T70" fmla="*/ 303 w 1151"/>
                <a:gd name="T71" fmla="*/ 840 h 1094"/>
                <a:gd name="T72" fmla="*/ 360 w 1151"/>
                <a:gd name="T73" fmla="*/ 919 h 1094"/>
                <a:gd name="T74" fmla="*/ 436 w 1151"/>
                <a:gd name="T75" fmla="*/ 977 h 1094"/>
                <a:gd name="T76" fmla="*/ 533 w 1151"/>
                <a:gd name="T77" fmla="*/ 1008 h 1094"/>
                <a:gd name="T78" fmla="*/ 621 w 1151"/>
                <a:gd name="T79" fmla="*/ 1008 h 1094"/>
                <a:gd name="T80" fmla="*/ 716 w 1151"/>
                <a:gd name="T81" fmla="*/ 977 h 1094"/>
                <a:gd name="T82" fmla="*/ 792 w 1151"/>
                <a:gd name="T83" fmla="*/ 919 h 1094"/>
                <a:gd name="T84" fmla="*/ 850 w 1151"/>
                <a:gd name="T85" fmla="*/ 840 h 1094"/>
                <a:gd name="T86" fmla="*/ 889 w 1151"/>
                <a:gd name="T87" fmla="*/ 747 h 1094"/>
                <a:gd name="T88" fmla="*/ 912 w 1151"/>
                <a:gd name="T89" fmla="*/ 647 h 1094"/>
                <a:gd name="T90" fmla="*/ 919 w 1151"/>
                <a:gd name="T91" fmla="*/ 507 h 1094"/>
                <a:gd name="T92" fmla="*/ 901 w 1151"/>
                <a:gd name="T93" fmla="*/ 386 h 1094"/>
                <a:gd name="T94" fmla="*/ 867 w 1151"/>
                <a:gd name="T95" fmla="*/ 290 h 1094"/>
                <a:gd name="T96" fmla="*/ 817 w 1151"/>
                <a:gd name="T97" fmla="*/ 204 h 1094"/>
                <a:gd name="T98" fmla="*/ 748 w 1151"/>
                <a:gd name="T99" fmla="*/ 137 h 1094"/>
                <a:gd name="T100" fmla="*/ 661 w 1151"/>
                <a:gd name="T101" fmla="*/ 94 h 1094"/>
                <a:gd name="T102" fmla="*/ 577 w 1151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1" h="1094">
                  <a:moveTo>
                    <a:pt x="577" y="1094"/>
                  </a:moveTo>
                  <a:lnTo>
                    <a:pt x="577" y="1094"/>
                  </a:lnTo>
                  <a:lnTo>
                    <a:pt x="547" y="1093"/>
                  </a:lnTo>
                  <a:lnTo>
                    <a:pt x="517" y="1091"/>
                  </a:lnTo>
                  <a:lnTo>
                    <a:pt x="489" y="1087"/>
                  </a:lnTo>
                  <a:lnTo>
                    <a:pt x="461" y="1082"/>
                  </a:lnTo>
                  <a:lnTo>
                    <a:pt x="432" y="1076"/>
                  </a:lnTo>
                  <a:lnTo>
                    <a:pt x="406" y="1069"/>
                  </a:lnTo>
                  <a:lnTo>
                    <a:pt x="379" y="1060"/>
                  </a:lnTo>
                  <a:lnTo>
                    <a:pt x="353" y="1051"/>
                  </a:lnTo>
                  <a:lnTo>
                    <a:pt x="327" y="1039"/>
                  </a:lnTo>
                  <a:lnTo>
                    <a:pt x="303" y="1027"/>
                  </a:lnTo>
                  <a:lnTo>
                    <a:pt x="278" y="1014"/>
                  </a:lnTo>
                  <a:lnTo>
                    <a:pt x="254" y="1000"/>
                  </a:lnTo>
                  <a:lnTo>
                    <a:pt x="232" y="984"/>
                  </a:lnTo>
                  <a:lnTo>
                    <a:pt x="210" y="968"/>
                  </a:lnTo>
                  <a:lnTo>
                    <a:pt x="189" y="950"/>
                  </a:lnTo>
                  <a:lnTo>
                    <a:pt x="170" y="933"/>
                  </a:lnTo>
                  <a:lnTo>
                    <a:pt x="150" y="914"/>
                  </a:lnTo>
                  <a:lnTo>
                    <a:pt x="132" y="894"/>
                  </a:lnTo>
                  <a:lnTo>
                    <a:pt x="115" y="873"/>
                  </a:lnTo>
                  <a:lnTo>
                    <a:pt x="99" y="851"/>
                  </a:lnTo>
                  <a:lnTo>
                    <a:pt x="84" y="830"/>
                  </a:lnTo>
                  <a:lnTo>
                    <a:pt x="70" y="806"/>
                  </a:lnTo>
                  <a:lnTo>
                    <a:pt x="57" y="783"/>
                  </a:lnTo>
                  <a:lnTo>
                    <a:pt x="46" y="758"/>
                  </a:lnTo>
                  <a:lnTo>
                    <a:pt x="36" y="734"/>
                  </a:lnTo>
                  <a:lnTo>
                    <a:pt x="26" y="708"/>
                  </a:lnTo>
                  <a:lnTo>
                    <a:pt x="18" y="683"/>
                  </a:lnTo>
                  <a:lnTo>
                    <a:pt x="12" y="656"/>
                  </a:lnTo>
                  <a:lnTo>
                    <a:pt x="7" y="629"/>
                  </a:lnTo>
                  <a:lnTo>
                    <a:pt x="3" y="602"/>
                  </a:lnTo>
                  <a:lnTo>
                    <a:pt x="1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1" y="519"/>
                  </a:lnTo>
                  <a:lnTo>
                    <a:pt x="3" y="491"/>
                  </a:lnTo>
                  <a:lnTo>
                    <a:pt x="7" y="464"/>
                  </a:lnTo>
                  <a:lnTo>
                    <a:pt x="12" y="437"/>
                  </a:lnTo>
                  <a:lnTo>
                    <a:pt x="18" y="411"/>
                  </a:lnTo>
                  <a:lnTo>
                    <a:pt x="26" y="385"/>
                  </a:lnTo>
                  <a:lnTo>
                    <a:pt x="36" y="360"/>
                  </a:lnTo>
                  <a:lnTo>
                    <a:pt x="46" y="335"/>
                  </a:lnTo>
                  <a:lnTo>
                    <a:pt x="57" y="310"/>
                  </a:lnTo>
                  <a:lnTo>
                    <a:pt x="70" y="287"/>
                  </a:lnTo>
                  <a:lnTo>
                    <a:pt x="84" y="264"/>
                  </a:lnTo>
                  <a:lnTo>
                    <a:pt x="99" y="242"/>
                  </a:lnTo>
                  <a:lnTo>
                    <a:pt x="115" y="220"/>
                  </a:lnTo>
                  <a:lnTo>
                    <a:pt x="132" y="200"/>
                  </a:lnTo>
                  <a:lnTo>
                    <a:pt x="150" y="180"/>
                  </a:lnTo>
                  <a:lnTo>
                    <a:pt x="170" y="161"/>
                  </a:lnTo>
                  <a:lnTo>
                    <a:pt x="189" y="143"/>
                  </a:lnTo>
                  <a:lnTo>
                    <a:pt x="210" y="125"/>
                  </a:lnTo>
                  <a:lnTo>
                    <a:pt x="232" y="109"/>
                  </a:lnTo>
                  <a:lnTo>
                    <a:pt x="254" y="94"/>
                  </a:lnTo>
                  <a:lnTo>
                    <a:pt x="278" y="79"/>
                  </a:lnTo>
                  <a:lnTo>
                    <a:pt x="303" y="66"/>
                  </a:lnTo>
                  <a:lnTo>
                    <a:pt x="327" y="54"/>
                  </a:lnTo>
                  <a:lnTo>
                    <a:pt x="353" y="44"/>
                  </a:lnTo>
                  <a:lnTo>
                    <a:pt x="379" y="33"/>
                  </a:lnTo>
                  <a:lnTo>
                    <a:pt x="406" y="24"/>
                  </a:lnTo>
                  <a:lnTo>
                    <a:pt x="432" y="17"/>
                  </a:lnTo>
                  <a:lnTo>
                    <a:pt x="461" y="11"/>
                  </a:lnTo>
                  <a:lnTo>
                    <a:pt x="489" y="6"/>
                  </a:lnTo>
                  <a:lnTo>
                    <a:pt x="517" y="3"/>
                  </a:lnTo>
                  <a:lnTo>
                    <a:pt x="547" y="1"/>
                  </a:lnTo>
                  <a:lnTo>
                    <a:pt x="577" y="0"/>
                  </a:lnTo>
                  <a:lnTo>
                    <a:pt x="577" y="0"/>
                  </a:lnTo>
                  <a:lnTo>
                    <a:pt x="606" y="1"/>
                  </a:lnTo>
                  <a:lnTo>
                    <a:pt x="635" y="3"/>
                  </a:lnTo>
                  <a:lnTo>
                    <a:pt x="663" y="6"/>
                  </a:lnTo>
                  <a:lnTo>
                    <a:pt x="692" y="11"/>
                  </a:lnTo>
                  <a:lnTo>
                    <a:pt x="720" y="17"/>
                  </a:lnTo>
                  <a:lnTo>
                    <a:pt x="746" y="24"/>
                  </a:lnTo>
                  <a:lnTo>
                    <a:pt x="774" y="33"/>
                  </a:lnTo>
                  <a:lnTo>
                    <a:pt x="799" y="44"/>
                  </a:lnTo>
                  <a:lnTo>
                    <a:pt x="825" y="54"/>
                  </a:lnTo>
                  <a:lnTo>
                    <a:pt x="850" y="66"/>
                  </a:lnTo>
                  <a:lnTo>
                    <a:pt x="874" y="79"/>
                  </a:lnTo>
                  <a:lnTo>
                    <a:pt x="897" y="94"/>
                  </a:lnTo>
                  <a:lnTo>
                    <a:pt x="919" y="109"/>
                  </a:lnTo>
                  <a:lnTo>
                    <a:pt x="942" y="125"/>
                  </a:lnTo>
                  <a:lnTo>
                    <a:pt x="962" y="143"/>
                  </a:lnTo>
                  <a:lnTo>
                    <a:pt x="982" y="161"/>
                  </a:lnTo>
                  <a:lnTo>
                    <a:pt x="1001" y="180"/>
                  </a:lnTo>
                  <a:lnTo>
                    <a:pt x="1019" y="200"/>
                  </a:lnTo>
                  <a:lnTo>
                    <a:pt x="1037" y="220"/>
                  </a:lnTo>
                  <a:lnTo>
                    <a:pt x="1052" y="242"/>
                  </a:lnTo>
                  <a:lnTo>
                    <a:pt x="1067" y="264"/>
                  </a:lnTo>
                  <a:lnTo>
                    <a:pt x="1082" y="287"/>
                  </a:lnTo>
                  <a:lnTo>
                    <a:pt x="1094" y="310"/>
                  </a:lnTo>
                  <a:lnTo>
                    <a:pt x="1105" y="335"/>
                  </a:lnTo>
                  <a:lnTo>
                    <a:pt x="1116" y="360"/>
                  </a:lnTo>
                  <a:lnTo>
                    <a:pt x="1125" y="385"/>
                  </a:lnTo>
                  <a:lnTo>
                    <a:pt x="1133" y="411"/>
                  </a:lnTo>
                  <a:lnTo>
                    <a:pt x="1139" y="437"/>
                  </a:lnTo>
                  <a:lnTo>
                    <a:pt x="1144" y="464"/>
                  </a:lnTo>
                  <a:lnTo>
                    <a:pt x="1148" y="491"/>
                  </a:lnTo>
                  <a:lnTo>
                    <a:pt x="1150" y="519"/>
                  </a:lnTo>
                  <a:lnTo>
                    <a:pt x="1151" y="547"/>
                  </a:lnTo>
                  <a:lnTo>
                    <a:pt x="1151" y="547"/>
                  </a:lnTo>
                  <a:lnTo>
                    <a:pt x="1150" y="574"/>
                  </a:lnTo>
                  <a:lnTo>
                    <a:pt x="1148" y="602"/>
                  </a:lnTo>
                  <a:lnTo>
                    <a:pt x="1144" y="629"/>
                  </a:lnTo>
                  <a:lnTo>
                    <a:pt x="1139" y="656"/>
                  </a:lnTo>
                  <a:lnTo>
                    <a:pt x="1133" y="683"/>
                  </a:lnTo>
                  <a:lnTo>
                    <a:pt x="1125" y="708"/>
                  </a:lnTo>
                  <a:lnTo>
                    <a:pt x="1116" y="734"/>
                  </a:lnTo>
                  <a:lnTo>
                    <a:pt x="1105" y="758"/>
                  </a:lnTo>
                  <a:lnTo>
                    <a:pt x="1094" y="783"/>
                  </a:lnTo>
                  <a:lnTo>
                    <a:pt x="1082" y="806"/>
                  </a:lnTo>
                  <a:lnTo>
                    <a:pt x="1067" y="830"/>
                  </a:lnTo>
                  <a:lnTo>
                    <a:pt x="1052" y="851"/>
                  </a:lnTo>
                  <a:lnTo>
                    <a:pt x="1037" y="873"/>
                  </a:lnTo>
                  <a:lnTo>
                    <a:pt x="1019" y="894"/>
                  </a:lnTo>
                  <a:lnTo>
                    <a:pt x="1001" y="914"/>
                  </a:lnTo>
                  <a:lnTo>
                    <a:pt x="982" y="933"/>
                  </a:lnTo>
                  <a:lnTo>
                    <a:pt x="962" y="950"/>
                  </a:lnTo>
                  <a:lnTo>
                    <a:pt x="942" y="968"/>
                  </a:lnTo>
                  <a:lnTo>
                    <a:pt x="919" y="984"/>
                  </a:lnTo>
                  <a:lnTo>
                    <a:pt x="897" y="1000"/>
                  </a:lnTo>
                  <a:lnTo>
                    <a:pt x="874" y="1014"/>
                  </a:lnTo>
                  <a:lnTo>
                    <a:pt x="850" y="1027"/>
                  </a:lnTo>
                  <a:lnTo>
                    <a:pt x="825" y="1039"/>
                  </a:lnTo>
                  <a:lnTo>
                    <a:pt x="799" y="1051"/>
                  </a:lnTo>
                  <a:lnTo>
                    <a:pt x="774" y="1060"/>
                  </a:lnTo>
                  <a:lnTo>
                    <a:pt x="746" y="1069"/>
                  </a:lnTo>
                  <a:lnTo>
                    <a:pt x="720" y="1076"/>
                  </a:lnTo>
                  <a:lnTo>
                    <a:pt x="692" y="1082"/>
                  </a:lnTo>
                  <a:lnTo>
                    <a:pt x="663" y="1087"/>
                  </a:lnTo>
                  <a:lnTo>
                    <a:pt x="635" y="1091"/>
                  </a:lnTo>
                  <a:lnTo>
                    <a:pt x="606" y="1093"/>
                  </a:lnTo>
                  <a:lnTo>
                    <a:pt x="577" y="1094"/>
                  </a:lnTo>
                  <a:lnTo>
                    <a:pt x="577" y="1094"/>
                  </a:lnTo>
                  <a:close/>
                  <a:moveTo>
                    <a:pt x="577" y="82"/>
                  </a:moveTo>
                  <a:lnTo>
                    <a:pt x="577" y="82"/>
                  </a:lnTo>
                  <a:lnTo>
                    <a:pt x="554" y="83"/>
                  </a:lnTo>
                  <a:lnTo>
                    <a:pt x="533" y="86"/>
                  </a:lnTo>
                  <a:lnTo>
                    <a:pt x="511" y="90"/>
                  </a:lnTo>
                  <a:lnTo>
                    <a:pt x="492" y="94"/>
                  </a:lnTo>
                  <a:lnTo>
                    <a:pt x="472" y="100"/>
                  </a:lnTo>
                  <a:lnTo>
                    <a:pt x="454" y="108"/>
                  </a:lnTo>
                  <a:lnTo>
                    <a:pt x="436" y="116"/>
                  </a:lnTo>
                  <a:lnTo>
                    <a:pt x="419" y="125"/>
                  </a:lnTo>
                  <a:lnTo>
                    <a:pt x="404" y="137"/>
                  </a:lnTo>
                  <a:lnTo>
                    <a:pt x="388" y="148"/>
                  </a:lnTo>
                  <a:lnTo>
                    <a:pt x="374" y="161"/>
                  </a:lnTo>
                  <a:lnTo>
                    <a:pt x="360" y="174"/>
                  </a:lnTo>
                  <a:lnTo>
                    <a:pt x="347" y="189"/>
                  </a:lnTo>
                  <a:lnTo>
                    <a:pt x="335" y="204"/>
                  </a:lnTo>
                  <a:lnTo>
                    <a:pt x="324" y="219"/>
                  </a:lnTo>
                  <a:lnTo>
                    <a:pt x="313" y="237"/>
                  </a:lnTo>
                  <a:lnTo>
                    <a:pt x="303" y="253"/>
                  </a:lnTo>
                  <a:lnTo>
                    <a:pt x="293" y="272"/>
                  </a:lnTo>
                  <a:lnTo>
                    <a:pt x="285" y="290"/>
                  </a:lnTo>
                  <a:lnTo>
                    <a:pt x="277" y="308"/>
                  </a:lnTo>
                  <a:lnTo>
                    <a:pt x="270" y="327"/>
                  </a:lnTo>
                  <a:lnTo>
                    <a:pt x="264" y="346"/>
                  </a:lnTo>
                  <a:lnTo>
                    <a:pt x="258" y="367"/>
                  </a:lnTo>
                  <a:lnTo>
                    <a:pt x="252" y="386"/>
                  </a:lnTo>
                  <a:lnTo>
                    <a:pt x="248" y="407"/>
                  </a:lnTo>
                  <a:lnTo>
                    <a:pt x="244" y="426"/>
                  </a:lnTo>
                  <a:lnTo>
                    <a:pt x="240" y="446"/>
                  </a:lnTo>
                  <a:lnTo>
                    <a:pt x="238" y="467"/>
                  </a:lnTo>
                  <a:lnTo>
                    <a:pt x="234" y="507"/>
                  </a:lnTo>
                  <a:lnTo>
                    <a:pt x="233" y="547"/>
                  </a:lnTo>
                  <a:lnTo>
                    <a:pt x="233" y="547"/>
                  </a:lnTo>
                  <a:lnTo>
                    <a:pt x="234" y="587"/>
                  </a:lnTo>
                  <a:lnTo>
                    <a:pt x="238" y="626"/>
                  </a:lnTo>
                  <a:lnTo>
                    <a:pt x="240" y="647"/>
                  </a:lnTo>
                  <a:lnTo>
                    <a:pt x="244" y="667"/>
                  </a:lnTo>
                  <a:lnTo>
                    <a:pt x="248" y="687"/>
                  </a:lnTo>
                  <a:lnTo>
                    <a:pt x="252" y="707"/>
                  </a:lnTo>
                  <a:lnTo>
                    <a:pt x="258" y="728"/>
                  </a:lnTo>
                  <a:lnTo>
                    <a:pt x="264" y="747"/>
                  </a:lnTo>
                  <a:lnTo>
                    <a:pt x="270" y="766"/>
                  </a:lnTo>
                  <a:lnTo>
                    <a:pt x="277" y="785"/>
                  </a:lnTo>
                  <a:lnTo>
                    <a:pt x="285" y="804"/>
                  </a:lnTo>
                  <a:lnTo>
                    <a:pt x="293" y="822"/>
                  </a:lnTo>
                  <a:lnTo>
                    <a:pt x="303" y="840"/>
                  </a:lnTo>
                  <a:lnTo>
                    <a:pt x="313" y="857"/>
                  </a:lnTo>
                  <a:lnTo>
                    <a:pt x="324" y="874"/>
                  </a:lnTo>
                  <a:lnTo>
                    <a:pt x="335" y="889"/>
                  </a:lnTo>
                  <a:lnTo>
                    <a:pt x="347" y="904"/>
                  </a:lnTo>
                  <a:lnTo>
                    <a:pt x="360" y="919"/>
                  </a:lnTo>
                  <a:lnTo>
                    <a:pt x="374" y="932"/>
                  </a:lnTo>
                  <a:lnTo>
                    <a:pt x="388" y="945"/>
                  </a:lnTo>
                  <a:lnTo>
                    <a:pt x="404" y="957"/>
                  </a:lnTo>
                  <a:lnTo>
                    <a:pt x="419" y="968"/>
                  </a:lnTo>
                  <a:lnTo>
                    <a:pt x="436" y="977"/>
                  </a:lnTo>
                  <a:lnTo>
                    <a:pt x="454" y="986"/>
                  </a:lnTo>
                  <a:lnTo>
                    <a:pt x="472" y="993"/>
                  </a:lnTo>
                  <a:lnTo>
                    <a:pt x="492" y="1000"/>
                  </a:lnTo>
                  <a:lnTo>
                    <a:pt x="511" y="1005"/>
                  </a:lnTo>
                  <a:lnTo>
                    <a:pt x="533" y="1008"/>
                  </a:lnTo>
                  <a:lnTo>
                    <a:pt x="554" y="1010"/>
                  </a:lnTo>
                  <a:lnTo>
                    <a:pt x="577" y="1011"/>
                  </a:lnTo>
                  <a:lnTo>
                    <a:pt x="577" y="1011"/>
                  </a:lnTo>
                  <a:lnTo>
                    <a:pt x="599" y="1010"/>
                  </a:lnTo>
                  <a:lnTo>
                    <a:pt x="621" y="1008"/>
                  </a:lnTo>
                  <a:lnTo>
                    <a:pt x="641" y="1005"/>
                  </a:lnTo>
                  <a:lnTo>
                    <a:pt x="661" y="1000"/>
                  </a:lnTo>
                  <a:lnTo>
                    <a:pt x="680" y="993"/>
                  </a:lnTo>
                  <a:lnTo>
                    <a:pt x="698" y="986"/>
                  </a:lnTo>
                  <a:lnTo>
                    <a:pt x="716" y="977"/>
                  </a:lnTo>
                  <a:lnTo>
                    <a:pt x="733" y="968"/>
                  </a:lnTo>
                  <a:lnTo>
                    <a:pt x="748" y="957"/>
                  </a:lnTo>
                  <a:lnTo>
                    <a:pt x="764" y="945"/>
                  </a:lnTo>
                  <a:lnTo>
                    <a:pt x="778" y="932"/>
                  </a:lnTo>
                  <a:lnTo>
                    <a:pt x="792" y="919"/>
                  </a:lnTo>
                  <a:lnTo>
                    <a:pt x="805" y="904"/>
                  </a:lnTo>
                  <a:lnTo>
                    <a:pt x="817" y="889"/>
                  </a:lnTo>
                  <a:lnTo>
                    <a:pt x="829" y="874"/>
                  </a:lnTo>
                  <a:lnTo>
                    <a:pt x="839" y="857"/>
                  </a:lnTo>
                  <a:lnTo>
                    <a:pt x="850" y="840"/>
                  </a:lnTo>
                  <a:lnTo>
                    <a:pt x="859" y="822"/>
                  </a:lnTo>
                  <a:lnTo>
                    <a:pt x="867" y="804"/>
                  </a:lnTo>
                  <a:lnTo>
                    <a:pt x="875" y="785"/>
                  </a:lnTo>
                  <a:lnTo>
                    <a:pt x="882" y="766"/>
                  </a:lnTo>
                  <a:lnTo>
                    <a:pt x="889" y="747"/>
                  </a:lnTo>
                  <a:lnTo>
                    <a:pt x="896" y="728"/>
                  </a:lnTo>
                  <a:lnTo>
                    <a:pt x="901" y="707"/>
                  </a:lnTo>
                  <a:lnTo>
                    <a:pt x="905" y="687"/>
                  </a:lnTo>
                  <a:lnTo>
                    <a:pt x="909" y="667"/>
                  </a:lnTo>
                  <a:lnTo>
                    <a:pt x="912" y="647"/>
                  </a:lnTo>
                  <a:lnTo>
                    <a:pt x="915" y="626"/>
                  </a:lnTo>
                  <a:lnTo>
                    <a:pt x="919" y="587"/>
                  </a:lnTo>
                  <a:lnTo>
                    <a:pt x="920" y="547"/>
                  </a:lnTo>
                  <a:lnTo>
                    <a:pt x="920" y="547"/>
                  </a:lnTo>
                  <a:lnTo>
                    <a:pt x="919" y="507"/>
                  </a:lnTo>
                  <a:lnTo>
                    <a:pt x="915" y="467"/>
                  </a:lnTo>
                  <a:lnTo>
                    <a:pt x="912" y="446"/>
                  </a:lnTo>
                  <a:lnTo>
                    <a:pt x="909" y="426"/>
                  </a:lnTo>
                  <a:lnTo>
                    <a:pt x="905" y="407"/>
                  </a:lnTo>
                  <a:lnTo>
                    <a:pt x="901" y="386"/>
                  </a:lnTo>
                  <a:lnTo>
                    <a:pt x="896" y="367"/>
                  </a:lnTo>
                  <a:lnTo>
                    <a:pt x="889" y="346"/>
                  </a:lnTo>
                  <a:lnTo>
                    <a:pt x="882" y="327"/>
                  </a:lnTo>
                  <a:lnTo>
                    <a:pt x="875" y="308"/>
                  </a:lnTo>
                  <a:lnTo>
                    <a:pt x="867" y="290"/>
                  </a:lnTo>
                  <a:lnTo>
                    <a:pt x="859" y="272"/>
                  </a:lnTo>
                  <a:lnTo>
                    <a:pt x="850" y="253"/>
                  </a:lnTo>
                  <a:lnTo>
                    <a:pt x="839" y="237"/>
                  </a:lnTo>
                  <a:lnTo>
                    <a:pt x="829" y="219"/>
                  </a:lnTo>
                  <a:lnTo>
                    <a:pt x="817" y="204"/>
                  </a:lnTo>
                  <a:lnTo>
                    <a:pt x="805" y="189"/>
                  </a:lnTo>
                  <a:lnTo>
                    <a:pt x="792" y="174"/>
                  </a:lnTo>
                  <a:lnTo>
                    <a:pt x="778" y="161"/>
                  </a:lnTo>
                  <a:lnTo>
                    <a:pt x="764" y="148"/>
                  </a:lnTo>
                  <a:lnTo>
                    <a:pt x="748" y="137"/>
                  </a:lnTo>
                  <a:lnTo>
                    <a:pt x="733" y="125"/>
                  </a:lnTo>
                  <a:lnTo>
                    <a:pt x="716" y="116"/>
                  </a:lnTo>
                  <a:lnTo>
                    <a:pt x="698" y="108"/>
                  </a:lnTo>
                  <a:lnTo>
                    <a:pt x="680" y="100"/>
                  </a:lnTo>
                  <a:lnTo>
                    <a:pt x="661" y="94"/>
                  </a:lnTo>
                  <a:lnTo>
                    <a:pt x="641" y="90"/>
                  </a:lnTo>
                  <a:lnTo>
                    <a:pt x="621" y="86"/>
                  </a:lnTo>
                  <a:lnTo>
                    <a:pt x="599" y="83"/>
                  </a:lnTo>
                  <a:lnTo>
                    <a:pt x="577" y="82"/>
                  </a:lnTo>
                  <a:lnTo>
                    <a:pt x="577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8" name="Freeform 16"/>
            <p:cNvSpPr>
              <a:spLocks/>
            </p:cNvSpPr>
            <p:nvPr userDrawn="1"/>
          </p:nvSpPr>
          <p:spPr bwMode="auto">
            <a:xfrm>
              <a:off x="3332163" y="889001"/>
              <a:ext cx="93663" cy="146050"/>
            </a:xfrm>
            <a:custGeom>
              <a:avLst/>
              <a:gdLst>
                <a:gd name="T0" fmla="*/ 52 w 712"/>
                <a:gd name="T1" fmla="*/ 723 h 1103"/>
                <a:gd name="T2" fmla="*/ 75 w 712"/>
                <a:gd name="T3" fmla="*/ 804 h 1103"/>
                <a:gd name="T4" fmla="*/ 112 w 712"/>
                <a:gd name="T5" fmla="*/ 875 h 1103"/>
                <a:gd name="T6" fmla="*/ 159 w 712"/>
                <a:gd name="T7" fmla="*/ 933 h 1103"/>
                <a:gd name="T8" fmla="*/ 215 w 712"/>
                <a:gd name="T9" fmla="*/ 978 h 1103"/>
                <a:gd name="T10" fmla="*/ 278 w 712"/>
                <a:gd name="T11" fmla="*/ 1009 h 1103"/>
                <a:gd name="T12" fmla="*/ 343 w 712"/>
                <a:gd name="T13" fmla="*/ 1024 h 1103"/>
                <a:gd name="T14" fmla="*/ 405 w 712"/>
                <a:gd name="T15" fmla="*/ 1022 h 1103"/>
                <a:gd name="T16" fmla="*/ 481 w 712"/>
                <a:gd name="T17" fmla="*/ 992 h 1103"/>
                <a:gd name="T18" fmla="*/ 529 w 712"/>
                <a:gd name="T19" fmla="*/ 929 h 1103"/>
                <a:gd name="T20" fmla="*/ 541 w 712"/>
                <a:gd name="T21" fmla="*/ 854 h 1103"/>
                <a:gd name="T22" fmla="*/ 528 w 712"/>
                <a:gd name="T23" fmla="*/ 795 h 1103"/>
                <a:gd name="T24" fmla="*/ 490 w 712"/>
                <a:gd name="T25" fmla="*/ 737 h 1103"/>
                <a:gd name="T26" fmla="*/ 429 w 712"/>
                <a:gd name="T27" fmla="*/ 688 h 1103"/>
                <a:gd name="T28" fmla="*/ 198 w 712"/>
                <a:gd name="T29" fmla="*/ 566 h 1103"/>
                <a:gd name="T30" fmla="*/ 94 w 712"/>
                <a:gd name="T31" fmla="*/ 485 h 1103"/>
                <a:gd name="T32" fmla="*/ 32 w 712"/>
                <a:gd name="T33" fmla="*/ 380 h 1103"/>
                <a:gd name="T34" fmla="*/ 16 w 712"/>
                <a:gd name="T35" fmla="*/ 267 h 1103"/>
                <a:gd name="T36" fmla="*/ 25 w 712"/>
                <a:gd name="T37" fmla="*/ 204 h 1103"/>
                <a:gd name="T38" fmla="*/ 52 w 712"/>
                <a:gd name="T39" fmla="*/ 145 h 1103"/>
                <a:gd name="T40" fmla="*/ 94 w 712"/>
                <a:gd name="T41" fmla="*/ 95 h 1103"/>
                <a:gd name="T42" fmla="*/ 148 w 712"/>
                <a:gd name="T43" fmla="*/ 54 h 1103"/>
                <a:gd name="T44" fmla="*/ 212 w 712"/>
                <a:gd name="T45" fmla="*/ 25 h 1103"/>
                <a:gd name="T46" fmla="*/ 285 w 712"/>
                <a:gd name="T47" fmla="*/ 11 h 1103"/>
                <a:gd name="T48" fmla="*/ 352 w 712"/>
                <a:gd name="T49" fmla="*/ 11 h 1103"/>
                <a:gd name="T50" fmla="*/ 427 w 712"/>
                <a:gd name="T51" fmla="*/ 25 h 1103"/>
                <a:gd name="T52" fmla="*/ 526 w 712"/>
                <a:gd name="T53" fmla="*/ 79 h 1103"/>
                <a:gd name="T54" fmla="*/ 556 w 712"/>
                <a:gd name="T55" fmla="*/ 47 h 1103"/>
                <a:gd name="T56" fmla="*/ 624 w 712"/>
                <a:gd name="T57" fmla="*/ 0 h 1103"/>
                <a:gd name="T58" fmla="*/ 568 w 712"/>
                <a:gd name="T59" fmla="*/ 328 h 1103"/>
                <a:gd name="T60" fmla="*/ 527 w 712"/>
                <a:gd name="T61" fmla="*/ 203 h 1103"/>
                <a:gd name="T62" fmla="*/ 481 w 712"/>
                <a:gd name="T63" fmla="*/ 142 h 1103"/>
                <a:gd name="T64" fmla="*/ 428 w 712"/>
                <a:gd name="T65" fmla="*/ 106 h 1103"/>
                <a:gd name="T66" fmla="*/ 358 w 712"/>
                <a:gd name="T67" fmla="*/ 86 h 1103"/>
                <a:gd name="T68" fmla="*/ 300 w 712"/>
                <a:gd name="T69" fmla="*/ 87 h 1103"/>
                <a:gd name="T70" fmla="*/ 240 w 712"/>
                <a:gd name="T71" fmla="*/ 113 h 1103"/>
                <a:gd name="T72" fmla="*/ 199 w 712"/>
                <a:gd name="T73" fmla="*/ 165 h 1103"/>
                <a:gd name="T74" fmla="*/ 187 w 712"/>
                <a:gd name="T75" fmla="*/ 222 h 1103"/>
                <a:gd name="T76" fmla="*/ 200 w 712"/>
                <a:gd name="T77" fmla="*/ 278 h 1103"/>
                <a:gd name="T78" fmla="*/ 241 w 712"/>
                <a:gd name="T79" fmla="*/ 336 h 1103"/>
                <a:gd name="T80" fmla="*/ 308 w 712"/>
                <a:gd name="T81" fmla="*/ 390 h 1103"/>
                <a:gd name="T82" fmla="*/ 535 w 712"/>
                <a:gd name="T83" fmla="*/ 510 h 1103"/>
                <a:gd name="T84" fmla="*/ 631 w 712"/>
                <a:gd name="T85" fmla="*/ 590 h 1103"/>
                <a:gd name="T86" fmla="*/ 695 w 712"/>
                <a:gd name="T87" fmla="*/ 693 h 1103"/>
                <a:gd name="T88" fmla="*/ 712 w 712"/>
                <a:gd name="T89" fmla="*/ 789 h 1103"/>
                <a:gd name="T90" fmla="*/ 701 w 712"/>
                <a:gd name="T91" fmla="*/ 872 h 1103"/>
                <a:gd name="T92" fmla="*/ 669 w 712"/>
                <a:gd name="T93" fmla="*/ 945 h 1103"/>
                <a:gd name="T94" fmla="*/ 619 w 712"/>
                <a:gd name="T95" fmla="*/ 1005 h 1103"/>
                <a:gd name="T96" fmla="*/ 556 w 712"/>
                <a:gd name="T97" fmla="*/ 1053 h 1103"/>
                <a:gd name="T98" fmla="*/ 483 w 712"/>
                <a:gd name="T99" fmla="*/ 1085 h 1103"/>
                <a:gd name="T100" fmla="*/ 402 w 712"/>
                <a:gd name="T101" fmla="*/ 1101 h 1103"/>
                <a:gd name="T102" fmla="*/ 323 w 712"/>
                <a:gd name="T103" fmla="*/ 1100 h 1103"/>
                <a:gd name="T104" fmla="*/ 223 w 712"/>
                <a:gd name="T105" fmla="*/ 1073 h 1103"/>
                <a:gd name="T106" fmla="*/ 111 w 712"/>
                <a:gd name="T107" fmla="*/ 1024 h 1103"/>
                <a:gd name="T108" fmla="*/ 77 w 712"/>
                <a:gd name="T109" fmla="*/ 1044 h 1103"/>
                <a:gd name="T110" fmla="*/ 51 w 712"/>
                <a:gd name="T111" fmla="*/ 1103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2" h="1103">
                  <a:moveTo>
                    <a:pt x="51" y="1103"/>
                  </a:moveTo>
                  <a:lnTo>
                    <a:pt x="0" y="1103"/>
                  </a:lnTo>
                  <a:lnTo>
                    <a:pt x="0" y="723"/>
                  </a:lnTo>
                  <a:lnTo>
                    <a:pt x="52" y="723"/>
                  </a:lnTo>
                  <a:lnTo>
                    <a:pt x="52" y="723"/>
                  </a:lnTo>
                  <a:lnTo>
                    <a:pt x="56" y="740"/>
                  </a:lnTo>
                  <a:lnTo>
                    <a:pt x="60" y="757"/>
                  </a:lnTo>
                  <a:lnTo>
                    <a:pt x="64" y="773"/>
                  </a:lnTo>
                  <a:lnTo>
                    <a:pt x="69" y="789"/>
                  </a:lnTo>
                  <a:lnTo>
                    <a:pt x="75" y="804"/>
                  </a:lnTo>
                  <a:lnTo>
                    <a:pt x="81" y="819"/>
                  </a:lnTo>
                  <a:lnTo>
                    <a:pt x="88" y="834"/>
                  </a:lnTo>
                  <a:lnTo>
                    <a:pt x="96" y="848"/>
                  </a:lnTo>
                  <a:lnTo>
                    <a:pt x="104" y="861"/>
                  </a:lnTo>
                  <a:lnTo>
                    <a:pt x="112" y="875"/>
                  </a:lnTo>
                  <a:lnTo>
                    <a:pt x="120" y="888"/>
                  </a:lnTo>
                  <a:lnTo>
                    <a:pt x="129" y="899"/>
                  </a:lnTo>
                  <a:lnTo>
                    <a:pt x="139" y="911"/>
                  </a:lnTo>
                  <a:lnTo>
                    <a:pt x="149" y="923"/>
                  </a:lnTo>
                  <a:lnTo>
                    <a:pt x="159" y="933"/>
                  </a:lnTo>
                  <a:lnTo>
                    <a:pt x="170" y="943"/>
                  </a:lnTo>
                  <a:lnTo>
                    <a:pt x="180" y="952"/>
                  </a:lnTo>
                  <a:lnTo>
                    <a:pt x="192" y="962"/>
                  </a:lnTo>
                  <a:lnTo>
                    <a:pt x="204" y="970"/>
                  </a:lnTo>
                  <a:lnTo>
                    <a:pt x="215" y="978"/>
                  </a:lnTo>
                  <a:lnTo>
                    <a:pt x="227" y="985"/>
                  </a:lnTo>
                  <a:lnTo>
                    <a:pt x="240" y="992"/>
                  </a:lnTo>
                  <a:lnTo>
                    <a:pt x="252" y="998"/>
                  </a:lnTo>
                  <a:lnTo>
                    <a:pt x="264" y="1003"/>
                  </a:lnTo>
                  <a:lnTo>
                    <a:pt x="278" y="1009"/>
                  </a:lnTo>
                  <a:lnTo>
                    <a:pt x="290" y="1013"/>
                  </a:lnTo>
                  <a:lnTo>
                    <a:pt x="303" y="1017"/>
                  </a:lnTo>
                  <a:lnTo>
                    <a:pt x="316" y="1020"/>
                  </a:lnTo>
                  <a:lnTo>
                    <a:pt x="330" y="1022"/>
                  </a:lnTo>
                  <a:lnTo>
                    <a:pt x="343" y="1024"/>
                  </a:lnTo>
                  <a:lnTo>
                    <a:pt x="356" y="1025"/>
                  </a:lnTo>
                  <a:lnTo>
                    <a:pt x="370" y="1025"/>
                  </a:lnTo>
                  <a:lnTo>
                    <a:pt x="370" y="1025"/>
                  </a:lnTo>
                  <a:lnTo>
                    <a:pt x="388" y="1024"/>
                  </a:lnTo>
                  <a:lnTo>
                    <a:pt x="405" y="1022"/>
                  </a:lnTo>
                  <a:lnTo>
                    <a:pt x="423" y="1019"/>
                  </a:lnTo>
                  <a:lnTo>
                    <a:pt x="438" y="1015"/>
                  </a:lnTo>
                  <a:lnTo>
                    <a:pt x="453" y="1009"/>
                  </a:lnTo>
                  <a:lnTo>
                    <a:pt x="468" y="1000"/>
                  </a:lnTo>
                  <a:lnTo>
                    <a:pt x="481" y="992"/>
                  </a:lnTo>
                  <a:lnTo>
                    <a:pt x="493" y="982"/>
                  </a:lnTo>
                  <a:lnTo>
                    <a:pt x="504" y="971"/>
                  </a:lnTo>
                  <a:lnTo>
                    <a:pt x="514" y="958"/>
                  </a:lnTo>
                  <a:lnTo>
                    <a:pt x="522" y="944"/>
                  </a:lnTo>
                  <a:lnTo>
                    <a:pt x="529" y="929"/>
                  </a:lnTo>
                  <a:lnTo>
                    <a:pt x="534" y="912"/>
                  </a:lnTo>
                  <a:lnTo>
                    <a:pt x="538" y="894"/>
                  </a:lnTo>
                  <a:lnTo>
                    <a:pt x="541" y="875"/>
                  </a:lnTo>
                  <a:lnTo>
                    <a:pt x="541" y="854"/>
                  </a:lnTo>
                  <a:lnTo>
                    <a:pt x="541" y="854"/>
                  </a:lnTo>
                  <a:lnTo>
                    <a:pt x="541" y="842"/>
                  </a:lnTo>
                  <a:lnTo>
                    <a:pt x="539" y="831"/>
                  </a:lnTo>
                  <a:lnTo>
                    <a:pt x="537" y="818"/>
                  </a:lnTo>
                  <a:lnTo>
                    <a:pt x="533" y="806"/>
                  </a:lnTo>
                  <a:lnTo>
                    <a:pt x="528" y="795"/>
                  </a:lnTo>
                  <a:lnTo>
                    <a:pt x="523" y="783"/>
                  </a:lnTo>
                  <a:lnTo>
                    <a:pt x="516" y="771"/>
                  </a:lnTo>
                  <a:lnTo>
                    <a:pt x="509" y="759"/>
                  </a:lnTo>
                  <a:lnTo>
                    <a:pt x="499" y="748"/>
                  </a:lnTo>
                  <a:lnTo>
                    <a:pt x="490" y="737"/>
                  </a:lnTo>
                  <a:lnTo>
                    <a:pt x="480" y="726"/>
                  </a:lnTo>
                  <a:lnTo>
                    <a:pt x="469" y="716"/>
                  </a:lnTo>
                  <a:lnTo>
                    <a:pt x="457" y="706"/>
                  </a:lnTo>
                  <a:lnTo>
                    <a:pt x="443" y="697"/>
                  </a:lnTo>
                  <a:lnTo>
                    <a:pt x="429" y="688"/>
                  </a:lnTo>
                  <a:lnTo>
                    <a:pt x="415" y="680"/>
                  </a:lnTo>
                  <a:lnTo>
                    <a:pt x="250" y="593"/>
                  </a:lnTo>
                  <a:lnTo>
                    <a:pt x="250" y="593"/>
                  </a:lnTo>
                  <a:lnTo>
                    <a:pt x="223" y="580"/>
                  </a:lnTo>
                  <a:lnTo>
                    <a:pt x="198" y="566"/>
                  </a:lnTo>
                  <a:lnTo>
                    <a:pt x="174" y="551"/>
                  </a:lnTo>
                  <a:lnTo>
                    <a:pt x="152" y="535"/>
                  </a:lnTo>
                  <a:lnTo>
                    <a:pt x="131" y="520"/>
                  </a:lnTo>
                  <a:lnTo>
                    <a:pt x="112" y="502"/>
                  </a:lnTo>
                  <a:lnTo>
                    <a:pt x="94" y="485"/>
                  </a:lnTo>
                  <a:lnTo>
                    <a:pt x="78" y="467"/>
                  </a:lnTo>
                  <a:lnTo>
                    <a:pt x="64" y="447"/>
                  </a:lnTo>
                  <a:lnTo>
                    <a:pt x="52" y="426"/>
                  </a:lnTo>
                  <a:lnTo>
                    <a:pt x="40" y="404"/>
                  </a:lnTo>
                  <a:lnTo>
                    <a:pt x="32" y="380"/>
                  </a:lnTo>
                  <a:lnTo>
                    <a:pt x="25" y="355"/>
                  </a:lnTo>
                  <a:lnTo>
                    <a:pt x="20" y="328"/>
                  </a:lnTo>
                  <a:lnTo>
                    <a:pt x="17" y="299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54"/>
                  </a:lnTo>
                  <a:lnTo>
                    <a:pt x="17" y="242"/>
                  </a:lnTo>
                  <a:lnTo>
                    <a:pt x="19" y="228"/>
                  </a:lnTo>
                  <a:lnTo>
                    <a:pt x="22" y="216"/>
                  </a:lnTo>
                  <a:lnTo>
                    <a:pt x="25" y="204"/>
                  </a:lnTo>
                  <a:lnTo>
                    <a:pt x="29" y="192"/>
                  </a:lnTo>
                  <a:lnTo>
                    <a:pt x="34" y="179"/>
                  </a:lnTo>
                  <a:lnTo>
                    <a:pt x="39" y="167"/>
                  </a:lnTo>
                  <a:lnTo>
                    <a:pt x="45" y="156"/>
                  </a:lnTo>
                  <a:lnTo>
                    <a:pt x="52" y="145"/>
                  </a:lnTo>
                  <a:lnTo>
                    <a:pt x="59" y="134"/>
                  </a:lnTo>
                  <a:lnTo>
                    <a:pt x="67" y="123"/>
                  </a:lnTo>
                  <a:lnTo>
                    <a:pt x="75" y="114"/>
                  </a:lnTo>
                  <a:lnTo>
                    <a:pt x="83" y="104"/>
                  </a:lnTo>
                  <a:lnTo>
                    <a:pt x="94" y="95"/>
                  </a:lnTo>
                  <a:lnTo>
                    <a:pt x="103" y="85"/>
                  </a:lnTo>
                  <a:lnTo>
                    <a:pt x="113" y="76"/>
                  </a:lnTo>
                  <a:lnTo>
                    <a:pt x="124" y="69"/>
                  </a:lnTo>
                  <a:lnTo>
                    <a:pt x="135" y="61"/>
                  </a:lnTo>
                  <a:lnTo>
                    <a:pt x="148" y="54"/>
                  </a:lnTo>
                  <a:lnTo>
                    <a:pt x="160" y="46"/>
                  </a:lnTo>
                  <a:lnTo>
                    <a:pt x="172" y="40"/>
                  </a:lnTo>
                  <a:lnTo>
                    <a:pt x="186" y="34"/>
                  </a:lnTo>
                  <a:lnTo>
                    <a:pt x="199" y="29"/>
                  </a:lnTo>
                  <a:lnTo>
                    <a:pt x="212" y="25"/>
                  </a:lnTo>
                  <a:lnTo>
                    <a:pt x="226" y="21"/>
                  </a:lnTo>
                  <a:lnTo>
                    <a:pt x="241" y="17"/>
                  </a:lnTo>
                  <a:lnTo>
                    <a:pt x="255" y="14"/>
                  </a:lnTo>
                  <a:lnTo>
                    <a:pt x="269" y="12"/>
                  </a:lnTo>
                  <a:lnTo>
                    <a:pt x="285" y="11"/>
                  </a:lnTo>
                  <a:lnTo>
                    <a:pt x="300" y="10"/>
                  </a:lnTo>
                  <a:lnTo>
                    <a:pt x="315" y="9"/>
                  </a:lnTo>
                  <a:lnTo>
                    <a:pt x="315" y="9"/>
                  </a:lnTo>
                  <a:lnTo>
                    <a:pt x="335" y="10"/>
                  </a:lnTo>
                  <a:lnTo>
                    <a:pt x="352" y="11"/>
                  </a:lnTo>
                  <a:lnTo>
                    <a:pt x="369" y="12"/>
                  </a:lnTo>
                  <a:lnTo>
                    <a:pt x="384" y="15"/>
                  </a:lnTo>
                  <a:lnTo>
                    <a:pt x="399" y="18"/>
                  </a:lnTo>
                  <a:lnTo>
                    <a:pt x="414" y="21"/>
                  </a:lnTo>
                  <a:lnTo>
                    <a:pt x="427" y="25"/>
                  </a:lnTo>
                  <a:lnTo>
                    <a:pt x="440" y="30"/>
                  </a:lnTo>
                  <a:lnTo>
                    <a:pt x="464" y="40"/>
                  </a:lnTo>
                  <a:lnTo>
                    <a:pt x="486" y="53"/>
                  </a:lnTo>
                  <a:lnTo>
                    <a:pt x="507" y="66"/>
                  </a:lnTo>
                  <a:lnTo>
                    <a:pt x="526" y="79"/>
                  </a:lnTo>
                  <a:lnTo>
                    <a:pt x="526" y="79"/>
                  </a:lnTo>
                  <a:lnTo>
                    <a:pt x="534" y="73"/>
                  </a:lnTo>
                  <a:lnTo>
                    <a:pt x="541" y="65"/>
                  </a:lnTo>
                  <a:lnTo>
                    <a:pt x="549" y="57"/>
                  </a:lnTo>
                  <a:lnTo>
                    <a:pt x="556" y="47"/>
                  </a:lnTo>
                  <a:lnTo>
                    <a:pt x="562" y="36"/>
                  </a:lnTo>
                  <a:lnTo>
                    <a:pt x="568" y="26"/>
                  </a:lnTo>
                  <a:lnTo>
                    <a:pt x="572" y="14"/>
                  </a:lnTo>
                  <a:lnTo>
                    <a:pt x="576" y="0"/>
                  </a:lnTo>
                  <a:lnTo>
                    <a:pt x="624" y="0"/>
                  </a:lnTo>
                  <a:lnTo>
                    <a:pt x="624" y="380"/>
                  </a:lnTo>
                  <a:lnTo>
                    <a:pt x="575" y="380"/>
                  </a:lnTo>
                  <a:lnTo>
                    <a:pt x="575" y="380"/>
                  </a:lnTo>
                  <a:lnTo>
                    <a:pt x="572" y="354"/>
                  </a:lnTo>
                  <a:lnTo>
                    <a:pt x="568" y="328"/>
                  </a:lnTo>
                  <a:lnTo>
                    <a:pt x="563" y="301"/>
                  </a:lnTo>
                  <a:lnTo>
                    <a:pt x="556" y="275"/>
                  </a:lnTo>
                  <a:lnTo>
                    <a:pt x="549" y="250"/>
                  </a:lnTo>
                  <a:lnTo>
                    <a:pt x="538" y="225"/>
                  </a:lnTo>
                  <a:lnTo>
                    <a:pt x="527" y="203"/>
                  </a:lnTo>
                  <a:lnTo>
                    <a:pt x="514" y="180"/>
                  </a:lnTo>
                  <a:lnTo>
                    <a:pt x="507" y="170"/>
                  </a:lnTo>
                  <a:lnTo>
                    <a:pt x="498" y="160"/>
                  </a:lnTo>
                  <a:lnTo>
                    <a:pt x="490" y="151"/>
                  </a:lnTo>
                  <a:lnTo>
                    <a:pt x="481" y="142"/>
                  </a:lnTo>
                  <a:lnTo>
                    <a:pt x="472" y="133"/>
                  </a:lnTo>
                  <a:lnTo>
                    <a:pt x="462" y="125"/>
                  </a:lnTo>
                  <a:lnTo>
                    <a:pt x="451" y="118"/>
                  </a:lnTo>
                  <a:lnTo>
                    <a:pt x="440" y="112"/>
                  </a:lnTo>
                  <a:lnTo>
                    <a:pt x="428" y="106"/>
                  </a:lnTo>
                  <a:lnTo>
                    <a:pt x="416" y="101"/>
                  </a:lnTo>
                  <a:lnTo>
                    <a:pt x="402" y="96"/>
                  </a:lnTo>
                  <a:lnTo>
                    <a:pt x="388" y="91"/>
                  </a:lnTo>
                  <a:lnTo>
                    <a:pt x="374" y="88"/>
                  </a:lnTo>
                  <a:lnTo>
                    <a:pt x="358" y="86"/>
                  </a:lnTo>
                  <a:lnTo>
                    <a:pt x="343" y="85"/>
                  </a:lnTo>
                  <a:lnTo>
                    <a:pt x="327" y="84"/>
                  </a:lnTo>
                  <a:lnTo>
                    <a:pt x="327" y="84"/>
                  </a:lnTo>
                  <a:lnTo>
                    <a:pt x="313" y="85"/>
                  </a:lnTo>
                  <a:lnTo>
                    <a:pt x="300" y="87"/>
                  </a:lnTo>
                  <a:lnTo>
                    <a:pt x="287" y="90"/>
                  </a:lnTo>
                  <a:lnTo>
                    <a:pt x="275" y="95"/>
                  </a:lnTo>
                  <a:lnTo>
                    <a:pt x="262" y="100"/>
                  </a:lnTo>
                  <a:lnTo>
                    <a:pt x="251" y="106"/>
                  </a:lnTo>
                  <a:lnTo>
                    <a:pt x="240" y="113"/>
                  </a:lnTo>
                  <a:lnTo>
                    <a:pt x="230" y="121"/>
                  </a:lnTo>
                  <a:lnTo>
                    <a:pt x="220" y="131"/>
                  </a:lnTo>
                  <a:lnTo>
                    <a:pt x="212" y="142"/>
                  </a:lnTo>
                  <a:lnTo>
                    <a:pt x="205" y="153"/>
                  </a:lnTo>
                  <a:lnTo>
                    <a:pt x="199" y="165"/>
                  </a:lnTo>
                  <a:lnTo>
                    <a:pt x="194" y="178"/>
                  </a:lnTo>
                  <a:lnTo>
                    <a:pt x="190" y="192"/>
                  </a:lnTo>
                  <a:lnTo>
                    <a:pt x="188" y="207"/>
                  </a:lnTo>
                  <a:lnTo>
                    <a:pt x="187" y="222"/>
                  </a:lnTo>
                  <a:lnTo>
                    <a:pt x="187" y="222"/>
                  </a:lnTo>
                  <a:lnTo>
                    <a:pt x="187" y="233"/>
                  </a:lnTo>
                  <a:lnTo>
                    <a:pt x="189" y="244"/>
                  </a:lnTo>
                  <a:lnTo>
                    <a:pt x="192" y="254"/>
                  </a:lnTo>
                  <a:lnTo>
                    <a:pt x="195" y="265"/>
                  </a:lnTo>
                  <a:lnTo>
                    <a:pt x="200" y="278"/>
                  </a:lnTo>
                  <a:lnTo>
                    <a:pt x="206" y="289"/>
                  </a:lnTo>
                  <a:lnTo>
                    <a:pt x="213" y="301"/>
                  </a:lnTo>
                  <a:lnTo>
                    <a:pt x="221" y="312"/>
                  </a:lnTo>
                  <a:lnTo>
                    <a:pt x="231" y="325"/>
                  </a:lnTo>
                  <a:lnTo>
                    <a:pt x="241" y="336"/>
                  </a:lnTo>
                  <a:lnTo>
                    <a:pt x="252" y="348"/>
                  </a:lnTo>
                  <a:lnTo>
                    <a:pt x="264" y="359"/>
                  </a:lnTo>
                  <a:lnTo>
                    <a:pt x="278" y="370"/>
                  </a:lnTo>
                  <a:lnTo>
                    <a:pt x="292" y="380"/>
                  </a:lnTo>
                  <a:lnTo>
                    <a:pt x="308" y="390"/>
                  </a:lnTo>
                  <a:lnTo>
                    <a:pt x="325" y="399"/>
                  </a:lnTo>
                  <a:lnTo>
                    <a:pt x="490" y="483"/>
                  </a:lnTo>
                  <a:lnTo>
                    <a:pt x="490" y="483"/>
                  </a:lnTo>
                  <a:lnTo>
                    <a:pt x="513" y="495"/>
                  </a:lnTo>
                  <a:lnTo>
                    <a:pt x="535" y="510"/>
                  </a:lnTo>
                  <a:lnTo>
                    <a:pt x="556" y="524"/>
                  </a:lnTo>
                  <a:lnTo>
                    <a:pt x="576" y="538"/>
                  </a:lnTo>
                  <a:lnTo>
                    <a:pt x="596" y="555"/>
                  </a:lnTo>
                  <a:lnTo>
                    <a:pt x="614" y="572"/>
                  </a:lnTo>
                  <a:lnTo>
                    <a:pt x="631" y="590"/>
                  </a:lnTo>
                  <a:lnTo>
                    <a:pt x="648" y="609"/>
                  </a:lnTo>
                  <a:lnTo>
                    <a:pt x="662" y="628"/>
                  </a:lnTo>
                  <a:lnTo>
                    <a:pt x="674" y="649"/>
                  </a:lnTo>
                  <a:lnTo>
                    <a:pt x="686" y="670"/>
                  </a:lnTo>
                  <a:lnTo>
                    <a:pt x="695" y="693"/>
                  </a:lnTo>
                  <a:lnTo>
                    <a:pt x="703" y="715"/>
                  </a:lnTo>
                  <a:lnTo>
                    <a:pt x="708" y="739"/>
                  </a:lnTo>
                  <a:lnTo>
                    <a:pt x="711" y="763"/>
                  </a:lnTo>
                  <a:lnTo>
                    <a:pt x="712" y="789"/>
                  </a:lnTo>
                  <a:lnTo>
                    <a:pt x="712" y="789"/>
                  </a:lnTo>
                  <a:lnTo>
                    <a:pt x="712" y="806"/>
                  </a:lnTo>
                  <a:lnTo>
                    <a:pt x="711" y="824"/>
                  </a:lnTo>
                  <a:lnTo>
                    <a:pt x="708" y="840"/>
                  </a:lnTo>
                  <a:lnTo>
                    <a:pt x="705" y="856"/>
                  </a:lnTo>
                  <a:lnTo>
                    <a:pt x="701" y="872"/>
                  </a:lnTo>
                  <a:lnTo>
                    <a:pt x="696" y="887"/>
                  </a:lnTo>
                  <a:lnTo>
                    <a:pt x="691" y="902"/>
                  </a:lnTo>
                  <a:lnTo>
                    <a:pt x="684" y="917"/>
                  </a:lnTo>
                  <a:lnTo>
                    <a:pt x="676" y="931"/>
                  </a:lnTo>
                  <a:lnTo>
                    <a:pt x="669" y="945"/>
                  </a:lnTo>
                  <a:lnTo>
                    <a:pt x="660" y="957"/>
                  </a:lnTo>
                  <a:lnTo>
                    <a:pt x="651" y="971"/>
                  </a:lnTo>
                  <a:lnTo>
                    <a:pt x="641" y="983"/>
                  </a:lnTo>
                  <a:lnTo>
                    <a:pt x="630" y="994"/>
                  </a:lnTo>
                  <a:lnTo>
                    <a:pt x="619" y="1005"/>
                  </a:lnTo>
                  <a:lnTo>
                    <a:pt x="608" y="1016"/>
                  </a:lnTo>
                  <a:lnTo>
                    <a:pt x="596" y="1026"/>
                  </a:lnTo>
                  <a:lnTo>
                    <a:pt x="582" y="1035"/>
                  </a:lnTo>
                  <a:lnTo>
                    <a:pt x="570" y="1044"/>
                  </a:lnTo>
                  <a:lnTo>
                    <a:pt x="556" y="1053"/>
                  </a:lnTo>
                  <a:lnTo>
                    <a:pt x="542" y="1061"/>
                  </a:lnTo>
                  <a:lnTo>
                    <a:pt x="528" y="1068"/>
                  </a:lnTo>
                  <a:lnTo>
                    <a:pt x="513" y="1074"/>
                  </a:lnTo>
                  <a:lnTo>
                    <a:pt x="498" y="1080"/>
                  </a:lnTo>
                  <a:lnTo>
                    <a:pt x="483" y="1085"/>
                  </a:lnTo>
                  <a:lnTo>
                    <a:pt x="467" y="1089"/>
                  </a:lnTo>
                  <a:lnTo>
                    <a:pt x="451" y="1093"/>
                  </a:lnTo>
                  <a:lnTo>
                    <a:pt x="435" y="1096"/>
                  </a:lnTo>
                  <a:lnTo>
                    <a:pt x="419" y="1100"/>
                  </a:lnTo>
                  <a:lnTo>
                    <a:pt x="402" y="1101"/>
                  </a:lnTo>
                  <a:lnTo>
                    <a:pt x="386" y="1103"/>
                  </a:lnTo>
                  <a:lnTo>
                    <a:pt x="370" y="1103"/>
                  </a:lnTo>
                  <a:lnTo>
                    <a:pt x="370" y="1103"/>
                  </a:lnTo>
                  <a:lnTo>
                    <a:pt x="345" y="1102"/>
                  </a:lnTo>
                  <a:lnTo>
                    <a:pt x="323" y="1100"/>
                  </a:lnTo>
                  <a:lnTo>
                    <a:pt x="300" y="1096"/>
                  </a:lnTo>
                  <a:lnTo>
                    <a:pt x="280" y="1091"/>
                  </a:lnTo>
                  <a:lnTo>
                    <a:pt x="260" y="1086"/>
                  </a:lnTo>
                  <a:lnTo>
                    <a:pt x="241" y="1080"/>
                  </a:lnTo>
                  <a:lnTo>
                    <a:pt x="223" y="1073"/>
                  </a:lnTo>
                  <a:lnTo>
                    <a:pt x="206" y="1067"/>
                  </a:lnTo>
                  <a:lnTo>
                    <a:pt x="175" y="1053"/>
                  </a:lnTo>
                  <a:lnTo>
                    <a:pt x="147" y="1039"/>
                  </a:lnTo>
                  <a:lnTo>
                    <a:pt x="122" y="1028"/>
                  </a:lnTo>
                  <a:lnTo>
                    <a:pt x="111" y="1024"/>
                  </a:lnTo>
                  <a:lnTo>
                    <a:pt x="101" y="1022"/>
                  </a:lnTo>
                  <a:lnTo>
                    <a:pt x="101" y="1022"/>
                  </a:lnTo>
                  <a:lnTo>
                    <a:pt x="93" y="1028"/>
                  </a:lnTo>
                  <a:lnTo>
                    <a:pt x="85" y="1036"/>
                  </a:lnTo>
                  <a:lnTo>
                    <a:pt x="77" y="1044"/>
                  </a:lnTo>
                  <a:lnTo>
                    <a:pt x="71" y="1055"/>
                  </a:lnTo>
                  <a:lnTo>
                    <a:pt x="64" y="1065"/>
                  </a:lnTo>
                  <a:lnTo>
                    <a:pt x="59" y="1076"/>
                  </a:lnTo>
                  <a:lnTo>
                    <a:pt x="54" y="1089"/>
                  </a:lnTo>
                  <a:lnTo>
                    <a:pt x="51" y="1103"/>
                  </a:lnTo>
                  <a:lnTo>
                    <a:pt x="51" y="1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9" name="Freeform 17"/>
            <p:cNvSpPr>
              <a:spLocks/>
            </p:cNvSpPr>
            <p:nvPr userDrawn="1"/>
          </p:nvSpPr>
          <p:spPr bwMode="auto">
            <a:xfrm>
              <a:off x="3455988" y="893763"/>
              <a:ext cx="142875" cy="136525"/>
            </a:xfrm>
            <a:custGeom>
              <a:avLst/>
              <a:gdLst>
                <a:gd name="T0" fmla="*/ 1028 w 1078"/>
                <a:gd name="T1" fmla="*/ 244 h 1035"/>
                <a:gd name="T2" fmla="*/ 1020 w 1078"/>
                <a:gd name="T3" fmla="*/ 209 h 1035"/>
                <a:gd name="T4" fmla="*/ 1006 w 1078"/>
                <a:gd name="T5" fmla="*/ 163 h 1035"/>
                <a:gd name="T6" fmla="*/ 995 w 1078"/>
                <a:gd name="T7" fmla="*/ 138 h 1035"/>
                <a:gd name="T8" fmla="*/ 980 w 1078"/>
                <a:gd name="T9" fmla="*/ 118 h 1035"/>
                <a:gd name="T10" fmla="*/ 959 w 1078"/>
                <a:gd name="T11" fmla="*/ 101 h 1035"/>
                <a:gd name="T12" fmla="*/ 932 w 1078"/>
                <a:gd name="T13" fmla="*/ 90 h 1035"/>
                <a:gd name="T14" fmla="*/ 895 w 1078"/>
                <a:gd name="T15" fmla="*/ 82 h 1035"/>
                <a:gd name="T16" fmla="*/ 848 w 1078"/>
                <a:gd name="T17" fmla="*/ 78 h 1035"/>
                <a:gd name="T18" fmla="*/ 646 w 1078"/>
                <a:gd name="T19" fmla="*/ 78 h 1035"/>
                <a:gd name="T20" fmla="*/ 646 w 1078"/>
                <a:gd name="T21" fmla="*/ 783 h 1035"/>
                <a:gd name="T22" fmla="*/ 648 w 1078"/>
                <a:gd name="T23" fmla="*/ 842 h 1035"/>
                <a:gd name="T24" fmla="*/ 652 w 1078"/>
                <a:gd name="T25" fmla="*/ 888 h 1035"/>
                <a:gd name="T26" fmla="*/ 662 w 1078"/>
                <a:gd name="T27" fmla="*/ 923 h 1035"/>
                <a:gd name="T28" fmla="*/ 672 w 1078"/>
                <a:gd name="T29" fmla="*/ 943 h 1035"/>
                <a:gd name="T30" fmla="*/ 680 w 1078"/>
                <a:gd name="T31" fmla="*/ 954 h 1035"/>
                <a:gd name="T32" fmla="*/ 691 w 1078"/>
                <a:gd name="T33" fmla="*/ 963 h 1035"/>
                <a:gd name="T34" fmla="*/ 711 w 1078"/>
                <a:gd name="T35" fmla="*/ 973 h 1035"/>
                <a:gd name="T36" fmla="*/ 743 w 1078"/>
                <a:gd name="T37" fmla="*/ 982 h 1035"/>
                <a:gd name="T38" fmla="*/ 787 w 1078"/>
                <a:gd name="T39" fmla="*/ 985 h 1035"/>
                <a:gd name="T40" fmla="*/ 812 w 1078"/>
                <a:gd name="T41" fmla="*/ 1035 h 1035"/>
                <a:gd name="T42" fmla="*/ 267 w 1078"/>
                <a:gd name="T43" fmla="*/ 985 h 1035"/>
                <a:gd name="T44" fmla="*/ 293 w 1078"/>
                <a:gd name="T45" fmla="*/ 985 h 1035"/>
                <a:gd name="T46" fmla="*/ 335 w 1078"/>
                <a:gd name="T47" fmla="*/ 982 h 1035"/>
                <a:gd name="T48" fmla="*/ 369 w 1078"/>
                <a:gd name="T49" fmla="*/ 973 h 1035"/>
                <a:gd name="T50" fmla="*/ 388 w 1078"/>
                <a:gd name="T51" fmla="*/ 963 h 1035"/>
                <a:gd name="T52" fmla="*/ 399 w 1078"/>
                <a:gd name="T53" fmla="*/ 954 h 1035"/>
                <a:gd name="T54" fmla="*/ 407 w 1078"/>
                <a:gd name="T55" fmla="*/ 943 h 1035"/>
                <a:gd name="T56" fmla="*/ 417 w 1078"/>
                <a:gd name="T57" fmla="*/ 923 h 1035"/>
                <a:gd name="T58" fmla="*/ 425 w 1078"/>
                <a:gd name="T59" fmla="*/ 888 h 1035"/>
                <a:gd name="T60" fmla="*/ 430 w 1078"/>
                <a:gd name="T61" fmla="*/ 842 h 1035"/>
                <a:gd name="T62" fmla="*/ 432 w 1078"/>
                <a:gd name="T63" fmla="*/ 783 h 1035"/>
                <a:gd name="T64" fmla="*/ 259 w 1078"/>
                <a:gd name="T65" fmla="*/ 78 h 1035"/>
                <a:gd name="T66" fmla="*/ 231 w 1078"/>
                <a:gd name="T67" fmla="*/ 78 h 1035"/>
                <a:gd name="T68" fmla="*/ 184 w 1078"/>
                <a:gd name="T69" fmla="*/ 82 h 1035"/>
                <a:gd name="T70" fmla="*/ 147 w 1078"/>
                <a:gd name="T71" fmla="*/ 90 h 1035"/>
                <a:gd name="T72" fmla="*/ 120 w 1078"/>
                <a:gd name="T73" fmla="*/ 101 h 1035"/>
                <a:gd name="T74" fmla="*/ 99 w 1078"/>
                <a:gd name="T75" fmla="*/ 118 h 1035"/>
                <a:gd name="T76" fmla="*/ 85 w 1078"/>
                <a:gd name="T77" fmla="*/ 138 h 1035"/>
                <a:gd name="T78" fmla="*/ 74 w 1078"/>
                <a:gd name="T79" fmla="*/ 163 h 1035"/>
                <a:gd name="T80" fmla="*/ 60 w 1078"/>
                <a:gd name="T81" fmla="*/ 209 h 1035"/>
                <a:gd name="T82" fmla="*/ 0 w 1078"/>
                <a:gd name="T83" fmla="*/ 244 h 1035"/>
                <a:gd name="T84" fmla="*/ 1065 w 1078"/>
                <a:gd name="T85" fmla="*/ 0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8" h="1035">
                  <a:moveTo>
                    <a:pt x="1078" y="244"/>
                  </a:moveTo>
                  <a:lnTo>
                    <a:pt x="1028" y="244"/>
                  </a:lnTo>
                  <a:lnTo>
                    <a:pt x="1020" y="209"/>
                  </a:lnTo>
                  <a:lnTo>
                    <a:pt x="1020" y="209"/>
                  </a:lnTo>
                  <a:lnTo>
                    <a:pt x="1011" y="177"/>
                  </a:lnTo>
                  <a:lnTo>
                    <a:pt x="1006" y="163"/>
                  </a:lnTo>
                  <a:lnTo>
                    <a:pt x="1001" y="150"/>
                  </a:lnTo>
                  <a:lnTo>
                    <a:pt x="995" y="138"/>
                  </a:lnTo>
                  <a:lnTo>
                    <a:pt x="988" y="127"/>
                  </a:lnTo>
                  <a:lnTo>
                    <a:pt x="980" y="118"/>
                  </a:lnTo>
                  <a:lnTo>
                    <a:pt x="970" y="109"/>
                  </a:lnTo>
                  <a:lnTo>
                    <a:pt x="959" y="101"/>
                  </a:lnTo>
                  <a:lnTo>
                    <a:pt x="947" y="95"/>
                  </a:lnTo>
                  <a:lnTo>
                    <a:pt x="932" y="90"/>
                  </a:lnTo>
                  <a:lnTo>
                    <a:pt x="914" y="85"/>
                  </a:lnTo>
                  <a:lnTo>
                    <a:pt x="895" y="82"/>
                  </a:lnTo>
                  <a:lnTo>
                    <a:pt x="872" y="80"/>
                  </a:lnTo>
                  <a:lnTo>
                    <a:pt x="848" y="78"/>
                  </a:lnTo>
                  <a:lnTo>
                    <a:pt x="819" y="78"/>
                  </a:lnTo>
                  <a:lnTo>
                    <a:pt x="646" y="78"/>
                  </a:lnTo>
                  <a:lnTo>
                    <a:pt x="646" y="783"/>
                  </a:lnTo>
                  <a:lnTo>
                    <a:pt x="646" y="783"/>
                  </a:lnTo>
                  <a:lnTo>
                    <a:pt x="647" y="814"/>
                  </a:lnTo>
                  <a:lnTo>
                    <a:pt x="648" y="842"/>
                  </a:lnTo>
                  <a:lnTo>
                    <a:pt x="649" y="866"/>
                  </a:lnTo>
                  <a:lnTo>
                    <a:pt x="652" y="888"/>
                  </a:lnTo>
                  <a:lnTo>
                    <a:pt x="657" y="906"/>
                  </a:lnTo>
                  <a:lnTo>
                    <a:pt x="662" y="923"/>
                  </a:lnTo>
                  <a:lnTo>
                    <a:pt x="668" y="937"/>
                  </a:lnTo>
                  <a:lnTo>
                    <a:pt x="672" y="943"/>
                  </a:lnTo>
                  <a:lnTo>
                    <a:pt x="676" y="949"/>
                  </a:lnTo>
                  <a:lnTo>
                    <a:pt x="680" y="954"/>
                  </a:lnTo>
                  <a:lnTo>
                    <a:pt x="685" y="958"/>
                  </a:lnTo>
                  <a:lnTo>
                    <a:pt x="691" y="963"/>
                  </a:lnTo>
                  <a:lnTo>
                    <a:pt x="697" y="966"/>
                  </a:lnTo>
                  <a:lnTo>
                    <a:pt x="711" y="973"/>
                  </a:lnTo>
                  <a:lnTo>
                    <a:pt x="726" y="978"/>
                  </a:lnTo>
                  <a:lnTo>
                    <a:pt x="743" y="982"/>
                  </a:lnTo>
                  <a:lnTo>
                    <a:pt x="764" y="984"/>
                  </a:lnTo>
                  <a:lnTo>
                    <a:pt x="787" y="985"/>
                  </a:lnTo>
                  <a:lnTo>
                    <a:pt x="812" y="985"/>
                  </a:lnTo>
                  <a:lnTo>
                    <a:pt x="812" y="1035"/>
                  </a:lnTo>
                  <a:lnTo>
                    <a:pt x="267" y="1035"/>
                  </a:lnTo>
                  <a:lnTo>
                    <a:pt x="267" y="985"/>
                  </a:lnTo>
                  <a:lnTo>
                    <a:pt x="267" y="985"/>
                  </a:lnTo>
                  <a:lnTo>
                    <a:pt x="293" y="985"/>
                  </a:lnTo>
                  <a:lnTo>
                    <a:pt x="315" y="984"/>
                  </a:lnTo>
                  <a:lnTo>
                    <a:pt x="335" y="982"/>
                  </a:lnTo>
                  <a:lnTo>
                    <a:pt x="353" y="978"/>
                  </a:lnTo>
                  <a:lnTo>
                    <a:pt x="369" y="973"/>
                  </a:lnTo>
                  <a:lnTo>
                    <a:pt x="383" y="966"/>
                  </a:lnTo>
                  <a:lnTo>
                    <a:pt x="388" y="963"/>
                  </a:lnTo>
                  <a:lnTo>
                    <a:pt x="394" y="958"/>
                  </a:lnTo>
                  <a:lnTo>
                    <a:pt x="399" y="954"/>
                  </a:lnTo>
                  <a:lnTo>
                    <a:pt x="403" y="949"/>
                  </a:lnTo>
                  <a:lnTo>
                    <a:pt x="407" y="943"/>
                  </a:lnTo>
                  <a:lnTo>
                    <a:pt x="411" y="937"/>
                  </a:lnTo>
                  <a:lnTo>
                    <a:pt x="417" y="923"/>
                  </a:lnTo>
                  <a:lnTo>
                    <a:pt x="422" y="906"/>
                  </a:lnTo>
                  <a:lnTo>
                    <a:pt x="425" y="888"/>
                  </a:lnTo>
                  <a:lnTo>
                    <a:pt x="429" y="866"/>
                  </a:lnTo>
                  <a:lnTo>
                    <a:pt x="430" y="842"/>
                  </a:lnTo>
                  <a:lnTo>
                    <a:pt x="431" y="814"/>
                  </a:lnTo>
                  <a:lnTo>
                    <a:pt x="432" y="783"/>
                  </a:lnTo>
                  <a:lnTo>
                    <a:pt x="432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31" y="78"/>
                  </a:lnTo>
                  <a:lnTo>
                    <a:pt x="206" y="80"/>
                  </a:lnTo>
                  <a:lnTo>
                    <a:pt x="184" y="82"/>
                  </a:lnTo>
                  <a:lnTo>
                    <a:pt x="165" y="85"/>
                  </a:lnTo>
                  <a:lnTo>
                    <a:pt x="147" y="90"/>
                  </a:lnTo>
                  <a:lnTo>
                    <a:pt x="133" y="95"/>
                  </a:lnTo>
                  <a:lnTo>
                    <a:pt x="120" y="101"/>
                  </a:lnTo>
                  <a:lnTo>
                    <a:pt x="110" y="109"/>
                  </a:lnTo>
                  <a:lnTo>
                    <a:pt x="99" y="118"/>
                  </a:lnTo>
                  <a:lnTo>
                    <a:pt x="91" y="127"/>
                  </a:lnTo>
                  <a:lnTo>
                    <a:pt x="85" y="138"/>
                  </a:lnTo>
                  <a:lnTo>
                    <a:pt x="79" y="150"/>
                  </a:lnTo>
                  <a:lnTo>
                    <a:pt x="74" y="163"/>
                  </a:lnTo>
                  <a:lnTo>
                    <a:pt x="69" y="177"/>
                  </a:lnTo>
                  <a:lnTo>
                    <a:pt x="60" y="209"/>
                  </a:lnTo>
                  <a:lnTo>
                    <a:pt x="51" y="244"/>
                  </a:lnTo>
                  <a:lnTo>
                    <a:pt x="0" y="244"/>
                  </a:lnTo>
                  <a:lnTo>
                    <a:pt x="15" y="0"/>
                  </a:lnTo>
                  <a:lnTo>
                    <a:pt x="1065" y="0"/>
                  </a:lnTo>
                  <a:lnTo>
                    <a:pt x="1078" y="2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0" name="Freeform 18"/>
            <p:cNvSpPr>
              <a:spLocks noEditPoints="1"/>
            </p:cNvSpPr>
            <p:nvPr userDrawn="1"/>
          </p:nvSpPr>
          <p:spPr bwMode="auto">
            <a:xfrm>
              <a:off x="3627438" y="890588"/>
              <a:ext cx="152400" cy="144463"/>
            </a:xfrm>
            <a:custGeom>
              <a:avLst/>
              <a:gdLst>
                <a:gd name="T0" fmla="*/ 487 w 1150"/>
                <a:gd name="T1" fmla="*/ 1087 h 1094"/>
                <a:gd name="T2" fmla="*/ 351 w 1150"/>
                <a:gd name="T3" fmla="*/ 1051 h 1094"/>
                <a:gd name="T4" fmla="*/ 231 w 1150"/>
                <a:gd name="T5" fmla="*/ 984 h 1094"/>
                <a:gd name="T6" fmla="*/ 131 w 1150"/>
                <a:gd name="T7" fmla="*/ 894 h 1094"/>
                <a:gd name="T8" fmla="*/ 56 w 1150"/>
                <a:gd name="T9" fmla="*/ 783 h 1094"/>
                <a:gd name="T10" fmla="*/ 11 w 1150"/>
                <a:gd name="T11" fmla="*/ 656 h 1094"/>
                <a:gd name="T12" fmla="*/ 0 w 1150"/>
                <a:gd name="T13" fmla="*/ 547 h 1094"/>
                <a:gd name="T14" fmla="*/ 17 w 1150"/>
                <a:gd name="T15" fmla="*/ 411 h 1094"/>
                <a:gd name="T16" fmla="*/ 69 w 1150"/>
                <a:gd name="T17" fmla="*/ 287 h 1094"/>
                <a:gd name="T18" fmla="*/ 149 w 1150"/>
                <a:gd name="T19" fmla="*/ 180 h 1094"/>
                <a:gd name="T20" fmla="*/ 253 w 1150"/>
                <a:gd name="T21" fmla="*/ 94 h 1094"/>
                <a:gd name="T22" fmla="*/ 378 w 1150"/>
                <a:gd name="T23" fmla="*/ 33 h 1094"/>
                <a:gd name="T24" fmla="*/ 517 w 1150"/>
                <a:gd name="T25" fmla="*/ 3 h 1094"/>
                <a:gd name="T26" fmla="*/ 634 w 1150"/>
                <a:gd name="T27" fmla="*/ 3 h 1094"/>
                <a:gd name="T28" fmla="*/ 773 w 1150"/>
                <a:gd name="T29" fmla="*/ 33 h 1094"/>
                <a:gd name="T30" fmla="*/ 895 w 1150"/>
                <a:gd name="T31" fmla="*/ 94 h 1094"/>
                <a:gd name="T32" fmla="*/ 1000 w 1150"/>
                <a:gd name="T33" fmla="*/ 180 h 1094"/>
                <a:gd name="T34" fmla="*/ 1080 w 1150"/>
                <a:gd name="T35" fmla="*/ 287 h 1094"/>
                <a:gd name="T36" fmla="*/ 1132 w 1150"/>
                <a:gd name="T37" fmla="*/ 411 h 1094"/>
                <a:gd name="T38" fmla="*/ 1150 w 1150"/>
                <a:gd name="T39" fmla="*/ 547 h 1094"/>
                <a:gd name="T40" fmla="*/ 1138 w 1150"/>
                <a:gd name="T41" fmla="*/ 656 h 1094"/>
                <a:gd name="T42" fmla="*/ 1093 w 1150"/>
                <a:gd name="T43" fmla="*/ 783 h 1094"/>
                <a:gd name="T44" fmla="*/ 1018 w 1150"/>
                <a:gd name="T45" fmla="*/ 894 h 1094"/>
                <a:gd name="T46" fmla="*/ 919 w 1150"/>
                <a:gd name="T47" fmla="*/ 984 h 1094"/>
                <a:gd name="T48" fmla="*/ 798 w 1150"/>
                <a:gd name="T49" fmla="*/ 1051 h 1094"/>
                <a:gd name="T50" fmla="*/ 662 w 1150"/>
                <a:gd name="T51" fmla="*/ 1087 h 1094"/>
                <a:gd name="T52" fmla="*/ 575 w 1150"/>
                <a:gd name="T53" fmla="*/ 82 h 1094"/>
                <a:gd name="T54" fmla="*/ 490 w 1150"/>
                <a:gd name="T55" fmla="*/ 94 h 1094"/>
                <a:gd name="T56" fmla="*/ 403 w 1150"/>
                <a:gd name="T57" fmla="*/ 137 h 1094"/>
                <a:gd name="T58" fmla="*/ 334 w 1150"/>
                <a:gd name="T59" fmla="*/ 204 h 1094"/>
                <a:gd name="T60" fmla="*/ 284 w 1150"/>
                <a:gd name="T61" fmla="*/ 290 h 1094"/>
                <a:gd name="T62" fmla="*/ 251 w 1150"/>
                <a:gd name="T63" fmla="*/ 386 h 1094"/>
                <a:gd name="T64" fmla="*/ 233 w 1150"/>
                <a:gd name="T65" fmla="*/ 507 h 1094"/>
                <a:gd name="T66" fmla="*/ 240 w 1150"/>
                <a:gd name="T67" fmla="*/ 647 h 1094"/>
                <a:gd name="T68" fmla="*/ 262 w 1150"/>
                <a:gd name="T69" fmla="*/ 747 h 1094"/>
                <a:gd name="T70" fmla="*/ 302 w 1150"/>
                <a:gd name="T71" fmla="*/ 840 h 1094"/>
                <a:gd name="T72" fmla="*/ 360 w 1150"/>
                <a:gd name="T73" fmla="*/ 919 h 1094"/>
                <a:gd name="T74" fmla="*/ 435 w 1150"/>
                <a:gd name="T75" fmla="*/ 977 h 1094"/>
                <a:gd name="T76" fmla="*/ 531 w 1150"/>
                <a:gd name="T77" fmla="*/ 1008 h 1094"/>
                <a:gd name="T78" fmla="*/ 619 w 1150"/>
                <a:gd name="T79" fmla="*/ 1008 h 1094"/>
                <a:gd name="T80" fmla="*/ 715 w 1150"/>
                <a:gd name="T81" fmla="*/ 977 h 1094"/>
                <a:gd name="T82" fmla="*/ 791 w 1150"/>
                <a:gd name="T83" fmla="*/ 919 h 1094"/>
                <a:gd name="T84" fmla="*/ 848 w 1150"/>
                <a:gd name="T85" fmla="*/ 840 h 1094"/>
                <a:gd name="T86" fmla="*/ 888 w 1150"/>
                <a:gd name="T87" fmla="*/ 747 h 1094"/>
                <a:gd name="T88" fmla="*/ 911 w 1150"/>
                <a:gd name="T89" fmla="*/ 647 h 1094"/>
                <a:gd name="T90" fmla="*/ 918 w 1150"/>
                <a:gd name="T91" fmla="*/ 507 h 1094"/>
                <a:gd name="T92" fmla="*/ 899 w 1150"/>
                <a:gd name="T93" fmla="*/ 386 h 1094"/>
                <a:gd name="T94" fmla="*/ 867 w 1150"/>
                <a:gd name="T95" fmla="*/ 290 h 1094"/>
                <a:gd name="T96" fmla="*/ 816 w 1150"/>
                <a:gd name="T97" fmla="*/ 204 h 1094"/>
                <a:gd name="T98" fmla="*/ 747 w 1150"/>
                <a:gd name="T99" fmla="*/ 137 h 1094"/>
                <a:gd name="T100" fmla="*/ 660 w 1150"/>
                <a:gd name="T101" fmla="*/ 94 h 1094"/>
                <a:gd name="T102" fmla="*/ 575 w 1150"/>
                <a:gd name="T103" fmla="*/ 8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50" h="1094">
                  <a:moveTo>
                    <a:pt x="575" y="1094"/>
                  </a:moveTo>
                  <a:lnTo>
                    <a:pt x="575" y="1094"/>
                  </a:lnTo>
                  <a:lnTo>
                    <a:pt x="546" y="1093"/>
                  </a:lnTo>
                  <a:lnTo>
                    <a:pt x="517" y="1091"/>
                  </a:lnTo>
                  <a:lnTo>
                    <a:pt x="487" y="1087"/>
                  </a:lnTo>
                  <a:lnTo>
                    <a:pt x="460" y="1082"/>
                  </a:lnTo>
                  <a:lnTo>
                    <a:pt x="431" y="1076"/>
                  </a:lnTo>
                  <a:lnTo>
                    <a:pt x="405" y="1069"/>
                  </a:lnTo>
                  <a:lnTo>
                    <a:pt x="378" y="1060"/>
                  </a:lnTo>
                  <a:lnTo>
                    <a:pt x="351" y="1051"/>
                  </a:lnTo>
                  <a:lnTo>
                    <a:pt x="326" y="1039"/>
                  </a:lnTo>
                  <a:lnTo>
                    <a:pt x="301" y="1027"/>
                  </a:lnTo>
                  <a:lnTo>
                    <a:pt x="277" y="1014"/>
                  </a:lnTo>
                  <a:lnTo>
                    <a:pt x="253" y="1000"/>
                  </a:lnTo>
                  <a:lnTo>
                    <a:pt x="231" y="984"/>
                  </a:lnTo>
                  <a:lnTo>
                    <a:pt x="209" y="968"/>
                  </a:lnTo>
                  <a:lnTo>
                    <a:pt x="188" y="950"/>
                  </a:lnTo>
                  <a:lnTo>
                    <a:pt x="168" y="933"/>
                  </a:lnTo>
                  <a:lnTo>
                    <a:pt x="149" y="914"/>
                  </a:lnTo>
                  <a:lnTo>
                    <a:pt x="131" y="894"/>
                  </a:lnTo>
                  <a:lnTo>
                    <a:pt x="114" y="873"/>
                  </a:lnTo>
                  <a:lnTo>
                    <a:pt x="98" y="851"/>
                  </a:lnTo>
                  <a:lnTo>
                    <a:pt x="82" y="830"/>
                  </a:lnTo>
                  <a:lnTo>
                    <a:pt x="69" y="806"/>
                  </a:lnTo>
                  <a:lnTo>
                    <a:pt x="56" y="783"/>
                  </a:lnTo>
                  <a:lnTo>
                    <a:pt x="45" y="758"/>
                  </a:lnTo>
                  <a:lnTo>
                    <a:pt x="34" y="734"/>
                  </a:lnTo>
                  <a:lnTo>
                    <a:pt x="25" y="708"/>
                  </a:lnTo>
                  <a:lnTo>
                    <a:pt x="17" y="683"/>
                  </a:lnTo>
                  <a:lnTo>
                    <a:pt x="11" y="656"/>
                  </a:lnTo>
                  <a:lnTo>
                    <a:pt x="6" y="629"/>
                  </a:lnTo>
                  <a:lnTo>
                    <a:pt x="2" y="602"/>
                  </a:lnTo>
                  <a:lnTo>
                    <a:pt x="0" y="574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519"/>
                  </a:lnTo>
                  <a:lnTo>
                    <a:pt x="2" y="491"/>
                  </a:lnTo>
                  <a:lnTo>
                    <a:pt x="6" y="464"/>
                  </a:lnTo>
                  <a:lnTo>
                    <a:pt x="11" y="437"/>
                  </a:lnTo>
                  <a:lnTo>
                    <a:pt x="17" y="411"/>
                  </a:lnTo>
                  <a:lnTo>
                    <a:pt x="25" y="385"/>
                  </a:lnTo>
                  <a:lnTo>
                    <a:pt x="34" y="360"/>
                  </a:lnTo>
                  <a:lnTo>
                    <a:pt x="45" y="335"/>
                  </a:lnTo>
                  <a:lnTo>
                    <a:pt x="56" y="310"/>
                  </a:lnTo>
                  <a:lnTo>
                    <a:pt x="69" y="287"/>
                  </a:lnTo>
                  <a:lnTo>
                    <a:pt x="82" y="264"/>
                  </a:lnTo>
                  <a:lnTo>
                    <a:pt x="98" y="242"/>
                  </a:lnTo>
                  <a:lnTo>
                    <a:pt x="114" y="220"/>
                  </a:lnTo>
                  <a:lnTo>
                    <a:pt x="131" y="200"/>
                  </a:lnTo>
                  <a:lnTo>
                    <a:pt x="149" y="180"/>
                  </a:lnTo>
                  <a:lnTo>
                    <a:pt x="168" y="161"/>
                  </a:lnTo>
                  <a:lnTo>
                    <a:pt x="188" y="143"/>
                  </a:lnTo>
                  <a:lnTo>
                    <a:pt x="209" y="125"/>
                  </a:lnTo>
                  <a:lnTo>
                    <a:pt x="231" y="109"/>
                  </a:lnTo>
                  <a:lnTo>
                    <a:pt x="253" y="94"/>
                  </a:lnTo>
                  <a:lnTo>
                    <a:pt x="277" y="79"/>
                  </a:lnTo>
                  <a:lnTo>
                    <a:pt x="301" y="66"/>
                  </a:lnTo>
                  <a:lnTo>
                    <a:pt x="326" y="54"/>
                  </a:lnTo>
                  <a:lnTo>
                    <a:pt x="351" y="44"/>
                  </a:lnTo>
                  <a:lnTo>
                    <a:pt x="378" y="33"/>
                  </a:lnTo>
                  <a:lnTo>
                    <a:pt x="405" y="24"/>
                  </a:lnTo>
                  <a:lnTo>
                    <a:pt x="431" y="17"/>
                  </a:lnTo>
                  <a:lnTo>
                    <a:pt x="460" y="11"/>
                  </a:lnTo>
                  <a:lnTo>
                    <a:pt x="487" y="6"/>
                  </a:lnTo>
                  <a:lnTo>
                    <a:pt x="517" y="3"/>
                  </a:lnTo>
                  <a:lnTo>
                    <a:pt x="546" y="1"/>
                  </a:lnTo>
                  <a:lnTo>
                    <a:pt x="575" y="0"/>
                  </a:lnTo>
                  <a:lnTo>
                    <a:pt x="575" y="0"/>
                  </a:lnTo>
                  <a:lnTo>
                    <a:pt x="605" y="1"/>
                  </a:lnTo>
                  <a:lnTo>
                    <a:pt x="634" y="3"/>
                  </a:lnTo>
                  <a:lnTo>
                    <a:pt x="662" y="6"/>
                  </a:lnTo>
                  <a:lnTo>
                    <a:pt x="691" y="11"/>
                  </a:lnTo>
                  <a:lnTo>
                    <a:pt x="719" y="17"/>
                  </a:lnTo>
                  <a:lnTo>
                    <a:pt x="746" y="24"/>
                  </a:lnTo>
                  <a:lnTo>
                    <a:pt x="773" y="33"/>
                  </a:lnTo>
                  <a:lnTo>
                    <a:pt x="798" y="44"/>
                  </a:lnTo>
                  <a:lnTo>
                    <a:pt x="824" y="54"/>
                  </a:lnTo>
                  <a:lnTo>
                    <a:pt x="848" y="66"/>
                  </a:lnTo>
                  <a:lnTo>
                    <a:pt x="873" y="79"/>
                  </a:lnTo>
                  <a:lnTo>
                    <a:pt x="895" y="94"/>
                  </a:lnTo>
                  <a:lnTo>
                    <a:pt x="919" y="109"/>
                  </a:lnTo>
                  <a:lnTo>
                    <a:pt x="940" y="125"/>
                  </a:lnTo>
                  <a:lnTo>
                    <a:pt x="961" y="143"/>
                  </a:lnTo>
                  <a:lnTo>
                    <a:pt x="981" y="161"/>
                  </a:lnTo>
                  <a:lnTo>
                    <a:pt x="1000" y="180"/>
                  </a:lnTo>
                  <a:lnTo>
                    <a:pt x="1018" y="200"/>
                  </a:lnTo>
                  <a:lnTo>
                    <a:pt x="1035" y="220"/>
                  </a:lnTo>
                  <a:lnTo>
                    <a:pt x="1052" y="242"/>
                  </a:lnTo>
                  <a:lnTo>
                    <a:pt x="1066" y="264"/>
                  </a:lnTo>
                  <a:lnTo>
                    <a:pt x="1080" y="287"/>
                  </a:lnTo>
                  <a:lnTo>
                    <a:pt x="1093" y="310"/>
                  </a:lnTo>
                  <a:lnTo>
                    <a:pt x="1104" y="335"/>
                  </a:lnTo>
                  <a:lnTo>
                    <a:pt x="1115" y="360"/>
                  </a:lnTo>
                  <a:lnTo>
                    <a:pt x="1123" y="385"/>
                  </a:lnTo>
                  <a:lnTo>
                    <a:pt x="1132" y="411"/>
                  </a:lnTo>
                  <a:lnTo>
                    <a:pt x="1138" y="437"/>
                  </a:lnTo>
                  <a:lnTo>
                    <a:pt x="1143" y="464"/>
                  </a:lnTo>
                  <a:lnTo>
                    <a:pt x="1147" y="491"/>
                  </a:lnTo>
                  <a:lnTo>
                    <a:pt x="1149" y="519"/>
                  </a:lnTo>
                  <a:lnTo>
                    <a:pt x="1150" y="547"/>
                  </a:lnTo>
                  <a:lnTo>
                    <a:pt x="1150" y="547"/>
                  </a:lnTo>
                  <a:lnTo>
                    <a:pt x="1149" y="574"/>
                  </a:lnTo>
                  <a:lnTo>
                    <a:pt x="1147" y="602"/>
                  </a:lnTo>
                  <a:lnTo>
                    <a:pt x="1143" y="629"/>
                  </a:lnTo>
                  <a:lnTo>
                    <a:pt x="1138" y="656"/>
                  </a:lnTo>
                  <a:lnTo>
                    <a:pt x="1132" y="683"/>
                  </a:lnTo>
                  <a:lnTo>
                    <a:pt x="1123" y="708"/>
                  </a:lnTo>
                  <a:lnTo>
                    <a:pt x="1115" y="734"/>
                  </a:lnTo>
                  <a:lnTo>
                    <a:pt x="1104" y="758"/>
                  </a:lnTo>
                  <a:lnTo>
                    <a:pt x="1093" y="783"/>
                  </a:lnTo>
                  <a:lnTo>
                    <a:pt x="1080" y="806"/>
                  </a:lnTo>
                  <a:lnTo>
                    <a:pt x="1066" y="830"/>
                  </a:lnTo>
                  <a:lnTo>
                    <a:pt x="1052" y="851"/>
                  </a:lnTo>
                  <a:lnTo>
                    <a:pt x="1035" y="873"/>
                  </a:lnTo>
                  <a:lnTo>
                    <a:pt x="1018" y="894"/>
                  </a:lnTo>
                  <a:lnTo>
                    <a:pt x="1000" y="914"/>
                  </a:lnTo>
                  <a:lnTo>
                    <a:pt x="981" y="933"/>
                  </a:lnTo>
                  <a:lnTo>
                    <a:pt x="961" y="950"/>
                  </a:lnTo>
                  <a:lnTo>
                    <a:pt x="940" y="968"/>
                  </a:lnTo>
                  <a:lnTo>
                    <a:pt x="919" y="984"/>
                  </a:lnTo>
                  <a:lnTo>
                    <a:pt x="895" y="1000"/>
                  </a:lnTo>
                  <a:lnTo>
                    <a:pt x="873" y="1014"/>
                  </a:lnTo>
                  <a:lnTo>
                    <a:pt x="848" y="1027"/>
                  </a:lnTo>
                  <a:lnTo>
                    <a:pt x="824" y="1039"/>
                  </a:lnTo>
                  <a:lnTo>
                    <a:pt x="798" y="1051"/>
                  </a:lnTo>
                  <a:lnTo>
                    <a:pt x="773" y="1060"/>
                  </a:lnTo>
                  <a:lnTo>
                    <a:pt x="746" y="1069"/>
                  </a:lnTo>
                  <a:lnTo>
                    <a:pt x="719" y="1076"/>
                  </a:lnTo>
                  <a:lnTo>
                    <a:pt x="691" y="1082"/>
                  </a:lnTo>
                  <a:lnTo>
                    <a:pt x="662" y="1087"/>
                  </a:lnTo>
                  <a:lnTo>
                    <a:pt x="634" y="1091"/>
                  </a:lnTo>
                  <a:lnTo>
                    <a:pt x="605" y="1093"/>
                  </a:lnTo>
                  <a:lnTo>
                    <a:pt x="575" y="1094"/>
                  </a:lnTo>
                  <a:lnTo>
                    <a:pt x="575" y="1094"/>
                  </a:lnTo>
                  <a:close/>
                  <a:moveTo>
                    <a:pt x="575" y="82"/>
                  </a:moveTo>
                  <a:lnTo>
                    <a:pt x="575" y="82"/>
                  </a:lnTo>
                  <a:lnTo>
                    <a:pt x="553" y="83"/>
                  </a:lnTo>
                  <a:lnTo>
                    <a:pt x="531" y="86"/>
                  </a:lnTo>
                  <a:lnTo>
                    <a:pt x="510" y="90"/>
                  </a:lnTo>
                  <a:lnTo>
                    <a:pt x="490" y="94"/>
                  </a:lnTo>
                  <a:lnTo>
                    <a:pt x="471" y="100"/>
                  </a:lnTo>
                  <a:lnTo>
                    <a:pt x="453" y="108"/>
                  </a:lnTo>
                  <a:lnTo>
                    <a:pt x="435" y="116"/>
                  </a:lnTo>
                  <a:lnTo>
                    <a:pt x="419" y="125"/>
                  </a:lnTo>
                  <a:lnTo>
                    <a:pt x="403" y="137"/>
                  </a:lnTo>
                  <a:lnTo>
                    <a:pt x="387" y="148"/>
                  </a:lnTo>
                  <a:lnTo>
                    <a:pt x="373" y="161"/>
                  </a:lnTo>
                  <a:lnTo>
                    <a:pt x="360" y="174"/>
                  </a:lnTo>
                  <a:lnTo>
                    <a:pt x="346" y="189"/>
                  </a:lnTo>
                  <a:lnTo>
                    <a:pt x="334" y="204"/>
                  </a:lnTo>
                  <a:lnTo>
                    <a:pt x="323" y="219"/>
                  </a:lnTo>
                  <a:lnTo>
                    <a:pt x="312" y="237"/>
                  </a:lnTo>
                  <a:lnTo>
                    <a:pt x="302" y="253"/>
                  </a:lnTo>
                  <a:lnTo>
                    <a:pt x="292" y="272"/>
                  </a:lnTo>
                  <a:lnTo>
                    <a:pt x="284" y="290"/>
                  </a:lnTo>
                  <a:lnTo>
                    <a:pt x="276" y="308"/>
                  </a:lnTo>
                  <a:lnTo>
                    <a:pt x="269" y="327"/>
                  </a:lnTo>
                  <a:lnTo>
                    <a:pt x="262" y="346"/>
                  </a:lnTo>
                  <a:lnTo>
                    <a:pt x="256" y="367"/>
                  </a:lnTo>
                  <a:lnTo>
                    <a:pt x="251" y="386"/>
                  </a:lnTo>
                  <a:lnTo>
                    <a:pt x="247" y="407"/>
                  </a:lnTo>
                  <a:lnTo>
                    <a:pt x="243" y="426"/>
                  </a:lnTo>
                  <a:lnTo>
                    <a:pt x="240" y="446"/>
                  </a:lnTo>
                  <a:lnTo>
                    <a:pt x="237" y="467"/>
                  </a:lnTo>
                  <a:lnTo>
                    <a:pt x="233" y="507"/>
                  </a:lnTo>
                  <a:lnTo>
                    <a:pt x="232" y="547"/>
                  </a:lnTo>
                  <a:lnTo>
                    <a:pt x="232" y="547"/>
                  </a:lnTo>
                  <a:lnTo>
                    <a:pt x="233" y="587"/>
                  </a:lnTo>
                  <a:lnTo>
                    <a:pt x="237" y="626"/>
                  </a:lnTo>
                  <a:lnTo>
                    <a:pt x="240" y="647"/>
                  </a:lnTo>
                  <a:lnTo>
                    <a:pt x="243" y="667"/>
                  </a:lnTo>
                  <a:lnTo>
                    <a:pt x="247" y="687"/>
                  </a:lnTo>
                  <a:lnTo>
                    <a:pt x="251" y="707"/>
                  </a:lnTo>
                  <a:lnTo>
                    <a:pt x="256" y="728"/>
                  </a:lnTo>
                  <a:lnTo>
                    <a:pt x="262" y="747"/>
                  </a:lnTo>
                  <a:lnTo>
                    <a:pt x="269" y="766"/>
                  </a:lnTo>
                  <a:lnTo>
                    <a:pt x="276" y="785"/>
                  </a:lnTo>
                  <a:lnTo>
                    <a:pt x="284" y="804"/>
                  </a:lnTo>
                  <a:lnTo>
                    <a:pt x="292" y="822"/>
                  </a:lnTo>
                  <a:lnTo>
                    <a:pt x="302" y="840"/>
                  </a:lnTo>
                  <a:lnTo>
                    <a:pt x="312" y="857"/>
                  </a:lnTo>
                  <a:lnTo>
                    <a:pt x="323" y="874"/>
                  </a:lnTo>
                  <a:lnTo>
                    <a:pt x="334" y="889"/>
                  </a:lnTo>
                  <a:lnTo>
                    <a:pt x="346" y="904"/>
                  </a:lnTo>
                  <a:lnTo>
                    <a:pt x="360" y="919"/>
                  </a:lnTo>
                  <a:lnTo>
                    <a:pt x="373" y="932"/>
                  </a:lnTo>
                  <a:lnTo>
                    <a:pt x="387" y="945"/>
                  </a:lnTo>
                  <a:lnTo>
                    <a:pt x="403" y="957"/>
                  </a:lnTo>
                  <a:lnTo>
                    <a:pt x="419" y="968"/>
                  </a:lnTo>
                  <a:lnTo>
                    <a:pt x="435" y="977"/>
                  </a:lnTo>
                  <a:lnTo>
                    <a:pt x="453" y="986"/>
                  </a:lnTo>
                  <a:lnTo>
                    <a:pt x="471" y="993"/>
                  </a:lnTo>
                  <a:lnTo>
                    <a:pt x="490" y="1000"/>
                  </a:lnTo>
                  <a:lnTo>
                    <a:pt x="510" y="1005"/>
                  </a:lnTo>
                  <a:lnTo>
                    <a:pt x="531" y="1008"/>
                  </a:lnTo>
                  <a:lnTo>
                    <a:pt x="553" y="1010"/>
                  </a:lnTo>
                  <a:lnTo>
                    <a:pt x="575" y="1011"/>
                  </a:lnTo>
                  <a:lnTo>
                    <a:pt x="575" y="1011"/>
                  </a:lnTo>
                  <a:lnTo>
                    <a:pt x="598" y="1010"/>
                  </a:lnTo>
                  <a:lnTo>
                    <a:pt x="619" y="1008"/>
                  </a:lnTo>
                  <a:lnTo>
                    <a:pt x="640" y="1005"/>
                  </a:lnTo>
                  <a:lnTo>
                    <a:pt x="660" y="1000"/>
                  </a:lnTo>
                  <a:lnTo>
                    <a:pt x="679" y="993"/>
                  </a:lnTo>
                  <a:lnTo>
                    <a:pt x="697" y="986"/>
                  </a:lnTo>
                  <a:lnTo>
                    <a:pt x="715" y="977"/>
                  </a:lnTo>
                  <a:lnTo>
                    <a:pt x="732" y="968"/>
                  </a:lnTo>
                  <a:lnTo>
                    <a:pt x="747" y="957"/>
                  </a:lnTo>
                  <a:lnTo>
                    <a:pt x="762" y="945"/>
                  </a:lnTo>
                  <a:lnTo>
                    <a:pt x="777" y="932"/>
                  </a:lnTo>
                  <a:lnTo>
                    <a:pt x="791" y="919"/>
                  </a:lnTo>
                  <a:lnTo>
                    <a:pt x="803" y="904"/>
                  </a:lnTo>
                  <a:lnTo>
                    <a:pt x="816" y="889"/>
                  </a:lnTo>
                  <a:lnTo>
                    <a:pt x="828" y="874"/>
                  </a:lnTo>
                  <a:lnTo>
                    <a:pt x="838" y="857"/>
                  </a:lnTo>
                  <a:lnTo>
                    <a:pt x="848" y="840"/>
                  </a:lnTo>
                  <a:lnTo>
                    <a:pt x="858" y="822"/>
                  </a:lnTo>
                  <a:lnTo>
                    <a:pt x="867" y="804"/>
                  </a:lnTo>
                  <a:lnTo>
                    <a:pt x="874" y="785"/>
                  </a:lnTo>
                  <a:lnTo>
                    <a:pt x="881" y="766"/>
                  </a:lnTo>
                  <a:lnTo>
                    <a:pt x="888" y="747"/>
                  </a:lnTo>
                  <a:lnTo>
                    <a:pt x="894" y="728"/>
                  </a:lnTo>
                  <a:lnTo>
                    <a:pt x="899" y="707"/>
                  </a:lnTo>
                  <a:lnTo>
                    <a:pt x="904" y="687"/>
                  </a:lnTo>
                  <a:lnTo>
                    <a:pt x="908" y="667"/>
                  </a:lnTo>
                  <a:lnTo>
                    <a:pt x="911" y="647"/>
                  </a:lnTo>
                  <a:lnTo>
                    <a:pt x="914" y="626"/>
                  </a:lnTo>
                  <a:lnTo>
                    <a:pt x="918" y="58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8" y="507"/>
                  </a:lnTo>
                  <a:lnTo>
                    <a:pt x="914" y="467"/>
                  </a:lnTo>
                  <a:lnTo>
                    <a:pt x="911" y="446"/>
                  </a:lnTo>
                  <a:lnTo>
                    <a:pt x="908" y="426"/>
                  </a:lnTo>
                  <a:lnTo>
                    <a:pt x="904" y="407"/>
                  </a:lnTo>
                  <a:lnTo>
                    <a:pt x="899" y="386"/>
                  </a:lnTo>
                  <a:lnTo>
                    <a:pt x="894" y="367"/>
                  </a:lnTo>
                  <a:lnTo>
                    <a:pt x="888" y="346"/>
                  </a:lnTo>
                  <a:lnTo>
                    <a:pt x="881" y="327"/>
                  </a:lnTo>
                  <a:lnTo>
                    <a:pt x="874" y="308"/>
                  </a:lnTo>
                  <a:lnTo>
                    <a:pt x="867" y="290"/>
                  </a:lnTo>
                  <a:lnTo>
                    <a:pt x="858" y="272"/>
                  </a:lnTo>
                  <a:lnTo>
                    <a:pt x="848" y="253"/>
                  </a:lnTo>
                  <a:lnTo>
                    <a:pt x="838" y="237"/>
                  </a:lnTo>
                  <a:lnTo>
                    <a:pt x="828" y="219"/>
                  </a:lnTo>
                  <a:lnTo>
                    <a:pt x="816" y="204"/>
                  </a:lnTo>
                  <a:lnTo>
                    <a:pt x="803" y="189"/>
                  </a:lnTo>
                  <a:lnTo>
                    <a:pt x="791" y="174"/>
                  </a:lnTo>
                  <a:lnTo>
                    <a:pt x="777" y="161"/>
                  </a:lnTo>
                  <a:lnTo>
                    <a:pt x="762" y="148"/>
                  </a:lnTo>
                  <a:lnTo>
                    <a:pt x="747" y="137"/>
                  </a:lnTo>
                  <a:lnTo>
                    <a:pt x="732" y="125"/>
                  </a:lnTo>
                  <a:lnTo>
                    <a:pt x="715" y="116"/>
                  </a:lnTo>
                  <a:lnTo>
                    <a:pt x="697" y="108"/>
                  </a:lnTo>
                  <a:lnTo>
                    <a:pt x="679" y="100"/>
                  </a:lnTo>
                  <a:lnTo>
                    <a:pt x="660" y="94"/>
                  </a:lnTo>
                  <a:lnTo>
                    <a:pt x="640" y="90"/>
                  </a:lnTo>
                  <a:lnTo>
                    <a:pt x="619" y="86"/>
                  </a:lnTo>
                  <a:lnTo>
                    <a:pt x="598" y="83"/>
                  </a:lnTo>
                  <a:lnTo>
                    <a:pt x="575" y="82"/>
                  </a:lnTo>
                  <a:lnTo>
                    <a:pt x="575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auto">
            <a:xfrm>
              <a:off x="1552576" y="1154113"/>
              <a:ext cx="90488" cy="144463"/>
            </a:xfrm>
            <a:custGeom>
              <a:avLst/>
              <a:gdLst>
                <a:gd name="T0" fmla="*/ 38 w 683"/>
                <a:gd name="T1" fmla="*/ 752 h 1102"/>
                <a:gd name="T2" fmla="*/ 64 w 683"/>
                <a:gd name="T3" fmla="*/ 849 h 1102"/>
                <a:gd name="T4" fmla="*/ 104 w 683"/>
                <a:gd name="T5" fmla="*/ 921 h 1102"/>
                <a:gd name="T6" fmla="*/ 171 w 683"/>
                <a:gd name="T7" fmla="*/ 985 h 1102"/>
                <a:gd name="T8" fmla="*/ 273 w 683"/>
                <a:gd name="T9" fmla="*/ 1026 h 1102"/>
                <a:gd name="T10" fmla="*/ 377 w 683"/>
                <a:gd name="T11" fmla="*/ 1032 h 1102"/>
                <a:gd name="T12" fmla="*/ 476 w 683"/>
                <a:gd name="T13" fmla="*/ 1002 h 1102"/>
                <a:gd name="T14" fmla="*/ 544 w 683"/>
                <a:gd name="T15" fmla="*/ 937 h 1102"/>
                <a:gd name="T16" fmla="*/ 570 w 683"/>
                <a:gd name="T17" fmla="*/ 844 h 1102"/>
                <a:gd name="T18" fmla="*/ 556 w 683"/>
                <a:gd name="T19" fmla="*/ 787 h 1102"/>
                <a:gd name="T20" fmla="*/ 501 w 683"/>
                <a:gd name="T21" fmla="*/ 720 h 1102"/>
                <a:gd name="T22" fmla="*/ 413 w 683"/>
                <a:gd name="T23" fmla="*/ 659 h 1102"/>
                <a:gd name="T24" fmla="*/ 168 w 683"/>
                <a:gd name="T25" fmla="*/ 529 h 1102"/>
                <a:gd name="T26" fmla="*/ 86 w 683"/>
                <a:gd name="T27" fmla="*/ 455 h 1102"/>
                <a:gd name="T28" fmla="*/ 30 w 683"/>
                <a:gd name="T29" fmla="*/ 358 h 1102"/>
                <a:gd name="T30" fmla="*/ 14 w 683"/>
                <a:gd name="T31" fmla="*/ 265 h 1102"/>
                <a:gd name="T32" fmla="*/ 23 w 683"/>
                <a:gd name="T33" fmla="*/ 201 h 1102"/>
                <a:gd name="T34" fmla="*/ 46 w 683"/>
                <a:gd name="T35" fmla="*/ 142 h 1102"/>
                <a:gd name="T36" fmla="*/ 85 w 683"/>
                <a:gd name="T37" fmla="*/ 92 h 1102"/>
                <a:gd name="T38" fmla="*/ 136 w 683"/>
                <a:gd name="T39" fmla="*/ 52 h 1102"/>
                <a:gd name="T40" fmla="*/ 199 w 683"/>
                <a:gd name="T41" fmla="*/ 24 h 1102"/>
                <a:gd name="T42" fmla="*/ 269 w 683"/>
                <a:gd name="T43" fmla="*/ 9 h 1102"/>
                <a:gd name="T44" fmla="*/ 337 w 683"/>
                <a:gd name="T45" fmla="*/ 10 h 1102"/>
                <a:gd name="T46" fmla="*/ 411 w 683"/>
                <a:gd name="T47" fmla="*/ 25 h 1102"/>
                <a:gd name="T48" fmla="*/ 511 w 683"/>
                <a:gd name="T49" fmla="*/ 79 h 1102"/>
                <a:gd name="T50" fmla="*/ 540 w 683"/>
                <a:gd name="T51" fmla="*/ 46 h 1102"/>
                <a:gd name="T52" fmla="*/ 595 w 683"/>
                <a:gd name="T53" fmla="*/ 0 h 1102"/>
                <a:gd name="T54" fmla="*/ 553 w 683"/>
                <a:gd name="T55" fmla="*/ 326 h 1102"/>
                <a:gd name="T56" fmla="*/ 512 w 683"/>
                <a:gd name="T57" fmla="*/ 200 h 1102"/>
                <a:gd name="T58" fmla="*/ 473 w 683"/>
                <a:gd name="T59" fmla="*/ 145 h 1102"/>
                <a:gd name="T60" fmla="*/ 420 w 683"/>
                <a:gd name="T61" fmla="*/ 106 h 1102"/>
                <a:gd name="T62" fmla="*/ 348 w 683"/>
                <a:gd name="T63" fmla="*/ 82 h 1102"/>
                <a:gd name="T64" fmla="*/ 277 w 683"/>
                <a:gd name="T65" fmla="*/ 78 h 1102"/>
                <a:gd name="T66" fmla="*/ 200 w 683"/>
                <a:gd name="T67" fmla="*/ 104 h 1102"/>
                <a:gd name="T68" fmla="*/ 148 w 683"/>
                <a:gd name="T69" fmla="*/ 158 h 1102"/>
                <a:gd name="T70" fmla="*/ 128 w 683"/>
                <a:gd name="T71" fmla="*/ 231 h 1102"/>
                <a:gd name="T72" fmla="*/ 139 w 683"/>
                <a:gd name="T73" fmla="*/ 292 h 1102"/>
                <a:gd name="T74" fmla="*/ 191 w 683"/>
                <a:gd name="T75" fmla="*/ 355 h 1102"/>
                <a:gd name="T76" fmla="*/ 287 w 683"/>
                <a:gd name="T77" fmla="*/ 417 h 1102"/>
                <a:gd name="T78" fmla="*/ 548 w 683"/>
                <a:gd name="T79" fmla="*/ 556 h 1102"/>
                <a:gd name="T80" fmla="*/ 631 w 683"/>
                <a:gd name="T81" fmla="*/ 633 h 1102"/>
                <a:gd name="T82" fmla="*/ 674 w 683"/>
                <a:gd name="T83" fmla="*/ 720 h 1102"/>
                <a:gd name="T84" fmla="*/ 683 w 683"/>
                <a:gd name="T85" fmla="*/ 792 h 1102"/>
                <a:gd name="T86" fmla="*/ 673 w 683"/>
                <a:gd name="T87" fmla="*/ 874 h 1102"/>
                <a:gd name="T88" fmla="*/ 643 w 683"/>
                <a:gd name="T89" fmla="*/ 947 h 1102"/>
                <a:gd name="T90" fmla="*/ 597 w 683"/>
                <a:gd name="T91" fmla="*/ 1007 h 1102"/>
                <a:gd name="T92" fmla="*/ 536 w 683"/>
                <a:gd name="T93" fmla="*/ 1053 h 1102"/>
                <a:gd name="T94" fmla="*/ 466 w 683"/>
                <a:gd name="T95" fmla="*/ 1085 h 1102"/>
                <a:gd name="T96" fmla="*/ 387 w 683"/>
                <a:gd name="T97" fmla="*/ 1100 h 1102"/>
                <a:gd name="T98" fmla="*/ 307 w 683"/>
                <a:gd name="T99" fmla="*/ 1099 h 1102"/>
                <a:gd name="T100" fmla="*/ 208 w 683"/>
                <a:gd name="T101" fmla="*/ 1073 h 1102"/>
                <a:gd name="T102" fmla="*/ 95 w 683"/>
                <a:gd name="T103" fmla="*/ 1024 h 1102"/>
                <a:gd name="T104" fmla="*/ 62 w 683"/>
                <a:gd name="T105" fmla="*/ 1044 h 1102"/>
                <a:gd name="T106" fmla="*/ 35 w 683"/>
                <a:gd name="T107" fmla="*/ 110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3" h="1102">
                  <a:moveTo>
                    <a:pt x="0" y="723"/>
                  </a:moveTo>
                  <a:lnTo>
                    <a:pt x="36" y="723"/>
                  </a:lnTo>
                  <a:lnTo>
                    <a:pt x="36" y="723"/>
                  </a:lnTo>
                  <a:lnTo>
                    <a:pt x="37" y="736"/>
                  </a:lnTo>
                  <a:lnTo>
                    <a:pt x="38" y="752"/>
                  </a:lnTo>
                  <a:lnTo>
                    <a:pt x="41" y="771"/>
                  </a:lnTo>
                  <a:lnTo>
                    <a:pt x="46" y="795"/>
                  </a:lnTo>
                  <a:lnTo>
                    <a:pt x="54" y="821"/>
                  </a:lnTo>
                  <a:lnTo>
                    <a:pt x="59" y="835"/>
                  </a:lnTo>
                  <a:lnTo>
                    <a:pt x="64" y="849"/>
                  </a:lnTo>
                  <a:lnTo>
                    <a:pt x="70" y="863"/>
                  </a:lnTo>
                  <a:lnTo>
                    <a:pt x="77" y="878"/>
                  </a:lnTo>
                  <a:lnTo>
                    <a:pt x="84" y="893"/>
                  </a:lnTo>
                  <a:lnTo>
                    <a:pt x="93" y="907"/>
                  </a:lnTo>
                  <a:lnTo>
                    <a:pt x="104" y="921"/>
                  </a:lnTo>
                  <a:lnTo>
                    <a:pt x="115" y="935"/>
                  </a:lnTo>
                  <a:lnTo>
                    <a:pt x="127" y="948"/>
                  </a:lnTo>
                  <a:lnTo>
                    <a:pt x="140" y="961"/>
                  </a:lnTo>
                  <a:lnTo>
                    <a:pt x="155" y="974"/>
                  </a:lnTo>
                  <a:lnTo>
                    <a:pt x="171" y="985"/>
                  </a:lnTo>
                  <a:lnTo>
                    <a:pt x="189" y="995"/>
                  </a:lnTo>
                  <a:lnTo>
                    <a:pt x="207" y="1004"/>
                  </a:lnTo>
                  <a:lnTo>
                    <a:pt x="227" y="1012"/>
                  </a:lnTo>
                  <a:lnTo>
                    <a:pt x="250" y="1020"/>
                  </a:lnTo>
                  <a:lnTo>
                    <a:pt x="273" y="1026"/>
                  </a:lnTo>
                  <a:lnTo>
                    <a:pt x="298" y="1030"/>
                  </a:lnTo>
                  <a:lnTo>
                    <a:pt x="326" y="1032"/>
                  </a:lnTo>
                  <a:lnTo>
                    <a:pt x="354" y="1033"/>
                  </a:lnTo>
                  <a:lnTo>
                    <a:pt x="354" y="1033"/>
                  </a:lnTo>
                  <a:lnTo>
                    <a:pt x="377" y="1032"/>
                  </a:lnTo>
                  <a:lnTo>
                    <a:pt x="398" y="1030"/>
                  </a:lnTo>
                  <a:lnTo>
                    <a:pt x="420" y="1025"/>
                  </a:lnTo>
                  <a:lnTo>
                    <a:pt x="439" y="1019"/>
                  </a:lnTo>
                  <a:lnTo>
                    <a:pt x="458" y="1011"/>
                  </a:lnTo>
                  <a:lnTo>
                    <a:pt x="476" y="1002"/>
                  </a:lnTo>
                  <a:lnTo>
                    <a:pt x="492" y="992"/>
                  </a:lnTo>
                  <a:lnTo>
                    <a:pt x="508" y="980"/>
                  </a:lnTo>
                  <a:lnTo>
                    <a:pt x="522" y="966"/>
                  </a:lnTo>
                  <a:lnTo>
                    <a:pt x="533" y="952"/>
                  </a:lnTo>
                  <a:lnTo>
                    <a:pt x="544" y="937"/>
                  </a:lnTo>
                  <a:lnTo>
                    <a:pt x="553" y="919"/>
                  </a:lnTo>
                  <a:lnTo>
                    <a:pt x="560" y="902"/>
                  </a:lnTo>
                  <a:lnTo>
                    <a:pt x="565" y="884"/>
                  </a:lnTo>
                  <a:lnTo>
                    <a:pt x="569" y="864"/>
                  </a:lnTo>
                  <a:lnTo>
                    <a:pt x="570" y="844"/>
                  </a:lnTo>
                  <a:lnTo>
                    <a:pt x="570" y="844"/>
                  </a:lnTo>
                  <a:lnTo>
                    <a:pt x="569" y="828"/>
                  </a:lnTo>
                  <a:lnTo>
                    <a:pt x="566" y="814"/>
                  </a:lnTo>
                  <a:lnTo>
                    <a:pt x="562" y="800"/>
                  </a:lnTo>
                  <a:lnTo>
                    <a:pt x="556" y="787"/>
                  </a:lnTo>
                  <a:lnTo>
                    <a:pt x="547" y="772"/>
                  </a:lnTo>
                  <a:lnTo>
                    <a:pt x="538" y="759"/>
                  </a:lnTo>
                  <a:lnTo>
                    <a:pt x="527" y="746"/>
                  </a:lnTo>
                  <a:lnTo>
                    <a:pt x="515" y="732"/>
                  </a:lnTo>
                  <a:lnTo>
                    <a:pt x="501" y="720"/>
                  </a:lnTo>
                  <a:lnTo>
                    <a:pt x="486" y="707"/>
                  </a:lnTo>
                  <a:lnTo>
                    <a:pt x="470" y="695"/>
                  </a:lnTo>
                  <a:lnTo>
                    <a:pt x="452" y="682"/>
                  </a:lnTo>
                  <a:lnTo>
                    <a:pt x="434" y="670"/>
                  </a:lnTo>
                  <a:lnTo>
                    <a:pt x="413" y="659"/>
                  </a:lnTo>
                  <a:lnTo>
                    <a:pt x="372" y="634"/>
                  </a:lnTo>
                  <a:lnTo>
                    <a:pt x="206" y="550"/>
                  </a:lnTo>
                  <a:lnTo>
                    <a:pt x="206" y="550"/>
                  </a:lnTo>
                  <a:lnTo>
                    <a:pt x="186" y="540"/>
                  </a:lnTo>
                  <a:lnTo>
                    <a:pt x="168" y="529"/>
                  </a:lnTo>
                  <a:lnTo>
                    <a:pt x="151" y="516"/>
                  </a:lnTo>
                  <a:lnTo>
                    <a:pt x="133" y="502"/>
                  </a:lnTo>
                  <a:lnTo>
                    <a:pt x="117" y="488"/>
                  </a:lnTo>
                  <a:lnTo>
                    <a:pt x="101" y="472"/>
                  </a:lnTo>
                  <a:lnTo>
                    <a:pt x="86" y="455"/>
                  </a:lnTo>
                  <a:lnTo>
                    <a:pt x="72" y="438"/>
                  </a:lnTo>
                  <a:lnTo>
                    <a:pt x="60" y="419"/>
                  </a:lnTo>
                  <a:lnTo>
                    <a:pt x="48" y="400"/>
                  </a:lnTo>
                  <a:lnTo>
                    <a:pt x="38" y="380"/>
                  </a:lnTo>
                  <a:lnTo>
                    <a:pt x="30" y="358"/>
                  </a:lnTo>
                  <a:lnTo>
                    <a:pt x="23" y="336"/>
                  </a:lnTo>
                  <a:lnTo>
                    <a:pt x="18" y="313"/>
                  </a:lnTo>
                  <a:lnTo>
                    <a:pt x="15" y="290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5" y="252"/>
                  </a:lnTo>
                  <a:lnTo>
                    <a:pt x="16" y="240"/>
                  </a:lnTo>
                  <a:lnTo>
                    <a:pt x="17" y="226"/>
                  </a:lnTo>
                  <a:lnTo>
                    <a:pt x="20" y="213"/>
                  </a:lnTo>
                  <a:lnTo>
                    <a:pt x="23" y="201"/>
                  </a:lnTo>
                  <a:lnTo>
                    <a:pt x="26" y="188"/>
                  </a:lnTo>
                  <a:lnTo>
                    <a:pt x="30" y="177"/>
                  </a:lnTo>
                  <a:lnTo>
                    <a:pt x="35" y="165"/>
                  </a:lnTo>
                  <a:lnTo>
                    <a:pt x="40" y="154"/>
                  </a:lnTo>
                  <a:lnTo>
                    <a:pt x="46" y="142"/>
                  </a:lnTo>
                  <a:lnTo>
                    <a:pt x="54" y="132"/>
                  </a:lnTo>
                  <a:lnTo>
                    <a:pt x="61" y="121"/>
                  </a:lnTo>
                  <a:lnTo>
                    <a:pt x="68" y="112"/>
                  </a:lnTo>
                  <a:lnTo>
                    <a:pt x="76" y="101"/>
                  </a:lnTo>
                  <a:lnTo>
                    <a:pt x="85" y="92"/>
                  </a:lnTo>
                  <a:lnTo>
                    <a:pt x="94" y="83"/>
                  </a:lnTo>
                  <a:lnTo>
                    <a:pt x="105" y="75"/>
                  </a:lnTo>
                  <a:lnTo>
                    <a:pt x="115" y="67"/>
                  </a:lnTo>
                  <a:lnTo>
                    <a:pt x="125" y="60"/>
                  </a:lnTo>
                  <a:lnTo>
                    <a:pt x="136" y="52"/>
                  </a:lnTo>
                  <a:lnTo>
                    <a:pt x="148" y="45"/>
                  </a:lnTo>
                  <a:lnTo>
                    <a:pt x="160" y="39"/>
                  </a:lnTo>
                  <a:lnTo>
                    <a:pt x="172" y="34"/>
                  </a:lnTo>
                  <a:lnTo>
                    <a:pt x="185" y="29"/>
                  </a:lnTo>
                  <a:lnTo>
                    <a:pt x="199" y="24"/>
                  </a:lnTo>
                  <a:lnTo>
                    <a:pt x="212" y="20"/>
                  </a:lnTo>
                  <a:lnTo>
                    <a:pt x="225" y="17"/>
                  </a:lnTo>
                  <a:lnTo>
                    <a:pt x="240" y="14"/>
                  </a:lnTo>
                  <a:lnTo>
                    <a:pt x="255" y="12"/>
                  </a:lnTo>
                  <a:lnTo>
                    <a:pt x="269" y="9"/>
                  </a:lnTo>
                  <a:lnTo>
                    <a:pt x="285" y="8"/>
                  </a:lnTo>
                  <a:lnTo>
                    <a:pt x="300" y="8"/>
                  </a:lnTo>
                  <a:lnTo>
                    <a:pt x="300" y="8"/>
                  </a:lnTo>
                  <a:lnTo>
                    <a:pt x="319" y="8"/>
                  </a:lnTo>
                  <a:lnTo>
                    <a:pt x="337" y="10"/>
                  </a:lnTo>
                  <a:lnTo>
                    <a:pt x="353" y="12"/>
                  </a:lnTo>
                  <a:lnTo>
                    <a:pt x="368" y="15"/>
                  </a:lnTo>
                  <a:lnTo>
                    <a:pt x="384" y="18"/>
                  </a:lnTo>
                  <a:lnTo>
                    <a:pt x="398" y="21"/>
                  </a:lnTo>
                  <a:lnTo>
                    <a:pt x="411" y="25"/>
                  </a:lnTo>
                  <a:lnTo>
                    <a:pt x="425" y="30"/>
                  </a:lnTo>
                  <a:lnTo>
                    <a:pt x="448" y="40"/>
                  </a:lnTo>
                  <a:lnTo>
                    <a:pt x="471" y="52"/>
                  </a:lnTo>
                  <a:lnTo>
                    <a:pt x="491" y="66"/>
                  </a:lnTo>
                  <a:lnTo>
                    <a:pt x="511" y="79"/>
                  </a:lnTo>
                  <a:lnTo>
                    <a:pt x="511" y="79"/>
                  </a:lnTo>
                  <a:lnTo>
                    <a:pt x="519" y="73"/>
                  </a:lnTo>
                  <a:lnTo>
                    <a:pt x="526" y="65"/>
                  </a:lnTo>
                  <a:lnTo>
                    <a:pt x="533" y="57"/>
                  </a:lnTo>
                  <a:lnTo>
                    <a:pt x="540" y="46"/>
                  </a:lnTo>
                  <a:lnTo>
                    <a:pt x="546" y="36"/>
                  </a:lnTo>
                  <a:lnTo>
                    <a:pt x="553" y="25"/>
                  </a:lnTo>
                  <a:lnTo>
                    <a:pt x="557" y="13"/>
                  </a:lnTo>
                  <a:lnTo>
                    <a:pt x="561" y="0"/>
                  </a:lnTo>
                  <a:lnTo>
                    <a:pt x="595" y="0"/>
                  </a:lnTo>
                  <a:lnTo>
                    <a:pt x="595" y="380"/>
                  </a:lnTo>
                  <a:lnTo>
                    <a:pt x="559" y="380"/>
                  </a:lnTo>
                  <a:lnTo>
                    <a:pt x="559" y="380"/>
                  </a:lnTo>
                  <a:lnTo>
                    <a:pt x="557" y="353"/>
                  </a:lnTo>
                  <a:lnTo>
                    <a:pt x="553" y="326"/>
                  </a:lnTo>
                  <a:lnTo>
                    <a:pt x="547" y="300"/>
                  </a:lnTo>
                  <a:lnTo>
                    <a:pt x="541" y="274"/>
                  </a:lnTo>
                  <a:lnTo>
                    <a:pt x="533" y="249"/>
                  </a:lnTo>
                  <a:lnTo>
                    <a:pt x="523" y="223"/>
                  </a:lnTo>
                  <a:lnTo>
                    <a:pt x="512" y="200"/>
                  </a:lnTo>
                  <a:lnTo>
                    <a:pt x="504" y="187"/>
                  </a:lnTo>
                  <a:lnTo>
                    <a:pt x="497" y="177"/>
                  </a:lnTo>
                  <a:lnTo>
                    <a:pt x="490" y="166"/>
                  </a:lnTo>
                  <a:lnTo>
                    <a:pt x="482" y="156"/>
                  </a:lnTo>
                  <a:lnTo>
                    <a:pt x="473" y="145"/>
                  </a:lnTo>
                  <a:lnTo>
                    <a:pt x="464" y="136"/>
                  </a:lnTo>
                  <a:lnTo>
                    <a:pt x="453" y="128"/>
                  </a:lnTo>
                  <a:lnTo>
                    <a:pt x="443" y="120"/>
                  </a:lnTo>
                  <a:lnTo>
                    <a:pt x="431" y="112"/>
                  </a:lnTo>
                  <a:lnTo>
                    <a:pt x="420" y="106"/>
                  </a:lnTo>
                  <a:lnTo>
                    <a:pt x="406" y="99"/>
                  </a:lnTo>
                  <a:lnTo>
                    <a:pt x="393" y="93"/>
                  </a:lnTo>
                  <a:lnTo>
                    <a:pt x="379" y="89"/>
                  </a:lnTo>
                  <a:lnTo>
                    <a:pt x="363" y="85"/>
                  </a:lnTo>
                  <a:lnTo>
                    <a:pt x="348" y="82"/>
                  </a:lnTo>
                  <a:lnTo>
                    <a:pt x="331" y="79"/>
                  </a:lnTo>
                  <a:lnTo>
                    <a:pt x="313" y="78"/>
                  </a:lnTo>
                  <a:lnTo>
                    <a:pt x="295" y="78"/>
                  </a:lnTo>
                  <a:lnTo>
                    <a:pt x="295" y="78"/>
                  </a:lnTo>
                  <a:lnTo>
                    <a:pt x="277" y="78"/>
                  </a:lnTo>
                  <a:lnTo>
                    <a:pt x="260" y="81"/>
                  </a:lnTo>
                  <a:lnTo>
                    <a:pt x="244" y="84"/>
                  </a:lnTo>
                  <a:lnTo>
                    <a:pt x="228" y="89"/>
                  </a:lnTo>
                  <a:lnTo>
                    <a:pt x="214" y="95"/>
                  </a:lnTo>
                  <a:lnTo>
                    <a:pt x="200" y="104"/>
                  </a:lnTo>
                  <a:lnTo>
                    <a:pt x="188" y="112"/>
                  </a:lnTo>
                  <a:lnTo>
                    <a:pt x="175" y="122"/>
                  </a:lnTo>
                  <a:lnTo>
                    <a:pt x="165" y="133"/>
                  </a:lnTo>
                  <a:lnTo>
                    <a:pt x="156" y="144"/>
                  </a:lnTo>
                  <a:lnTo>
                    <a:pt x="148" y="158"/>
                  </a:lnTo>
                  <a:lnTo>
                    <a:pt x="140" y="171"/>
                  </a:lnTo>
                  <a:lnTo>
                    <a:pt x="135" y="185"/>
                  </a:lnTo>
                  <a:lnTo>
                    <a:pt x="131" y="200"/>
                  </a:lnTo>
                  <a:lnTo>
                    <a:pt x="128" y="215"/>
                  </a:lnTo>
                  <a:lnTo>
                    <a:pt x="128" y="231"/>
                  </a:lnTo>
                  <a:lnTo>
                    <a:pt x="128" y="231"/>
                  </a:lnTo>
                  <a:lnTo>
                    <a:pt x="128" y="248"/>
                  </a:lnTo>
                  <a:lnTo>
                    <a:pt x="131" y="263"/>
                  </a:lnTo>
                  <a:lnTo>
                    <a:pt x="134" y="277"/>
                  </a:lnTo>
                  <a:lnTo>
                    <a:pt x="139" y="292"/>
                  </a:lnTo>
                  <a:lnTo>
                    <a:pt x="147" y="305"/>
                  </a:lnTo>
                  <a:lnTo>
                    <a:pt x="155" y="317"/>
                  </a:lnTo>
                  <a:lnTo>
                    <a:pt x="165" y="331"/>
                  </a:lnTo>
                  <a:lnTo>
                    <a:pt x="177" y="343"/>
                  </a:lnTo>
                  <a:lnTo>
                    <a:pt x="191" y="355"/>
                  </a:lnTo>
                  <a:lnTo>
                    <a:pt x="206" y="366"/>
                  </a:lnTo>
                  <a:lnTo>
                    <a:pt x="223" y="379"/>
                  </a:lnTo>
                  <a:lnTo>
                    <a:pt x="242" y="392"/>
                  </a:lnTo>
                  <a:lnTo>
                    <a:pt x="263" y="404"/>
                  </a:lnTo>
                  <a:lnTo>
                    <a:pt x="287" y="417"/>
                  </a:lnTo>
                  <a:lnTo>
                    <a:pt x="339" y="445"/>
                  </a:lnTo>
                  <a:lnTo>
                    <a:pt x="502" y="530"/>
                  </a:lnTo>
                  <a:lnTo>
                    <a:pt x="502" y="530"/>
                  </a:lnTo>
                  <a:lnTo>
                    <a:pt x="526" y="542"/>
                  </a:lnTo>
                  <a:lnTo>
                    <a:pt x="548" y="556"/>
                  </a:lnTo>
                  <a:lnTo>
                    <a:pt x="568" y="571"/>
                  </a:lnTo>
                  <a:lnTo>
                    <a:pt x="586" y="585"/>
                  </a:lnTo>
                  <a:lnTo>
                    <a:pt x="603" y="601"/>
                  </a:lnTo>
                  <a:lnTo>
                    <a:pt x="618" y="617"/>
                  </a:lnTo>
                  <a:lnTo>
                    <a:pt x="631" y="633"/>
                  </a:lnTo>
                  <a:lnTo>
                    <a:pt x="643" y="651"/>
                  </a:lnTo>
                  <a:lnTo>
                    <a:pt x="653" y="667"/>
                  </a:lnTo>
                  <a:lnTo>
                    <a:pt x="661" y="684"/>
                  </a:lnTo>
                  <a:lnTo>
                    <a:pt x="668" y="703"/>
                  </a:lnTo>
                  <a:lnTo>
                    <a:pt x="674" y="720"/>
                  </a:lnTo>
                  <a:lnTo>
                    <a:pt x="678" y="738"/>
                  </a:lnTo>
                  <a:lnTo>
                    <a:pt x="681" y="756"/>
                  </a:lnTo>
                  <a:lnTo>
                    <a:pt x="682" y="774"/>
                  </a:lnTo>
                  <a:lnTo>
                    <a:pt x="683" y="792"/>
                  </a:lnTo>
                  <a:lnTo>
                    <a:pt x="683" y="792"/>
                  </a:lnTo>
                  <a:lnTo>
                    <a:pt x="683" y="809"/>
                  </a:lnTo>
                  <a:lnTo>
                    <a:pt x="681" y="826"/>
                  </a:lnTo>
                  <a:lnTo>
                    <a:pt x="679" y="843"/>
                  </a:lnTo>
                  <a:lnTo>
                    <a:pt x="676" y="859"/>
                  </a:lnTo>
                  <a:lnTo>
                    <a:pt x="673" y="874"/>
                  </a:lnTo>
                  <a:lnTo>
                    <a:pt x="668" y="890"/>
                  </a:lnTo>
                  <a:lnTo>
                    <a:pt x="663" y="905"/>
                  </a:lnTo>
                  <a:lnTo>
                    <a:pt x="657" y="919"/>
                  </a:lnTo>
                  <a:lnTo>
                    <a:pt x="650" y="934"/>
                  </a:lnTo>
                  <a:lnTo>
                    <a:pt x="643" y="947"/>
                  </a:lnTo>
                  <a:lnTo>
                    <a:pt x="634" y="960"/>
                  </a:lnTo>
                  <a:lnTo>
                    <a:pt x="626" y="973"/>
                  </a:lnTo>
                  <a:lnTo>
                    <a:pt x="617" y="985"/>
                  </a:lnTo>
                  <a:lnTo>
                    <a:pt x="607" y="996"/>
                  </a:lnTo>
                  <a:lnTo>
                    <a:pt x="597" y="1007"/>
                  </a:lnTo>
                  <a:lnTo>
                    <a:pt x="585" y="1018"/>
                  </a:lnTo>
                  <a:lnTo>
                    <a:pt x="574" y="1028"/>
                  </a:lnTo>
                  <a:lnTo>
                    <a:pt x="562" y="1037"/>
                  </a:lnTo>
                  <a:lnTo>
                    <a:pt x="549" y="1045"/>
                  </a:lnTo>
                  <a:lnTo>
                    <a:pt x="536" y="1053"/>
                  </a:lnTo>
                  <a:lnTo>
                    <a:pt x="523" y="1062"/>
                  </a:lnTo>
                  <a:lnTo>
                    <a:pt x="509" y="1068"/>
                  </a:lnTo>
                  <a:lnTo>
                    <a:pt x="495" y="1075"/>
                  </a:lnTo>
                  <a:lnTo>
                    <a:pt x="480" y="1080"/>
                  </a:lnTo>
                  <a:lnTo>
                    <a:pt x="466" y="1085"/>
                  </a:lnTo>
                  <a:lnTo>
                    <a:pt x="450" y="1089"/>
                  </a:lnTo>
                  <a:lnTo>
                    <a:pt x="435" y="1093"/>
                  </a:lnTo>
                  <a:lnTo>
                    <a:pt x="419" y="1096"/>
                  </a:lnTo>
                  <a:lnTo>
                    <a:pt x="403" y="1099"/>
                  </a:lnTo>
                  <a:lnTo>
                    <a:pt x="387" y="1100"/>
                  </a:lnTo>
                  <a:lnTo>
                    <a:pt x="371" y="1101"/>
                  </a:lnTo>
                  <a:lnTo>
                    <a:pt x="354" y="1102"/>
                  </a:lnTo>
                  <a:lnTo>
                    <a:pt x="354" y="1102"/>
                  </a:lnTo>
                  <a:lnTo>
                    <a:pt x="330" y="1101"/>
                  </a:lnTo>
                  <a:lnTo>
                    <a:pt x="307" y="1099"/>
                  </a:lnTo>
                  <a:lnTo>
                    <a:pt x="285" y="1095"/>
                  </a:lnTo>
                  <a:lnTo>
                    <a:pt x="264" y="1091"/>
                  </a:lnTo>
                  <a:lnTo>
                    <a:pt x="245" y="1086"/>
                  </a:lnTo>
                  <a:lnTo>
                    <a:pt x="225" y="1080"/>
                  </a:lnTo>
                  <a:lnTo>
                    <a:pt x="208" y="1073"/>
                  </a:lnTo>
                  <a:lnTo>
                    <a:pt x="191" y="1067"/>
                  </a:lnTo>
                  <a:lnTo>
                    <a:pt x="160" y="1052"/>
                  </a:lnTo>
                  <a:lnTo>
                    <a:pt x="131" y="1039"/>
                  </a:lnTo>
                  <a:lnTo>
                    <a:pt x="107" y="1028"/>
                  </a:lnTo>
                  <a:lnTo>
                    <a:pt x="95" y="1024"/>
                  </a:lnTo>
                  <a:lnTo>
                    <a:pt x="85" y="1021"/>
                  </a:lnTo>
                  <a:lnTo>
                    <a:pt x="85" y="1021"/>
                  </a:lnTo>
                  <a:lnTo>
                    <a:pt x="77" y="1028"/>
                  </a:lnTo>
                  <a:lnTo>
                    <a:pt x="70" y="1036"/>
                  </a:lnTo>
                  <a:lnTo>
                    <a:pt x="62" y="1044"/>
                  </a:lnTo>
                  <a:lnTo>
                    <a:pt x="56" y="1053"/>
                  </a:lnTo>
                  <a:lnTo>
                    <a:pt x="48" y="1065"/>
                  </a:lnTo>
                  <a:lnTo>
                    <a:pt x="43" y="1076"/>
                  </a:lnTo>
                  <a:lnTo>
                    <a:pt x="38" y="1088"/>
                  </a:lnTo>
                  <a:lnTo>
                    <a:pt x="35" y="1102"/>
                  </a:lnTo>
                  <a:lnTo>
                    <a:pt x="0" y="1102"/>
                  </a:lnTo>
                  <a:lnTo>
                    <a:pt x="0" y="7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2" name="Freeform 20"/>
            <p:cNvSpPr>
              <a:spLocks/>
            </p:cNvSpPr>
            <p:nvPr userDrawn="1"/>
          </p:nvSpPr>
          <p:spPr bwMode="auto">
            <a:xfrm>
              <a:off x="1671638" y="1158876"/>
              <a:ext cx="141288" cy="136525"/>
            </a:xfrm>
            <a:custGeom>
              <a:avLst/>
              <a:gdLst>
                <a:gd name="T0" fmla="*/ 304 w 1077"/>
                <a:gd name="T1" fmla="*/ 999 h 1035"/>
                <a:gd name="T2" fmla="*/ 352 w 1077"/>
                <a:gd name="T3" fmla="*/ 997 h 1035"/>
                <a:gd name="T4" fmla="*/ 390 w 1077"/>
                <a:gd name="T5" fmla="*/ 991 h 1035"/>
                <a:gd name="T6" fmla="*/ 419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8 w 1077"/>
                <a:gd name="T13" fmla="*/ 951 h 1035"/>
                <a:gd name="T14" fmla="*/ 460 w 1077"/>
                <a:gd name="T15" fmla="*/ 920 h 1035"/>
                <a:gd name="T16" fmla="*/ 466 w 1077"/>
                <a:gd name="T17" fmla="*/ 879 h 1035"/>
                <a:gd name="T18" fmla="*/ 469 w 1077"/>
                <a:gd name="T19" fmla="*/ 827 h 1035"/>
                <a:gd name="T20" fmla="*/ 469 w 1077"/>
                <a:gd name="T21" fmla="*/ 68 h 1035"/>
                <a:gd name="T22" fmla="*/ 245 w 1077"/>
                <a:gd name="T23" fmla="*/ 68 h 1035"/>
                <a:gd name="T24" fmla="*/ 192 w 1077"/>
                <a:gd name="T25" fmla="*/ 69 h 1035"/>
                <a:gd name="T26" fmla="*/ 150 w 1077"/>
                <a:gd name="T27" fmla="*/ 75 h 1035"/>
                <a:gd name="T28" fmla="*/ 119 w 1077"/>
                <a:gd name="T29" fmla="*/ 85 h 1035"/>
                <a:gd name="T30" fmla="*/ 94 w 1077"/>
                <a:gd name="T31" fmla="*/ 98 h 1035"/>
                <a:gd name="T32" fmla="*/ 77 w 1077"/>
                <a:gd name="T33" fmla="*/ 117 h 1035"/>
                <a:gd name="T34" fmla="*/ 64 w 1077"/>
                <a:gd name="T35" fmla="*/ 139 h 1035"/>
                <a:gd name="T36" fmla="*/ 54 w 1077"/>
                <a:gd name="T37" fmla="*/ 167 h 1035"/>
                <a:gd name="T38" fmla="*/ 37 w 1077"/>
                <a:gd name="T39" fmla="*/ 233 h 1035"/>
                <a:gd name="T40" fmla="*/ 15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3 w 1077"/>
                <a:gd name="T47" fmla="*/ 167 h 1035"/>
                <a:gd name="T48" fmla="*/ 1012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58 w 1077"/>
                <a:gd name="T55" fmla="*/ 85 h 1035"/>
                <a:gd name="T56" fmla="*/ 926 w 1077"/>
                <a:gd name="T57" fmla="*/ 75 h 1035"/>
                <a:gd name="T58" fmla="*/ 884 w 1077"/>
                <a:gd name="T59" fmla="*/ 69 h 1035"/>
                <a:gd name="T60" fmla="*/ 831 w 1077"/>
                <a:gd name="T61" fmla="*/ 68 h 1035"/>
                <a:gd name="T62" fmla="*/ 607 w 1077"/>
                <a:gd name="T63" fmla="*/ 797 h 1035"/>
                <a:gd name="T64" fmla="*/ 607 w 1077"/>
                <a:gd name="T65" fmla="*/ 827 h 1035"/>
                <a:gd name="T66" fmla="*/ 610 w 1077"/>
                <a:gd name="T67" fmla="*/ 879 h 1035"/>
                <a:gd name="T68" fmla="*/ 617 w 1077"/>
                <a:gd name="T69" fmla="*/ 920 h 1035"/>
                <a:gd name="T70" fmla="*/ 629 w 1077"/>
                <a:gd name="T71" fmla="*/ 951 h 1035"/>
                <a:gd name="T72" fmla="*/ 636 w 1077"/>
                <a:gd name="T73" fmla="*/ 962 h 1035"/>
                <a:gd name="T74" fmla="*/ 646 w 1077"/>
                <a:gd name="T75" fmla="*/ 972 h 1035"/>
                <a:gd name="T76" fmla="*/ 657 w 1077"/>
                <a:gd name="T77" fmla="*/ 981 h 1035"/>
                <a:gd name="T78" fmla="*/ 687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29" y="998"/>
                  </a:lnTo>
                  <a:lnTo>
                    <a:pt x="352" y="997"/>
                  </a:lnTo>
                  <a:lnTo>
                    <a:pt x="372" y="995"/>
                  </a:lnTo>
                  <a:lnTo>
                    <a:pt x="390" y="991"/>
                  </a:lnTo>
                  <a:lnTo>
                    <a:pt x="406" y="987"/>
                  </a:lnTo>
                  <a:lnTo>
                    <a:pt x="419" y="981"/>
                  </a:lnTo>
                  <a:lnTo>
                    <a:pt x="425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8" y="951"/>
                  </a:lnTo>
                  <a:lnTo>
                    <a:pt x="455" y="937"/>
                  </a:lnTo>
                  <a:lnTo>
                    <a:pt x="460" y="920"/>
                  </a:lnTo>
                  <a:lnTo>
                    <a:pt x="463" y="901"/>
                  </a:lnTo>
                  <a:lnTo>
                    <a:pt x="466" y="879"/>
                  </a:lnTo>
                  <a:lnTo>
                    <a:pt x="468" y="855"/>
                  </a:lnTo>
                  <a:lnTo>
                    <a:pt x="469" y="827"/>
                  </a:lnTo>
                  <a:lnTo>
                    <a:pt x="469" y="797"/>
                  </a:lnTo>
                  <a:lnTo>
                    <a:pt x="469" y="68"/>
                  </a:lnTo>
                  <a:lnTo>
                    <a:pt x="245" y="68"/>
                  </a:lnTo>
                  <a:lnTo>
                    <a:pt x="245" y="68"/>
                  </a:lnTo>
                  <a:lnTo>
                    <a:pt x="217" y="68"/>
                  </a:lnTo>
                  <a:lnTo>
                    <a:pt x="192" y="69"/>
                  </a:lnTo>
                  <a:lnTo>
                    <a:pt x="170" y="72"/>
                  </a:lnTo>
                  <a:lnTo>
                    <a:pt x="150" y="75"/>
                  </a:lnTo>
                  <a:lnTo>
                    <a:pt x="133" y="79"/>
                  </a:lnTo>
                  <a:lnTo>
                    <a:pt x="119" y="85"/>
                  </a:lnTo>
                  <a:lnTo>
                    <a:pt x="105" y="91"/>
                  </a:lnTo>
                  <a:lnTo>
                    <a:pt x="94" y="98"/>
                  </a:lnTo>
                  <a:lnTo>
                    <a:pt x="85" y="106"/>
                  </a:lnTo>
                  <a:lnTo>
                    <a:pt x="77" y="117"/>
                  </a:lnTo>
                  <a:lnTo>
                    <a:pt x="71" y="127"/>
                  </a:lnTo>
                  <a:lnTo>
                    <a:pt x="64" y="139"/>
                  </a:lnTo>
                  <a:lnTo>
                    <a:pt x="59" y="152"/>
                  </a:lnTo>
                  <a:lnTo>
                    <a:pt x="54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5" y="0"/>
                  </a:lnTo>
                  <a:lnTo>
                    <a:pt x="1061" y="0"/>
                  </a:lnTo>
                  <a:lnTo>
                    <a:pt x="1077" y="233"/>
                  </a:lnTo>
                  <a:lnTo>
                    <a:pt x="1040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3" y="167"/>
                  </a:lnTo>
                  <a:lnTo>
                    <a:pt x="1017" y="152"/>
                  </a:lnTo>
                  <a:lnTo>
                    <a:pt x="1012" y="139"/>
                  </a:lnTo>
                  <a:lnTo>
                    <a:pt x="1006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1" y="91"/>
                  </a:lnTo>
                  <a:lnTo>
                    <a:pt x="958" y="85"/>
                  </a:lnTo>
                  <a:lnTo>
                    <a:pt x="944" y="79"/>
                  </a:lnTo>
                  <a:lnTo>
                    <a:pt x="926" y="75"/>
                  </a:lnTo>
                  <a:lnTo>
                    <a:pt x="907" y="72"/>
                  </a:lnTo>
                  <a:lnTo>
                    <a:pt x="884" y="69"/>
                  </a:lnTo>
                  <a:lnTo>
                    <a:pt x="860" y="68"/>
                  </a:lnTo>
                  <a:lnTo>
                    <a:pt x="831" y="68"/>
                  </a:lnTo>
                  <a:lnTo>
                    <a:pt x="607" y="68"/>
                  </a:lnTo>
                  <a:lnTo>
                    <a:pt x="607" y="797"/>
                  </a:lnTo>
                  <a:lnTo>
                    <a:pt x="607" y="797"/>
                  </a:lnTo>
                  <a:lnTo>
                    <a:pt x="607" y="827"/>
                  </a:lnTo>
                  <a:lnTo>
                    <a:pt x="608" y="855"/>
                  </a:lnTo>
                  <a:lnTo>
                    <a:pt x="610" y="879"/>
                  </a:lnTo>
                  <a:lnTo>
                    <a:pt x="614" y="901"/>
                  </a:lnTo>
                  <a:lnTo>
                    <a:pt x="617" y="920"/>
                  </a:lnTo>
                  <a:lnTo>
                    <a:pt x="622" y="937"/>
                  </a:lnTo>
                  <a:lnTo>
                    <a:pt x="629" y="951"/>
                  </a:lnTo>
                  <a:lnTo>
                    <a:pt x="632" y="957"/>
                  </a:lnTo>
                  <a:lnTo>
                    <a:pt x="636" y="962"/>
                  </a:lnTo>
                  <a:lnTo>
                    <a:pt x="641" y="967"/>
                  </a:lnTo>
                  <a:lnTo>
                    <a:pt x="646" y="972"/>
                  </a:lnTo>
                  <a:lnTo>
                    <a:pt x="651" y="977"/>
                  </a:lnTo>
                  <a:lnTo>
                    <a:pt x="657" y="981"/>
                  </a:lnTo>
                  <a:lnTo>
                    <a:pt x="671" y="987"/>
                  </a:lnTo>
                  <a:lnTo>
                    <a:pt x="687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7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1811338" y="1154113"/>
              <a:ext cx="157163" cy="141288"/>
            </a:xfrm>
            <a:custGeom>
              <a:avLst/>
              <a:gdLst>
                <a:gd name="T0" fmla="*/ 0 w 1196"/>
                <a:gd name="T1" fmla="*/ 1029 h 1065"/>
                <a:gd name="T2" fmla="*/ 48 w 1196"/>
                <a:gd name="T3" fmla="*/ 1027 h 1065"/>
                <a:gd name="T4" fmla="*/ 86 w 1196"/>
                <a:gd name="T5" fmla="*/ 1022 h 1065"/>
                <a:gd name="T6" fmla="*/ 115 w 1196"/>
                <a:gd name="T7" fmla="*/ 1013 h 1065"/>
                <a:gd name="T8" fmla="*/ 137 w 1196"/>
                <a:gd name="T9" fmla="*/ 999 h 1065"/>
                <a:gd name="T10" fmla="*/ 156 w 1196"/>
                <a:gd name="T11" fmla="*/ 979 h 1065"/>
                <a:gd name="T12" fmla="*/ 172 w 1196"/>
                <a:gd name="T13" fmla="*/ 953 h 1065"/>
                <a:gd name="T14" fmla="*/ 188 w 1196"/>
                <a:gd name="T15" fmla="*/ 920 h 1065"/>
                <a:gd name="T16" fmla="*/ 586 w 1196"/>
                <a:gd name="T17" fmla="*/ 0 h 1065"/>
                <a:gd name="T18" fmla="*/ 990 w 1196"/>
                <a:gd name="T19" fmla="*/ 879 h 1065"/>
                <a:gd name="T20" fmla="*/ 1008 w 1196"/>
                <a:gd name="T21" fmla="*/ 920 h 1065"/>
                <a:gd name="T22" fmla="*/ 1025 w 1196"/>
                <a:gd name="T23" fmla="*/ 953 h 1065"/>
                <a:gd name="T24" fmla="*/ 1041 w 1196"/>
                <a:gd name="T25" fmla="*/ 979 h 1065"/>
                <a:gd name="T26" fmla="*/ 1060 w 1196"/>
                <a:gd name="T27" fmla="*/ 999 h 1065"/>
                <a:gd name="T28" fmla="*/ 1082 w 1196"/>
                <a:gd name="T29" fmla="*/ 1013 h 1065"/>
                <a:gd name="T30" fmla="*/ 1111 w 1196"/>
                <a:gd name="T31" fmla="*/ 1022 h 1065"/>
                <a:gd name="T32" fmla="*/ 1148 w 1196"/>
                <a:gd name="T33" fmla="*/ 1027 h 1065"/>
                <a:gd name="T34" fmla="*/ 1196 w 1196"/>
                <a:gd name="T35" fmla="*/ 1029 h 1065"/>
                <a:gd name="T36" fmla="*/ 717 w 1196"/>
                <a:gd name="T37" fmla="*/ 1065 h 1065"/>
                <a:gd name="T38" fmla="*/ 717 w 1196"/>
                <a:gd name="T39" fmla="*/ 1029 h 1065"/>
                <a:gd name="T40" fmla="*/ 766 w 1196"/>
                <a:gd name="T41" fmla="*/ 1027 h 1065"/>
                <a:gd name="T42" fmla="*/ 805 w 1196"/>
                <a:gd name="T43" fmla="*/ 1022 h 1065"/>
                <a:gd name="T44" fmla="*/ 834 w 1196"/>
                <a:gd name="T45" fmla="*/ 1013 h 1065"/>
                <a:gd name="T46" fmla="*/ 854 w 1196"/>
                <a:gd name="T47" fmla="*/ 998 h 1065"/>
                <a:gd name="T48" fmla="*/ 865 w 1196"/>
                <a:gd name="T49" fmla="*/ 981 h 1065"/>
                <a:gd name="T50" fmla="*/ 868 w 1196"/>
                <a:gd name="T51" fmla="*/ 958 h 1065"/>
                <a:gd name="T52" fmla="*/ 864 w 1196"/>
                <a:gd name="T53" fmla="*/ 931 h 1065"/>
                <a:gd name="T54" fmla="*/ 852 w 1196"/>
                <a:gd name="T55" fmla="*/ 897 h 1065"/>
                <a:gd name="T56" fmla="*/ 352 w 1196"/>
                <a:gd name="T57" fmla="*/ 706 h 1065"/>
                <a:gd name="T58" fmla="*/ 269 w 1196"/>
                <a:gd name="T59" fmla="*/ 897 h 1065"/>
                <a:gd name="T60" fmla="*/ 257 w 1196"/>
                <a:gd name="T61" fmla="*/ 930 h 1065"/>
                <a:gd name="T62" fmla="*/ 253 w 1196"/>
                <a:gd name="T63" fmla="*/ 957 h 1065"/>
                <a:gd name="T64" fmla="*/ 256 w 1196"/>
                <a:gd name="T65" fmla="*/ 980 h 1065"/>
                <a:gd name="T66" fmla="*/ 267 w 1196"/>
                <a:gd name="T67" fmla="*/ 998 h 1065"/>
                <a:gd name="T68" fmla="*/ 288 w 1196"/>
                <a:gd name="T69" fmla="*/ 1012 h 1065"/>
                <a:gd name="T70" fmla="*/ 316 w 1196"/>
                <a:gd name="T71" fmla="*/ 1021 h 1065"/>
                <a:gd name="T72" fmla="*/ 355 w 1196"/>
                <a:gd name="T73" fmla="*/ 1027 h 1065"/>
                <a:gd name="T74" fmla="*/ 403 w 1196"/>
                <a:gd name="T75" fmla="*/ 1029 h 1065"/>
                <a:gd name="T76" fmla="*/ 0 w 1196"/>
                <a:gd name="T77" fmla="*/ 1065 h 1065"/>
                <a:gd name="T78" fmla="*/ 740 w 1196"/>
                <a:gd name="T79" fmla="*/ 643 h 1065"/>
                <a:gd name="T80" fmla="*/ 380 w 1196"/>
                <a:gd name="T81" fmla="*/ 643 h 1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6" h="1065">
                  <a:moveTo>
                    <a:pt x="0" y="1029"/>
                  </a:moveTo>
                  <a:lnTo>
                    <a:pt x="0" y="1029"/>
                  </a:lnTo>
                  <a:lnTo>
                    <a:pt x="26" y="1028"/>
                  </a:lnTo>
                  <a:lnTo>
                    <a:pt x="48" y="1027"/>
                  </a:lnTo>
                  <a:lnTo>
                    <a:pt x="68" y="1025"/>
                  </a:lnTo>
                  <a:lnTo>
                    <a:pt x="86" y="1022"/>
                  </a:lnTo>
                  <a:lnTo>
                    <a:pt x="102" y="1018"/>
                  </a:lnTo>
                  <a:lnTo>
                    <a:pt x="115" y="1013"/>
                  </a:lnTo>
                  <a:lnTo>
                    <a:pt x="127" y="1007"/>
                  </a:lnTo>
                  <a:lnTo>
                    <a:pt x="137" y="999"/>
                  </a:lnTo>
                  <a:lnTo>
                    <a:pt x="148" y="990"/>
                  </a:lnTo>
                  <a:lnTo>
                    <a:pt x="156" y="979"/>
                  </a:lnTo>
                  <a:lnTo>
                    <a:pt x="164" y="967"/>
                  </a:lnTo>
                  <a:lnTo>
                    <a:pt x="172" y="953"/>
                  </a:lnTo>
                  <a:lnTo>
                    <a:pt x="180" y="937"/>
                  </a:lnTo>
                  <a:lnTo>
                    <a:pt x="188" y="920"/>
                  </a:lnTo>
                  <a:lnTo>
                    <a:pt x="207" y="879"/>
                  </a:lnTo>
                  <a:lnTo>
                    <a:pt x="586" y="0"/>
                  </a:lnTo>
                  <a:lnTo>
                    <a:pt x="609" y="0"/>
                  </a:lnTo>
                  <a:lnTo>
                    <a:pt x="990" y="879"/>
                  </a:lnTo>
                  <a:lnTo>
                    <a:pt x="990" y="879"/>
                  </a:lnTo>
                  <a:lnTo>
                    <a:pt x="1008" y="920"/>
                  </a:lnTo>
                  <a:lnTo>
                    <a:pt x="1017" y="937"/>
                  </a:lnTo>
                  <a:lnTo>
                    <a:pt x="1025" y="953"/>
                  </a:lnTo>
                  <a:lnTo>
                    <a:pt x="1033" y="967"/>
                  </a:lnTo>
                  <a:lnTo>
                    <a:pt x="1041" y="979"/>
                  </a:lnTo>
                  <a:lnTo>
                    <a:pt x="1049" y="990"/>
                  </a:lnTo>
                  <a:lnTo>
                    <a:pt x="1060" y="999"/>
                  </a:lnTo>
                  <a:lnTo>
                    <a:pt x="1070" y="1007"/>
                  </a:lnTo>
                  <a:lnTo>
                    <a:pt x="1082" y="1013"/>
                  </a:lnTo>
                  <a:lnTo>
                    <a:pt x="1095" y="1018"/>
                  </a:lnTo>
                  <a:lnTo>
                    <a:pt x="1111" y="1022"/>
                  </a:lnTo>
                  <a:lnTo>
                    <a:pt x="1128" y="1025"/>
                  </a:lnTo>
                  <a:lnTo>
                    <a:pt x="1148" y="1027"/>
                  </a:lnTo>
                  <a:lnTo>
                    <a:pt x="1170" y="1028"/>
                  </a:lnTo>
                  <a:lnTo>
                    <a:pt x="1196" y="1029"/>
                  </a:lnTo>
                  <a:lnTo>
                    <a:pt x="1196" y="1065"/>
                  </a:lnTo>
                  <a:lnTo>
                    <a:pt x="717" y="1065"/>
                  </a:lnTo>
                  <a:lnTo>
                    <a:pt x="717" y="1029"/>
                  </a:lnTo>
                  <a:lnTo>
                    <a:pt x="717" y="1029"/>
                  </a:lnTo>
                  <a:lnTo>
                    <a:pt x="743" y="1028"/>
                  </a:lnTo>
                  <a:lnTo>
                    <a:pt x="766" y="1027"/>
                  </a:lnTo>
                  <a:lnTo>
                    <a:pt x="787" y="1025"/>
                  </a:lnTo>
                  <a:lnTo>
                    <a:pt x="805" y="1022"/>
                  </a:lnTo>
                  <a:lnTo>
                    <a:pt x="820" y="1018"/>
                  </a:lnTo>
                  <a:lnTo>
                    <a:pt x="834" y="1013"/>
                  </a:lnTo>
                  <a:lnTo>
                    <a:pt x="845" y="1006"/>
                  </a:lnTo>
                  <a:lnTo>
                    <a:pt x="854" y="998"/>
                  </a:lnTo>
                  <a:lnTo>
                    <a:pt x="861" y="990"/>
                  </a:lnTo>
                  <a:lnTo>
                    <a:pt x="865" y="981"/>
                  </a:lnTo>
                  <a:lnTo>
                    <a:pt x="868" y="970"/>
                  </a:lnTo>
                  <a:lnTo>
                    <a:pt x="868" y="958"/>
                  </a:lnTo>
                  <a:lnTo>
                    <a:pt x="867" y="945"/>
                  </a:lnTo>
                  <a:lnTo>
                    <a:pt x="864" y="931"/>
                  </a:lnTo>
                  <a:lnTo>
                    <a:pt x="859" y="915"/>
                  </a:lnTo>
                  <a:lnTo>
                    <a:pt x="852" y="897"/>
                  </a:lnTo>
                  <a:lnTo>
                    <a:pt x="769" y="706"/>
                  </a:lnTo>
                  <a:lnTo>
                    <a:pt x="352" y="706"/>
                  </a:lnTo>
                  <a:lnTo>
                    <a:pt x="269" y="897"/>
                  </a:lnTo>
                  <a:lnTo>
                    <a:pt x="269" y="897"/>
                  </a:lnTo>
                  <a:lnTo>
                    <a:pt x="262" y="915"/>
                  </a:lnTo>
                  <a:lnTo>
                    <a:pt x="257" y="930"/>
                  </a:lnTo>
                  <a:lnTo>
                    <a:pt x="254" y="944"/>
                  </a:lnTo>
                  <a:lnTo>
                    <a:pt x="253" y="957"/>
                  </a:lnTo>
                  <a:lnTo>
                    <a:pt x="253" y="969"/>
                  </a:lnTo>
                  <a:lnTo>
                    <a:pt x="256" y="980"/>
                  </a:lnTo>
                  <a:lnTo>
                    <a:pt x="260" y="989"/>
                  </a:lnTo>
                  <a:lnTo>
                    <a:pt x="267" y="998"/>
                  </a:lnTo>
                  <a:lnTo>
                    <a:pt x="276" y="1006"/>
                  </a:lnTo>
                  <a:lnTo>
                    <a:pt x="288" y="1012"/>
                  </a:lnTo>
                  <a:lnTo>
                    <a:pt x="301" y="1017"/>
                  </a:lnTo>
                  <a:lnTo>
                    <a:pt x="316" y="1021"/>
                  </a:lnTo>
                  <a:lnTo>
                    <a:pt x="335" y="1025"/>
                  </a:lnTo>
                  <a:lnTo>
                    <a:pt x="355" y="1027"/>
                  </a:lnTo>
                  <a:lnTo>
                    <a:pt x="378" y="1028"/>
                  </a:lnTo>
                  <a:lnTo>
                    <a:pt x="403" y="1029"/>
                  </a:lnTo>
                  <a:lnTo>
                    <a:pt x="403" y="1065"/>
                  </a:lnTo>
                  <a:lnTo>
                    <a:pt x="0" y="1065"/>
                  </a:lnTo>
                  <a:lnTo>
                    <a:pt x="0" y="1029"/>
                  </a:lnTo>
                  <a:close/>
                  <a:moveTo>
                    <a:pt x="740" y="643"/>
                  </a:moveTo>
                  <a:lnTo>
                    <a:pt x="559" y="226"/>
                  </a:lnTo>
                  <a:lnTo>
                    <a:pt x="380" y="643"/>
                  </a:lnTo>
                  <a:lnTo>
                    <a:pt x="740" y="64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4" name="Freeform 22"/>
            <p:cNvSpPr>
              <a:spLocks/>
            </p:cNvSpPr>
            <p:nvPr userDrawn="1"/>
          </p:nvSpPr>
          <p:spPr bwMode="auto">
            <a:xfrm>
              <a:off x="1966913" y="1158876"/>
              <a:ext cx="142875" cy="136525"/>
            </a:xfrm>
            <a:custGeom>
              <a:avLst/>
              <a:gdLst>
                <a:gd name="T0" fmla="*/ 304 w 1077"/>
                <a:gd name="T1" fmla="*/ 999 h 1035"/>
                <a:gd name="T2" fmla="*/ 353 w 1077"/>
                <a:gd name="T3" fmla="*/ 997 h 1035"/>
                <a:gd name="T4" fmla="*/ 391 w 1077"/>
                <a:gd name="T5" fmla="*/ 991 h 1035"/>
                <a:gd name="T6" fmla="*/ 420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9 w 1077"/>
                <a:gd name="T13" fmla="*/ 951 h 1035"/>
                <a:gd name="T14" fmla="*/ 461 w 1077"/>
                <a:gd name="T15" fmla="*/ 920 h 1035"/>
                <a:gd name="T16" fmla="*/ 467 w 1077"/>
                <a:gd name="T17" fmla="*/ 879 h 1035"/>
                <a:gd name="T18" fmla="*/ 470 w 1077"/>
                <a:gd name="T19" fmla="*/ 827 h 1035"/>
                <a:gd name="T20" fmla="*/ 470 w 1077"/>
                <a:gd name="T21" fmla="*/ 68 h 1035"/>
                <a:gd name="T22" fmla="*/ 246 w 1077"/>
                <a:gd name="T23" fmla="*/ 68 h 1035"/>
                <a:gd name="T24" fmla="*/ 193 w 1077"/>
                <a:gd name="T25" fmla="*/ 69 h 1035"/>
                <a:gd name="T26" fmla="*/ 151 w 1077"/>
                <a:gd name="T27" fmla="*/ 75 h 1035"/>
                <a:gd name="T28" fmla="*/ 119 w 1077"/>
                <a:gd name="T29" fmla="*/ 85 h 1035"/>
                <a:gd name="T30" fmla="*/ 95 w 1077"/>
                <a:gd name="T31" fmla="*/ 98 h 1035"/>
                <a:gd name="T32" fmla="*/ 78 w 1077"/>
                <a:gd name="T33" fmla="*/ 117 h 1035"/>
                <a:gd name="T34" fmla="*/ 65 w 1077"/>
                <a:gd name="T35" fmla="*/ 139 h 1035"/>
                <a:gd name="T36" fmla="*/ 55 w 1077"/>
                <a:gd name="T37" fmla="*/ 167 h 1035"/>
                <a:gd name="T38" fmla="*/ 37 w 1077"/>
                <a:gd name="T39" fmla="*/ 233 h 1035"/>
                <a:gd name="T40" fmla="*/ 17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4 w 1077"/>
                <a:gd name="T47" fmla="*/ 167 h 1035"/>
                <a:gd name="T48" fmla="*/ 1014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60 w 1077"/>
                <a:gd name="T55" fmla="*/ 85 h 1035"/>
                <a:gd name="T56" fmla="*/ 927 w 1077"/>
                <a:gd name="T57" fmla="*/ 75 h 1035"/>
                <a:gd name="T58" fmla="*/ 886 w 1077"/>
                <a:gd name="T59" fmla="*/ 69 h 1035"/>
                <a:gd name="T60" fmla="*/ 833 w 1077"/>
                <a:gd name="T61" fmla="*/ 68 h 1035"/>
                <a:gd name="T62" fmla="*/ 608 w 1077"/>
                <a:gd name="T63" fmla="*/ 797 h 1035"/>
                <a:gd name="T64" fmla="*/ 609 w 1077"/>
                <a:gd name="T65" fmla="*/ 827 h 1035"/>
                <a:gd name="T66" fmla="*/ 611 w 1077"/>
                <a:gd name="T67" fmla="*/ 879 h 1035"/>
                <a:gd name="T68" fmla="*/ 618 w 1077"/>
                <a:gd name="T69" fmla="*/ 920 h 1035"/>
                <a:gd name="T70" fmla="*/ 629 w 1077"/>
                <a:gd name="T71" fmla="*/ 951 h 1035"/>
                <a:gd name="T72" fmla="*/ 637 w 1077"/>
                <a:gd name="T73" fmla="*/ 962 h 1035"/>
                <a:gd name="T74" fmla="*/ 647 w 1077"/>
                <a:gd name="T75" fmla="*/ 972 h 1035"/>
                <a:gd name="T76" fmla="*/ 658 w 1077"/>
                <a:gd name="T77" fmla="*/ 981 h 1035"/>
                <a:gd name="T78" fmla="*/ 688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30" y="998"/>
                  </a:lnTo>
                  <a:lnTo>
                    <a:pt x="353" y="997"/>
                  </a:lnTo>
                  <a:lnTo>
                    <a:pt x="373" y="995"/>
                  </a:lnTo>
                  <a:lnTo>
                    <a:pt x="391" y="991"/>
                  </a:lnTo>
                  <a:lnTo>
                    <a:pt x="406" y="987"/>
                  </a:lnTo>
                  <a:lnTo>
                    <a:pt x="420" y="981"/>
                  </a:lnTo>
                  <a:lnTo>
                    <a:pt x="426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9" y="951"/>
                  </a:lnTo>
                  <a:lnTo>
                    <a:pt x="455" y="937"/>
                  </a:lnTo>
                  <a:lnTo>
                    <a:pt x="461" y="920"/>
                  </a:lnTo>
                  <a:lnTo>
                    <a:pt x="465" y="901"/>
                  </a:lnTo>
                  <a:lnTo>
                    <a:pt x="467" y="879"/>
                  </a:lnTo>
                  <a:lnTo>
                    <a:pt x="469" y="855"/>
                  </a:lnTo>
                  <a:lnTo>
                    <a:pt x="470" y="827"/>
                  </a:lnTo>
                  <a:lnTo>
                    <a:pt x="470" y="797"/>
                  </a:lnTo>
                  <a:lnTo>
                    <a:pt x="470" y="68"/>
                  </a:lnTo>
                  <a:lnTo>
                    <a:pt x="246" y="68"/>
                  </a:lnTo>
                  <a:lnTo>
                    <a:pt x="246" y="68"/>
                  </a:lnTo>
                  <a:lnTo>
                    <a:pt x="217" y="68"/>
                  </a:lnTo>
                  <a:lnTo>
                    <a:pt x="193" y="69"/>
                  </a:lnTo>
                  <a:lnTo>
                    <a:pt x="170" y="72"/>
                  </a:lnTo>
                  <a:lnTo>
                    <a:pt x="151" y="75"/>
                  </a:lnTo>
                  <a:lnTo>
                    <a:pt x="134" y="79"/>
                  </a:lnTo>
                  <a:lnTo>
                    <a:pt x="119" y="85"/>
                  </a:lnTo>
                  <a:lnTo>
                    <a:pt x="107" y="91"/>
                  </a:lnTo>
                  <a:lnTo>
                    <a:pt x="95" y="98"/>
                  </a:lnTo>
                  <a:lnTo>
                    <a:pt x="86" y="106"/>
                  </a:lnTo>
                  <a:lnTo>
                    <a:pt x="78" y="117"/>
                  </a:lnTo>
                  <a:lnTo>
                    <a:pt x="71" y="127"/>
                  </a:lnTo>
                  <a:lnTo>
                    <a:pt x="65" y="139"/>
                  </a:lnTo>
                  <a:lnTo>
                    <a:pt x="60" y="152"/>
                  </a:lnTo>
                  <a:lnTo>
                    <a:pt x="55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7" y="0"/>
                  </a:lnTo>
                  <a:lnTo>
                    <a:pt x="1062" y="0"/>
                  </a:lnTo>
                  <a:lnTo>
                    <a:pt x="1077" y="233"/>
                  </a:lnTo>
                  <a:lnTo>
                    <a:pt x="1041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4" y="167"/>
                  </a:lnTo>
                  <a:lnTo>
                    <a:pt x="1019" y="152"/>
                  </a:lnTo>
                  <a:lnTo>
                    <a:pt x="1014" y="139"/>
                  </a:lnTo>
                  <a:lnTo>
                    <a:pt x="1008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2" y="91"/>
                  </a:lnTo>
                  <a:lnTo>
                    <a:pt x="960" y="85"/>
                  </a:lnTo>
                  <a:lnTo>
                    <a:pt x="944" y="79"/>
                  </a:lnTo>
                  <a:lnTo>
                    <a:pt x="927" y="75"/>
                  </a:lnTo>
                  <a:lnTo>
                    <a:pt x="907" y="72"/>
                  </a:lnTo>
                  <a:lnTo>
                    <a:pt x="886" y="69"/>
                  </a:lnTo>
                  <a:lnTo>
                    <a:pt x="860" y="68"/>
                  </a:lnTo>
                  <a:lnTo>
                    <a:pt x="833" y="68"/>
                  </a:lnTo>
                  <a:lnTo>
                    <a:pt x="608" y="68"/>
                  </a:lnTo>
                  <a:lnTo>
                    <a:pt x="608" y="797"/>
                  </a:lnTo>
                  <a:lnTo>
                    <a:pt x="608" y="797"/>
                  </a:lnTo>
                  <a:lnTo>
                    <a:pt x="609" y="827"/>
                  </a:lnTo>
                  <a:lnTo>
                    <a:pt x="609" y="855"/>
                  </a:lnTo>
                  <a:lnTo>
                    <a:pt x="611" y="879"/>
                  </a:lnTo>
                  <a:lnTo>
                    <a:pt x="614" y="901"/>
                  </a:lnTo>
                  <a:lnTo>
                    <a:pt x="618" y="920"/>
                  </a:lnTo>
                  <a:lnTo>
                    <a:pt x="623" y="937"/>
                  </a:lnTo>
                  <a:lnTo>
                    <a:pt x="629" y="951"/>
                  </a:lnTo>
                  <a:lnTo>
                    <a:pt x="633" y="957"/>
                  </a:lnTo>
                  <a:lnTo>
                    <a:pt x="637" y="962"/>
                  </a:lnTo>
                  <a:lnTo>
                    <a:pt x="642" y="967"/>
                  </a:lnTo>
                  <a:lnTo>
                    <a:pt x="647" y="972"/>
                  </a:lnTo>
                  <a:lnTo>
                    <a:pt x="653" y="977"/>
                  </a:lnTo>
                  <a:lnTo>
                    <a:pt x="658" y="981"/>
                  </a:lnTo>
                  <a:lnTo>
                    <a:pt x="672" y="987"/>
                  </a:lnTo>
                  <a:lnTo>
                    <a:pt x="688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8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5" name="Freeform 23"/>
            <p:cNvSpPr>
              <a:spLocks/>
            </p:cNvSpPr>
            <p:nvPr userDrawn="1"/>
          </p:nvSpPr>
          <p:spPr bwMode="auto">
            <a:xfrm>
              <a:off x="2141538" y="1154113"/>
              <a:ext cx="88900" cy="144463"/>
            </a:xfrm>
            <a:custGeom>
              <a:avLst/>
              <a:gdLst>
                <a:gd name="T0" fmla="*/ 39 w 683"/>
                <a:gd name="T1" fmla="*/ 752 h 1102"/>
                <a:gd name="T2" fmla="*/ 64 w 683"/>
                <a:gd name="T3" fmla="*/ 849 h 1102"/>
                <a:gd name="T4" fmla="*/ 104 w 683"/>
                <a:gd name="T5" fmla="*/ 921 h 1102"/>
                <a:gd name="T6" fmla="*/ 171 w 683"/>
                <a:gd name="T7" fmla="*/ 985 h 1102"/>
                <a:gd name="T8" fmla="*/ 273 w 683"/>
                <a:gd name="T9" fmla="*/ 1026 h 1102"/>
                <a:gd name="T10" fmla="*/ 377 w 683"/>
                <a:gd name="T11" fmla="*/ 1032 h 1102"/>
                <a:gd name="T12" fmla="*/ 476 w 683"/>
                <a:gd name="T13" fmla="*/ 1002 h 1102"/>
                <a:gd name="T14" fmla="*/ 544 w 683"/>
                <a:gd name="T15" fmla="*/ 937 h 1102"/>
                <a:gd name="T16" fmla="*/ 570 w 683"/>
                <a:gd name="T17" fmla="*/ 844 h 1102"/>
                <a:gd name="T18" fmla="*/ 555 w 683"/>
                <a:gd name="T19" fmla="*/ 787 h 1102"/>
                <a:gd name="T20" fmla="*/ 501 w 683"/>
                <a:gd name="T21" fmla="*/ 720 h 1102"/>
                <a:gd name="T22" fmla="*/ 413 w 683"/>
                <a:gd name="T23" fmla="*/ 659 h 1102"/>
                <a:gd name="T24" fmla="*/ 169 w 683"/>
                <a:gd name="T25" fmla="*/ 529 h 1102"/>
                <a:gd name="T26" fmla="*/ 86 w 683"/>
                <a:gd name="T27" fmla="*/ 455 h 1102"/>
                <a:gd name="T28" fmla="*/ 30 w 683"/>
                <a:gd name="T29" fmla="*/ 358 h 1102"/>
                <a:gd name="T30" fmla="*/ 14 w 683"/>
                <a:gd name="T31" fmla="*/ 265 h 1102"/>
                <a:gd name="T32" fmla="*/ 23 w 683"/>
                <a:gd name="T33" fmla="*/ 201 h 1102"/>
                <a:gd name="T34" fmla="*/ 46 w 683"/>
                <a:gd name="T35" fmla="*/ 142 h 1102"/>
                <a:gd name="T36" fmla="*/ 85 w 683"/>
                <a:gd name="T37" fmla="*/ 92 h 1102"/>
                <a:gd name="T38" fmla="*/ 136 w 683"/>
                <a:gd name="T39" fmla="*/ 52 h 1102"/>
                <a:gd name="T40" fmla="*/ 199 w 683"/>
                <a:gd name="T41" fmla="*/ 24 h 1102"/>
                <a:gd name="T42" fmla="*/ 269 w 683"/>
                <a:gd name="T43" fmla="*/ 9 h 1102"/>
                <a:gd name="T44" fmla="*/ 337 w 683"/>
                <a:gd name="T45" fmla="*/ 10 h 1102"/>
                <a:gd name="T46" fmla="*/ 411 w 683"/>
                <a:gd name="T47" fmla="*/ 25 h 1102"/>
                <a:gd name="T48" fmla="*/ 510 w 683"/>
                <a:gd name="T49" fmla="*/ 79 h 1102"/>
                <a:gd name="T50" fmla="*/ 540 w 683"/>
                <a:gd name="T51" fmla="*/ 46 h 1102"/>
                <a:gd name="T52" fmla="*/ 595 w 683"/>
                <a:gd name="T53" fmla="*/ 0 h 1102"/>
                <a:gd name="T54" fmla="*/ 552 w 683"/>
                <a:gd name="T55" fmla="*/ 326 h 1102"/>
                <a:gd name="T56" fmla="*/ 511 w 683"/>
                <a:gd name="T57" fmla="*/ 200 h 1102"/>
                <a:gd name="T58" fmla="*/ 473 w 683"/>
                <a:gd name="T59" fmla="*/ 145 h 1102"/>
                <a:gd name="T60" fmla="*/ 419 w 683"/>
                <a:gd name="T61" fmla="*/ 106 h 1102"/>
                <a:gd name="T62" fmla="*/ 348 w 683"/>
                <a:gd name="T63" fmla="*/ 82 h 1102"/>
                <a:gd name="T64" fmla="*/ 277 w 683"/>
                <a:gd name="T65" fmla="*/ 78 h 1102"/>
                <a:gd name="T66" fmla="*/ 200 w 683"/>
                <a:gd name="T67" fmla="*/ 104 h 1102"/>
                <a:gd name="T68" fmla="*/ 147 w 683"/>
                <a:gd name="T69" fmla="*/ 158 h 1102"/>
                <a:gd name="T70" fmla="*/ 128 w 683"/>
                <a:gd name="T71" fmla="*/ 231 h 1102"/>
                <a:gd name="T72" fmla="*/ 139 w 683"/>
                <a:gd name="T73" fmla="*/ 292 h 1102"/>
                <a:gd name="T74" fmla="*/ 190 w 683"/>
                <a:gd name="T75" fmla="*/ 355 h 1102"/>
                <a:gd name="T76" fmla="*/ 287 w 683"/>
                <a:gd name="T77" fmla="*/ 417 h 1102"/>
                <a:gd name="T78" fmla="*/ 548 w 683"/>
                <a:gd name="T79" fmla="*/ 556 h 1102"/>
                <a:gd name="T80" fmla="*/ 631 w 683"/>
                <a:gd name="T81" fmla="*/ 633 h 1102"/>
                <a:gd name="T82" fmla="*/ 674 w 683"/>
                <a:gd name="T83" fmla="*/ 720 h 1102"/>
                <a:gd name="T84" fmla="*/ 683 w 683"/>
                <a:gd name="T85" fmla="*/ 792 h 1102"/>
                <a:gd name="T86" fmla="*/ 673 w 683"/>
                <a:gd name="T87" fmla="*/ 874 h 1102"/>
                <a:gd name="T88" fmla="*/ 642 w 683"/>
                <a:gd name="T89" fmla="*/ 947 h 1102"/>
                <a:gd name="T90" fmla="*/ 596 w 683"/>
                <a:gd name="T91" fmla="*/ 1007 h 1102"/>
                <a:gd name="T92" fmla="*/ 536 w 683"/>
                <a:gd name="T93" fmla="*/ 1053 h 1102"/>
                <a:gd name="T94" fmla="*/ 465 w 683"/>
                <a:gd name="T95" fmla="*/ 1085 h 1102"/>
                <a:gd name="T96" fmla="*/ 387 w 683"/>
                <a:gd name="T97" fmla="*/ 1100 h 1102"/>
                <a:gd name="T98" fmla="*/ 307 w 683"/>
                <a:gd name="T99" fmla="*/ 1099 h 1102"/>
                <a:gd name="T100" fmla="*/ 208 w 683"/>
                <a:gd name="T101" fmla="*/ 1073 h 1102"/>
                <a:gd name="T102" fmla="*/ 95 w 683"/>
                <a:gd name="T103" fmla="*/ 1024 h 1102"/>
                <a:gd name="T104" fmla="*/ 62 w 683"/>
                <a:gd name="T105" fmla="*/ 1044 h 1102"/>
                <a:gd name="T106" fmla="*/ 35 w 683"/>
                <a:gd name="T107" fmla="*/ 110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83" h="1102">
                  <a:moveTo>
                    <a:pt x="0" y="723"/>
                  </a:moveTo>
                  <a:lnTo>
                    <a:pt x="36" y="723"/>
                  </a:lnTo>
                  <a:lnTo>
                    <a:pt x="36" y="723"/>
                  </a:lnTo>
                  <a:lnTo>
                    <a:pt x="37" y="736"/>
                  </a:lnTo>
                  <a:lnTo>
                    <a:pt x="39" y="752"/>
                  </a:lnTo>
                  <a:lnTo>
                    <a:pt x="41" y="771"/>
                  </a:lnTo>
                  <a:lnTo>
                    <a:pt x="46" y="795"/>
                  </a:lnTo>
                  <a:lnTo>
                    <a:pt x="53" y="821"/>
                  </a:lnTo>
                  <a:lnTo>
                    <a:pt x="59" y="835"/>
                  </a:lnTo>
                  <a:lnTo>
                    <a:pt x="64" y="849"/>
                  </a:lnTo>
                  <a:lnTo>
                    <a:pt x="70" y="863"/>
                  </a:lnTo>
                  <a:lnTo>
                    <a:pt x="77" y="878"/>
                  </a:lnTo>
                  <a:lnTo>
                    <a:pt x="85" y="893"/>
                  </a:lnTo>
                  <a:lnTo>
                    <a:pt x="93" y="907"/>
                  </a:lnTo>
                  <a:lnTo>
                    <a:pt x="104" y="921"/>
                  </a:lnTo>
                  <a:lnTo>
                    <a:pt x="115" y="935"/>
                  </a:lnTo>
                  <a:lnTo>
                    <a:pt x="127" y="948"/>
                  </a:lnTo>
                  <a:lnTo>
                    <a:pt x="140" y="961"/>
                  </a:lnTo>
                  <a:lnTo>
                    <a:pt x="155" y="974"/>
                  </a:lnTo>
                  <a:lnTo>
                    <a:pt x="171" y="985"/>
                  </a:lnTo>
                  <a:lnTo>
                    <a:pt x="188" y="995"/>
                  </a:lnTo>
                  <a:lnTo>
                    <a:pt x="207" y="1004"/>
                  </a:lnTo>
                  <a:lnTo>
                    <a:pt x="227" y="1012"/>
                  </a:lnTo>
                  <a:lnTo>
                    <a:pt x="250" y="1020"/>
                  </a:lnTo>
                  <a:lnTo>
                    <a:pt x="273" y="1026"/>
                  </a:lnTo>
                  <a:lnTo>
                    <a:pt x="298" y="1030"/>
                  </a:lnTo>
                  <a:lnTo>
                    <a:pt x="325" y="1032"/>
                  </a:lnTo>
                  <a:lnTo>
                    <a:pt x="354" y="1033"/>
                  </a:lnTo>
                  <a:lnTo>
                    <a:pt x="354" y="1033"/>
                  </a:lnTo>
                  <a:lnTo>
                    <a:pt x="377" y="1032"/>
                  </a:lnTo>
                  <a:lnTo>
                    <a:pt x="398" y="1030"/>
                  </a:lnTo>
                  <a:lnTo>
                    <a:pt x="419" y="1025"/>
                  </a:lnTo>
                  <a:lnTo>
                    <a:pt x="439" y="1019"/>
                  </a:lnTo>
                  <a:lnTo>
                    <a:pt x="458" y="1011"/>
                  </a:lnTo>
                  <a:lnTo>
                    <a:pt x="476" y="1002"/>
                  </a:lnTo>
                  <a:lnTo>
                    <a:pt x="492" y="992"/>
                  </a:lnTo>
                  <a:lnTo>
                    <a:pt x="507" y="980"/>
                  </a:lnTo>
                  <a:lnTo>
                    <a:pt x="522" y="966"/>
                  </a:lnTo>
                  <a:lnTo>
                    <a:pt x="534" y="952"/>
                  </a:lnTo>
                  <a:lnTo>
                    <a:pt x="544" y="937"/>
                  </a:lnTo>
                  <a:lnTo>
                    <a:pt x="553" y="919"/>
                  </a:lnTo>
                  <a:lnTo>
                    <a:pt x="560" y="902"/>
                  </a:lnTo>
                  <a:lnTo>
                    <a:pt x="566" y="884"/>
                  </a:lnTo>
                  <a:lnTo>
                    <a:pt x="569" y="864"/>
                  </a:lnTo>
                  <a:lnTo>
                    <a:pt x="570" y="844"/>
                  </a:lnTo>
                  <a:lnTo>
                    <a:pt x="570" y="844"/>
                  </a:lnTo>
                  <a:lnTo>
                    <a:pt x="569" y="828"/>
                  </a:lnTo>
                  <a:lnTo>
                    <a:pt x="566" y="814"/>
                  </a:lnTo>
                  <a:lnTo>
                    <a:pt x="562" y="800"/>
                  </a:lnTo>
                  <a:lnTo>
                    <a:pt x="555" y="787"/>
                  </a:lnTo>
                  <a:lnTo>
                    <a:pt x="547" y="772"/>
                  </a:lnTo>
                  <a:lnTo>
                    <a:pt x="538" y="759"/>
                  </a:lnTo>
                  <a:lnTo>
                    <a:pt x="527" y="746"/>
                  </a:lnTo>
                  <a:lnTo>
                    <a:pt x="515" y="732"/>
                  </a:lnTo>
                  <a:lnTo>
                    <a:pt x="501" y="720"/>
                  </a:lnTo>
                  <a:lnTo>
                    <a:pt x="486" y="707"/>
                  </a:lnTo>
                  <a:lnTo>
                    <a:pt x="470" y="695"/>
                  </a:lnTo>
                  <a:lnTo>
                    <a:pt x="452" y="682"/>
                  </a:lnTo>
                  <a:lnTo>
                    <a:pt x="434" y="670"/>
                  </a:lnTo>
                  <a:lnTo>
                    <a:pt x="413" y="659"/>
                  </a:lnTo>
                  <a:lnTo>
                    <a:pt x="371" y="634"/>
                  </a:lnTo>
                  <a:lnTo>
                    <a:pt x="206" y="550"/>
                  </a:lnTo>
                  <a:lnTo>
                    <a:pt x="206" y="550"/>
                  </a:lnTo>
                  <a:lnTo>
                    <a:pt x="186" y="540"/>
                  </a:lnTo>
                  <a:lnTo>
                    <a:pt x="169" y="529"/>
                  </a:lnTo>
                  <a:lnTo>
                    <a:pt x="151" y="516"/>
                  </a:lnTo>
                  <a:lnTo>
                    <a:pt x="133" y="502"/>
                  </a:lnTo>
                  <a:lnTo>
                    <a:pt x="117" y="488"/>
                  </a:lnTo>
                  <a:lnTo>
                    <a:pt x="100" y="472"/>
                  </a:lnTo>
                  <a:lnTo>
                    <a:pt x="86" y="455"/>
                  </a:lnTo>
                  <a:lnTo>
                    <a:pt x="72" y="438"/>
                  </a:lnTo>
                  <a:lnTo>
                    <a:pt x="60" y="419"/>
                  </a:lnTo>
                  <a:lnTo>
                    <a:pt x="48" y="400"/>
                  </a:lnTo>
                  <a:lnTo>
                    <a:pt x="38" y="380"/>
                  </a:lnTo>
                  <a:lnTo>
                    <a:pt x="30" y="358"/>
                  </a:lnTo>
                  <a:lnTo>
                    <a:pt x="23" y="336"/>
                  </a:lnTo>
                  <a:lnTo>
                    <a:pt x="18" y="313"/>
                  </a:lnTo>
                  <a:lnTo>
                    <a:pt x="15" y="290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5" y="252"/>
                  </a:lnTo>
                  <a:lnTo>
                    <a:pt x="16" y="240"/>
                  </a:lnTo>
                  <a:lnTo>
                    <a:pt x="17" y="226"/>
                  </a:lnTo>
                  <a:lnTo>
                    <a:pt x="20" y="213"/>
                  </a:lnTo>
                  <a:lnTo>
                    <a:pt x="23" y="201"/>
                  </a:lnTo>
                  <a:lnTo>
                    <a:pt x="26" y="188"/>
                  </a:lnTo>
                  <a:lnTo>
                    <a:pt x="30" y="177"/>
                  </a:lnTo>
                  <a:lnTo>
                    <a:pt x="35" y="165"/>
                  </a:lnTo>
                  <a:lnTo>
                    <a:pt x="41" y="154"/>
                  </a:lnTo>
                  <a:lnTo>
                    <a:pt x="46" y="142"/>
                  </a:lnTo>
                  <a:lnTo>
                    <a:pt x="53" y="132"/>
                  </a:lnTo>
                  <a:lnTo>
                    <a:pt x="61" y="121"/>
                  </a:lnTo>
                  <a:lnTo>
                    <a:pt x="68" y="112"/>
                  </a:lnTo>
                  <a:lnTo>
                    <a:pt x="76" y="101"/>
                  </a:lnTo>
                  <a:lnTo>
                    <a:pt x="85" y="92"/>
                  </a:lnTo>
                  <a:lnTo>
                    <a:pt x="94" y="83"/>
                  </a:lnTo>
                  <a:lnTo>
                    <a:pt x="105" y="75"/>
                  </a:lnTo>
                  <a:lnTo>
                    <a:pt x="115" y="67"/>
                  </a:lnTo>
                  <a:lnTo>
                    <a:pt x="125" y="60"/>
                  </a:lnTo>
                  <a:lnTo>
                    <a:pt x="136" y="52"/>
                  </a:lnTo>
                  <a:lnTo>
                    <a:pt x="147" y="45"/>
                  </a:lnTo>
                  <a:lnTo>
                    <a:pt x="160" y="39"/>
                  </a:lnTo>
                  <a:lnTo>
                    <a:pt x="172" y="34"/>
                  </a:lnTo>
                  <a:lnTo>
                    <a:pt x="185" y="29"/>
                  </a:lnTo>
                  <a:lnTo>
                    <a:pt x="199" y="24"/>
                  </a:lnTo>
                  <a:lnTo>
                    <a:pt x="212" y="20"/>
                  </a:lnTo>
                  <a:lnTo>
                    <a:pt x="226" y="17"/>
                  </a:lnTo>
                  <a:lnTo>
                    <a:pt x="239" y="14"/>
                  </a:lnTo>
                  <a:lnTo>
                    <a:pt x="255" y="12"/>
                  </a:lnTo>
                  <a:lnTo>
                    <a:pt x="269" y="9"/>
                  </a:lnTo>
                  <a:lnTo>
                    <a:pt x="284" y="8"/>
                  </a:lnTo>
                  <a:lnTo>
                    <a:pt x="300" y="8"/>
                  </a:lnTo>
                  <a:lnTo>
                    <a:pt x="300" y="8"/>
                  </a:lnTo>
                  <a:lnTo>
                    <a:pt x="319" y="8"/>
                  </a:lnTo>
                  <a:lnTo>
                    <a:pt x="337" y="10"/>
                  </a:lnTo>
                  <a:lnTo>
                    <a:pt x="353" y="12"/>
                  </a:lnTo>
                  <a:lnTo>
                    <a:pt x="369" y="15"/>
                  </a:lnTo>
                  <a:lnTo>
                    <a:pt x="384" y="18"/>
                  </a:lnTo>
                  <a:lnTo>
                    <a:pt x="398" y="21"/>
                  </a:lnTo>
                  <a:lnTo>
                    <a:pt x="411" y="25"/>
                  </a:lnTo>
                  <a:lnTo>
                    <a:pt x="425" y="30"/>
                  </a:lnTo>
                  <a:lnTo>
                    <a:pt x="448" y="40"/>
                  </a:lnTo>
                  <a:lnTo>
                    <a:pt x="471" y="52"/>
                  </a:lnTo>
                  <a:lnTo>
                    <a:pt x="491" y="66"/>
                  </a:lnTo>
                  <a:lnTo>
                    <a:pt x="510" y="79"/>
                  </a:lnTo>
                  <a:lnTo>
                    <a:pt x="510" y="79"/>
                  </a:lnTo>
                  <a:lnTo>
                    <a:pt x="519" y="73"/>
                  </a:lnTo>
                  <a:lnTo>
                    <a:pt x="526" y="65"/>
                  </a:lnTo>
                  <a:lnTo>
                    <a:pt x="533" y="57"/>
                  </a:lnTo>
                  <a:lnTo>
                    <a:pt x="540" y="46"/>
                  </a:lnTo>
                  <a:lnTo>
                    <a:pt x="546" y="36"/>
                  </a:lnTo>
                  <a:lnTo>
                    <a:pt x="552" y="25"/>
                  </a:lnTo>
                  <a:lnTo>
                    <a:pt x="557" y="13"/>
                  </a:lnTo>
                  <a:lnTo>
                    <a:pt x="561" y="0"/>
                  </a:lnTo>
                  <a:lnTo>
                    <a:pt x="595" y="0"/>
                  </a:lnTo>
                  <a:lnTo>
                    <a:pt x="595" y="380"/>
                  </a:lnTo>
                  <a:lnTo>
                    <a:pt x="560" y="380"/>
                  </a:lnTo>
                  <a:lnTo>
                    <a:pt x="560" y="380"/>
                  </a:lnTo>
                  <a:lnTo>
                    <a:pt x="556" y="353"/>
                  </a:lnTo>
                  <a:lnTo>
                    <a:pt x="552" y="326"/>
                  </a:lnTo>
                  <a:lnTo>
                    <a:pt x="547" y="300"/>
                  </a:lnTo>
                  <a:lnTo>
                    <a:pt x="541" y="274"/>
                  </a:lnTo>
                  <a:lnTo>
                    <a:pt x="533" y="249"/>
                  </a:lnTo>
                  <a:lnTo>
                    <a:pt x="523" y="223"/>
                  </a:lnTo>
                  <a:lnTo>
                    <a:pt x="511" y="200"/>
                  </a:lnTo>
                  <a:lnTo>
                    <a:pt x="504" y="187"/>
                  </a:lnTo>
                  <a:lnTo>
                    <a:pt x="497" y="177"/>
                  </a:lnTo>
                  <a:lnTo>
                    <a:pt x="490" y="166"/>
                  </a:lnTo>
                  <a:lnTo>
                    <a:pt x="482" y="156"/>
                  </a:lnTo>
                  <a:lnTo>
                    <a:pt x="473" y="145"/>
                  </a:lnTo>
                  <a:lnTo>
                    <a:pt x="463" y="136"/>
                  </a:lnTo>
                  <a:lnTo>
                    <a:pt x="453" y="128"/>
                  </a:lnTo>
                  <a:lnTo>
                    <a:pt x="443" y="120"/>
                  </a:lnTo>
                  <a:lnTo>
                    <a:pt x="431" y="112"/>
                  </a:lnTo>
                  <a:lnTo>
                    <a:pt x="419" y="106"/>
                  </a:lnTo>
                  <a:lnTo>
                    <a:pt x="406" y="99"/>
                  </a:lnTo>
                  <a:lnTo>
                    <a:pt x="393" y="93"/>
                  </a:lnTo>
                  <a:lnTo>
                    <a:pt x="379" y="89"/>
                  </a:lnTo>
                  <a:lnTo>
                    <a:pt x="363" y="85"/>
                  </a:lnTo>
                  <a:lnTo>
                    <a:pt x="348" y="82"/>
                  </a:lnTo>
                  <a:lnTo>
                    <a:pt x="331" y="79"/>
                  </a:lnTo>
                  <a:lnTo>
                    <a:pt x="313" y="78"/>
                  </a:lnTo>
                  <a:lnTo>
                    <a:pt x="295" y="78"/>
                  </a:lnTo>
                  <a:lnTo>
                    <a:pt x="295" y="78"/>
                  </a:lnTo>
                  <a:lnTo>
                    <a:pt x="277" y="78"/>
                  </a:lnTo>
                  <a:lnTo>
                    <a:pt x="260" y="81"/>
                  </a:lnTo>
                  <a:lnTo>
                    <a:pt x="244" y="84"/>
                  </a:lnTo>
                  <a:lnTo>
                    <a:pt x="228" y="89"/>
                  </a:lnTo>
                  <a:lnTo>
                    <a:pt x="214" y="95"/>
                  </a:lnTo>
                  <a:lnTo>
                    <a:pt x="200" y="104"/>
                  </a:lnTo>
                  <a:lnTo>
                    <a:pt x="187" y="112"/>
                  </a:lnTo>
                  <a:lnTo>
                    <a:pt x="175" y="122"/>
                  </a:lnTo>
                  <a:lnTo>
                    <a:pt x="165" y="133"/>
                  </a:lnTo>
                  <a:lnTo>
                    <a:pt x="156" y="144"/>
                  </a:lnTo>
                  <a:lnTo>
                    <a:pt x="147" y="158"/>
                  </a:lnTo>
                  <a:lnTo>
                    <a:pt x="140" y="171"/>
                  </a:lnTo>
                  <a:lnTo>
                    <a:pt x="135" y="185"/>
                  </a:lnTo>
                  <a:lnTo>
                    <a:pt x="131" y="200"/>
                  </a:lnTo>
                  <a:lnTo>
                    <a:pt x="129" y="215"/>
                  </a:lnTo>
                  <a:lnTo>
                    <a:pt x="128" y="231"/>
                  </a:lnTo>
                  <a:lnTo>
                    <a:pt x="128" y="231"/>
                  </a:lnTo>
                  <a:lnTo>
                    <a:pt x="128" y="248"/>
                  </a:lnTo>
                  <a:lnTo>
                    <a:pt x="131" y="263"/>
                  </a:lnTo>
                  <a:lnTo>
                    <a:pt x="134" y="277"/>
                  </a:lnTo>
                  <a:lnTo>
                    <a:pt x="139" y="292"/>
                  </a:lnTo>
                  <a:lnTo>
                    <a:pt x="146" y="305"/>
                  </a:lnTo>
                  <a:lnTo>
                    <a:pt x="155" y="317"/>
                  </a:lnTo>
                  <a:lnTo>
                    <a:pt x="165" y="331"/>
                  </a:lnTo>
                  <a:lnTo>
                    <a:pt x="177" y="343"/>
                  </a:lnTo>
                  <a:lnTo>
                    <a:pt x="190" y="355"/>
                  </a:lnTo>
                  <a:lnTo>
                    <a:pt x="206" y="366"/>
                  </a:lnTo>
                  <a:lnTo>
                    <a:pt x="223" y="379"/>
                  </a:lnTo>
                  <a:lnTo>
                    <a:pt x="243" y="392"/>
                  </a:lnTo>
                  <a:lnTo>
                    <a:pt x="263" y="404"/>
                  </a:lnTo>
                  <a:lnTo>
                    <a:pt x="287" y="417"/>
                  </a:lnTo>
                  <a:lnTo>
                    <a:pt x="339" y="445"/>
                  </a:lnTo>
                  <a:lnTo>
                    <a:pt x="502" y="530"/>
                  </a:lnTo>
                  <a:lnTo>
                    <a:pt x="502" y="530"/>
                  </a:lnTo>
                  <a:lnTo>
                    <a:pt x="526" y="542"/>
                  </a:lnTo>
                  <a:lnTo>
                    <a:pt x="548" y="556"/>
                  </a:lnTo>
                  <a:lnTo>
                    <a:pt x="568" y="571"/>
                  </a:lnTo>
                  <a:lnTo>
                    <a:pt x="586" y="585"/>
                  </a:lnTo>
                  <a:lnTo>
                    <a:pt x="604" y="601"/>
                  </a:lnTo>
                  <a:lnTo>
                    <a:pt x="618" y="617"/>
                  </a:lnTo>
                  <a:lnTo>
                    <a:pt x="631" y="633"/>
                  </a:lnTo>
                  <a:lnTo>
                    <a:pt x="642" y="651"/>
                  </a:lnTo>
                  <a:lnTo>
                    <a:pt x="653" y="667"/>
                  </a:lnTo>
                  <a:lnTo>
                    <a:pt x="661" y="684"/>
                  </a:lnTo>
                  <a:lnTo>
                    <a:pt x="668" y="703"/>
                  </a:lnTo>
                  <a:lnTo>
                    <a:pt x="674" y="720"/>
                  </a:lnTo>
                  <a:lnTo>
                    <a:pt x="678" y="738"/>
                  </a:lnTo>
                  <a:lnTo>
                    <a:pt x="681" y="756"/>
                  </a:lnTo>
                  <a:lnTo>
                    <a:pt x="682" y="774"/>
                  </a:lnTo>
                  <a:lnTo>
                    <a:pt x="683" y="792"/>
                  </a:lnTo>
                  <a:lnTo>
                    <a:pt x="683" y="792"/>
                  </a:lnTo>
                  <a:lnTo>
                    <a:pt x="683" y="809"/>
                  </a:lnTo>
                  <a:lnTo>
                    <a:pt x="681" y="826"/>
                  </a:lnTo>
                  <a:lnTo>
                    <a:pt x="679" y="843"/>
                  </a:lnTo>
                  <a:lnTo>
                    <a:pt x="676" y="859"/>
                  </a:lnTo>
                  <a:lnTo>
                    <a:pt x="673" y="874"/>
                  </a:lnTo>
                  <a:lnTo>
                    <a:pt x="668" y="890"/>
                  </a:lnTo>
                  <a:lnTo>
                    <a:pt x="663" y="905"/>
                  </a:lnTo>
                  <a:lnTo>
                    <a:pt x="657" y="919"/>
                  </a:lnTo>
                  <a:lnTo>
                    <a:pt x="651" y="934"/>
                  </a:lnTo>
                  <a:lnTo>
                    <a:pt x="642" y="947"/>
                  </a:lnTo>
                  <a:lnTo>
                    <a:pt x="634" y="960"/>
                  </a:lnTo>
                  <a:lnTo>
                    <a:pt x="626" y="973"/>
                  </a:lnTo>
                  <a:lnTo>
                    <a:pt x="617" y="985"/>
                  </a:lnTo>
                  <a:lnTo>
                    <a:pt x="607" y="996"/>
                  </a:lnTo>
                  <a:lnTo>
                    <a:pt x="596" y="1007"/>
                  </a:lnTo>
                  <a:lnTo>
                    <a:pt x="585" y="1018"/>
                  </a:lnTo>
                  <a:lnTo>
                    <a:pt x="574" y="1028"/>
                  </a:lnTo>
                  <a:lnTo>
                    <a:pt x="562" y="1037"/>
                  </a:lnTo>
                  <a:lnTo>
                    <a:pt x="549" y="1045"/>
                  </a:lnTo>
                  <a:lnTo>
                    <a:pt x="536" y="1053"/>
                  </a:lnTo>
                  <a:lnTo>
                    <a:pt x="523" y="1062"/>
                  </a:lnTo>
                  <a:lnTo>
                    <a:pt x="509" y="1068"/>
                  </a:lnTo>
                  <a:lnTo>
                    <a:pt x="495" y="1075"/>
                  </a:lnTo>
                  <a:lnTo>
                    <a:pt x="480" y="1080"/>
                  </a:lnTo>
                  <a:lnTo>
                    <a:pt x="465" y="1085"/>
                  </a:lnTo>
                  <a:lnTo>
                    <a:pt x="450" y="1089"/>
                  </a:lnTo>
                  <a:lnTo>
                    <a:pt x="435" y="1093"/>
                  </a:lnTo>
                  <a:lnTo>
                    <a:pt x="419" y="1096"/>
                  </a:lnTo>
                  <a:lnTo>
                    <a:pt x="403" y="1099"/>
                  </a:lnTo>
                  <a:lnTo>
                    <a:pt x="387" y="1100"/>
                  </a:lnTo>
                  <a:lnTo>
                    <a:pt x="370" y="1101"/>
                  </a:lnTo>
                  <a:lnTo>
                    <a:pt x="354" y="1102"/>
                  </a:lnTo>
                  <a:lnTo>
                    <a:pt x="354" y="1102"/>
                  </a:lnTo>
                  <a:lnTo>
                    <a:pt x="329" y="1101"/>
                  </a:lnTo>
                  <a:lnTo>
                    <a:pt x="307" y="1099"/>
                  </a:lnTo>
                  <a:lnTo>
                    <a:pt x="286" y="1095"/>
                  </a:lnTo>
                  <a:lnTo>
                    <a:pt x="264" y="1091"/>
                  </a:lnTo>
                  <a:lnTo>
                    <a:pt x="245" y="1086"/>
                  </a:lnTo>
                  <a:lnTo>
                    <a:pt x="225" y="1080"/>
                  </a:lnTo>
                  <a:lnTo>
                    <a:pt x="208" y="1073"/>
                  </a:lnTo>
                  <a:lnTo>
                    <a:pt x="190" y="1067"/>
                  </a:lnTo>
                  <a:lnTo>
                    <a:pt x="160" y="1052"/>
                  </a:lnTo>
                  <a:lnTo>
                    <a:pt x="131" y="1039"/>
                  </a:lnTo>
                  <a:lnTo>
                    <a:pt x="107" y="1028"/>
                  </a:lnTo>
                  <a:lnTo>
                    <a:pt x="95" y="1024"/>
                  </a:lnTo>
                  <a:lnTo>
                    <a:pt x="85" y="1021"/>
                  </a:lnTo>
                  <a:lnTo>
                    <a:pt x="85" y="1021"/>
                  </a:lnTo>
                  <a:lnTo>
                    <a:pt x="77" y="1028"/>
                  </a:lnTo>
                  <a:lnTo>
                    <a:pt x="70" y="1036"/>
                  </a:lnTo>
                  <a:lnTo>
                    <a:pt x="62" y="1044"/>
                  </a:lnTo>
                  <a:lnTo>
                    <a:pt x="55" y="1053"/>
                  </a:lnTo>
                  <a:lnTo>
                    <a:pt x="49" y="1065"/>
                  </a:lnTo>
                  <a:lnTo>
                    <a:pt x="43" y="1076"/>
                  </a:lnTo>
                  <a:lnTo>
                    <a:pt x="38" y="1088"/>
                  </a:lnTo>
                  <a:lnTo>
                    <a:pt x="35" y="1102"/>
                  </a:lnTo>
                  <a:lnTo>
                    <a:pt x="0" y="1102"/>
                  </a:lnTo>
                  <a:lnTo>
                    <a:pt x="0" y="7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6" name="Freeform 24"/>
            <p:cNvSpPr>
              <a:spLocks noEditPoints="1"/>
            </p:cNvSpPr>
            <p:nvPr userDrawn="1"/>
          </p:nvSpPr>
          <p:spPr bwMode="auto">
            <a:xfrm>
              <a:off x="2270126" y="1158876"/>
              <a:ext cx="133350" cy="136525"/>
            </a:xfrm>
            <a:custGeom>
              <a:avLst/>
              <a:gdLst>
                <a:gd name="T0" fmla="*/ 49 w 1009"/>
                <a:gd name="T1" fmla="*/ 997 h 1035"/>
                <a:gd name="T2" fmla="*/ 115 w 1009"/>
                <a:gd name="T3" fmla="*/ 981 h 1035"/>
                <a:gd name="T4" fmla="*/ 136 w 1009"/>
                <a:gd name="T5" fmla="*/ 962 h 1035"/>
                <a:gd name="T6" fmla="*/ 155 w 1009"/>
                <a:gd name="T7" fmla="*/ 920 h 1035"/>
                <a:gd name="T8" fmla="*/ 163 w 1009"/>
                <a:gd name="T9" fmla="*/ 827 h 1035"/>
                <a:gd name="T10" fmla="*/ 163 w 1009"/>
                <a:gd name="T11" fmla="*/ 206 h 1035"/>
                <a:gd name="T12" fmla="*/ 155 w 1009"/>
                <a:gd name="T13" fmla="*/ 114 h 1035"/>
                <a:gd name="T14" fmla="*/ 136 w 1009"/>
                <a:gd name="T15" fmla="*/ 72 h 1035"/>
                <a:gd name="T16" fmla="*/ 115 w 1009"/>
                <a:gd name="T17" fmla="*/ 54 h 1035"/>
                <a:gd name="T18" fmla="*/ 49 w 1009"/>
                <a:gd name="T19" fmla="*/ 38 h 1035"/>
                <a:gd name="T20" fmla="*/ 456 w 1009"/>
                <a:gd name="T21" fmla="*/ 0 h 1035"/>
                <a:gd name="T22" fmla="*/ 520 w 1009"/>
                <a:gd name="T23" fmla="*/ 3 h 1035"/>
                <a:gd name="T24" fmla="*/ 597 w 1009"/>
                <a:gd name="T25" fmla="*/ 17 h 1035"/>
                <a:gd name="T26" fmla="*/ 663 w 1009"/>
                <a:gd name="T27" fmla="*/ 42 h 1035"/>
                <a:gd name="T28" fmla="*/ 718 w 1009"/>
                <a:gd name="T29" fmla="*/ 76 h 1035"/>
                <a:gd name="T30" fmla="*/ 763 w 1009"/>
                <a:gd name="T31" fmla="*/ 118 h 1035"/>
                <a:gd name="T32" fmla="*/ 796 w 1009"/>
                <a:gd name="T33" fmla="*/ 166 h 1035"/>
                <a:gd name="T34" fmla="*/ 817 w 1009"/>
                <a:gd name="T35" fmla="*/ 219 h 1035"/>
                <a:gd name="T36" fmla="*/ 826 w 1009"/>
                <a:gd name="T37" fmla="*/ 276 h 1035"/>
                <a:gd name="T38" fmla="*/ 825 w 1009"/>
                <a:gd name="T39" fmla="*/ 319 h 1035"/>
                <a:gd name="T40" fmla="*/ 815 w 1009"/>
                <a:gd name="T41" fmla="*/ 372 h 1035"/>
                <a:gd name="T42" fmla="*/ 794 w 1009"/>
                <a:gd name="T43" fmla="*/ 421 h 1035"/>
                <a:gd name="T44" fmla="*/ 764 w 1009"/>
                <a:gd name="T45" fmla="*/ 465 h 1035"/>
                <a:gd name="T46" fmla="*/ 726 w 1009"/>
                <a:gd name="T47" fmla="*/ 503 h 1035"/>
                <a:gd name="T48" fmla="*/ 677 w 1009"/>
                <a:gd name="T49" fmla="*/ 535 h 1035"/>
                <a:gd name="T50" fmla="*/ 620 w 1009"/>
                <a:gd name="T51" fmla="*/ 559 h 1035"/>
                <a:gd name="T52" fmla="*/ 555 w 1009"/>
                <a:gd name="T53" fmla="*/ 576 h 1035"/>
                <a:gd name="T54" fmla="*/ 689 w 1009"/>
                <a:gd name="T55" fmla="*/ 779 h 1035"/>
                <a:gd name="T56" fmla="*/ 767 w 1009"/>
                <a:gd name="T57" fmla="*/ 863 h 1035"/>
                <a:gd name="T58" fmla="*/ 848 w 1009"/>
                <a:gd name="T59" fmla="*/ 929 h 1035"/>
                <a:gd name="T60" fmla="*/ 930 w 1009"/>
                <a:gd name="T61" fmla="*/ 977 h 1035"/>
                <a:gd name="T62" fmla="*/ 1009 w 1009"/>
                <a:gd name="T63" fmla="*/ 999 h 1035"/>
                <a:gd name="T64" fmla="*/ 302 w 1009"/>
                <a:gd name="T65" fmla="*/ 581 h 1035"/>
                <a:gd name="T66" fmla="*/ 303 w 1009"/>
                <a:gd name="T67" fmla="*/ 855 h 1035"/>
                <a:gd name="T68" fmla="*/ 316 w 1009"/>
                <a:gd name="T69" fmla="*/ 937 h 1035"/>
                <a:gd name="T70" fmla="*/ 335 w 1009"/>
                <a:gd name="T71" fmla="*/ 967 h 1035"/>
                <a:gd name="T72" fmla="*/ 365 w 1009"/>
                <a:gd name="T73" fmla="*/ 987 h 1035"/>
                <a:gd name="T74" fmla="*/ 440 w 1009"/>
                <a:gd name="T75" fmla="*/ 998 h 1035"/>
                <a:gd name="T76" fmla="*/ 0 w 1009"/>
                <a:gd name="T77" fmla="*/ 999 h 1035"/>
                <a:gd name="T78" fmla="*/ 494 w 1009"/>
                <a:gd name="T79" fmla="*/ 516 h 1035"/>
                <a:gd name="T80" fmla="*/ 541 w 1009"/>
                <a:gd name="T81" fmla="*/ 505 h 1035"/>
                <a:gd name="T82" fmla="*/ 580 w 1009"/>
                <a:gd name="T83" fmla="*/ 486 h 1035"/>
                <a:gd name="T84" fmla="*/ 633 w 1009"/>
                <a:gd name="T85" fmla="*/ 437 h 1035"/>
                <a:gd name="T86" fmla="*/ 665 w 1009"/>
                <a:gd name="T87" fmla="*/ 359 h 1035"/>
                <a:gd name="T88" fmla="*/ 672 w 1009"/>
                <a:gd name="T89" fmla="*/ 291 h 1035"/>
                <a:gd name="T90" fmla="*/ 660 w 1009"/>
                <a:gd name="T91" fmla="*/ 204 h 1035"/>
                <a:gd name="T92" fmla="*/ 619 w 1009"/>
                <a:gd name="T93" fmla="*/ 131 h 1035"/>
                <a:gd name="T94" fmla="*/ 571 w 1009"/>
                <a:gd name="T95" fmla="*/ 91 h 1035"/>
                <a:gd name="T96" fmla="*/ 529 w 1009"/>
                <a:gd name="T97" fmla="*/ 74 h 1035"/>
                <a:gd name="T98" fmla="*/ 481 w 1009"/>
                <a:gd name="T99" fmla="*/ 65 h 1035"/>
                <a:gd name="T100" fmla="*/ 302 w 1009"/>
                <a:gd name="T101" fmla="*/ 519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09" h="1035">
                  <a:moveTo>
                    <a:pt x="0" y="999"/>
                  </a:moveTo>
                  <a:lnTo>
                    <a:pt x="0" y="999"/>
                  </a:lnTo>
                  <a:lnTo>
                    <a:pt x="25" y="998"/>
                  </a:lnTo>
                  <a:lnTo>
                    <a:pt x="49" y="997"/>
                  </a:lnTo>
                  <a:lnTo>
                    <a:pt x="68" y="995"/>
                  </a:lnTo>
                  <a:lnTo>
                    <a:pt x="87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0" y="977"/>
                  </a:lnTo>
                  <a:lnTo>
                    <a:pt x="126" y="972"/>
                  </a:lnTo>
                  <a:lnTo>
                    <a:pt x="132" y="967"/>
                  </a:lnTo>
                  <a:lnTo>
                    <a:pt x="136" y="962"/>
                  </a:lnTo>
                  <a:lnTo>
                    <a:pt x="140" y="957"/>
                  </a:lnTo>
                  <a:lnTo>
                    <a:pt x="144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8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3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3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8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4" y="83"/>
                  </a:lnTo>
                  <a:lnTo>
                    <a:pt x="140" y="77"/>
                  </a:lnTo>
                  <a:lnTo>
                    <a:pt x="136" y="72"/>
                  </a:lnTo>
                  <a:lnTo>
                    <a:pt x="132" y="67"/>
                  </a:lnTo>
                  <a:lnTo>
                    <a:pt x="126" y="61"/>
                  </a:lnTo>
                  <a:lnTo>
                    <a:pt x="120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7" y="43"/>
                  </a:lnTo>
                  <a:lnTo>
                    <a:pt x="68" y="40"/>
                  </a:lnTo>
                  <a:lnTo>
                    <a:pt x="49" y="38"/>
                  </a:lnTo>
                  <a:lnTo>
                    <a:pt x="25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456" y="0"/>
                  </a:lnTo>
                  <a:lnTo>
                    <a:pt x="456" y="0"/>
                  </a:lnTo>
                  <a:lnTo>
                    <a:pt x="478" y="0"/>
                  </a:lnTo>
                  <a:lnTo>
                    <a:pt x="500" y="1"/>
                  </a:lnTo>
                  <a:lnTo>
                    <a:pt x="520" y="3"/>
                  </a:lnTo>
                  <a:lnTo>
                    <a:pt x="541" y="6"/>
                  </a:lnTo>
                  <a:lnTo>
                    <a:pt x="560" y="9"/>
                  </a:lnTo>
                  <a:lnTo>
                    <a:pt x="578" y="13"/>
                  </a:lnTo>
                  <a:lnTo>
                    <a:pt x="597" y="17"/>
                  </a:lnTo>
                  <a:lnTo>
                    <a:pt x="614" y="23"/>
                  </a:lnTo>
                  <a:lnTo>
                    <a:pt x="632" y="29"/>
                  </a:lnTo>
                  <a:lnTo>
                    <a:pt x="648" y="35"/>
                  </a:lnTo>
                  <a:lnTo>
                    <a:pt x="663" y="42"/>
                  </a:lnTo>
                  <a:lnTo>
                    <a:pt x="679" y="50"/>
                  </a:lnTo>
                  <a:lnTo>
                    <a:pt x="693" y="58"/>
                  </a:lnTo>
                  <a:lnTo>
                    <a:pt x="706" y="67"/>
                  </a:lnTo>
                  <a:lnTo>
                    <a:pt x="718" y="76"/>
                  </a:lnTo>
                  <a:lnTo>
                    <a:pt x="731" y="85"/>
                  </a:lnTo>
                  <a:lnTo>
                    <a:pt x="742" y="95"/>
                  </a:lnTo>
                  <a:lnTo>
                    <a:pt x="753" y="106"/>
                  </a:lnTo>
                  <a:lnTo>
                    <a:pt x="763" y="118"/>
                  </a:lnTo>
                  <a:lnTo>
                    <a:pt x="773" y="129"/>
                  </a:lnTo>
                  <a:lnTo>
                    <a:pt x="781" y="140"/>
                  </a:lnTo>
                  <a:lnTo>
                    <a:pt x="789" y="152"/>
                  </a:lnTo>
                  <a:lnTo>
                    <a:pt x="796" y="166"/>
                  </a:lnTo>
                  <a:lnTo>
                    <a:pt x="802" y="178"/>
                  </a:lnTo>
                  <a:lnTo>
                    <a:pt x="807" y="191"/>
                  </a:lnTo>
                  <a:lnTo>
                    <a:pt x="813" y="205"/>
                  </a:lnTo>
                  <a:lnTo>
                    <a:pt x="817" y="219"/>
                  </a:lnTo>
                  <a:lnTo>
                    <a:pt x="821" y="233"/>
                  </a:lnTo>
                  <a:lnTo>
                    <a:pt x="823" y="248"/>
                  </a:lnTo>
                  <a:lnTo>
                    <a:pt x="825" y="262"/>
                  </a:lnTo>
                  <a:lnTo>
                    <a:pt x="826" y="276"/>
                  </a:lnTo>
                  <a:lnTo>
                    <a:pt x="827" y="291"/>
                  </a:lnTo>
                  <a:lnTo>
                    <a:pt x="827" y="291"/>
                  </a:lnTo>
                  <a:lnTo>
                    <a:pt x="826" y="306"/>
                  </a:lnTo>
                  <a:lnTo>
                    <a:pt x="825" y="319"/>
                  </a:lnTo>
                  <a:lnTo>
                    <a:pt x="824" y="332"/>
                  </a:lnTo>
                  <a:lnTo>
                    <a:pt x="822" y="346"/>
                  </a:lnTo>
                  <a:lnTo>
                    <a:pt x="819" y="359"/>
                  </a:lnTo>
                  <a:lnTo>
                    <a:pt x="815" y="372"/>
                  </a:lnTo>
                  <a:lnTo>
                    <a:pt x="810" y="385"/>
                  </a:lnTo>
                  <a:lnTo>
                    <a:pt x="805" y="397"/>
                  </a:lnTo>
                  <a:lnTo>
                    <a:pt x="800" y="409"/>
                  </a:lnTo>
                  <a:lnTo>
                    <a:pt x="794" y="421"/>
                  </a:lnTo>
                  <a:lnTo>
                    <a:pt x="788" y="433"/>
                  </a:lnTo>
                  <a:lnTo>
                    <a:pt x="781" y="444"/>
                  </a:lnTo>
                  <a:lnTo>
                    <a:pt x="773" y="454"/>
                  </a:lnTo>
                  <a:lnTo>
                    <a:pt x="764" y="465"/>
                  </a:lnTo>
                  <a:lnTo>
                    <a:pt x="755" y="475"/>
                  </a:lnTo>
                  <a:lnTo>
                    <a:pt x="746" y="485"/>
                  </a:lnTo>
                  <a:lnTo>
                    <a:pt x="736" y="494"/>
                  </a:lnTo>
                  <a:lnTo>
                    <a:pt x="726" y="503"/>
                  </a:lnTo>
                  <a:lnTo>
                    <a:pt x="714" y="511"/>
                  </a:lnTo>
                  <a:lnTo>
                    <a:pt x="702" y="519"/>
                  </a:lnTo>
                  <a:lnTo>
                    <a:pt x="690" y="528"/>
                  </a:lnTo>
                  <a:lnTo>
                    <a:pt x="677" y="535"/>
                  </a:lnTo>
                  <a:lnTo>
                    <a:pt x="663" y="542"/>
                  </a:lnTo>
                  <a:lnTo>
                    <a:pt x="650" y="548"/>
                  </a:lnTo>
                  <a:lnTo>
                    <a:pt x="635" y="554"/>
                  </a:lnTo>
                  <a:lnTo>
                    <a:pt x="620" y="559"/>
                  </a:lnTo>
                  <a:lnTo>
                    <a:pt x="605" y="564"/>
                  </a:lnTo>
                  <a:lnTo>
                    <a:pt x="589" y="569"/>
                  </a:lnTo>
                  <a:lnTo>
                    <a:pt x="572" y="573"/>
                  </a:lnTo>
                  <a:lnTo>
                    <a:pt x="555" y="576"/>
                  </a:lnTo>
                  <a:lnTo>
                    <a:pt x="537" y="579"/>
                  </a:lnTo>
                  <a:lnTo>
                    <a:pt x="519" y="581"/>
                  </a:lnTo>
                  <a:lnTo>
                    <a:pt x="689" y="779"/>
                  </a:lnTo>
                  <a:lnTo>
                    <a:pt x="689" y="779"/>
                  </a:lnTo>
                  <a:lnTo>
                    <a:pt x="707" y="802"/>
                  </a:lnTo>
                  <a:lnTo>
                    <a:pt x="728" y="823"/>
                  </a:lnTo>
                  <a:lnTo>
                    <a:pt x="747" y="844"/>
                  </a:lnTo>
                  <a:lnTo>
                    <a:pt x="767" y="863"/>
                  </a:lnTo>
                  <a:lnTo>
                    <a:pt x="787" y="881"/>
                  </a:lnTo>
                  <a:lnTo>
                    <a:pt x="807" y="899"/>
                  </a:lnTo>
                  <a:lnTo>
                    <a:pt x="828" y="915"/>
                  </a:lnTo>
                  <a:lnTo>
                    <a:pt x="848" y="929"/>
                  </a:lnTo>
                  <a:lnTo>
                    <a:pt x="869" y="944"/>
                  </a:lnTo>
                  <a:lnTo>
                    <a:pt x="889" y="956"/>
                  </a:lnTo>
                  <a:lnTo>
                    <a:pt x="910" y="966"/>
                  </a:lnTo>
                  <a:lnTo>
                    <a:pt x="930" y="977"/>
                  </a:lnTo>
                  <a:lnTo>
                    <a:pt x="950" y="985"/>
                  </a:lnTo>
                  <a:lnTo>
                    <a:pt x="970" y="991"/>
                  </a:lnTo>
                  <a:lnTo>
                    <a:pt x="989" y="996"/>
                  </a:lnTo>
                  <a:lnTo>
                    <a:pt x="1009" y="999"/>
                  </a:lnTo>
                  <a:lnTo>
                    <a:pt x="1009" y="1035"/>
                  </a:lnTo>
                  <a:lnTo>
                    <a:pt x="725" y="1035"/>
                  </a:lnTo>
                  <a:lnTo>
                    <a:pt x="383" y="581"/>
                  </a:lnTo>
                  <a:lnTo>
                    <a:pt x="302" y="581"/>
                  </a:lnTo>
                  <a:lnTo>
                    <a:pt x="302" y="797"/>
                  </a:lnTo>
                  <a:lnTo>
                    <a:pt x="302" y="797"/>
                  </a:lnTo>
                  <a:lnTo>
                    <a:pt x="302" y="827"/>
                  </a:lnTo>
                  <a:lnTo>
                    <a:pt x="303" y="855"/>
                  </a:lnTo>
                  <a:lnTo>
                    <a:pt x="304" y="879"/>
                  </a:lnTo>
                  <a:lnTo>
                    <a:pt x="307" y="901"/>
                  </a:lnTo>
                  <a:lnTo>
                    <a:pt x="312" y="920"/>
                  </a:lnTo>
                  <a:lnTo>
                    <a:pt x="316" y="937"/>
                  </a:lnTo>
                  <a:lnTo>
                    <a:pt x="323" y="951"/>
                  </a:lnTo>
                  <a:lnTo>
                    <a:pt x="326" y="957"/>
                  </a:lnTo>
                  <a:lnTo>
                    <a:pt x="330" y="962"/>
                  </a:lnTo>
                  <a:lnTo>
                    <a:pt x="335" y="967"/>
                  </a:lnTo>
                  <a:lnTo>
                    <a:pt x="340" y="972"/>
                  </a:lnTo>
                  <a:lnTo>
                    <a:pt x="345" y="977"/>
                  </a:lnTo>
                  <a:lnTo>
                    <a:pt x="351" y="981"/>
                  </a:lnTo>
                  <a:lnTo>
                    <a:pt x="365" y="987"/>
                  </a:lnTo>
                  <a:lnTo>
                    <a:pt x="380" y="991"/>
                  </a:lnTo>
                  <a:lnTo>
                    <a:pt x="397" y="995"/>
                  </a:lnTo>
                  <a:lnTo>
                    <a:pt x="418" y="997"/>
                  </a:lnTo>
                  <a:lnTo>
                    <a:pt x="440" y="998"/>
                  </a:lnTo>
                  <a:lnTo>
                    <a:pt x="466" y="999"/>
                  </a:lnTo>
                  <a:lnTo>
                    <a:pt x="466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  <a:moveTo>
                    <a:pt x="454" y="519"/>
                  </a:moveTo>
                  <a:lnTo>
                    <a:pt x="454" y="519"/>
                  </a:lnTo>
                  <a:lnTo>
                    <a:pt x="481" y="517"/>
                  </a:lnTo>
                  <a:lnTo>
                    <a:pt x="494" y="516"/>
                  </a:lnTo>
                  <a:lnTo>
                    <a:pt x="507" y="514"/>
                  </a:lnTo>
                  <a:lnTo>
                    <a:pt x="518" y="512"/>
                  </a:lnTo>
                  <a:lnTo>
                    <a:pt x="529" y="509"/>
                  </a:lnTo>
                  <a:lnTo>
                    <a:pt x="541" y="505"/>
                  </a:lnTo>
                  <a:lnTo>
                    <a:pt x="552" y="501"/>
                  </a:lnTo>
                  <a:lnTo>
                    <a:pt x="561" y="497"/>
                  </a:lnTo>
                  <a:lnTo>
                    <a:pt x="571" y="492"/>
                  </a:lnTo>
                  <a:lnTo>
                    <a:pt x="580" y="486"/>
                  </a:lnTo>
                  <a:lnTo>
                    <a:pt x="589" y="481"/>
                  </a:lnTo>
                  <a:lnTo>
                    <a:pt x="605" y="467"/>
                  </a:lnTo>
                  <a:lnTo>
                    <a:pt x="619" y="452"/>
                  </a:lnTo>
                  <a:lnTo>
                    <a:pt x="633" y="437"/>
                  </a:lnTo>
                  <a:lnTo>
                    <a:pt x="643" y="418"/>
                  </a:lnTo>
                  <a:lnTo>
                    <a:pt x="652" y="400"/>
                  </a:lnTo>
                  <a:lnTo>
                    <a:pt x="660" y="380"/>
                  </a:lnTo>
                  <a:lnTo>
                    <a:pt x="665" y="359"/>
                  </a:lnTo>
                  <a:lnTo>
                    <a:pt x="669" y="338"/>
                  </a:lnTo>
                  <a:lnTo>
                    <a:pt x="672" y="315"/>
                  </a:lnTo>
                  <a:lnTo>
                    <a:pt x="672" y="291"/>
                  </a:lnTo>
                  <a:lnTo>
                    <a:pt x="672" y="291"/>
                  </a:lnTo>
                  <a:lnTo>
                    <a:pt x="672" y="268"/>
                  </a:lnTo>
                  <a:lnTo>
                    <a:pt x="669" y="245"/>
                  </a:lnTo>
                  <a:lnTo>
                    <a:pt x="665" y="224"/>
                  </a:lnTo>
                  <a:lnTo>
                    <a:pt x="660" y="204"/>
                  </a:lnTo>
                  <a:lnTo>
                    <a:pt x="652" y="183"/>
                  </a:lnTo>
                  <a:lnTo>
                    <a:pt x="643" y="165"/>
                  </a:lnTo>
                  <a:lnTo>
                    <a:pt x="633" y="147"/>
                  </a:lnTo>
                  <a:lnTo>
                    <a:pt x="619" y="131"/>
                  </a:lnTo>
                  <a:lnTo>
                    <a:pt x="605" y="117"/>
                  </a:lnTo>
                  <a:lnTo>
                    <a:pt x="589" y="103"/>
                  </a:lnTo>
                  <a:lnTo>
                    <a:pt x="580" y="97"/>
                  </a:lnTo>
                  <a:lnTo>
                    <a:pt x="571" y="91"/>
                  </a:lnTo>
                  <a:lnTo>
                    <a:pt x="561" y="86"/>
                  </a:lnTo>
                  <a:lnTo>
                    <a:pt x="552" y="82"/>
                  </a:lnTo>
                  <a:lnTo>
                    <a:pt x="541" y="78"/>
                  </a:lnTo>
                  <a:lnTo>
                    <a:pt x="529" y="74"/>
                  </a:lnTo>
                  <a:lnTo>
                    <a:pt x="518" y="71"/>
                  </a:lnTo>
                  <a:lnTo>
                    <a:pt x="507" y="69"/>
                  </a:lnTo>
                  <a:lnTo>
                    <a:pt x="494" y="67"/>
                  </a:lnTo>
                  <a:lnTo>
                    <a:pt x="481" y="65"/>
                  </a:lnTo>
                  <a:lnTo>
                    <a:pt x="468" y="63"/>
                  </a:lnTo>
                  <a:lnTo>
                    <a:pt x="454" y="63"/>
                  </a:lnTo>
                  <a:lnTo>
                    <a:pt x="302" y="63"/>
                  </a:lnTo>
                  <a:lnTo>
                    <a:pt x="302" y="519"/>
                  </a:lnTo>
                  <a:lnTo>
                    <a:pt x="454" y="5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7" name="Freeform 25"/>
            <p:cNvSpPr>
              <a:spLocks noEditPoints="1"/>
            </p:cNvSpPr>
            <p:nvPr userDrawn="1"/>
          </p:nvSpPr>
          <p:spPr bwMode="auto">
            <a:xfrm>
              <a:off x="2411413" y="1103313"/>
              <a:ext cx="157163" cy="192088"/>
            </a:xfrm>
            <a:custGeom>
              <a:avLst/>
              <a:gdLst>
                <a:gd name="T0" fmla="*/ 48 w 1195"/>
                <a:gd name="T1" fmla="*/ 1411 h 1449"/>
                <a:gd name="T2" fmla="*/ 115 w 1195"/>
                <a:gd name="T3" fmla="*/ 1397 h 1449"/>
                <a:gd name="T4" fmla="*/ 157 w 1195"/>
                <a:gd name="T5" fmla="*/ 1363 h 1449"/>
                <a:gd name="T6" fmla="*/ 188 w 1195"/>
                <a:gd name="T7" fmla="*/ 1304 h 1449"/>
                <a:gd name="T8" fmla="*/ 990 w 1195"/>
                <a:gd name="T9" fmla="*/ 1263 h 1449"/>
                <a:gd name="T10" fmla="*/ 1025 w 1195"/>
                <a:gd name="T11" fmla="*/ 1337 h 1449"/>
                <a:gd name="T12" fmla="*/ 1059 w 1195"/>
                <a:gd name="T13" fmla="*/ 1383 h 1449"/>
                <a:gd name="T14" fmla="*/ 1111 w 1195"/>
                <a:gd name="T15" fmla="*/ 1406 h 1449"/>
                <a:gd name="T16" fmla="*/ 1195 w 1195"/>
                <a:gd name="T17" fmla="*/ 1413 h 1449"/>
                <a:gd name="T18" fmla="*/ 718 w 1195"/>
                <a:gd name="T19" fmla="*/ 1413 h 1449"/>
                <a:gd name="T20" fmla="*/ 805 w 1195"/>
                <a:gd name="T21" fmla="*/ 1406 h 1449"/>
                <a:gd name="T22" fmla="*/ 854 w 1195"/>
                <a:gd name="T23" fmla="*/ 1382 h 1449"/>
                <a:gd name="T24" fmla="*/ 868 w 1195"/>
                <a:gd name="T25" fmla="*/ 1342 h 1449"/>
                <a:gd name="T26" fmla="*/ 852 w 1195"/>
                <a:gd name="T27" fmla="*/ 1281 h 1449"/>
                <a:gd name="T28" fmla="*/ 269 w 1195"/>
                <a:gd name="T29" fmla="*/ 1281 h 1449"/>
                <a:gd name="T30" fmla="*/ 253 w 1195"/>
                <a:gd name="T31" fmla="*/ 1341 h 1449"/>
                <a:gd name="T32" fmla="*/ 267 w 1195"/>
                <a:gd name="T33" fmla="*/ 1382 h 1449"/>
                <a:gd name="T34" fmla="*/ 316 w 1195"/>
                <a:gd name="T35" fmla="*/ 1405 h 1449"/>
                <a:gd name="T36" fmla="*/ 404 w 1195"/>
                <a:gd name="T37" fmla="*/ 1413 h 1449"/>
                <a:gd name="T38" fmla="*/ 740 w 1195"/>
                <a:gd name="T39" fmla="*/ 1027 h 1449"/>
                <a:gd name="T40" fmla="*/ 450 w 1195"/>
                <a:gd name="T41" fmla="*/ 141 h 1449"/>
                <a:gd name="T42" fmla="*/ 456 w 1195"/>
                <a:gd name="T43" fmla="*/ 99 h 1449"/>
                <a:gd name="T44" fmla="*/ 482 w 1195"/>
                <a:gd name="T45" fmla="*/ 51 h 1449"/>
                <a:gd name="T46" fmla="*/ 524 w 1195"/>
                <a:gd name="T47" fmla="*/ 17 h 1449"/>
                <a:gd name="T48" fmla="*/ 577 w 1195"/>
                <a:gd name="T49" fmla="*/ 1 h 1449"/>
                <a:gd name="T50" fmla="*/ 621 w 1195"/>
                <a:gd name="T51" fmla="*/ 3 h 1449"/>
                <a:gd name="T52" fmla="*/ 672 w 1195"/>
                <a:gd name="T53" fmla="*/ 25 h 1449"/>
                <a:gd name="T54" fmla="*/ 711 w 1195"/>
                <a:gd name="T55" fmla="*/ 62 h 1449"/>
                <a:gd name="T56" fmla="*/ 732 w 1195"/>
                <a:gd name="T57" fmla="*/ 112 h 1449"/>
                <a:gd name="T58" fmla="*/ 734 w 1195"/>
                <a:gd name="T59" fmla="*/ 156 h 1449"/>
                <a:gd name="T60" fmla="*/ 718 w 1195"/>
                <a:gd name="T61" fmla="*/ 210 h 1449"/>
                <a:gd name="T62" fmla="*/ 683 w 1195"/>
                <a:gd name="T63" fmla="*/ 252 h 1449"/>
                <a:gd name="T64" fmla="*/ 634 w 1195"/>
                <a:gd name="T65" fmla="*/ 278 h 1449"/>
                <a:gd name="T66" fmla="*/ 591 w 1195"/>
                <a:gd name="T67" fmla="*/ 284 h 1449"/>
                <a:gd name="T68" fmla="*/ 536 w 1195"/>
                <a:gd name="T69" fmla="*/ 273 h 1449"/>
                <a:gd name="T70" fmla="*/ 491 w 1195"/>
                <a:gd name="T71" fmla="*/ 242 h 1449"/>
                <a:gd name="T72" fmla="*/ 461 w 1195"/>
                <a:gd name="T73" fmla="*/ 197 h 1449"/>
                <a:gd name="T74" fmla="*/ 450 w 1195"/>
                <a:gd name="T75" fmla="*/ 141 h 1449"/>
                <a:gd name="T76" fmla="*/ 671 w 1195"/>
                <a:gd name="T77" fmla="*/ 133 h 1449"/>
                <a:gd name="T78" fmla="*/ 662 w 1195"/>
                <a:gd name="T79" fmla="*/ 104 h 1449"/>
                <a:gd name="T80" fmla="*/ 642 w 1195"/>
                <a:gd name="T81" fmla="*/ 82 h 1449"/>
                <a:gd name="T82" fmla="*/ 615 w 1195"/>
                <a:gd name="T83" fmla="*/ 67 h 1449"/>
                <a:gd name="T84" fmla="*/ 591 w 1195"/>
                <a:gd name="T85" fmla="*/ 63 h 1449"/>
                <a:gd name="T86" fmla="*/ 562 w 1195"/>
                <a:gd name="T87" fmla="*/ 70 h 1449"/>
                <a:gd name="T88" fmla="*/ 536 w 1195"/>
                <a:gd name="T89" fmla="*/ 86 h 1449"/>
                <a:gd name="T90" fmla="*/ 519 w 1195"/>
                <a:gd name="T91" fmla="*/ 111 h 1449"/>
                <a:gd name="T92" fmla="*/ 512 w 1195"/>
                <a:gd name="T93" fmla="*/ 141 h 1449"/>
                <a:gd name="T94" fmla="*/ 516 w 1195"/>
                <a:gd name="T95" fmla="*/ 165 h 1449"/>
                <a:gd name="T96" fmla="*/ 531 w 1195"/>
                <a:gd name="T97" fmla="*/ 191 h 1449"/>
                <a:gd name="T98" fmla="*/ 554 w 1195"/>
                <a:gd name="T99" fmla="*/ 211 h 1449"/>
                <a:gd name="T100" fmla="*/ 584 w 1195"/>
                <a:gd name="T101" fmla="*/ 220 h 1449"/>
                <a:gd name="T102" fmla="*/ 608 w 1195"/>
                <a:gd name="T103" fmla="*/ 219 h 1449"/>
                <a:gd name="T104" fmla="*/ 636 w 1195"/>
                <a:gd name="T105" fmla="*/ 207 h 1449"/>
                <a:gd name="T106" fmla="*/ 658 w 1195"/>
                <a:gd name="T107" fmla="*/ 185 h 1449"/>
                <a:gd name="T108" fmla="*/ 669 w 1195"/>
                <a:gd name="T109" fmla="*/ 157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95" h="1449">
                  <a:moveTo>
                    <a:pt x="0" y="1413"/>
                  </a:moveTo>
                  <a:lnTo>
                    <a:pt x="0" y="1413"/>
                  </a:lnTo>
                  <a:lnTo>
                    <a:pt x="26" y="1412"/>
                  </a:lnTo>
                  <a:lnTo>
                    <a:pt x="48" y="1411"/>
                  </a:lnTo>
                  <a:lnTo>
                    <a:pt x="69" y="1409"/>
                  </a:lnTo>
                  <a:lnTo>
                    <a:pt x="86" y="1406"/>
                  </a:lnTo>
                  <a:lnTo>
                    <a:pt x="101" y="1402"/>
                  </a:lnTo>
                  <a:lnTo>
                    <a:pt x="115" y="1397"/>
                  </a:lnTo>
                  <a:lnTo>
                    <a:pt x="127" y="1391"/>
                  </a:lnTo>
                  <a:lnTo>
                    <a:pt x="138" y="1383"/>
                  </a:lnTo>
                  <a:lnTo>
                    <a:pt x="147" y="1374"/>
                  </a:lnTo>
                  <a:lnTo>
                    <a:pt x="157" y="1363"/>
                  </a:lnTo>
                  <a:lnTo>
                    <a:pt x="165" y="1351"/>
                  </a:lnTo>
                  <a:lnTo>
                    <a:pt x="172" y="1337"/>
                  </a:lnTo>
                  <a:lnTo>
                    <a:pt x="180" y="1321"/>
                  </a:lnTo>
                  <a:lnTo>
                    <a:pt x="188" y="1304"/>
                  </a:lnTo>
                  <a:lnTo>
                    <a:pt x="207" y="1263"/>
                  </a:lnTo>
                  <a:lnTo>
                    <a:pt x="586" y="384"/>
                  </a:lnTo>
                  <a:lnTo>
                    <a:pt x="609" y="384"/>
                  </a:lnTo>
                  <a:lnTo>
                    <a:pt x="990" y="1263"/>
                  </a:lnTo>
                  <a:lnTo>
                    <a:pt x="990" y="1263"/>
                  </a:lnTo>
                  <a:lnTo>
                    <a:pt x="1008" y="1304"/>
                  </a:lnTo>
                  <a:lnTo>
                    <a:pt x="1017" y="1321"/>
                  </a:lnTo>
                  <a:lnTo>
                    <a:pt x="1025" y="1337"/>
                  </a:lnTo>
                  <a:lnTo>
                    <a:pt x="1033" y="1351"/>
                  </a:lnTo>
                  <a:lnTo>
                    <a:pt x="1041" y="1363"/>
                  </a:lnTo>
                  <a:lnTo>
                    <a:pt x="1049" y="1374"/>
                  </a:lnTo>
                  <a:lnTo>
                    <a:pt x="1059" y="1383"/>
                  </a:lnTo>
                  <a:lnTo>
                    <a:pt x="1070" y="1391"/>
                  </a:lnTo>
                  <a:lnTo>
                    <a:pt x="1082" y="1397"/>
                  </a:lnTo>
                  <a:lnTo>
                    <a:pt x="1095" y="1402"/>
                  </a:lnTo>
                  <a:lnTo>
                    <a:pt x="1111" y="1406"/>
                  </a:lnTo>
                  <a:lnTo>
                    <a:pt x="1128" y="1409"/>
                  </a:lnTo>
                  <a:lnTo>
                    <a:pt x="1147" y="1411"/>
                  </a:lnTo>
                  <a:lnTo>
                    <a:pt x="1170" y="1412"/>
                  </a:lnTo>
                  <a:lnTo>
                    <a:pt x="1195" y="1413"/>
                  </a:lnTo>
                  <a:lnTo>
                    <a:pt x="1195" y="1449"/>
                  </a:lnTo>
                  <a:lnTo>
                    <a:pt x="718" y="1449"/>
                  </a:lnTo>
                  <a:lnTo>
                    <a:pt x="718" y="1413"/>
                  </a:lnTo>
                  <a:lnTo>
                    <a:pt x="718" y="1413"/>
                  </a:lnTo>
                  <a:lnTo>
                    <a:pt x="744" y="1412"/>
                  </a:lnTo>
                  <a:lnTo>
                    <a:pt x="766" y="1411"/>
                  </a:lnTo>
                  <a:lnTo>
                    <a:pt x="786" y="1409"/>
                  </a:lnTo>
                  <a:lnTo>
                    <a:pt x="805" y="1406"/>
                  </a:lnTo>
                  <a:lnTo>
                    <a:pt x="820" y="1402"/>
                  </a:lnTo>
                  <a:lnTo>
                    <a:pt x="834" y="1397"/>
                  </a:lnTo>
                  <a:lnTo>
                    <a:pt x="845" y="1390"/>
                  </a:lnTo>
                  <a:lnTo>
                    <a:pt x="854" y="1382"/>
                  </a:lnTo>
                  <a:lnTo>
                    <a:pt x="861" y="1374"/>
                  </a:lnTo>
                  <a:lnTo>
                    <a:pt x="865" y="1365"/>
                  </a:lnTo>
                  <a:lnTo>
                    <a:pt x="868" y="1354"/>
                  </a:lnTo>
                  <a:lnTo>
                    <a:pt x="868" y="1342"/>
                  </a:lnTo>
                  <a:lnTo>
                    <a:pt x="867" y="1329"/>
                  </a:lnTo>
                  <a:lnTo>
                    <a:pt x="864" y="1315"/>
                  </a:lnTo>
                  <a:lnTo>
                    <a:pt x="859" y="1299"/>
                  </a:lnTo>
                  <a:lnTo>
                    <a:pt x="852" y="1281"/>
                  </a:lnTo>
                  <a:lnTo>
                    <a:pt x="769" y="1090"/>
                  </a:lnTo>
                  <a:lnTo>
                    <a:pt x="352" y="1090"/>
                  </a:lnTo>
                  <a:lnTo>
                    <a:pt x="269" y="1281"/>
                  </a:lnTo>
                  <a:lnTo>
                    <a:pt x="269" y="1281"/>
                  </a:lnTo>
                  <a:lnTo>
                    <a:pt x="262" y="1299"/>
                  </a:lnTo>
                  <a:lnTo>
                    <a:pt x="257" y="1314"/>
                  </a:lnTo>
                  <a:lnTo>
                    <a:pt x="254" y="1328"/>
                  </a:lnTo>
                  <a:lnTo>
                    <a:pt x="253" y="1341"/>
                  </a:lnTo>
                  <a:lnTo>
                    <a:pt x="253" y="1353"/>
                  </a:lnTo>
                  <a:lnTo>
                    <a:pt x="256" y="1364"/>
                  </a:lnTo>
                  <a:lnTo>
                    <a:pt x="260" y="1373"/>
                  </a:lnTo>
                  <a:lnTo>
                    <a:pt x="267" y="1382"/>
                  </a:lnTo>
                  <a:lnTo>
                    <a:pt x="276" y="1390"/>
                  </a:lnTo>
                  <a:lnTo>
                    <a:pt x="287" y="1396"/>
                  </a:lnTo>
                  <a:lnTo>
                    <a:pt x="301" y="1401"/>
                  </a:lnTo>
                  <a:lnTo>
                    <a:pt x="316" y="1405"/>
                  </a:lnTo>
                  <a:lnTo>
                    <a:pt x="335" y="1409"/>
                  </a:lnTo>
                  <a:lnTo>
                    <a:pt x="355" y="1411"/>
                  </a:lnTo>
                  <a:lnTo>
                    <a:pt x="378" y="1412"/>
                  </a:lnTo>
                  <a:lnTo>
                    <a:pt x="404" y="1413"/>
                  </a:lnTo>
                  <a:lnTo>
                    <a:pt x="404" y="1449"/>
                  </a:lnTo>
                  <a:lnTo>
                    <a:pt x="0" y="1449"/>
                  </a:lnTo>
                  <a:lnTo>
                    <a:pt x="0" y="1413"/>
                  </a:lnTo>
                  <a:close/>
                  <a:moveTo>
                    <a:pt x="740" y="1027"/>
                  </a:moveTo>
                  <a:lnTo>
                    <a:pt x="558" y="610"/>
                  </a:lnTo>
                  <a:lnTo>
                    <a:pt x="380" y="1027"/>
                  </a:lnTo>
                  <a:lnTo>
                    <a:pt x="740" y="1027"/>
                  </a:lnTo>
                  <a:close/>
                  <a:moveTo>
                    <a:pt x="450" y="141"/>
                  </a:moveTo>
                  <a:lnTo>
                    <a:pt x="450" y="141"/>
                  </a:lnTo>
                  <a:lnTo>
                    <a:pt x="451" y="127"/>
                  </a:lnTo>
                  <a:lnTo>
                    <a:pt x="453" y="112"/>
                  </a:lnTo>
                  <a:lnTo>
                    <a:pt x="456" y="99"/>
                  </a:lnTo>
                  <a:lnTo>
                    <a:pt x="461" y="87"/>
                  </a:lnTo>
                  <a:lnTo>
                    <a:pt x="467" y="74"/>
                  </a:lnTo>
                  <a:lnTo>
                    <a:pt x="474" y="62"/>
                  </a:lnTo>
                  <a:lnTo>
                    <a:pt x="482" y="51"/>
                  </a:lnTo>
                  <a:lnTo>
                    <a:pt x="491" y="42"/>
                  </a:lnTo>
                  <a:lnTo>
                    <a:pt x="501" y="33"/>
                  </a:lnTo>
                  <a:lnTo>
                    <a:pt x="512" y="25"/>
                  </a:lnTo>
                  <a:lnTo>
                    <a:pt x="524" y="17"/>
                  </a:lnTo>
                  <a:lnTo>
                    <a:pt x="536" y="11"/>
                  </a:lnTo>
                  <a:lnTo>
                    <a:pt x="549" y="6"/>
                  </a:lnTo>
                  <a:lnTo>
                    <a:pt x="563" y="3"/>
                  </a:lnTo>
                  <a:lnTo>
                    <a:pt x="577" y="1"/>
                  </a:lnTo>
                  <a:lnTo>
                    <a:pt x="591" y="0"/>
                  </a:lnTo>
                  <a:lnTo>
                    <a:pt x="591" y="0"/>
                  </a:lnTo>
                  <a:lnTo>
                    <a:pt x="607" y="1"/>
                  </a:lnTo>
                  <a:lnTo>
                    <a:pt x="621" y="3"/>
                  </a:lnTo>
                  <a:lnTo>
                    <a:pt x="634" y="6"/>
                  </a:lnTo>
                  <a:lnTo>
                    <a:pt x="647" y="11"/>
                  </a:lnTo>
                  <a:lnTo>
                    <a:pt x="660" y="17"/>
                  </a:lnTo>
                  <a:lnTo>
                    <a:pt x="672" y="25"/>
                  </a:lnTo>
                  <a:lnTo>
                    <a:pt x="683" y="33"/>
                  </a:lnTo>
                  <a:lnTo>
                    <a:pt x="693" y="42"/>
                  </a:lnTo>
                  <a:lnTo>
                    <a:pt x="703" y="51"/>
                  </a:lnTo>
                  <a:lnTo>
                    <a:pt x="711" y="62"/>
                  </a:lnTo>
                  <a:lnTo>
                    <a:pt x="718" y="74"/>
                  </a:lnTo>
                  <a:lnTo>
                    <a:pt x="724" y="87"/>
                  </a:lnTo>
                  <a:lnTo>
                    <a:pt x="728" y="99"/>
                  </a:lnTo>
                  <a:lnTo>
                    <a:pt x="732" y="112"/>
                  </a:lnTo>
                  <a:lnTo>
                    <a:pt x="734" y="127"/>
                  </a:lnTo>
                  <a:lnTo>
                    <a:pt x="735" y="141"/>
                  </a:lnTo>
                  <a:lnTo>
                    <a:pt x="735" y="141"/>
                  </a:lnTo>
                  <a:lnTo>
                    <a:pt x="734" y="156"/>
                  </a:lnTo>
                  <a:lnTo>
                    <a:pt x="732" y="170"/>
                  </a:lnTo>
                  <a:lnTo>
                    <a:pt x="728" y="184"/>
                  </a:lnTo>
                  <a:lnTo>
                    <a:pt x="724" y="197"/>
                  </a:lnTo>
                  <a:lnTo>
                    <a:pt x="718" y="210"/>
                  </a:lnTo>
                  <a:lnTo>
                    <a:pt x="711" y="222"/>
                  </a:lnTo>
                  <a:lnTo>
                    <a:pt x="703" y="232"/>
                  </a:lnTo>
                  <a:lnTo>
                    <a:pt x="693" y="242"/>
                  </a:lnTo>
                  <a:lnTo>
                    <a:pt x="683" y="252"/>
                  </a:lnTo>
                  <a:lnTo>
                    <a:pt x="672" y="260"/>
                  </a:lnTo>
                  <a:lnTo>
                    <a:pt x="660" y="267"/>
                  </a:lnTo>
                  <a:lnTo>
                    <a:pt x="647" y="273"/>
                  </a:lnTo>
                  <a:lnTo>
                    <a:pt x="634" y="278"/>
                  </a:lnTo>
                  <a:lnTo>
                    <a:pt x="621" y="281"/>
                  </a:lnTo>
                  <a:lnTo>
                    <a:pt x="607" y="284"/>
                  </a:lnTo>
                  <a:lnTo>
                    <a:pt x="591" y="284"/>
                  </a:lnTo>
                  <a:lnTo>
                    <a:pt x="591" y="284"/>
                  </a:lnTo>
                  <a:lnTo>
                    <a:pt x="577" y="284"/>
                  </a:lnTo>
                  <a:lnTo>
                    <a:pt x="563" y="281"/>
                  </a:lnTo>
                  <a:lnTo>
                    <a:pt x="549" y="278"/>
                  </a:lnTo>
                  <a:lnTo>
                    <a:pt x="536" y="273"/>
                  </a:lnTo>
                  <a:lnTo>
                    <a:pt x="524" y="267"/>
                  </a:lnTo>
                  <a:lnTo>
                    <a:pt x="512" y="260"/>
                  </a:lnTo>
                  <a:lnTo>
                    <a:pt x="501" y="252"/>
                  </a:lnTo>
                  <a:lnTo>
                    <a:pt x="491" y="242"/>
                  </a:lnTo>
                  <a:lnTo>
                    <a:pt x="482" y="232"/>
                  </a:lnTo>
                  <a:lnTo>
                    <a:pt x="474" y="222"/>
                  </a:lnTo>
                  <a:lnTo>
                    <a:pt x="467" y="210"/>
                  </a:lnTo>
                  <a:lnTo>
                    <a:pt x="461" y="197"/>
                  </a:lnTo>
                  <a:lnTo>
                    <a:pt x="456" y="184"/>
                  </a:lnTo>
                  <a:lnTo>
                    <a:pt x="453" y="170"/>
                  </a:lnTo>
                  <a:lnTo>
                    <a:pt x="451" y="156"/>
                  </a:lnTo>
                  <a:lnTo>
                    <a:pt x="450" y="141"/>
                  </a:lnTo>
                  <a:lnTo>
                    <a:pt x="450" y="141"/>
                  </a:lnTo>
                  <a:close/>
                  <a:moveTo>
                    <a:pt x="671" y="141"/>
                  </a:moveTo>
                  <a:lnTo>
                    <a:pt x="671" y="141"/>
                  </a:lnTo>
                  <a:lnTo>
                    <a:pt x="671" y="133"/>
                  </a:lnTo>
                  <a:lnTo>
                    <a:pt x="669" y="126"/>
                  </a:lnTo>
                  <a:lnTo>
                    <a:pt x="668" y="119"/>
                  </a:lnTo>
                  <a:lnTo>
                    <a:pt x="665" y="111"/>
                  </a:lnTo>
                  <a:lnTo>
                    <a:pt x="662" y="104"/>
                  </a:lnTo>
                  <a:lnTo>
                    <a:pt x="658" y="98"/>
                  </a:lnTo>
                  <a:lnTo>
                    <a:pt x="653" y="92"/>
                  </a:lnTo>
                  <a:lnTo>
                    <a:pt x="647" y="86"/>
                  </a:lnTo>
                  <a:lnTo>
                    <a:pt x="642" y="82"/>
                  </a:lnTo>
                  <a:lnTo>
                    <a:pt x="636" y="77"/>
                  </a:lnTo>
                  <a:lnTo>
                    <a:pt x="629" y="73"/>
                  </a:lnTo>
                  <a:lnTo>
                    <a:pt x="622" y="70"/>
                  </a:lnTo>
                  <a:lnTo>
                    <a:pt x="615" y="67"/>
                  </a:lnTo>
                  <a:lnTo>
                    <a:pt x="608" y="65"/>
                  </a:lnTo>
                  <a:lnTo>
                    <a:pt x="599" y="64"/>
                  </a:lnTo>
                  <a:lnTo>
                    <a:pt x="591" y="63"/>
                  </a:lnTo>
                  <a:lnTo>
                    <a:pt x="591" y="63"/>
                  </a:lnTo>
                  <a:lnTo>
                    <a:pt x="584" y="64"/>
                  </a:lnTo>
                  <a:lnTo>
                    <a:pt x="576" y="65"/>
                  </a:lnTo>
                  <a:lnTo>
                    <a:pt x="569" y="67"/>
                  </a:lnTo>
                  <a:lnTo>
                    <a:pt x="562" y="70"/>
                  </a:lnTo>
                  <a:lnTo>
                    <a:pt x="554" y="73"/>
                  </a:lnTo>
                  <a:lnTo>
                    <a:pt x="547" y="77"/>
                  </a:lnTo>
                  <a:lnTo>
                    <a:pt x="541" y="82"/>
                  </a:lnTo>
                  <a:lnTo>
                    <a:pt x="536" y="86"/>
                  </a:lnTo>
                  <a:lnTo>
                    <a:pt x="531" y="92"/>
                  </a:lnTo>
                  <a:lnTo>
                    <a:pt x="526" y="98"/>
                  </a:lnTo>
                  <a:lnTo>
                    <a:pt x="522" y="104"/>
                  </a:lnTo>
                  <a:lnTo>
                    <a:pt x="519" y="111"/>
                  </a:lnTo>
                  <a:lnTo>
                    <a:pt x="516" y="119"/>
                  </a:lnTo>
                  <a:lnTo>
                    <a:pt x="513" y="126"/>
                  </a:lnTo>
                  <a:lnTo>
                    <a:pt x="512" y="133"/>
                  </a:lnTo>
                  <a:lnTo>
                    <a:pt x="512" y="141"/>
                  </a:lnTo>
                  <a:lnTo>
                    <a:pt x="512" y="141"/>
                  </a:lnTo>
                  <a:lnTo>
                    <a:pt x="512" y="149"/>
                  </a:lnTo>
                  <a:lnTo>
                    <a:pt x="513" y="157"/>
                  </a:lnTo>
                  <a:lnTo>
                    <a:pt x="516" y="165"/>
                  </a:lnTo>
                  <a:lnTo>
                    <a:pt x="519" y="172"/>
                  </a:lnTo>
                  <a:lnTo>
                    <a:pt x="522" y="179"/>
                  </a:lnTo>
                  <a:lnTo>
                    <a:pt x="526" y="185"/>
                  </a:lnTo>
                  <a:lnTo>
                    <a:pt x="531" y="191"/>
                  </a:lnTo>
                  <a:lnTo>
                    <a:pt x="536" y="197"/>
                  </a:lnTo>
                  <a:lnTo>
                    <a:pt x="541" y="202"/>
                  </a:lnTo>
                  <a:lnTo>
                    <a:pt x="547" y="207"/>
                  </a:lnTo>
                  <a:lnTo>
                    <a:pt x="554" y="211"/>
                  </a:lnTo>
                  <a:lnTo>
                    <a:pt x="562" y="215"/>
                  </a:lnTo>
                  <a:lnTo>
                    <a:pt x="569" y="217"/>
                  </a:lnTo>
                  <a:lnTo>
                    <a:pt x="576" y="219"/>
                  </a:lnTo>
                  <a:lnTo>
                    <a:pt x="584" y="220"/>
                  </a:lnTo>
                  <a:lnTo>
                    <a:pt x="591" y="221"/>
                  </a:lnTo>
                  <a:lnTo>
                    <a:pt x="591" y="221"/>
                  </a:lnTo>
                  <a:lnTo>
                    <a:pt x="599" y="220"/>
                  </a:lnTo>
                  <a:lnTo>
                    <a:pt x="608" y="219"/>
                  </a:lnTo>
                  <a:lnTo>
                    <a:pt x="615" y="217"/>
                  </a:lnTo>
                  <a:lnTo>
                    <a:pt x="622" y="215"/>
                  </a:lnTo>
                  <a:lnTo>
                    <a:pt x="629" y="211"/>
                  </a:lnTo>
                  <a:lnTo>
                    <a:pt x="636" y="207"/>
                  </a:lnTo>
                  <a:lnTo>
                    <a:pt x="642" y="202"/>
                  </a:lnTo>
                  <a:lnTo>
                    <a:pt x="647" y="197"/>
                  </a:lnTo>
                  <a:lnTo>
                    <a:pt x="653" y="191"/>
                  </a:lnTo>
                  <a:lnTo>
                    <a:pt x="658" y="185"/>
                  </a:lnTo>
                  <a:lnTo>
                    <a:pt x="662" y="179"/>
                  </a:lnTo>
                  <a:lnTo>
                    <a:pt x="665" y="172"/>
                  </a:lnTo>
                  <a:lnTo>
                    <a:pt x="668" y="165"/>
                  </a:lnTo>
                  <a:lnTo>
                    <a:pt x="669" y="157"/>
                  </a:lnTo>
                  <a:lnTo>
                    <a:pt x="671" y="149"/>
                  </a:lnTo>
                  <a:lnTo>
                    <a:pt x="671" y="141"/>
                  </a:lnTo>
                  <a:lnTo>
                    <a:pt x="671" y="1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8" name="Freeform 26"/>
            <p:cNvSpPr>
              <a:spLocks noEditPoints="1"/>
            </p:cNvSpPr>
            <p:nvPr userDrawn="1"/>
          </p:nvSpPr>
          <p:spPr bwMode="auto">
            <a:xfrm>
              <a:off x="2586038" y="1158876"/>
              <a:ext cx="138113" cy="136525"/>
            </a:xfrm>
            <a:custGeom>
              <a:avLst/>
              <a:gdLst>
                <a:gd name="T0" fmla="*/ 48 w 1043"/>
                <a:gd name="T1" fmla="*/ 997 h 1035"/>
                <a:gd name="T2" fmla="*/ 115 w 1043"/>
                <a:gd name="T3" fmla="*/ 981 h 1035"/>
                <a:gd name="T4" fmla="*/ 135 w 1043"/>
                <a:gd name="T5" fmla="*/ 962 h 1035"/>
                <a:gd name="T6" fmla="*/ 155 w 1043"/>
                <a:gd name="T7" fmla="*/ 920 h 1035"/>
                <a:gd name="T8" fmla="*/ 164 w 1043"/>
                <a:gd name="T9" fmla="*/ 827 h 1035"/>
                <a:gd name="T10" fmla="*/ 164 w 1043"/>
                <a:gd name="T11" fmla="*/ 206 h 1035"/>
                <a:gd name="T12" fmla="*/ 155 w 1043"/>
                <a:gd name="T13" fmla="*/ 114 h 1035"/>
                <a:gd name="T14" fmla="*/ 135 w 1043"/>
                <a:gd name="T15" fmla="*/ 72 h 1035"/>
                <a:gd name="T16" fmla="*/ 115 w 1043"/>
                <a:gd name="T17" fmla="*/ 54 h 1035"/>
                <a:gd name="T18" fmla="*/ 48 w 1043"/>
                <a:gd name="T19" fmla="*/ 38 h 1035"/>
                <a:gd name="T20" fmla="*/ 468 w 1043"/>
                <a:gd name="T21" fmla="*/ 0 h 1035"/>
                <a:gd name="T22" fmla="*/ 574 w 1043"/>
                <a:gd name="T23" fmla="*/ 6 h 1035"/>
                <a:gd name="T24" fmla="*/ 699 w 1043"/>
                <a:gd name="T25" fmla="*/ 32 h 1035"/>
                <a:gd name="T26" fmla="*/ 803 w 1043"/>
                <a:gd name="T27" fmla="*/ 75 h 1035"/>
                <a:gd name="T28" fmla="*/ 888 w 1043"/>
                <a:gd name="T29" fmla="*/ 135 h 1035"/>
                <a:gd name="T30" fmla="*/ 953 w 1043"/>
                <a:gd name="T31" fmla="*/ 209 h 1035"/>
                <a:gd name="T32" fmla="*/ 1001 w 1043"/>
                <a:gd name="T33" fmla="*/ 294 h 1035"/>
                <a:gd name="T34" fmla="*/ 1031 w 1043"/>
                <a:gd name="T35" fmla="*/ 389 h 1035"/>
                <a:gd name="T36" fmla="*/ 1043 w 1043"/>
                <a:gd name="T37" fmla="*/ 491 h 1035"/>
                <a:gd name="T38" fmla="*/ 1041 w 1043"/>
                <a:gd name="T39" fmla="*/ 570 h 1035"/>
                <a:gd name="T40" fmla="*/ 1025 w 1043"/>
                <a:gd name="T41" fmla="*/ 671 h 1035"/>
                <a:gd name="T42" fmla="*/ 991 w 1043"/>
                <a:gd name="T43" fmla="*/ 764 h 1035"/>
                <a:gd name="T44" fmla="*/ 939 w 1043"/>
                <a:gd name="T45" fmla="*/ 846 h 1035"/>
                <a:gd name="T46" fmla="*/ 868 w 1043"/>
                <a:gd name="T47" fmla="*/ 916 h 1035"/>
                <a:gd name="T48" fmla="*/ 779 w 1043"/>
                <a:gd name="T49" fmla="*/ 972 h 1035"/>
                <a:gd name="T50" fmla="*/ 670 w 1043"/>
                <a:gd name="T51" fmla="*/ 1011 h 1035"/>
                <a:gd name="T52" fmla="*/ 540 w 1043"/>
                <a:gd name="T53" fmla="*/ 1032 h 1035"/>
                <a:gd name="T54" fmla="*/ 0 w 1043"/>
                <a:gd name="T55" fmla="*/ 999 h 1035"/>
                <a:gd name="T56" fmla="*/ 529 w 1043"/>
                <a:gd name="T57" fmla="*/ 968 h 1035"/>
                <a:gd name="T58" fmla="*/ 631 w 1043"/>
                <a:gd name="T59" fmla="*/ 947 h 1035"/>
                <a:gd name="T60" fmla="*/ 713 w 1043"/>
                <a:gd name="T61" fmla="*/ 906 h 1035"/>
                <a:gd name="T62" fmla="*/ 775 w 1043"/>
                <a:gd name="T63" fmla="*/ 852 h 1035"/>
                <a:gd name="T64" fmla="*/ 820 w 1043"/>
                <a:gd name="T65" fmla="*/ 785 h 1035"/>
                <a:gd name="T66" fmla="*/ 851 w 1043"/>
                <a:gd name="T67" fmla="*/ 712 h 1035"/>
                <a:gd name="T68" fmla="*/ 869 w 1043"/>
                <a:gd name="T69" fmla="*/ 634 h 1035"/>
                <a:gd name="T70" fmla="*/ 878 w 1043"/>
                <a:gd name="T71" fmla="*/ 517 h 1035"/>
                <a:gd name="T72" fmla="*/ 865 w 1043"/>
                <a:gd name="T73" fmla="*/ 380 h 1035"/>
                <a:gd name="T74" fmla="*/ 845 w 1043"/>
                <a:gd name="T75" fmla="*/ 304 h 1035"/>
                <a:gd name="T76" fmla="*/ 810 w 1043"/>
                <a:gd name="T77" fmla="*/ 231 h 1035"/>
                <a:gd name="T78" fmla="*/ 761 w 1043"/>
                <a:gd name="T79" fmla="*/ 168 h 1035"/>
                <a:gd name="T80" fmla="*/ 695 w 1043"/>
                <a:gd name="T81" fmla="*/ 117 h 1035"/>
                <a:gd name="T82" fmla="*/ 608 w 1043"/>
                <a:gd name="T83" fmla="*/ 81 h 1035"/>
                <a:gd name="T84" fmla="*/ 500 w 1043"/>
                <a:gd name="T85" fmla="*/ 65 h 1035"/>
                <a:gd name="T86" fmla="*/ 302 w 1043"/>
                <a:gd name="T87" fmla="*/ 771 h 1035"/>
                <a:gd name="T88" fmla="*/ 307 w 1043"/>
                <a:gd name="T89" fmla="*/ 875 h 1035"/>
                <a:gd name="T90" fmla="*/ 324 w 1043"/>
                <a:gd name="T91" fmla="*/ 931 h 1035"/>
                <a:gd name="T92" fmla="*/ 344 w 1043"/>
                <a:gd name="T93" fmla="*/ 950 h 1035"/>
                <a:gd name="T94" fmla="*/ 395 w 1043"/>
                <a:gd name="T95" fmla="*/ 967 h 1035"/>
                <a:gd name="T96" fmla="*/ 469 w 1043"/>
                <a:gd name="T97" fmla="*/ 971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43" h="1035">
                  <a:moveTo>
                    <a:pt x="0" y="999"/>
                  </a:moveTo>
                  <a:lnTo>
                    <a:pt x="0" y="999"/>
                  </a:lnTo>
                  <a:lnTo>
                    <a:pt x="25" y="998"/>
                  </a:lnTo>
                  <a:lnTo>
                    <a:pt x="48" y="997"/>
                  </a:lnTo>
                  <a:lnTo>
                    <a:pt x="68" y="995"/>
                  </a:lnTo>
                  <a:lnTo>
                    <a:pt x="86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1" y="977"/>
                  </a:lnTo>
                  <a:lnTo>
                    <a:pt x="126" y="972"/>
                  </a:lnTo>
                  <a:lnTo>
                    <a:pt x="131" y="967"/>
                  </a:lnTo>
                  <a:lnTo>
                    <a:pt x="135" y="962"/>
                  </a:lnTo>
                  <a:lnTo>
                    <a:pt x="139" y="957"/>
                  </a:lnTo>
                  <a:lnTo>
                    <a:pt x="143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8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4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4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8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3" y="83"/>
                  </a:lnTo>
                  <a:lnTo>
                    <a:pt x="139" y="77"/>
                  </a:lnTo>
                  <a:lnTo>
                    <a:pt x="135" y="72"/>
                  </a:lnTo>
                  <a:lnTo>
                    <a:pt x="131" y="67"/>
                  </a:lnTo>
                  <a:lnTo>
                    <a:pt x="126" y="61"/>
                  </a:lnTo>
                  <a:lnTo>
                    <a:pt x="121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6" y="43"/>
                  </a:lnTo>
                  <a:lnTo>
                    <a:pt x="68" y="40"/>
                  </a:lnTo>
                  <a:lnTo>
                    <a:pt x="48" y="38"/>
                  </a:lnTo>
                  <a:lnTo>
                    <a:pt x="25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468" y="0"/>
                  </a:lnTo>
                  <a:lnTo>
                    <a:pt x="468" y="0"/>
                  </a:lnTo>
                  <a:lnTo>
                    <a:pt x="504" y="0"/>
                  </a:lnTo>
                  <a:lnTo>
                    <a:pt x="540" y="2"/>
                  </a:lnTo>
                  <a:lnTo>
                    <a:pt x="574" y="6"/>
                  </a:lnTo>
                  <a:lnTo>
                    <a:pt x="608" y="10"/>
                  </a:lnTo>
                  <a:lnTo>
                    <a:pt x="639" y="16"/>
                  </a:lnTo>
                  <a:lnTo>
                    <a:pt x="670" y="24"/>
                  </a:lnTo>
                  <a:lnTo>
                    <a:pt x="699" y="32"/>
                  </a:lnTo>
                  <a:lnTo>
                    <a:pt x="727" y="41"/>
                  </a:lnTo>
                  <a:lnTo>
                    <a:pt x="754" y="51"/>
                  </a:lnTo>
                  <a:lnTo>
                    <a:pt x="779" y="62"/>
                  </a:lnTo>
                  <a:lnTo>
                    <a:pt x="803" y="75"/>
                  </a:lnTo>
                  <a:lnTo>
                    <a:pt x="827" y="88"/>
                  </a:lnTo>
                  <a:lnTo>
                    <a:pt x="848" y="103"/>
                  </a:lnTo>
                  <a:lnTo>
                    <a:pt x="868" y="119"/>
                  </a:lnTo>
                  <a:lnTo>
                    <a:pt x="888" y="135"/>
                  </a:lnTo>
                  <a:lnTo>
                    <a:pt x="906" y="151"/>
                  </a:lnTo>
                  <a:lnTo>
                    <a:pt x="924" y="170"/>
                  </a:lnTo>
                  <a:lnTo>
                    <a:pt x="939" y="188"/>
                  </a:lnTo>
                  <a:lnTo>
                    <a:pt x="953" y="209"/>
                  </a:lnTo>
                  <a:lnTo>
                    <a:pt x="968" y="228"/>
                  </a:lnTo>
                  <a:lnTo>
                    <a:pt x="980" y="250"/>
                  </a:lnTo>
                  <a:lnTo>
                    <a:pt x="991" y="271"/>
                  </a:lnTo>
                  <a:lnTo>
                    <a:pt x="1001" y="294"/>
                  </a:lnTo>
                  <a:lnTo>
                    <a:pt x="1010" y="316"/>
                  </a:lnTo>
                  <a:lnTo>
                    <a:pt x="1018" y="340"/>
                  </a:lnTo>
                  <a:lnTo>
                    <a:pt x="1025" y="364"/>
                  </a:lnTo>
                  <a:lnTo>
                    <a:pt x="1031" y="389"/>
                  </a:lnTo>
                  <a:lnTo>
                    <a:pt x="1035" y="413"/>
                  </a:lnTo>
                  <a:lnTo>
                    <a:pt x="1039" y="439"/>
                  </a:lnTo>
                  <a:lnTo>
                    <a:pt x="1041" y="464"/>
                  </a:lnTo>
                  <a:lnTo>
                    <a:pt x="1043" y="491"/>
                  </a:lnTo>
                  <a:lnTo>
                    <a:pt x="1043" y="517"/>
                  </a:lnTo>
                  <a:lnTo>
                    <a:pt x="1043" y="517"/>
                  </a:lnTo>
                  <a:lnTo>
                    <a:pt x="1043" y="544"/>
                  </a:lnTo>
                  <a:lnTo>
                    <a:pt x="1041" y="570"/>
                  </a:lnTo>
                  <a:lnTo>
                    <a:pt x="1039" y="596"/>
                  </a:lnTo>
                  <a:lnTo>
                    <a:pt x="1035" y="622"/>
                  </a:lnTo>
                  <a:lnTo>
                    <a:pt x="1031" y="646"/>
                  </a:lnTo>
                  <a:lnTo>
                    <a:pt x="1025" y="671"/>
                  </a:lnTo>
                  <a:lnTo>
                    <a:pt x="1018" y="694"/>
                  </a:lnTo>
                  <a:lnTo>
                    <a:pt x="1010" y="718"/>
                  </a:lnTo>
                  <a:lnTo>
                    <a:pt x="1001" y="741"/>
                  </a:lnTo>
                  <a:lnTo>
                    <a:pt x="991" y="764"/>
                  </a:lnTo>
                  <a:lnTo>
                    <a:pt x="980" y="785"/>
                  </a:lnTo>
                  <a:lnTo>
                    <a:pt x="968" y="806"/>
                  </a:lnTo>
                  <a:lnTo>
                    <a:pt x="953" y="826"/>
                  </a:lnTo>
                  <a:lnTo>
                    <a:pt x="939" y="846"/>
                  </a:lnTo>
                  <a:lnTo>
                    <a:pt x="924" y="865"/>
                  </a:lnTo>
                  <a:lnTo>
                    <a:pt x="906" y="882"/>
                  </a:lnTo>
                  <a:lnTo>
                    <a:pt x="888" y="900"/>
                  </a:lnTo>
                  <a:lnTo>
                    <a:pt x="868" y="916"/>
                  </a:lnTo>
                  <a:lnTo>
                    <a:pt x="848" y="932"/>
                  </a:lnTo>
                  <a:lnTo>
                    <a:pt x="827" y="946"/>
                  </a:lnTo>
                  <a:lnTo>
                    <a:pt x="803" y="959"/>
                  </a:lnTo>
                  <a:lnTo>
                    <a:pt x="779" y="972"/>
                  </a:lnTo>
                  <a:lnTo>
                    <a:pt x="754" y="984"/>
                  </a:lnTo>
                  <a:lnTo>
                    <a:pt x="727" y="994"/>
                  </a:lnTo>
                  <a:lnTo>
                    <a:pt x="699" y="1003"/>
                  </a:lnTo>
                  <a:lnTo>
                    <a:pt x="670" y="1011"/>
                  </a:lnTo>
                  <a:lnTo>
                    <a:pt x="639" y="1018"/>
                  </a:lnTo>
                  <a:lnTo>
                    <a:pt x="608" y="1025"/>
                  </a:lnTo>
                  <a:lnTo>
                    <a:pt x="574" y="1029"/>
                  </a:lnTo>
                  <a:lnTo>
                    <a:pt x="540" y="1032"/>
                  </a:lnTo>
                  <a:lnTo>
                    <a:pt x="504" y="1034"/>
                  </a:lnTo>
                  <a:lnTo>
                    <a:pt x="468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  <a:moveTo>
                    <a:pt x="469" y="971"/>
                  </a:moveTo>
                  <a:lnTo>
                    <a:pt x="469" y="971"/>
                  </a:lnTo>
                  <a:lnTo>
                    <a:pt x="500" y="970"/>
                  </a:lnTo>
                  <a:lnTo>
                    <a:pt x="529" y="968"/>
                  </a:lnTo>
                  <a:lnTo>
                    <a:pt x="557" y="964"/>
                  </a:lnTo>
                  <a:lnTo>
                    <a:pt x="583" y="960"/>
                  </a:lnTo>
                  <a:lnTo>
                    <a:pt x="608" y="954"/>
                  </a:lnTo>
                  <a:lnTo>
                    <a:pt x="631" y="947"/>
                  </a:lnTo>
                  <a:lnTo>
                    <a:pt x="654" y="938"/>
                  </a:lnTo>
                  <a:lnTo>
                    <a:pt x="675" y="928"/>
                  </a:lnTo>
                  <a:lnTo>
                    <a:pt x="695" y="918"/>
                  </a:lnTo>
                  <a:lnTo>
                    <a:pt x="713" y="906"/>
                  </a:lnTo>
                  <a:lnTo>
                    <a:pt x="730" y="894"/>
                  </a:lnTo>
                  <a:lnTo>
                    <a:pt x="747" y="880"/>
                  </a:lnTo>
                  <a:lnTo>
                    <a:pt x="761" y="866"/>
                  </a:lnTo>
                  <a:lnTo>
                    <a:pt x="775" y="852"/>
                  </a:lnTo>
                  <a:lnTo>
                    <a:pt x="788" y="836"/>
                  </a:lnTo>
                  <a:lnTo>
                    <a:pt x="800" y="820"/>
                  </a:lnTo>
                  <a:lnTo>
                    <a:pt x="810" y="803"/>
                  </a:lnTo>
                  <a:lnTo>
                    <a:pt x="820" y="785"/>
                  </a:lnTo>
                  <a:lnTo>
                    <a:pt x="830" y="768"/>
                  </a:lnTo>
                  <a:lnTo>
                    <a:pt x="838" y="750"/>
                  </a:lnTo>
                  <a:lnTo>
                    <a:pt x="845" y="731"/>
                  </a:lnTo>
                  <a:lnTo>
                    <a:pt x="851" y="712"/>
                  </a:lnTo>
                  <a:lnTo>
                    <a:pt x="856" y="692"/>
                  </a:lnTo>
                  <a:lnTo>
                    <a:pt x="861" y="673"/>
                  </a:lnTo>
                  <a:lnTo>
                    <a:pt x="865" y="653"/>
                  </a:lnTo>
                  <a:lnTo>
                    <a:pt x="869" y="634"/>
                  </a:lnTo>
                  <a:lnTo>
                    <a:pt x="875" y="595"/>
                  </a:lnTo>
                  <a:lnTo>
                    <a:pt x="877" y="555"/>
                  </a:lnTo>
                  <a:lnTo>
                    <a:pt x="878" y="517"/>
                  </a:lnTo>
                  <a:lnTo>
                    <a:pt x="878" y="517"/>
                  </a:lnTo>
                  <a:lnTo>
                    <a:pt x="877" y="479"/>
                  </a:lnTo>
                  <a:lnTo>
                    <a:pt x="875" y="440"/>
                  </a:lnTo>
                  <a:lnTo>
                    <a:pt x="869" y="401"/>
                  </a:lnTo>
                  <a:lnTo>
                    <a:pt x="865" y="380"/>
                  </a:lnTo>
                  <a:lnTo>
                    <a:pt x="861" y="361"/>
                  </a:lnTo>
                  <a:lnTo>
                    <a:pt x="856" y="342"/>
                  </a:lnTo>
                  <a:lnTo>
                    <a:pt x="851" y="323"/>
                  </a:lnTo>
                  <a:lnTo>
                    <a:pt x="845" y="304"/>
                  </a:lnTo>
                  <a:lnTo>
                    <a:pt x="838" y="285"/>
                  </a:lnTo>
                  <a:lnTo>
                    <a:pt x="830" y="267"/>
                  </a:lnTo>
                  <a:lnTo>
                    <a:pt x="820" y="249"/>
                  </a:lnTo>
                  <a:lnTo>
                    <a:pt x="810" y="231"/>
                  </a:lnTo>
                  <a:lnTo>
                    <a:pt x="800" y="215"/>
                  </a:lnTo>
                  <a:lnTo>
                    <a:pt x="788" y="198"/>
                  </a:lnTo>
                  <a:lnTo>
                    <a:pt x="775" y="183"/>
                  </a:lnTo>
                  <a:lnTo>
                    <a:pt x="761" y="168"/>
                  </a:lnTo>
                  <a:lnTo>
                    <a:pt x="747" y="154"/>
                  </a:lnTo>
                  <a:lnTo>
                    <a:pt x="730" y="140"/>
                  </a:lnTo>
                  <a:lnTo>
                    <a:pt x="713" y="128"/>
                  </a:lnTo>
                  <a:lnTo>
                    <a:pt x="695" y="117"/>
                  </a:lnTo>
                  <a:lnTo>
                    <a:pt x="675" y="106"/>
                  </a:lnTo>
                  <a:lnTo>
                    <a:pt x="654" y="96"/>
                  </a:lnTo>
                  <a:lnTo>
                    <a:pt x="631" y="88"/>
                  </a:lnTo>
                  <a:lnTo>
                    <a:pt x="608" y="81"/>
                  </a:lnTo>
                  <a:lnTo>
                    <a:pt x="583" y="75"/>
                  </a:lnTo>
                  <a:lnTo>
                    <a:pt x="557" y="70"/>
                  </a:lnTo>
                  <a:lnTo>
                    <a:pt x="529" y="67"/>
                  </a:lnTo>
                  <a:lnTo>
                    <a:pt x="500" y="65"/>
                  </a:lnTo>
                  <a:lnTo>
                    <a:pt x="469" y="63"/>
                  </a:lnTo>
                  <a:lnTo>
                    <a:pt x="302" y="63"/>
                  </a:lnTo>
                  <a:lnTo>
                    <a:pt x="302" y="771"/>
                  </a:lnTo>
                  <a:lnTo>
                    <a:pt x="302" y="771"/>
                  </a:lnTo>
                  <a:lnTo>
                    <a:pt x="302" y="802"/>
                  </a:lnTo>
                  <a:lnTo>
                    <a:pt x="303" y="829"/>
                  </a:lnTo>
                  <a:lnTo>
                    <a:pt x="304" y="854"/>
                  </a:lnTo>
                  <a:lnTo>
                    <a:pt x="307" y="875"/>
                  </a:lnTo>
                  <a:lnTo>
                    <a:pt x="310" y="894"/>
                  </a:lnTo>
                  <a:lnTo>
                    <a:pt x="315" y="910"/>
                  </a:lnTo>
                  <a:lnTo>
                    <a:pt x="321" y="924"/>
                  </a:lnTo>
                  <a:lnTo>
                    <a:pt x="324" y="931"/>
                  </a:lnTo>
                  <a:lnTo>
                    <a:pt x="329" y="936"/>
                  </a:lnTo>
                  <a:lnTo>
                    <a:pt x="334" y="941"/>
                  </a:lnTo>
                  <a:lnTo>
                    <a:pt x="338" y="946"/>
                  </a:lnTo>
                  <a:lnTo>
                    <a:pt x="344" y="950"/>
                  </a:lnTo>
                  <a:lnTo>
                    <a:pt x="349" y="953"/>
                  </a:lnTo>
                  <a:lnTo>
                    <a:pt x="362" y="959"/>
                  </a:lnTo>
                  <a:lnTo>
                    <a:pt x="378" y="964"/>
                  </a:lnTo>
                  <a:lnTo>
                    <a:pt x="395" y="967"/>
                  </a:lnTo>
                  <a:lnTo>
                    <a:pt x="414" y="969"/>
                  </a:lnTo>
                  <a:lnTo>
                    <a:pt x="437" y="970"/>
                  </a:lnTo>
                  <a:lnTo>
                    <a:pt x="463" y="971"/>
                  </a:lnTo>
                  <a:lnTo>
                    <a:pt x="469" y="9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29" name="Freeform 27"/>
            <p:cNvSpPr>
              <a:spLocks/>
            </p:cNvSpPr>
            <p:nvPr userDrawn="1"/>
          </p:nvSpPr>
          <p:spPr bwMode="auto">
            <a:xfrm>
              <a:off x="2760663" y="1158876"/>
              <a:ext cx="112713" cy="136525"/>
            </a:xfrm>
            <a:custGeom>
              <a:avLst/>
              <a:gdLst>
                <a:gd name="T0" fmla="*/ 26 w 859"/>
                <a:gd name="T1" fmla="*/ 998 h 1035"/>
                <a:gd name="T2" fmla="*/ 86 w 859"/>
                <a:gd name="T3" fmla="*/ 991 h 1035"/>
                <a:gd name="T4" fmla="*/ 121 w 859"/>
                <a:gd name="T5" fmla="*/ 977 h 1035"/>
                <a:gd name="T6" fmla="*/ 135 w 859"/>
                <a:gd name="T7" fmla="*/ 962 h 1035"/>
                <a:gd name="T8" fmla="*/ 150 w 859"/>
                <a:gd name="T9" fmla="*/ 937 h 1035"/>
                <a:gd name="T10" fmla="*/ 161 w 859"/>
                <a:gd name="T11" fmla="*/ 879 h 1035"/>
                <a:gd name="T12" fmla="*/ 164 w 859"/>
                <a:gd name="T13" fmla="*/ 797 h 1035"/>
                <a:gd name="T14" fmla="*/ 164 w 859"/>
                <a:gd name="T15" fmla="*/ 206 h 1035"/>
                <a:gd name="T16" fmla="*/ 159 w 859"/>
                <a:gd name="T17" fmla="*/ 132 h 1035"/>
                <a:gd name="T18" fmla="*/ 143 w 859"/>
                <a:gd name="T19" fmla="*/ 83 h 1035"/>
                <a:gd name="T20" fmla="*/ 131 w 859"/>
                <a:gd name="T21" fmla="*/ 67 h 1035"/>
                <a:gd name="T22" fmla="*/ 115 w 859"/>
                <a:gd name="T23" fmla="*/ 54 h 1035"/>
                <a:gd name="T24" fmla="*/ 69 w 859"/>
                <a:gd name="T25" fmla="*/ 40 h 1035"/>
                <a:gd name="T26" fmla="*/ 0 w 859"/>
                <a:gd name="T27" fmla="*/ 36 h 1035"/>
                <a:gd name="T28" fmla="*/ 802 w 859"/>
                <a:gd name="T29" fmla="*/ 227 h 1035"/>
                <a:gd name="T30" fmla="*/ 757 w 859"/>
                <a:gd name="T31" fmla="*/ 193 h 1035"/>
                <a:gd name="T32" fmla="*/ 739 w 859"/>
                <a:gd name="T33" fmla="*/ 135 h 1035"/>
                <a:gd name="T34" fmla="*/ 717 w 859"/>
                <a:gd name="T35" fmla="*/ 103 h 1035"/>
                <a:gd name="T36" fmla="*/ 684 w 859"/>
                <a:gd name="T37" fmla="*/ 81 h 1035"/>
                <a:gd name="T38" fmla="*/ 632 w 859"/>
                <a:gd name="T39" fmla="*/ 68 h 1035"/>
                <a:gd name="T40" fmla="*/ 558 w 859"/>
                <a:gd name="T41" fmla="*/ 63 h 1035"/>
                <a:gd name="T42" fmla="*/ 388 w 859"/>
                <a:gd name="T43" fmla="*/ 455 h 1035"/>
                <a:gd name="T44" fmla="*/ 446 w 859"/>
                <a:gd name="T45" fmla="*/ 454 h 1035"/>
                <a:gd name="T46" fmla="*/ 512 w 859"/>
                <a:gd name="T47" fmla="*/ 446 h 1035"/>
                <a:gd name="T48" fmla="*/ 547 w 859"/>
                <a:gd name="T49" fmla="*/ 431 h 1035"/>
                <a:gd name="T50" fmla="*/ 563 w 859"/>
                <a:gd name="T51" fmla="*/ 417 h 1035"/>
                <a:gd name="T52" fmla="*/ 577 w 859"/>
                <a:gd name="T53" fmla="*/ 393 h 1035"/>
                <a:gd name="T54" fmla="*/ 587 w 859"/>
                <a:gd name="T55" fmla="*/ 339 h 1035"/>
                <a:gd name="T56" fmla="*/ 625 w 859"/>
                <a:gd name="T57" fmla="*/ 289 h 1035"/>
                <a:gd name="T58" fmla="*/ 588 w 859"/>
                <a:gd name="T59" fmla="*/ 685 h 1035"/>
                <a:gd name="T60" fmla="*/ 585 w 859"/>
                <a:gd name="T61" fmla="*/ 616 h 1035"/>
                <a:gd name="T62" fmla="*/ 571 w 859"/>
                <a:gd name="T63" fmla="*/ 569 h 1035"/>
                <a:gd name="T64" fmla="*/ 559 w 859"/>
                <a:gd name="T65" fmla="*/ 552 h 1035"/>
                <a:gd name="T66" fmla="*/ 541 w 859"/>
                <a:gd name="T67" fmla="*/ 540 h 1035"/>
                <a:gd name="T68" fmla="*/ 492 w 859"/>
                <a:gd name="T69" fmla="*/ 525 h 1035"/>
                <a:gd name="T70" fmla="*/ 419 w 859"/>
                <a:gd name="T71" fmla="*/ 519 h 1035"/>
                <a:gd name="T72" fmla="*/ 302 w 859"/>
                <a:gd name="T73" fmla="*/ 771 h 1035"/>
                <a:gd name="T74" fmla="*/ 303 w 859"/>
                <a:gd name="T75" fmla="*/ 829 h 1035"/>
                <a:gd name="T76" fmla="*/ 311 w 859"/>
                <a:gd name="T77" fmla="*/ 894 h 1035"/>
                <a:gd name="T78" fmla="*/ 326 w 859"/>
                <a:gd name="T79" fmla="*/ 931 h 1035"/>
                <a:gd name="T80" fmla="*/ 340 w 859"/>
                <a:gd name="T81" fmla="*/ 946 h 1035"/>
                <a:gd name="T82" fmla="*/ 364 w 859"/>
                <a:gd name="T83" fmla="*/ 959 h 1035"/>
                <a:gd name="T84" fmla="*/ 417 w 859"/>
                <a:gd name="T85" fmla="*/ 969 h 1035"/>
                <a:gd name="T86" fmla="*/ 614 w 859"/>
                <a:gd name="T87" fmla="*/ 971 h 1035"/>
                <a:gd name="T88" fmla="*/ 668 w 859"/>
                <a:gd name="T89" fmla="*/ 969 h 1035"/>
                <a:gd name="T90" fmla="*/ 726 w 859"/>
                <a:gd name="T91" fmla="*/ 959 h 1035"/>
                <a:gd name="T92" fmla="*/ 765 w 859"/>
                <a:gd name="T93" fmla="*/ 940 h 1035"/>
                <a:gd name="T94" fmla="*/ 790 w 859"/>
                <a:gd name="T95" fmla="*/ 911 h 1035"/>
                <a:gd name="T96" fmla="*/ 806 w 859"/>
                <a:gd name="T97" fmla="*/ 872 h 1035"/>
                <a:gd name="T98" fmla="*/ 859 w 859"/>
                <a:gd name="T99" fmla="*/ 806 h 1035"/>
                <a:gd name="T100" fmla="*/ 0 w 859"/>
                <a:gd name="T101" fmla="*/ 999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59" h="1035">
                  <a:moveTo>
                    <a:pt x="0" y="999"/>
                  </a:moveTo>
                  <a:lnTo>
                    <a:pt x="0" y="999"/>
                  </a:lnTo>
                  <a:lnTo>
                    <a:pt x="26" y="998"/>
                  </a:lnTo>
                  <a:lnTo>
                    <a:pt x="48" y="997"/>
                  </a:lnTo>
                  <a:lnTo>
                    <a:pt x="69" y="995"/>
                  </a:lnTo>
                  <a:lnTo>
                    <a:pt x="86" y="991"/>
                  </a:lnTo>
                  <a:lnTo>
                    <a:pt x="102" y="987"/>
                  </a:lnTo>
                  <a:lnTo>
                    <a:pt x="115" y="981"/>
                  </a:lnTo>
                  <a:lnTo>
                    <a:pt x="121" y="977"/>
                  </a:lnTo>
                  <a:lnTo>
                    <a:pt x="126" y="972"/>
                  </a:lnTo>
                  <a:lnTo>
                    <a:pt x="131" y="967"/>
                  </a:lnTo>
                  <a:lnTo>
                    <a:pt x="135" y="962"/>
                  </a:lnTo>
                  <a:lnTo>
                    <a:pt x="140" y="957"/>
                  </a:lnTo>
                  <a:lnTo>
                    <a:pt x="143" y="951"/>
                  </a:lnTo>
                  <a:lnTo>
                    <a:pt x="150" y="937"/>
                  </a:lnTo>
                  <a:lnTo>
                    <a:pt x="155" y="920"/>
                  </a:lnTo>
                  <a:lnTo>
                    <a:pt x="159" y="901"/>
                  </a:lnTo>
                  <a:lnTo>
                    <a:pt x="161" y="879"/>
                  </a:lnTo>
                  <a:lnTo>
                    <a:pt x="163" y="855"/>
                  </a:lnTo>
                  <a:lnTo>
                    <a:pt x="164" y="827"/>
                  </a:lnTo>
                  <a:lnTo>
                    <a:pt x="164" y="797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4" y="206"/>
                  </a:lnTo>
                  <a:lnTo>
                    <a:pt x="163" y="178"/>
                  </a:lnTo>
                  <a:lnTo>
                    <a:pt x="161" y="153"/>
                  </a:lnTo>
                  <a:lnTo>
                    <a:pt x="159" y="132"/>
                  </a:lnTo>
                  <a:lnTo>
                    <a:pt x="155" y="114"/>
                  </a:lnTo>
                  <a:lnTo>
                    <a:pt x="150" y="97"/>
                  </a:lnTo>
                  <a:lnTo>
                    <a:pt x="143" y="83"/>
                  </a:lnTo>
                  <a:lnTo>
                    <a:pt x="140" y="77"/>
                  </a:lnTo>
                  <a:lnTo>
                    <a:pt x="135" y="72"/>
                  </a:lnTo>
                  <a:lnTo>
                    <a:pt x="131" y="67"/>
                  </a:lnTo>
                  <a:lnTo>
                    <a:pt x="126" y="61"/>
                  </a:lnTo>
                  <a:lnTo>
                    <a:pt x="121" y="57"/>
                  </a:lnTo>
                  <a:lnTo>
                    <a:pt x="115" y="54"/>
                  </a:lnTo>
                  <a:lnTo>
                    <a:pt x="102" y="48"/>
                  </a:lnTo>
                  <a:lnTo>
                    <a:pt x="86" y="43"/>
                  </a:lnTo>
                  <a:lnTo>
                    <a:pt x="69" y="40"/>
                  </a:lnTo>
                  <a:lnTo>
                    <a:pt x="48" y="38"/>
                  </a:lnTo>
                  <a:lnTo>
                    <a:pt x="26" y="3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787" y="0"/>
                  </a:lnTo>
                  <a:lnTo>
                    <a:pt x="802" y="227"/>
                  </a:lnTo>
                  <a:lnTo>
                    <a:pt x="766" y="227"/>
                  </a:lnTo>
                  <a:lnTo>
                    <a:pt x="757" y="193"/>
                  </a:lnTo>
                  <a:lnTo>
                    <a:pt x="757" y="193"/>
                  </a:lnTo>
                  <a:lnTo>
                    <a:pt x="749" y="162"/>
                  </a:lnTo>
                  <a:lnTo>
                    <a:pt x="744" y="147"/>
                  </a:lnTo>
                  <a:lnTo>
                    <a:pt x="739" y="135"/>
                  </a:lnTo>
                  <a:lnTo>
                    <a:pt x="732" y="123"/>
                  </a:lnTo>
                  <a:lnTo>
                    <a:pt x="725" y="113"/>
                  </a:lnTo>
                  <a:lnTo>
                    <a:pt x="717" y="103"/>
                  </a:lnTo>
                  <a:lnTo>
                    <a:pt x="708" y="95"/>
                  </a:lnTo>
                  <a:lnTo>
                    <a:pt x="697" y="87"/>
                  </a:lnTo>
                  <a:lnTo>
                    <a:pt x="684" y="81"/>
                  </a:lnTo>
                  <a:lnTo>
                    <a:pt x="669" y="76"/>
                  </a:lnTo>
                  <a:lnTo>
                    <a:pt x="653" y="72"/>
                  </a:lnTo>
                  <a:lnTo>
                    <a:pt x="632" y="68"/>
                  </a:lnTo>
                  <a:lnTo>
                    <a:pt x="611" y="66"/>
                  </a:lnTo>
                  <a:lnTo>
                    <a:pt x="585" y="65"/>
                  </a:lnTo>
                  <a:lnTo>
                    <a:pt x="558" y="63"/>
                  </a:lnTo>
                  <a:lnTo>
                    <a:pt x="302" y="63"/>
                  </a:lnTo>
                  <a:lnTo>
                    <a:pt x="302" y="455"/>
                  </a:lnTo>
                  <a:lnTo>
                    <a:pt x="388" y="455"/>
                  </a:lnTo>
                  <a:lnTo>
                    <a:pt x="388" y="455"/>
                  </a:lnTo>
                  <a:lnTo>
                    <a:pt x="419" y="455"/>
                  </a:lnTo>
                  <a:lnTo>
                    <a:pt x="446" y="454"/>
                  </a:lnTo>
                  <a:lnTo>
                    <a:pt x="471" y="452"/>
                  </a:lnTo>
                  <a:lnTo>
                    <a:pt x="492" y="450"/>
                  </a:lnTo>
                  <a:lnTo>
                    <a:pt x="512" y="446"/>
                  </a:lnTo>
                  <a:lnTo>
                    <a:pt x="527" y="441"/>
                  </a:lnTo>
                  <a:lnTo>
                    <a:pt x="541" y="435"/>
                  </a:lnTo>
                  <a:lnTo>
                    <a:pt x="547" y="431"/>
                  </a:lnTo>
                  <a:lnTo>
                    <a:pt x="553" y="426"/>
                  </a:lnTo>
                  <a:lnTo>
                    <a:pt x="559" y="422"/>
                  </a:lnTo>
                  <a:lnTo>
                    <a:pt x="563" y="417"/>
                  </a:lnTo>
                  <a:lnTo>
                    <a:pt x="567" y="412"/>
                  </a:lnTo>
                  <a:lnTo>
                    <a:pt x="571" y="406"/>
                  </a:lnTo>
                  <a:lnTo>
                    <a:pt x="577" y="393"/>
                  </a:lnTo>
                  <a:lnTo>
                    <a:pt x="581" y="376"/>
                  </a:lnTo>
                  <a:lnTo>
                    <a:pt x="585" y="359"/>
                  </a:lnTo>
                  <a:lnTo>
                    <a:pt x="587" y="339"/>
                  </a:lnTo>
                  <a:lnTo>
                    <a:pt x="588" y="315"/>
                  </a:lnTo>
                  <a:lnTo>
                    <a:pt x="588" y="289"/>
                  </a:lnTo>
                  <a:lnTo>
                    <a:pt x="625" y="289"/>
                  </a:lnTo>
                  <a:lnTo>
                    <a:pt x="625" y="685"/>
                  </a:lnTo>
                  <a:lnTo>
                    <a:pt x="588" y="685"/>
                  </a:lnTo>
                  <a:lnTo>
                    <a:pt x="588" y="685"/>
                  </a:lnTo>
                  <a:lnTo>
                    <a:pt x="588" y="659"/>
                  </a:lnTo>
                  <a:lnTo>
                    <a:pt x="587" y="636"/>
                  </a:lnTo>
                  <a:lnTo>
                    <a:pt x="585" y="616"/>
                  </a:lnTo>
                  <a:lnTo>
                    <a:pt x="581" y="597"/>
                  </a:lnTo>
                  <a:lnTo>
                    <a:pt x="577" y="582"/>
                  </a:lnTo>
                  <a:lnTo>
                    <a:pt x="571" y="569"/>
                  </a:lnTo>
                  <a:lnTo>
                    <a:pt x="567" y="562"/>
                  </a:lnTo>
                  <a:lnTo>
                    <a:pt x="563" y="557"/>
                  </a:lnTo>
                  <a:lnTo>
                    <a:pt x="559" y="552"/>
                  </a:lnTo>
                  <a:lnTo>
                    <a:pt x="553" y="547"/>
                  </a:lnTo>
                  <a:lnTo>
                    <a:pt x="547" y="543"/>
                  </a:lnTo>
                  <a:lnTo>
                    <a:pt x="541" y="540"/>
                  </a:lnTo>
                  <a:lnTo>
                    <a:pt x="527" y="533"/>
                  </a:lnTo>
                  <a:lnTo>
                    <a:pt x="512" y="529"/>
                  </a:lnTo>
                  <a:lnTo>
                    <a:pt x="492" y="525"/>
                  </a:lnTo>
                  <a:lnTo>
                    <a:pt x="471" y="522"/>
                  </a:lnTo>
                  <a:lnTo>
                    <a:pt x="446" y="521"/>
                  </a:lnTo>
                  <a:lnTo>
                    <a:pt x="419" y="519"/>
                  </a:lnTo>
                  <a:lnTo>
                    <a:pt x="388" y="519"/>
                  </a:lnTo>
                  <a:lnTo>
                    <a:pt x="302" y="519"/>
                  </a:lnTo>
                  <a:lnTo>
                    <a:pt x="302" y="771"/>
                  </a:lnTo>
                  <a:lnTo>
                    <a:pt x="302" y="771"/>
                  </a:lnTo>
                  <a:lnTo>
                    <a:pt x="302" y="802"/>
                  </a:lnTo>
                  <a:lnTo>
                    <a:pt x="303" y="829"/>
                  </a:lnTo>
                  <a:lnTo>
                    <a:pt x="305" y="854"/>
                  </a:lnTo>
                  <a:lnTo>
                    <a:pt x="307" y="875"/>
                  </a:lnTo>
                  <a:lnTo>
                    <a:pt x="311" y="894"/>
                  </a:lnTo>
                  <a:lnTo>
                    <a:pt x="316" y="910"/>
                  </a:lnTo>
                  <a:lnTo>
                    <a:pt x="322" y="924"/>
                  </a:lnTo>
                  <a:lnTo>
                    <a:pt x="326" y="931"/>
                  </a:lnTo>
                  <a:lnTo>
                    <a:pt x="331" y="936"/>
                  </a:lnTo>
                  <a:lnTo>
                    <a:pt x="335" y="941"/>
                  </a:lnTo>
                  <a:lnTo>
                    <a:pt x="340" y="946"/>
                  </a:lnTo>
                  <a:lnTo>
                    <a:pt x="345" y="950"/>
                  </a:lnTo>
                  <a:lnTo>
                    <a:pt x="351" y="953"/>
                  </a:lnTo>
                  <a:lnTo>
                    <a:pt x="364" y="959"/>
                  </a:lnTo>
                  <a:lnTo>
                    <a:pt x="380" y="964"/>
                  </a:lnTo>
                  <a:lnTo>
                    <a:pt x="398" y="967"/>
                  </a:lnTo>
                  <a:lnTo>
                    <a:pt x="417" y="969"/>
                  </a:lnTo>
                  <a:lnTo>
                    <a:pt x="440" y="970"/>
                  </a:lnTo>
                  <a:lnTo>
                    <a:pt x="466" y="971"/>
                  </a:lnTo>
                  <a:lnTo>
                    <a:pt x="614" y="971"/>
                  </a:lnTo>
                  <a:lnTo>
                    <a:pt x="614" y="971"/>
                  </a:lnTo>
                  <a:lnTo>
                    <a:pt x="642" y="970"/>
                  </a:lnTo>
                  <a:lnTo>
                    <a:pt x="668" y="969"/>
                  </a:lnTo>
                  <a:lnTo>
                    <a:pt x="689" y="966"/>
                  </a:lnTo>
                  <a:lnTo>
                    <a:pt x="709" y="963"/>
                  </a:lnTo>
                  <a:lnTo>
                    <a:pt x="726" y="959"/>
                  </a:lnTo>
                  <a:lnTo>
                    <a:pt x="742" y="954"/>
                  </a:lnTo>
                  <a:lnTo>
                    <a:pt x="754" y="947"/>
                  </a:lnTo>
                  <a:lnTo>
                    <a:pt x="765" y="940"/>
                  </a:lnTo>
                  <a:lnTo>
                    <a:pt x="775" y="932"/>
                  </a:lnTo>
                  <a:lnTo>
                    <a:pt x="784" y="921"/>
                  </a:lnTo>
                  <a:lnTo>
                    <a:pt x="790" y="911"/>
                  </a:lnTo>
                  <a:lnTo>
                    <a:pt x="796" y="899"/>
                  </a:lnTo>
                  <a:lnTo>
                    <a:pt x="801" y="886"/>
                  </a:lnTo>
                  <a:lnTo>
                    <a:pt x="806" y="872"/>
                  </a:lnTo>
                  <a:lnTo>
                    <a:pt x="814" y="840"/>
                  </a:lnTo>
                  <a:lnTo>
                    <a:pt x="823" y="806"/>
                  </a:lnTo>
                  <a:lnTo>
                    <a:pt x="859" y="806"/>
                  </a:lnTo>
                  <a:lnTo>
                    <a:pt x="846" y="1035"/>
                  </a:lnTo>
                  <a:lnTo>
                    <a:pt x="0" y="1035"/>
                  </a:lnTo>
                  <a:lnTo>
                    <a:pt x="0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30" name="Freeform 28"/>
            <p:cNvSpPr>
              <a:spLocks/>
            </p:cNvSpPr>
            <p:nvPr userDrawn="1"/>
          </p:nvSpPr>
          <p:spPr bwMode="auto">
            <a:xfrm>
              <a:off x="2903538" y="1158876"/>
              <a:ext cx="142875" cy="136525"/>
            </a:xfrm>
            <a:custGeom>
              <a:avLst/>
              <a:gdLst>
                <a:gd name="T0" fmla="*/ 304 w 1077"/>
                <a:gd name="T1" fmla="*/ 999 h 1035"/>
                <a:gd name="T2" fmla="*/ 352 w 1077"/>
                <a:gd name="T3" fmla="*/ 997 h 1035"/>
                <a:gd name="T4" fmla="*/ 391 w 1077"/>
                <a:gd name="T5" fmla="*/ 991 h 1035"/>
                <a:gd name="T6" fmla="*/ 419 w 1077"/>
                <a:gd name="T7" fmla="*/ 981 h 1035"/>
                <a:gd name="T8" fmla="*/ 431 w 1077"/>
                <a:gd name="T9" fmla="*/ 972 h 1035"/>
                <a:gd name="T10" fmla="*/ 441 w 1077"/>
                <a:gd name="T11" fmla="*/ 962 h 1035"/>
                <a:gd name="T12" fmla="*/ 449 w 1077"/>
                <a:gd name="T13" fmla="*/ 951 h 1035"/>
                <a:gd name="T14" fmla="*/ 460 w 1077"/>
                <a:gd name="T15" fmla="*/ 920 h 1035"/>
                <a:gd name="T16" fmla="*/ 466 w 1077"/>
                <a:gd name="T17" fmla="*/ 879 h 1035"/>
                <a:gd name="T18" fmla="*/ 469 w 1077"/>
                <a:gd name="T19" fmla="*/ 827 h 1035"/>
                <a:gd name="T20" fmla="*/ 469 w 1077"/>
                <a:gd name="T21" fmla="*/ 68 h 1035"/>
                <a:gd name="T22" fmla="*/ 246 w 1077"/>
                <a:gd name="T23" fmla="*/ 68 h 1035"/>
                <a:gd name="T24" fmla="*/ 192 w 1077"/>
                <a:gd name="T25" fmla="*/ 69 h 1035"/>
                <a:gd name="T26" fmla="*/ 150 w 1077"/>
                <a:gd name="T27" fmla="*/ 75 h 1035"/>
                <a:gd name="T28" fmla="*/ 119 w 1077"/>
                <a:gd name="T29" fmla="*/ 85 h 1035"/>
                <a:gd name="T30" fmla="*/ 95 w 1077"/>
                <a:gd name="T31" fmla="*/ 98 h 1035"/>
                <a:gd name="T32" fmla="*/ 78 w 1077"/>
                <a:gd name="T33" fmla="*/ 117 h 1035"/>
                <a:gd name="T34" fmla="*/ 65 w 1077"/>
                <a:gd name="T35" fmla="*/ 139 h 1035"/>
                <a:gd name="T36" fmla="*/ 54 w 1077"/>
                <a:gd name="T37" fmla="*/ 167 h 1035"/>
                <a:gd name="T38" fmla="*/ 37 w 1077"/>
                <a:gd name="T39" fmla="*/ 233 h 1035"/>
                <a:gd name="T40" fmla="*/ 15 w 1077"/>
                <a:gd name="T41" fmla="*/ 0 h 1035"/>
                <a:gd name="T42" fmla="*/ 1077 w 1077"/>
                <a:gd name="T43" fmla="*/ 233 h 1035"/>
                <a:gd name="T44" fmla="*/ 1032 w 1077"/>
                <a:gd name="T45" fmla="*/ 198 h 1035"/>
                <a:gd name="T46" fmla="*/ 1023 w 1077"/>
                <a:gd name="T47" fmla="*/ 167 h 1035"/>
                <a:gd name="T48" fmla="*/ 1013 w 1077"/>
                <a:gd name="T49" fmla="*/ 139 h 1035"/>
                <a:gd name="T50" fmla="*/ 1000 w 1077"/>
                <a:gd name="T51" fmla="*/ 117 h 1035"/>
                <a:gd name="T52" fmla="*/ 983 w 1077"/>
                <a:gd name="T53" fmla="*/ 98 h 1035"/>
                <a:gd name="T54" fmla="*/ 958 w 1077"/>
                <a:gd name="T55" fmla="*/ 85 h 1035"/>
                <a:gd name="T56" fmla="*/ 927 w 1077"/>
                <a:gd name="T57" fmla="*/ 75 h 1035"/>
                <a:gd name="T58" fmla="*/ 886 w 1077"/>
                <a:gd name="T59" fmla="*/ 69 h 1035"/>
                <a:gd name="T60" fmla="*/ 832 w 1077"/>
                <a:gd name="T61" fmla="*/ 68 h 1035"/>
                <a:gd name="T62" fmla="*/ 608 w 1077"/>
                <a:gd name="T63" fmla="*/ 797 h 1035"/>
                <a:gd name="T64" fmla="*/ 608 w 1077"/>
                <a:gd name="T65" fmla="*/ 827 h 1035"/>
                <a:gd name="T66" fmla="*/ 611 w 1077"/>
                <a:gd name="T67" fmla="*/ 879 h 1035"/>
                <a:gd name="T68" fmla="*/ 618 w 1077"/>
                <a:gd name="T69" fmla="*/ 920 h 1035"/>
                <a:gd name="T70" fmla="*/ 629 w 1077"/>
                <a:gd name="T71" fmla="*/ 951 h 1035"/>
                <a:gd name="T72" fmla="*/ 637 w 1077"/>
                <a:gd name="T73" fmla="*/ 962 h 1035"/>
                <a:gd name="T74" fmla="*/ 646 w 1077"/>
                <a:gd name="T75" fmla="*/ 972 h 1035"/>
                <a:gd name="T76" fmla="*/ 658 w 1077"/>
                <a:gd name="T77" fmla="*/ 981 h 1035"/>
                <a:gd name="T78" fmla="*/ 687 w 1077"/>
                <a:gd name="T79" fmla="*/ 991 h 1035"/>
                <a:gd name="T80" fmla="*/ 725 w 1077"/>
                <a:gd name="T81" fmla="*/ 997 h 1035"/>
                <a:gd name="T82" fmla="*/ 773 w 1077"/>
                <a:gd name="T83" fmla="*/ 999 h 1035"/>
                <a:gd name="T84" fmla="*/ 304 w 1077"/>
                <a:gd name="T85" fmla="*/ 1035 h 1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77" h="1035">
                  <a:moveTo>
                    <a:pt x="304" y="999"/>
                  </a:moveTo>
                  <a:lnTo>
                    <a:pt x="304" y="999"/>
                  </a:lnTo>
                  <a:lnTo>
                    <a:pt x="329" y="998"/>
                  </a:lnTo>
                  <a:lnTo>
                    <a:pt x="352" y="997"/>
                  </a:lnTo>
                  <a:lnTo>
                    <a:pt x="372" y="995"/>
                  </a:lnTo>
                  <a:lnTo>
                    <a:pt x="391" y="991"/>
                  </a:lnTo>
                  <a:lnTo>
                    <a:pt x="406" y="987"/>
                  </a:lnTo>
                  <a:lnTo>
                    <a:pt x="419" y="981"/>
                  </a:lnTo>
                  <a:lnTo>
                    <a:pt x="426" y="977"/>
                  </a:lnTo>
                  <a:lnTo>
                    <a:pt x="431" y="972"/>
                  </a:lnTo>
                  <a:lnTo>
                    <a:pt x="436" y="967"/>
                  </a:lnTo>
                  <a:lnTo>
                    <a:pt x="441" y="962"/>
                  </a:lnTo>
                  <a:lnTo>
                    <a:pt x="445" y="957"/>
                  </a:lnTo>
                  <a:lnTo>
                    <a:pt x="449" y="951"/>
                  </a:lnTo>
                  <a:lnTo>
                    <a:pt x="455" y="937"/>
                  </a:lnTo>
                  <a:lnTo>
                    <a:pt x="460" y="920"/>
                  </a:lnTo>
                  <a:lnTo>
                    <a:pt x="464" y="901"/>
                  </a:lnTo>
                  <a:lnTo>
                    <a:pt x="466" y="879"/>
                  </a:lnTo>
                  <a:lnTo>
                    <a:pt x="468" y="855"/>
                  </a:lnTo>
                  <a:lnTo>
                    <a:pt x="469" y="827"/>
                  </a:lnTo>
                  <a:lnTo>
                    <a:pt x="469" y="797"/>
                  </a:lnTo>
                  <a:lnTo>
                    <a:pt x="469" y="68"/>
                  </a:lnTo>
                  <a:lnTo>
                    <a:pt x="246" y="68"/>
                  </a:lnTo>
                  <a:lnTo>
                    <a:pt x="246" y="68"/>
                  </a:lnTo>
                  <a:lnTo>
                    <a:pt x="217" y="68"/>
                  </a:lnTo>
                  <a:lnTo>
                    <a:pt x="192" y="69"/>
                  </a:lnTo>
                  <a:lnTo>
                    <a:pt x="170" y="72"/>
                  </a:lnTo>
                  <a:lnTo>
                    <a:pt x="150" y="75"/>
                  </a:lnTo>
                  <a:lnTo>
                    <a:pt x="133" y="79"/>
                  </a:lnTo>
                  <a:lnTo>
                    <a:pt x="119" y="85"/>
                  </a:lnTo>
                  <a:lnTo>
                    <a:pt x="105" y="91"/>
                  </a:lnTo>
                  <a:lnTo>
                    <a:pt x="95" y="98"/>
                  </a:lnTo>
                  <a:lnTo>
                    <a:pt x="85" y="106"/>
                  </a:lnTo>
                  <a:lnTo>
                    <a:pt x="78" y="117"/>
                  </a:lnTo>
                  <a:lnTo>
                    <a:pt x="71" y="127"/>
                  </a:lnTo>
                  <a:lnTo>
                    <a:pt x="65" y="139"/>
                  </a:lnTo>
                  <a:lnTo>
                    <a:pt x="59" y="152"/>
                  </a:lnTo>
                  <a:lnTo>
                    <a:pt x="54" y="167"/>
                  </a:lnTo>
                  <a:lnTo>
                    <a:pt x="45" y="198"/>
                  </a:lnTo>
                  <a:lnTo>
                    <a:pt x="37" y="233"/>
                  </a:lnTo>
                  <a:lnTo>
                    <a:pt x="0" y="233"/>
                  </a:lnTo>
                  <a:lnTo>
                    <a:pt x="15" y="0"/>
                  </a:lnTo>
                  <a:lnTo>
                    <a:pt x="1062" y="0"/>
                  </a:lnTo>
                  <a:lnTo>
                    <a:pt x="1077" y="233"/>
                  </a:lnTo>
                  <a:lnTo>
                    <a:pt x="1041" y="233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23" y="167"/>
                  </a:lnTo>
                  <a:lnTo>
                    <a:pt x="1019" y="152"/>
                  </a:lnTo>
                  <a:lnTo>
                    <a:pt x="1013" y="139"/>
                  </a:lnTo>
                  <a:lnTo>
                    <a:pt x="1007" y="127"/>
                  </a:lnTo>
                  <a:lnTo>
                    <a:pt x="1000" y="117"/>
                  </a:lnTo>
                  <a:lnTo>
                    <a:pt x="992" y="106"/>
                  </a:lnTo>
                  <a:lnTo>
                    <a:pt x="983" y="98"/>
                  </a:lnTo>
                  <a:lnTo>
                    <a:pt x="972" y="91"/>
                  </a:lnTo>
                  <a:lnTo>
                    <a:pt x="958" y="85"/>
                  </a:lnTo>
                  <a:lnTo>
                    <a:pt x="944" y="79"/>
                  </a:lnTo>
                  <a:lnTo>
                    <a:pt x="927" y="75"/>
                  </a:lnTo>
                  <a:lnTo>
                    <a:pt x="907" y="72"/>
                  </a:lnTo>
                  <a:lnTo>
                    <a:pt x="886" y="69"/>
                  </a:lnTo>
                  <a:lnTo>
                    <a:pt x="860" y="68"/>
                  </a:lnTo>
                  <a:lnTo>
                    <a:pt x="832" y="68"/>
                  </a:lnTo>
                  <a:lnTo>
                    <a:pt x="608" y="68"/>
                  </a:lnTo>
                  <a:lnTo>
                    <a:pt x="608" y="797"/>
                  </a:lnTo>
                  <a:lnTo>
                    <a:pt x="608" y="797"/>
                  </a:lnTo>
                  <a:lnTo>
                    <a:pt x="608" y="827"/>
                  </a:lnTo>
                  <a:lnTo>
                    <a:pt x="609" y="855"/>
                  </a:lnTo>
                  <a:lnTo>
                    <a:pt x="611" y="879"/>
                  </a:lnTo>
                  <a:lnTo>
                    <a:pt x="614" y="901"/>
                  </a:lnTo>
                  <a:lnTo>
                    <a:pt x="618" y="920"/>
                  </a:lnTo>
                  <a:lnTo>
                    <a:pt x="622" y="937"/>
                  </a:lnTo>
                  <a:lnTo>
                    <a:pt x="629" y="951"/>
                  </a:lnTo>
                  <a:lnTo>
                    <a:pt x="633" y="957"/>
                  </a:lnTo>
                  <a:lnTo>
                    <a:pt x="637" y="962"/>
                  </a:lnTo>
                  <a:lnTo>
                    <a:pt x="641" y="967"/>
                  </a:lnTo>
                  <a:lnTo>
                    <a:pt x="646" y="972"/>
                  </a:lnTo>
                  <a:lnTo>
                    <a:pt x="651" y="977"/>
                  </a:lnTo>
                  <a:lnTo>
                    <a:pt x="658" y="981"/>
                  </a:lnTo>
                  <a:lnTo>
                    <a:pt x="672" y="987"/>
                  </a:lnTo>
                  <a:lnTo>
                    <a:pt x="687" y="991"/>
                  </a:lnTo>
                  <a:lnTo>
                    <a:pt x="705" y="995"/>
                  </a:lnTo>
                  <a:lnTo>
                    <a:pt x="725" y="997"/>
                  </a:lnTo>
                  <a:lnTo>
                    <a:pt x="748" y="998"/>
                  </a:lnTo>
                  <a:lnTo>
                    <a:pt x="773" y="999"/>
                  </a:lnTo>
                  <a:lnTo>
                    <a:pt x="773" y="1035"/>
                  </a:lnTo>
                  <a:lnTo>
                    <a:pt x="304" y="1035"/>
                  </a:lnTo>
                  <a:lnTo>
                    <a:pt x="304" y="99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31" name="Freeform 29"/>
            <p:cNvSpPr>
              <a:spLocks noEditPoints="1"/>
            </p:cNvSpPr>
            <p:nvPr userDrawn="1"/>
          </p:nvSpPr>
          <p:spPr bwMode="auto">
            <a:xfrm>
              <a:off x="703263" y="627063"/>
              <a:ext cx="657225" cy="898525"/>
            </a:xfrm>
            <a:custGeom>
              <a:avLst/>
              <a:gdLst>
                <a:gd name="T0" fmla="*/ 3944 w 4973"/>
                <a:gd name="T1" fmla="*/ 6352 h 6792"/>
                <a:gd name="T2" fmla="*/ 1694 w 4973"/>
                <a:gd name="T3" fmla="*/ 6143 h 6792"/>
                <a:gd name="T4" fmla="*/ 2984 w 4973"/>
                <a:gd name="T5" fmla="*/ 3784 h 6792"/>
                <a:gd name="T6" fmla="*/ 2316 w 4973"/>
                <a:gd name="T7" fmla="*/ 4454 h 6792"/>
                <a:gd name="T8" fmla="*/ 1155 w 4973"/>
                <a:gd name="T9" fmla="*/ 4705 h 6792"/>
                <a:gd name="T10" fmla="*/ 1077 w 4973"/>
                <a:gd name="T11" fmla="*/ 4988 h 6792"/>
                <a:gd name="T12" fmla="*/ 910 w 4973"/>
                <a:gd name="T13" fmla="*/ 5245 h 6792"/>
                <a:gd name="T14" fmla="*/ 961 w 4973"/>
                <a:gd name="T15" fmla="*/ 5618 h 6792"/>
                <a:gd name="T16" fmla="*/ 1600 w 4973"/>
                <a:gd name="T17" fmla="*/ 5369 h 6792"/>
                <a:gd name="T18" fmla="*/ 1886 w 4973"/>
                <a:gd name="T19" fmla="*/ 5421 h 6792"/>
                <a:gd name="T20" fmla="*/ 2617 w 4973"/>
                <a:gd name="T21" fmla="*/ 5123 h 6792"/>
                <a:gd name="T22" fmla="*/ 2857 w 4973"/>
                <a:gd name="T23" fmla="*/ 4678 h 6792"/>
                <a:gd name="T24" fmla="*/ 489 w 4973"/>
                <a:gd name="T25" fmla="*/ 5877 h 6792"/>
                <a:gd name="T26" fmla="*/ 1233 w 4973"/>
                <a:gd name="T27" fmla="*/ 6668 h 6792"/>
                <a:gd name="T28" fmla="*/ 1527 w 4973"/>
                <a:gd name="T29" fmla="*/ 5749 h 6792"/>
                <a:gd name="T30" fmla="*/ 927 w 4973"/>
                <a:gd name="T31" fmla="*/ 5758 h 6792"/>
                <a:gd name="T32" fmla="*/ 429 w 4973"/>
                <a:gd name="T33" fmla="*/ 621 h 6792"/>
                <a:gd name="T34" fmla="*/ 914 w 4973"/>
                <a:gd name="T35" fmla="*/ 547 h 6792"/>
                <a:gd name="T36" fmla="*/ 829 w 4973"/>
                <a:gd name="T37" fmla="*/ 957 h 6792"/>
                <a:gd name="T38" fmla="*/ 1232 w 4973"/>
                <a:gd name="T39" fmla="*/ 762 h 6792"/>
                <a:gd name="T40" fmla="*/ 780 w 4973"/>
                <a:gd name="T41" fmla="*/ 1976 h 6792"/>
                <a:gd name="T42" fmla="*/ 1297 w 4973"/>
                <a:gd name="T43" fmla="*/ 319 h 6792"/>
                <a:gd name="T44" fmla="*/ 1481 w 4973"/>
                <a:gd name="T45" fmla="*/ 731 h 6792"/>
                <a:gd name="T46" fmla="*/ 3458 w 4973"/>
                <a:gd name="T47" fmla="*/ 480 h 6792"/>
                <a:gd name="T48" fmla="*/ 3084 w 4973"/>
                <a:gd name="T49" fmla="*/ 643 h 6792"/>
                <a:gd name="T50" fmla="*/ 2947 w 4973"/>
                <a:gd name="T51" fmla="*/ 214 h 6792"/>
                <a:gd name="T52" fmla="*/ 2541 w 4973"/>
                <a:gd name="T53" fmla="*/ 417 h 6792"/>
                <a:gd name="T54" fmla="*/ 2413 w 4973"/>
                <a:gd name="T55" fmla="*/ 28 h 6792"/>
                <a:gd name="T56" fmla="*/ 3900 w 4973"/>
                <a:gd name="T57" fmla="*/ 1991 h 6792"/>
                <a:gd name="T58" fmla="*/ 4172 w 4973"/>
                <a:gd name="T59" fmla="*/ 1335 h 6792"/>
                <a:gd name="T60" fmla="*/ 3970 w 4973"/>
                <a:gd name="T61" fmla="*/ 3382 h 6792"/>
                <a:gd name="T62" fmla="*/ 4830 w 4973"/>
                <a:gd name="T63" fmla="*/ 2682 h 6792"/>
                <a:gd name="T64" fmla="*/ 4551 w 4973"/>
                <a:gd name="T65" fmla="*/ 1246 h 6792"/>
                <a:gd name="T66" fmla="*/ 3641 w 4973"/>
                <a:gd name="T67" fmla="*/ 1994 h 6792"/>
                <a:gd name="T68" fmla="*/ 3910 w 4973"/>
                <a:gd name="T69" fmla="*/ 2958 h 6792"/>
                <a:gd name="T70" fmla="*/ 4286 w 4973"/>
                <a:gd name="T71" fmla="*/ 2402 h 6792"/>
                <a:gd name="T72" fmla="*/ 3965 w 4973"/>
                <a:gd name="T73" fmla="*/ 3379 h 6792"/>
                <a:gd name="T74" fmla="*/ 3169 w 4973"/>
                <a:gd name="T75" fmla="*/ 2142 h 6792"/>
                <a:gd name="T76" fmla="*/ 3399 w 4973"/>
                <a:gd name="T77" fmla="*/ 1285 h 6792"/>
                <a:gd name="T78" fmla="*/ 2604 w 4973"/>
                <a:gd name="T79" fmla="*/ 769 h 6792"/>
                <a:gd name="T80" fmla="*/ 2052 w 4973"/>
                <a:gd name="T81" fmla="*/ 1359 h 6792"/>
                <a:gd name="T82" fmla="*/ 1664 w 4973"/>
                <a:gd name="T83" fmla="*/ 1597 h 6792"/>
                <a:gd name="T84" fmla="*/ 2105 w 4973"/>
                <a:gd name="T85" fmla="*/ 1550 h 6792"/>
                <a:gd name="T86" fmla="*/ 1945 w 4973"/>
                <a:gd name="T87" fmla="*/ 1849 h 6792"/>
                <a:gd name="T88" fmla="*/ 1151 w 4973"/>
                <a:gd name="T89" fmla="*/ 2851 h 6792"/>
                <a:gd name="T90" fmla="*/ 331 w 4973"/>
                <a:gd name="T91" fmla="*/ 2774 h 6792"/>
                <a:gd name="T92" fmla="*/ 150 w 4973"/>
                <a:gd name="T93" fmla="*/ 2974 h 6792"/>
                <a:gd name="T94" fmla="*/ 554 w 4973"/>
                <a:gd name="T95" fmla="*/ 3191 h 6792"/>
                <a:gd name="T96" fmla="*/ 489 w 4973"/>
                <a:gd name="T97" fmla="*/ 3468 h 6792"/>
                <a:gd name="T98" fmla="*/ 935 w 4973"/>
                <a:gd name="T99" fmla="*/ 3451 h 6792"/>
                <a:gd name="T100" fmla="*/ 1725 w 4973"/>
                <a:gd name="T101" fmla="*/ 2972 h 6792"/>
                <a:gd name="T102" fmla="*/ 3397 w 4973"/>
                <a:gd name="T103" fmla="*/ 3673 h 6792"/>
                <a:gd name="T104" fmla="*/ 3711 w 4973"/>
                <a:gd name="T105" fmla="*/ 4812 h 6792"/>
                <a:gd name="T106" fmla="*/ 4356 w 4973"/>
                <a:gd name="T107" fmla="*/ 5526 h 6792"/>
                <a:gd name="T108" fmla="*/ 3835 w 4973"/>
                <a:gd name="T109" fmla="*/ 5815 h 6792"/>
                <a:gd name="T110" fmla="*/ 3750 w 4973"/>
                <a:gd name="T111" fmla="*/ 6147 h 6792"/>
                <a:gd name="T112" fmla="*/ 4262 w 4973"/>
                <a:gd name="T113" fmla="*/ 6036 h 6792"/>
                <a:gd name="T114" fmla="*/ 4324 w 4973"/>
                <a:gd name="T115" fmla="*/ 6374 h 6792"/>
                <a:gd name="T116" fmla="*/ 4692 w 4973"/>
                <a:gd name="T117" fmla="*/ 6210 h 6792"/>
                <a:gd name="T118" fmla="*/ 4659 w 4973"/>
                <a:gd name="T119" fmla="*/ 5487 h 6792"/>
                <a:gd name="T120" fmla="*/ 4786 w 4973"/>
                <a:gd name="T121" fmla="*/ 4785 h 6792"/>
                <a:gd name="T122" fmla="*/ 4362 w 4973"/>
                <a:gd name="T123" fmla="*/ 4115 h 6792"/>
                <a:gd name="T124" fmla="*/ 4803 w 4973"/>
                <a:gd name="T125" fmla="*/ 3237 h 6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3" h="6792">
                  <a:moveTo>
                    <a:pt x="1358" y="6333"/>
                  </a:moveTo>
                  <a:lnTo>
                    <a:pt x="1358" y="6333"/>
                  </a:lnTo>
                  <a:lnTo>
                    <a:pt x="1445" y="6392"/>
                  </a:lnTo>
                  <a:lnTo>
                    <a:pt x="1485" y="6418"/>
                  </a:lnTo>
                  <a:lnTo>
                    <a:pt x="1524" y="6443"/>
                  </a:lnTo>
                  <a:lnTo>
                    <a:pt x="1561" y="6466"/>
                  </a:lnTo>
                  <a:lnTo>
                    <a:pt x="1599" y="6487"/>
                  </a:lnTo>
                  <a:lnTo>
                    <a:pt x="1638" y="6509"/>
                  </a:lnTo>
                  <a:lnTo>
                    <a:pt x="1677" y="6528"/>
                  </a:lnTo>
                  <a:lnTo>
                    <a:pt x="1677" y="6528"/>
                  </a:lnTo>
                  <a:lnTo>
                    <a:pt x="1730" y="6553"/>
                  </a:lnTo>
                  <a:lnTo>
                    <a:pt x="1788" y="6578"/>
                  </a:lnTo>
                  <a:lnTo>
                    <a:pt x="1853" y="6605"/>
                  </a:lnTo>
                  <a:lnTo>
                    <a:pt x="1923" y="6630"/>
                  </a:lnTo>
                  <a:lnTo>
                    <a:pt x="1961" y="6644"/>
                  </a:lnTo>
                  <a:lnTo>
                    <a:pt x="2000" y="6656"/>
                  </a:lnTo>
                  <a:lnTo>
                    <a:pt x="2040" y="6669"/>
                  </a:lnTo>
                  <a:lnTo>
                    <a:pt x="2082" y="6682"/>
                  </a:lnTo>
                  <a:lnTo>
                    <a:pt x="2125" y="6693"/>
                  </a:lnTo>
                  <a:lnTo>
                    <a:pt x="2169" y="6704"/>
                  </a:lnTo>
                  <a:lnTo>
                    <a:pt x="2215" y="6715"/>
                  </a:lnTo>
                  <a:lnTo>
                    <a:pt x="2261" y="6726"/>
                  </a:lnTo>
                  <a:lnTo>
                    <a:pt x="2310" y="6736"/>
                  </a:lnTo>
                  <a:lnTo>
                    <a:pt x="2359" y="6745"/>
                  </a:lnTo>
                  <a:lnTo>
                    <a:pt x="2410" y="6754"/>
                  </a:lnTo>
                  <a:lnTo>
                    <a:pt x="2462" y="6762"/>
                  </a:lnTo>
                  <a:lnTo>
                    <a:pt x="2515" y="6768"/>
                  </a:lnTo>
                  <a:lnTo>
                    <a:pt x="2570" y="6776"/>
                  </a:lnTo>
                  <a:lnTo>
                    <a:pt x="2625" y="6781"/>
                  </a:lnTo>
                  <a:lnTo>
                    <a:pt x="2682" y="6785"/>
                  </a:lnTo>
                  <a:lnTo>
                    <a:pt x="2740" y="6788"/>
                  </a:lnTo>
                  <a:lnTo>
                    <a:pt x="2800" y="6790"/>
                  </a:lnTo>
                  <a:lnTo>
                    <a:pt x="2860" y="6792"/>
                  </a:lnTo>
                  <a:lnTo>
                    <a:pt x="2921" y="6791"/>
                  </a:lnTo>
                  <a:lnTo>
                    <a:pt x="2984" y="6790"/>
                  </a:lnTo>
                  <a:lnTo>
                    <a:pt x="3047" y="6787"/>
                  </a:lnTo>
                  <a:lnTo>
                    <a:pt x="3112" y="6783"/>
                  </a:lnTo>
                  <a:lnTo>
                    <a:pt x="3177" y="6778"/>
                  </a:lnTo>
                  <a:lnTo>
                    <a:pt x="3177" y="6778"/>
                  </a:lnTo>
                  <a:lnTo>
                    <a:pt x="3239" y="6772"/>
                  </a:lnTo>
                  <a:lnTo>
                    <a:pt x="3299" y="6763"/>
                  </a:lnTo>
                  <a:lnTo>
                    <a:pt x="3357" y="6755"/>
                  </a:lnTo>
                  <a:lnTo>
                    <a:pt x="3412" y="6746"/>
                  </a:lnTo>
                  <a:lnTo>
                    <a:pt x="3466" y="6737"/>
                  </a:lnTo>
                  <a:lnTo>
                    <a:pt x="3517" y="6727"/>
                  </a:lnTo>
                  <a:lnTo>
                    <a:pt x="3567" y="6715"/>
                  </a:lnTo>
                  <a:lnTo>
                    <a:pt x="3615" y="6704"/>
                  </a:lnTo>
                  <a:lnTo>
                    <a:pt x="3660" y="6692"/>
                  </a:lnTo>
                  <a:lnTo>
                    <a:pt x="3704" y="6680"/>
                  </a:lnTo>
                  <a:lnTo>
                    <a:pt x="3745" y="6667"/>
                  </a:lnTo>
                  <a:lnTo>
                    <a:pt x="3784" y="6654"/>
                  </a:lnTo>
                  <a:lnTo>
                    <a:pt x="3822" y="6642"/>
                  </a:lnTo>
                  <a:lnTo>
                    <a:pt x="3858" y="6628"/>
                  </a:lnTo>
                  <a:lnTo>
                    <a:pt x="3891" y="6615"/>
                  </a:lnTo>
                  <a:lnTo>
                    <a:pt x="3922" y="6603"/>
                  </a:lnTo>
                  <a:lnTo>
                    <a:pt x="3980" y="6577"/>
                  </a:lnTo>
                  <a:lnTo>
                    <a:pt x="4030" y="6554"/>
                  </a:lnTo>
                  <a:lnTo>
                    <a:pt x="4071" y="6532"/>
                  </a:lnTo>
                  <a:lnTo>
                    <a:pt x="4105" y="6514"/>
                  </a:lnTo>
                  <a:lnTo>
                    <a:pt x="4131" y="6498"/>
                  </a:lnTo>
                  <a:lnTo>
                    <a:pt x="4150" y="6485"/>
                  </a:lnTo>
                  <a:lnTo>
                    <a:pt x="4165" y="6475"/>
                  </a:lnTo>
                  <a:lnTo>
                    <a:pt x="4165" y="6475"/>
                  </a:lnTo>
                  <a:lnTo>
                    <a:pt x="4144" y="6468"/>
                  </a:lnTo>
                  <a:lnTo>
                    <a:pt x="4124" y="6459"/>
                  </a:lnTo>
                  <a:lnTo>
                    <a:pt x="4103" y="6451"/>
                  </a:lnTo>
                  <a:lnTo>
                    <a:pt x="4084" y="6440"/>
                  </a:lnTo>
                  <a:lnTo>
                    <a:pt x="4064" y="6431"/>
                  </a:lnTo>
                  <a:lnTo>
                    <a:pt x="4046" y="6421"/>
                  </a:lnTo>
                  <a:lnTo>
                    <a:pt x="4009" y="6398"/>
                  </a:lnTo>
                  <a:lnTo>
                    <a:pt x="3976" y="6376"/>
                  </a:lnTo>
                  <a:lnTo>
                    <a:pt x="3944" y="6352"/>
                  </a:lnTo>
                  <a:lnTo>
                    <a:pt x="3914" y="6329"/>
                  </a:lnTo>
                  <a:lnTo>
                    <a:pt x="3887" y="6305"/>
                  </a:lnTo>
                  <a:lnTo>
                    <a:pt x="3887" y="6305"/>
                  </a:lnTo>
                  <a:lnTo>
                    <a:pt x="3882" y="6315"/>
                  </a:lnTo>
                  <a:lnTo>
                    <a:pt x="3879" y="6328"/>
                  </a:lnTo>
                  <a:lnTo>
                    <a:pt x="3876" y="6343"/>
                  </a:lnTo>
                  <a:lnTo>
                    <a:pt x="3873" y="6361"/>
                  </a:lnTo>
                  <a:lnTo>
                    <a:pt x="3873" y="6361"/>
                  </a:lnTo>
                  <a:lnTo>
                    <a:pt x="3865" y="6430"/>
                  </a:lnTo>
                  <a:lnTo>
                    <a:pt x="3861" y="6463"/>
                  </a:lnTo>
                  <a:lnTo>
                    <a:pt x="3861" y="6463"/>
                  </a:lnTo>
                  <a:lnTo>
                    <a:pt x="3857" y="6462"/>
                  </a:lnTo>
                  <a:lnTo>
                    <a:pt x="3847" y="6459"/>
                  </a:lnTo>
                  <a:lnTo>
                    <a:pt x="3828" y="6452"/>
                  </a:lnTo>
                  <a:lnTo>
                    <a:pt x="3801" y="6440"/>
                  </a:lnTo>
                  <a:lnTo>
                    <a:pt x="3801" y="6440"/>
                  </a:lnTo>
                  <a:lnTo>
                    <a:pt x="3791" y="6436"/>
                  </a:lnTo>
                  <a:lnTo>
                    <a:pt x="3781" y="6430"/>
                  </a:lnTo>
                  <a:lnTo>
                    <a:pt x="3771" y="6423"/>
                  </a:lnTo>
                  <a:lnTo>
                    <a:pt x="3761" y="6415"/>
                  </a:lnTo>
                  <a:lnTo>
                    <a:pt x="3750" y="6406"/>
                  </a:lnTo>
                  <a:lnTo>
                    <a:pt x="3739" y="6396"/>
                  </a:lnTo>
                  <a:lnTo>
                    <a:pt x="3729" y="6385"/>
                  </a:lnTo>
                  <a:lnTo>
                    <a:pt x="3719" y="6373"/>
                  </a:lnTo>
                  <a:lnTo>
                    <a:pt x="3709" y="6361"/>
                  </a:lnTo>
                  <a:lnTo>
                    <a:pt x="3700" y="6346"/>
                  </a:lnTo>
                  <a:lnTo>
                    <a:pt x="3692" y="6332"/>
                  </a:lnTo>
                  <a:lnTo>
                    <a:pt x="3684" y="6317"/>
                  </a:lnTo>
                  <a:lnTo>
                    <a:pt x="3678" y="6300"/>
                  </a:lnTo>
                  <a:lnTo>
                    <a:pt x="3674" y="6284"/>
                  </a:lnTo>
                  <a:lnTo>
                    <a:pt x="3670" y="6265"/>
                  </a:lnTo>
                  <a:lnTo>
                    <a:pt x="3668" y="6248"/>
                  </a:lnTo>
                  <a:lnTo>
                    <a:pt x="3668" y="6248"/>
                  </a:lnTo>
                  <a:lnTo>
                    <a:pt x="3667" y="6223"/>
                  </a:lnTo>
                  <a:lnTo>
                    <a:pt x="3667" y="6223"/>
                  </a:lnTo>
                  <a:lnTo>
                    <a:pt x="3610" y="6244"/>
                  </a:lnTo>
                  <a:lnTo>
                    <a:pt x="3544" y="6267"/>
                  </a:lnTo>
                  <a:lnTo>
                    <a:pt x="3507" y="6280"/>
                  </a:lnTo>
                  <a:lnTo>
                    <a:pt x="3468" y="6292"/>
                  </a:lnTo>
                  <a:lnTo>
                    <a:pt x="3427" y="6303"/>
                  </a:lnTo>
                  <a:lnTo>
                    <a:pt x="3386" y="6315"/>
                  </a:lnTo>
                  <a:lnTo>
                    <a:pt x="3342" y="6326"/>
                  </a:lnTo>
                  <a:lnTo>
                    <a:pt x="3296" y="6335"/>
                  </a:lnTo>
                  <a:lnTo>
                    <a:pt x="3250" y="6344"/>
                  </a:lnTo>
                  <a:lnTo>
                    <a:pt x="3201" y="6352"/>
                  </a:lnTo>
                  <a:lnTo>
                    <a:pt x="3153" y="6360"/>
                  </a:lnTo>
                  <a:lnTo>
                    <a:pt x="3104" y="6365"/>
                  </a:lnTo>
                  <a:lnTo>
                    <a:pt x="3055" y="6368"/>
                  </a:lnTo>
                  <a:lnTo>
                    <a:pt x="3005" y="6370"/>
                  </a:lnTo>
                  <a:lnTo>
                    <a:pt x="3005" y="6370"/>
                  </a:lnTo>
                  <a:lnTo>
                    <a:pt x="2916" y="6371"/>
                  </a:lnTo>
                  <a:lnTo>
                    <a:pt x="2828" y="6370"/>
                  </a:lnTo>
                  <a:lnTo>
                    <a:pt x="2740" y="6366"/>
                  </a:lnTo>
                  <a:lnTo>
                    <a:pt x="2651" y="6361"/>
                  </a:lnTo>
                  <a:lnTo>
                    <a:pt x="2563" y="6353"/>
                  </a:lnTo>
                  <a:lnTo>
                    <a:pt x="2476" y="6343"/>
                  </a:lnTo>
                  <a:lnTo>
                    <a:pt x="2388" y="6331"/>
                  </a:lnTo>
                  <a:lnTo>
                    <a:pt x="2301" y="6317"/>
                  </a:lnTo>
                  <a:lnTo>
                    <a:pt x="2257" y="6308"/>
                  </a:lnTo>
                  <a:lnTo>
                    <a:pt x="2213" y="6300"/>
                  </a:lnTo>
                  <a:lnTo>
                    <a:pt x="2170" y="6290"/>
                  </a:lnTo>
                  <a:lnTo>
                    <a:pt x="2126" y="6280"/>
                  </a:lnTo>
                  <a:lnTo>
                    <a:pt x="2083" y="6270"/>
                  </a:lnTo>
                  <a:lnTo>
                    <a:pt x="2039" y="6258"/>
                  </a:lnTo>
                  <a:lnTo>
                    <a:pt x="1996" y="6246"/>
                  </a:lnTo>
                  <a:lnTo>
                    <a:pt x="1952" y="6234"/>
                  </a:lnTo>
                  <a:lnTo>
                    <a:pt x="1909" y="6220"/>
                  </a:lnTo>
                  <a:lnTo>
                    <a:pt x="1866" y="6206"/>
                  </a:lnTo>
                  <a:lnTo>
                    <a:pt x="1823" y="6192"/>
                  </a:lnTo>
                  <a:lnTo>
                    <a:pt x="1780" y="6176"/>
                  </a:lnTo>
                  <a:lnTo>
                    <a:pt x="1737" y="6160"/>
                  </a:lnTo>
                  <a:lnTo>
                    <a:pt x="1694" y="6143"/>
                  </a:lnTo>
                  <a:lnTo>
                    <a:pt x="1652" y="6125"/>
                  </a:lnTo>
                  <a:lnTo>
                    <a:pt x="1609" y="6107"/>
                  </a:lnTo>
                  <a:lnTo>
                    <a:pt x="1609" y="6107"/>
                  </a:lnTo>
                  <a:lnTo>
                    <a:pt x="1523" y="6068"/>
                  </a:lnTo>
                  <a:lnTo>
                    <a:pt x="1480" y="6049"/>
                  </a:lnTo>
                  <a:lnTo>
                    <a:pt x="1480" y="6049"/>
                  </a:lnTo>
                  <a:lnTo>
                    <a:pt x="1479" y="6052"/>
                  </a:lnTo>
                  <a:lnTo>
                    <a:pt x="1477" y="6061"/>
                  </a:lnTo>
                  <a:lnTo>
                    <a:pt x="1477" y="6068"/>
                  </a:lnTo>
                  <a:lnTo>
                    <a:pt x="1477" y="6077"/>
                  </a:lnTo>
                  <a:lnTo>
                    <a:pt x="1477" y="6088"/>
                  </a:lnTo>
                  <a:lnTo>
                    <a:pt x="1479" y="6100"/>
                  </a:lnTo>
                  <a:lnTo>
                    <a:pt x="1483" y="6113"/>
                  </a:lnTo>
                  <a:lnTo>
                    <a:pt x="1487" y="6128"/>
                  </a:lnTo>
                  <a:lnTo>
                    <a:pt x="1494" y="6145"/>
                  </a:lnTo>
                  <a:lnTo>
                    <a:pt x="1503" y="6163"/>
                  </a:lnTo>
                  <a:lnTo>
                    <a:pt x="1514" y="6184"/>
                  </a:lnTo>
                  <a:lnTo>
                    <a:pt x="1529" y="6205"/>
                  </a:lnTo>
                  <a:lnTo>
                    <a:pt x="1545" y="6229"/>
                  </a:lnTo>
                  <a:lnTo>
                    <a:pt x="1565" y="6253"/>
                  </a:lnTo>
                  <a:lnTo>
                    <a:pt x="1565" y="6253"/>
                  </a:lnTo>
                  <a:lnTo>
                    <a:pt x="1547" y="6250"/>
                  </a:lnTo>
                  <a:lnTo>
                    <a:pt x="1528" y="6248"/>
                  </a:lnTo>
                  <a:lnTo>
                    <a:pt x="1509" y="6248"/>
                  </a:lnTo>
                  <a:lnTo>
                    <a:pt x="1490" y="6248"/>
                  </a:lnTo>
                  <a:lnTo>
                    <a:pt x="1472" y="6250"/>
                  </a:lnTo>
                  <a:lnTo>
                    <a:pt x="1456" y="6253"/>
                  </a:lnTo>
                  <a:lnTo>
                    <a:pt x="1441" y="6258"/>
                  </a:lnTo>
                  <a:lnTo>
                    <a:pt x="1427" y="6264"/>
                  </a:lnTo>
                  <a:lnTo>
                    <a:pt x="1427" y="6264"/>
                  </a:lnTo>
                  <a:lnTo>
                    <a:pt x="1413" y="6273"/>
                  </a:lnTo>
                  <a:lnTo>
                    <a:pt x="1400" y="6283"/>
                  </a:lnTo>
                  <a:lnTo>
                    <a:pt x="1390" y="6293"/>
                  </a:lnTo>
                  <a:lnTo>
                    <a:pt x="1379" y="6302"/>
                  </a:lnTo>
                  <a:lnTo>
                    <a:pt x="1371" y="6311"/>
                  </a:lnTo>
                  <a:lnTo>
                    <a:pt x="1365" y="6321"/>
                  </a:lnTo>
                  <a:lnTo>
                    <a:pt x="1358" y="6333"/>
                  </a:lnTo>
                  <a:close/>
                  <a:moveTo>
                    <a:pt x="3487" y="3933"/>
                  </a:moveTo>
                  <a:lnTo>
                    <a:pt x="3487" y="3933"/>
                  </a:lnTo>
                  <a:lnTo>
                    <a:pt x="3470" y="3920"/>
                  </a:lnTo>
                  <a:lnTo>
                    <a:pt x="3453" y="3908"/>
                  </a:lnTo>
                  <a:lnTo>
                    <a:pt x="3436" y="3895"/>
                  </a:lnTo>
                  <a:lnTo>
                    <a:pt x="3418" y="3884"/>
                  </a:lnTo>
                  <a:lnTo>
                    <a:pt x="3383" y="3865"/>
                  </a:lnTo>
                  <a:lnTo>
                    <a:pt x="3349" y="3846"/>
                  </a:lnTo>
                  <a:lnTo>
                    <a:pt x="3314" y="3829"/>
                  </a:lnTo>
                  <a:lnTo>
                    <a:pt x="3281" y="3814"/>
                  </a:lnTo>
                  <a:lnTo>
                    <a:pt x="3250" y="3799"/>
                  </a:lnTo>
                  <a:lnTo>
                    <a:pt x="3219" y="3784"/>
                  </a:lnTo>
                  <a:lnTo>
                    <a:pt x="3219" y="3784"/>
                  </a:lnTo>
                  <a:lnTo>
                    <a:pt x="3235" y="3774"/>
                  </a:lnTo>
                  <a:lnTo>
                    <a:pt x="3251" y="3763"/>
                  </a:lnTo>
                  <a:lnTo>
                    <a:pt x="3268" y="3749"/>
                  </a:lnTo>
                  <a:lnTo>
                    <a:pt x="3284" y="3735"/>
                  </a:lnTo>
                  <a:lnTo>
                    <a:pt x="3298" y="3722"/>
                  </a:lnTo>
                  <a:lnTo>
                    <a:pt x="3302" y="3716"/>
                  </a:lnTo>
                  <a:lnTo>
                    <a:pt x="3305" y="3711"/>
                  </a:lnTo>
                  <a:lnTo>
                    <a:pt x="3305" y="3707"/>
                  </a:lnTo>
                  <a:lnTo>
                    <a:pt x="3305" y="3705"/>
                  </a:lnTo>
                  <a:lnTo>
                    <a:pt x="3303" y="3704"/>
                  </a:lnTo>
                  <a:lnTo>
                    <a:pt x="3303" y="3704"/>
                  </a:lnTo>
                  <a:lnTo>
                    <a:pt x="3290" y="3697"/>
                  </a:lnTo>
                  <a:lnTo>
                    <a:pt x="3278" y="3691"/>
                  </a:lnTo>
                  <a:lnTo>
                    <a:pt x="3266" y="3687"/>
                  </a:lnTo>
                  <a:lnTo>
                    <a:pt x="3255" y="3685"/>
                  </a:lnTo>
                  <a:lnTo>
                    <a:pt x="3236" y="3682"/>
                  </a:lnTo>
                  <a:lnTo>
                    <a:pt x="3229" y="3681"/>
                  </a:lnTo>
                  <a:lnTo>
                    <a:pt x="3229" y="3681"/>
                  </a:lnTo>
                  <a:lnTo>
                    <a:pt x="3168" y="3705"/>
                  </a:lnTo>
                  <a:lnTo>
                    <a:pt x="3105" y="3731"/>
                  </a:lnTo>
                  <a:lnTo>
                    <a:pt x="3045" y="3757"/>
                  </a:lnTo>
                  <a:lnTo>
                    <a:pt x="2984" y="3784"/>
                  </a:lnTo>
                  <a:lnTo>
                    <a:pt x="2924" y="3813"/>
                  </a:lnTo>
                  <a:lnTo>
                    <a:pt x="2866" y="3841"/>
                  </a:lnTo>
                  <a:lnTo>
                    <a:pt x="2809" y="3870"/>
                  </a:lnTo>
                  <a:lnTo>
                    <a:pt x="2754" y="3900"/>
                  </a:lnTo>
                  <a:lnTo>
                    <a:pt x="2700" y="3928"/>
                  </a:lnTo>
                  <a:lnTo>
                    <a:pt x="2649" y="3957"/>
                  </a:lnTo>
                  <a:lnTo>
                    <a:pt x="2600" y="3984"/>
                  </a:lnTo>
                  <a:lnTo>
                    <a:pt x="2553" y="4012"/>
                  </a:lnTo>
                  <a:lnTo>
                    <a:pt x="2510" y="4039"/>
                  </a:lnTo>
                  <a:lnTo>
                    <a:pt x="2469" y="4064"/>
                  </a:lnTo>
                  <a:lnTo>
                    <a:pt x="2433" y="4088"/>
                  </a:lnTo>
                  <a:lnTo>
                    <a:pt x="2399" y="4110"/>
                  </a:lnTo>
                  <a:lnTo>
                    <a:pt x="2399" y="4110"/>
                  </a:lnTo>
                  <a:lnTo>
                    <a:pt x="2394" y="4113"/>
                  </a:lnTo>
                  <a:lnTo>
                    <a:pt x="2394" y="4113"/>
                  </a:lnTo>
                  <a:lnTo>
                    <a:pt x="2382" y="4120"/>
                  </a:lnTo>
                  <a:lnTo>
                    <a:pt x="2371" y="4127"/>
                  </a:lnTo>
                  <a:lnTo>
                    <a:pt x="2360" y="4132"/>
                  </a:lnTo>
                  <a:lnTo>
                    <a:pt x="2348" y="4136"/>
                  </a:lnTo>
                  <a:lnTo>
                    <a:pt x="2336" y="4139"/>
                  </a:lnTo>
                  <a:lnTo>
                    <a:pt x="2325" y="4142"/>
                  </a:lnTo>
                  <a:lnTo>
                    <a:pt x="2313" y="4143"/>
                  </a:lnTo>
                  <a:lnTo>
                    <a:pt x="2302" y="4144"/>
                  </a:lnTo>
                  <a:lnTo>
                    <a:pt x="2278" y="4145"/>
                  </a:lnTo>
                  <a:lnTo>
                    <a:pt x="2256" y="4143"/>
                  </a:lnTo>
                  <a:lnTo>
                    <a:pt x="2233" y="4140"/>
                  </a:lnTo>
                  <a:lnTo>
                    <a:pt x="2213" y="4135"/>
                  </a:lnTo>
                  <a:lnTo>
                    <a:pt x="2193" y="4130"/>
                  </a:lnTo>
                  <a:lnTo>
                    <a:pt x="2176" y="4123"/>
                  </a:lnTo>
                  <a:lnTo>
                    <a:pt x="2161" y="4117"/>
                  </a:lnTo>
                  <a:lnTo>
                    <a:pt x="2146" y="4111"/>
                  </a:lnTo>
                  <a:lnTo>
                    <a:pt x="2127" y="4101"/>
                  </a:lnTo>
                  <a:lnTo>
                    <a:pt x="2121" y="4097"/>
                  </a:lnTo>
                  <a:lnTo>
                    <a:pt x="2100" y="4225"/>
                  </a:lnTo>
                  <a:lnTo>
                    <a:pt x="2100" y="4225"/>
                  </a:lnTo>
                  <a:lnTo>
                    <a:pt x="2123" y="4238"/>
                  </a:lnTo>
                  <a:lnTo>
                    <a:pt x="2144" y="4249"/>
                  </a:lnTo>
                  <a:lnTo>
                    <a:pt x="2165" y="4258"/>
                  </a:lnTo>
                  <a:lnTo>
                    <a:pt x="2182" y="4267"/>
                  </a:lnTo>
                  <a:lnTo>
                    <a:pt x="2198" y="4273"/>
                  </a:lnTo>
                  <a:lnTo>
                    <a:pt x="2214" y="4277"/>
                  </a:lnTo>
                  <a:lnTo>
                    <a:pt x="2227" y="4281"/>
                  </a:lnTo>
                  <a:lnTo>
                    <a:pt x="2238" y="4283"/>
                  </a:lnTo>
                  <a:lnTo>
                    <a:pt x="2238" y="4283"/>
                  </a:lnTo>
                  <a:lnTo>
                    <a:pt x="2219" y="4287"/>
                  </a:lnTo>
                  <a:lnTo>
                    <a:pt x="2198" y="4292"/>
                  </a:lnTo>
                  <a:lnTo>
                    <a:pt x="2178" y="4298"/>
                  </a:lnTo>
                  <a:lnTo>
                    <a:pt x="2156" y="4306"/>
                  </a:lnTo>
                  <a:lnTo>
                    <a:pt x="2137" y="4315"/>
                  </a:lnTo>
                  <a:lnTo>
                    <a:pt x="2119" y="4326"/>
                  </a:lnTo>
                  <a:lnTo>
                    <a:pt x="2109" y="4331"/>
                  </a:lnTo>
                  <a:lnTo>
                    <a:pt x="2101" y="4337"/>
                  </a:lnTo>
                  <a:lnTo>
                    <a:pt x="2094" y="4344"/>
                  </a:lnTo>
                  <a:lnTo>
                    <a:pt x="2088" y="4351"/>
                  </a:lnTo>
                  <a:lnTo>
                    <a:pt x="2132" y="4469"/>
                  </a:lnTo>
                  <a:lnTo>
                    <a:pt x="2132" y="4469"/>
                  </a:lnTo>
                  <a:lnTo>
                    <a:pt x="2144" y="4460"/>
                  </a:lnTo>
                  <a:lnTo>
                    <a:pt x="2160" y="4451"/>
                  </a:lnTo>
                  <a:lnTo>
                    <a:pt x="2181" y="4439"/>
                  </a:lnTo>
                  <a:lnTo>
                    <a:pt x="2193" y="4434"/>
                  </a:lnTo>
                  <a:lnTo>
                    <a:pt x="2207" y="4429"/>
                  </a:lnTo>
                  <a:lnTo>
                    <a:pt x="2222" y="4424"/>
                  </a:lnTo>
                  <a:lnTo>
                    <a:pt x="2237" y="4419"/>
                  </a:lnTo>
                  <a:lnTo>
                    <a:pt x="2255" y="4415"/>
                  </a:lnTo>
                  <a:lnTo>
                    <a:pt x="2273" y="4412"/>
                  </a:lnTo>
                  <a:lnTo>
                    <a:pt x="2292" y="4410"/>
                  </a:lnTo>
                  <a:lnTo>
                    <a:pt x="2313" y="4409"/>
                  </a:lnTo>
                  <a:lnTo>
                    <a:pt x="2313" y="4409"/>
                  </a:lnTo>
                  <a:lnTo>
                    <a:pt x="2316" y="4425"/>
                  </a:lnTo>
                  <a:lnTo>
                    <a:pt x="2316" y="4425"/>
                  </a:lnTo>
                  <a:lnTo>
                    <a:pt x="2316" y="4439"/>
                  </a:lnTo>
                  <a:lnTo>
                    <a:pt x="2316" y="4454"/>
                  </a:lnTo>
                  <a:lnTo>
                    <a:pt x="2314" y="4468"/>
                  </a:lnTo>
                  <a:lnTo>
                    <a:pt x="2311" y="4483"/>
                  </a:lnTo>
                  <a:lnTo>
                    <a:pt x="2306" y="4499"/>
                  </a:lnTo>
                  <a:lnTo>
                    <a:pt x="2301" y="4514"/>
                  </a:lnTo>
                  <a:lnTo>
                    <a:pt x="2293" y="4529"/>
                  </a:lnTo>
                  <a:lnTo>
                    <a:pt x="2285" y="4545"/>
                  </a:lnTo>
                  <a:lnTo>
                    <a:pt x="2277" y="4561"/>
                  </a:lnTo>
                  <a:lnTo>
                    <a:pt x="2267" y="4576"/>
                  </a:lnTo>
                  <a:lnTo>
                    <a:pt x="2256" y="4593"/>
                  </a:lnTo>
                  <a:lnTo>
                    <a:pt x="2244" y="4608"/>
                  </a:lnTo>
                  <a:lnTo>
                    <a:pt x="2231" y="4624"/>
                  </a:lnTo>
                  <a:lnTo>
                    <a:pt x="2218" y="4640"/>
                  </a:lnTo>
                  <a:lnTo>
                    <a:pt x="2204" y="4655"/>
                  </a:lnTo>
                  <a:lnTo>
                    <a:pt x="2189" y="4670"/>
                  </a:lnTo>
                  <a:lnTo>
                    <a:pt x="2157" y="4701"/>
                  </a:lnTo>
                  <a:lnTo>
                    <a:pt x="2124" y="4730"/>
                  </a:lnTo>
                  <a:lnTo>
                    <a:pt x="2088" y="4757"/>
                  </a:lnTo>
                  <a:lnTo>
                    <a:pt x="2051" y="4783"/>
                  </a:lnTo>
                  <a:lnTo>
                    <a:pt x="2013" y="4807"/>
                  </a:lnTo>
                  <a:lnTo>
                    <a:pt x="1975" y="4829"/>
                  </a:lnTo>
                  <a:lnTo>
                    <a:pt x="1937" y="4848"/>
                  </a:lnTo>
                  <a:lnTo>
                    <a:pt x="1917" y="4858"/>
                  </a:lnTo>
                  <a:lnTo>
                    <a:pt x="1899" y="4866"/>
                  </a:lnTo>
                  <a:lnTo>
                    <a:pt x="1899" y="4866"/>
                  </a:lnTo>
                  <a:lnTo>
                    <a:pt x="1861" y="4880"/>
                  </a:lnTo>
                  <a:lnTo>
                    <a:pt x="1823" y="4892"/>
                  </a:lnTo>
                  <a:lnTo>
                    <a:pt x="1788" y="4904"/>
                  </a:lnTo>
                  <a:lnTo>
                    <a:pt x="1754" y="4913"/>
                  </a:lnTo>
                  <a:lnTo>
                    <a:pt x="1721" y="4921"/>
                  </a:lnTo>
                  <a:lnTo>
                    <a:pt x="1690" y="4927"/>
                  </a:lnTo>
                  <a:lnTo>
                    <a:pt x="1661" y="4931"/>
                  </a:lnTo>
                  <a:lnTo>
                    <a:pt x="1633" y="4935"/>
                  </a:lnTo>
                  <a:lnTo>
                    <a:pt x="1607" y="4937"/>
                  </a:lnTo>
                  <a:lnTo>
                    <a:pt x="1584" y="4938"/>
                  </a:lnTo>
                  <a:lnTo>
                    <a:pt x="1562" y="4938"/>
                  </a:lnTo>
                  <a:lnTo>
                    <a:pt x="1543" y="4937"/>
                  </a:lnTo>
                  <a:lnTo>
                    <a:pt x="1527" y="4935"/>
                  </a:lnTo>
                  <a:lnTo>
                    <a:pt x="1513" y="4932"/>
                  </a:lnTo>
                  <a:lnTo>
                    <a:pt x="1502" y="4928"/>
                  </a:lnTo>
                  <a:lnTo>
                    <a:pt x="1493" y="4924"/>
                  </a:lnTo>
                  <a:lnTo>
                    <a:pt x="1493" y="4924"/>
                  </a:lnTo>
                  <a:lnTo>
                    <a:pt x="1469" y="4908"/>
                  </a:lnTo>
                  <a:lnTo>
                    <a:pt x="1448" y="4890"/>
                  </a:lnTo>
                  <a:lnTo>
                    <a:pt x="1429" y="4872"/>
                  </a:lnTo>
                  <a:lnTo>
                    <a:pt x="1413" y="4853"/>
                  </a:lnTo>
                  <a:lnTo>
                    <a:pt x="1398" y="4836"/>
                  </a:lnTo>
                  <a:lnTo>
                    <a:pt x="1384" y="4818"/>
                  </a:lnTo>
                  <a:lnTo>
                    <a:pt x="1373" y="4800"/>
                  </a:lnTo>
                  <a:lnTo>
                    <a:pt x="1362" y="4783"/>
                  </a:lnTo>
                  <a:lnTo>
                    <a:pt x="1343" y="4752"/>
                  </a:lnTo>
                  <a:lnTo>
                    <a:pt x="1333" y="4738"/>
                  </a:lnTo>
                  <a:lnTo>
                    <a:pt x="1324" y="4726"/>
                  </a:lnTo>
                  <a:lnTo>
                    <a:pt x="1315" y="4714"/>
                  </a:lnTo>
                  <a:lnTo>
                    <a:pt x="1305" y="4706"/>
                  </a:lnTo>
                  <a:lnTo>
                    <a:pt x="1293" y="4699"/>
                  </a:lnTo>
                  <a:lnTo>
                    <a:pt x="1287" y="4696"/>
                  </a:lnTo>
                  <a:lnTo>
                    <a:pt x="1281" y="4694"/>
                  </a:lnTo>
                  <a:lnTo>
                    <a:pt x="1281" y="4694"/>
                  </a:lnTo>
                  <a:lnTo>
                    <a:pt x="1277" y="4694"/>
                  </a:lnTo>
                  <a:lnTo>
                    <a:pt x="1274" y="4694"/>
                  </a:lnTo>
                  <a:lnTo>
                    <a:pt x="1267" y="4696"/>
                  </a:lnTo>
                  <a:lnTo>
                    <a:pt x="1260" y="4699"/>
                  </a:lnTo>
                  <a:lnTo>
                    <a:pt x="1252" y="4703"/>
                  </a:lnTo>
                  <a:lnTo>
                    <a:pt x="1244" y="4707"/>
                  </a:lnTo>
                  <a:lnTo>
                    <a:pt x="1235" y="4710"/>
                  </a:lnTo>
                  <a:lnTo>
                    <a:pt x="1227" y="4712"/>
                  </a:lnTo>
                  <a:lnTo>
                    <a:pt x="1222" y="4712"/>
                  </a:lnTo>
                  <a:lnTo>
                    <a:pt x="1217" y="4712"/>
                  </a:lnTo>
                  <a:lnTo>
                    <a:pt x="1217" y="4712"/>
                  </a:lnTo>
                  <a:lnTo>
                    <a:pt x="1196" y="4709"/>
                  </a:lnTo>
                  <a:lnTo>
                    <a:pt x="1176" y="4706"/>
                  </a:lnTo>
                  <a:lnTo>
                    <a:pt x="1155" y="4705"/>
                  </a:lnTo>
                  <a:lnTo>
                    <a:pt x="1134" y="4704"/>
                  </a:lnTo>
                  <a:lnTo>
                    <a:pt x="1114" y="4704"/>
                  </a:lnTo>
                  <a:lnTo>
                    <a:pt x="1094" y="4706"/>
                  </a:lnTo>
                  <a:lnTo>
                    <a:pt x="1075" y="4708"/>
                  </a:lnTo>
                  <a:lnTo>
                    <a:pt x="1055" y="4712"/>
                  </a:lnTo>
                  <a:lnTo>
                    <a:pt x="1037" y="4716"/>
                  </a:lnTo>
                  <a:lnTo>
                    <a:pt x="1020" y="4724"/>
                  </a:lnTo>
                  <a:lnTo>
                    <a:pt x="1004" y="4731"/>
                  </a:lnTo>
                  <a:lnTo>
                    <a:pt x="990" y="4740"/>
                  </a:lnTo>
                  <a:lnTo>
                    <a:pt x="976" y="4751"/>
                  </a:lnTo>
                  <a:lnTo>
                    <a:pt x="970" y="4757"/>
                  </a:lnTo>
                  <a:lnTo>
                    <a:pt x="964" y="4763"/>
                  </a:lnTo>
                  <a:lnTo>
                    <a:pt x="959" y="4771"/>
                  </a:lnTo>
                  <a:lnTo>
                    <a:pt x="955" y="4779"/>
                  </a:lnTo>
                  <a:lnTo>
                    <a:pt x="951" y="4786"/>
                  </a:lnTo>
                  <a:lnTo>
                    <a:pt x="947" y="4795"/>
                  </a:lnTo>
                  <a:lnTo>
                    <a:pt x="947" y="4795"/>
                  </a:lnTo>
                  <a:lnTo>
                    <a:pt x="985" y="4793"/>
                  </a:lnTo>
                  <a:lnTo>
                    <a:pt x="1020" y="4792"/>
                  </a:lnTo>
                  <a:lnTo>
                    <a:pt x="1040" y="4792"/>
                  </a:lnTo>
                  <a:lnTo>
                    <a:pt x="1059" y="4793"/>
                  </a:lnTo>
                  <a:lnTo>
                    <a:pt x="1077" y="4794"/>
                  </a:lnTo>
                  <a:lnTo>
                    <a:pt x="1092" y="4797"/>
                  </a:lnTo>
                  <a:lnTo>
                    <a:pt x="1105" y="4800"/>
                  </a:lnTo>
                  <a:lnTo>
                    <a:pt x="1110" y="4802"/>
                  </a:lnTo>
                  <a:lnTo>
                    <a:pt x="1115" y="4804"/>
                  </a:lnTo>
                  <a:lnTo>
                    <a:pt x="1117" y="4807"/>
                  </a:lnTo>
                  <a:lnTo>
                    <a:pt x="1119" y="4811"/>
                  </a:lnTo>
                  <a:lnTo>
                    <a:pt x="1119" y="4814"/>
                  </a:lnTo>
                  <a:lnTo>
                    <a:pt x="1117" y="4818"/>
                  </a:lnTo>
                  <a:lnTo>
                    <a:pt x="1114" y="4822"/>
                  </a:lnTo>
                  <a:lnTo>
                    <a:pt x="1109" y="4827"/>
                  </a:lnTo>
                  <a:lnTo>
                    <a:pt x="1102" y="4832"/>
                  </a:lnTo>
                  <a:lnTo>
                    <a:pt x="1094" y="4837"/>
                  </a:lnTo>
                  <a:lnTo>
                    <a:pt x="1094" y="4837"/>
                  </a:lnTo>
                  <a:lnTo>
                    <a:pt x="1085" y="4843"/>
                  </a:lnTo>
                  <a:lnTo>
                    <a:pt x="1079" y="4849"/>
                  </a:lnTo>
                  <a:lnTo>
                    <a:pt x="1074" y="4856"/>
                  </a:lnTo>
                  <a:lnTo>
                    <a:pt x="1072" y="4863"/>
                  </a:lnTo>
                  <a:lnTo>
                    <a:pt x="1071" y="4870"/>
                  </a:lnTo>
                  <a:lnTo>
                    <a:pt x="1072" y="4876"/>
                  </a:lnTo>
                  <a:lnTo>
                    <a:pt x="1074" y="4883"/>
                  </a:lnTo>
                  <a:lnTo>
                    <a:pt x="1077" y="4890"/>
                  </a:lnTo>
                  <a:lnTo>
                    <a:pt x="1082" y="4898"/>
                  </a:lnTo>
                  <a:lnTo>
                    <a:pt x="1088" y="4906"/>
                  </a:lnTo>
                  <a:lnTo>
                    <a:pt x="1096" y="4913"/>
                  </a:lnTo>
                  <a:lnTo>
                    <a:pt x="1104" y="4920"/>
                  </a:lnTo>
                  <a:lnTo>
                    <a:pt x="1124" y="4935"/>
                  </a:lnTo>
                  <a:lnTo>
                    <a:pt x="1146" y="4951"/>
                  </a:lnTo>
                  <a:lnTo>
                    <a:pt x="1170" y="4966"/>
                  </a:lnTo>
                  <a:lnTo>
                    <a:pt x="1195" y="4980"/>
                  </a:lnTo>
                  <a:lnTo>
                    <a:pt x="1247" y="5008"/>
                  </a:lnTo>
                  <a:lnTo>
                    <a:pt x="1293" y="5031"/>
                  </a:lnTo>
                  <a:lnTo>
                    <a:pt x="1313" y="5042"/>
                  </a:lnTo>
                  <a:lnTo>
                    <a:pt x="1329" y="5051"/>
                  </a:lnTo>
                  <a:lnTo>
                    <a:pt x="1329" y="5051"/>
                  </a:lnTo>
                  <a:lnTo>
                    <a:pt x="1336" y="5056"/>
                  </a:lnTo>
                  <a:lnTo>
                    <a:pt x="1339" y="5060"/>
                  </a:lnTo>
                  <a:lnTo>
                    <a:pt x="1341" y="5063"/>
                  </a:lnTo>
                  <a:lnTo>
                    <a:pt x="1339" y="5066"/>
                  </a:lnTo>
                  <a:lnTo>
                    <a:pt x="1336" y="5068"/>
                  </a:lnTo>
                  <a:lnTo>
                    <a:pt x="1332" y="5070"/>
                  </a:lnTo>
                  <a:lnTo>
                    <a:pt x="1326" y="5071"/>
                  </a:lnTo>
                  <a:lnTo>
                    <a:pt x="1326" y="5071"/>
                  </a:lnTo>
                  <a:lnTo>
                    <a:pt x="1316" y="5071"/>
                  </a:lnTo>
                  <a:lnTo>
                    <a:pt x="1304" y="5069"/>
                  </a:lnTo>
                  <a:lnTo>
                    <a:pt x="1289" y="5066"/>
                  </a:lnTo>
                  <a:lnTo>
                    <a:pt x="1273" y="5061"/>
                  </a:lnTo>
                  <a:lnTo>
                    <a:pt x="1237" y="5050"/>
                  </a:lnTo>
                  <a:lnTo>
                    <a:pt x="1197" y="5035"/>
                  </a:lnTo>
                  <a:lnTo>
                    <a:pt x="1115" y="5004"/>
                  </a:lnTo>
                  <a:lnTo>
                    <a:pt x="1077" y="4988"/>
                  </a:lnTo>
                  <a:lnTo>
                    <a:pt x="1042" y="4977"/>
                  </a:lnTo>
                  <a:lnTo>
                    <a:pt x="1042" y="4977"/>
                  </a:lnTo>
                  <a:lnTo>
                    <a:pt x="1031" y="4974"/>
                  </a:lnTo>
                  <a:lnTo>
                    <a:pt x="1020" y="4972"/>
                  </a:lnTo>
                  <a:lnTo>
                    <a:pt x="1011" y="4972"/>
                  </a:lnTo>
                  <a:lnTo>
                    <a:pt x="1003" y="4973"/>
                  </a:lnTo>
                  <a:lnTo>
                    <a:pt x="996" y="4975"/>
                  </a:lnTo>
                  <a:lnTo>
                    <a:pt x="990" y="4978"/>
                  </a:lnTo>
                  <a:lnTo>
                    <a:pt x="985" y="4981"/>
                  </a:lnTo>
                  <a:lnTo>
                    <a:pt x="981" y="4984"/>
                  </a:lnTo>
                  <a:lnTo>
                    <a:pt x="972" y="4993"/>
                  </a:lnTo>
                  <a:lnTo>
                    <a:pt x="966" y="5000"/>
                  </a:lnTo>
                  <a:lnTo>
                    <a:pt x="962" y="5005"/>
                  </a:lnTo>
                  <a:lnTo>
                    <a:pt x="959" y="5006"/>
                  </a:lnTo>
                  <a:lnTo>
                    <a:pt x="957" y="5007"/>
                  </a:lnTo>
                  <a:lnTo>
                    <a:pt x="957" y="5007"/>
                  </a:lnTo>
                  <a:lnTo>
                    <a:pt x="948" y="5006"/>
                  </a:lnTo>
                  <a:lnTo>
                    <a:pt x="938" y="5005"/>
                  </a:lnTo>
                  <a:lnTo>
                    <a:pt x="926" y="5006"/>
                  </a:lnTo>
                  <a:lnTo>
                    <a:pt x="916" y="5006"/>
                  </a:lnTo>
                  <a:lnTo>
                    <a:pt x="894" y="5010"/>
                  </a:lnTo>
                  <a:lnTo>
                    <a:pt x="871" y="5016"/>
                  </a:lnTo>
                  <a:lnTo>
                    <a:pt x="849" y="5024"/>
                  </a:lnTo>
                  <a:lnTo>
                    <a:pt x="826" y="5034"/>
                  </a:lnTo>
                  <a:lnTo>
                    <a:pt x="805" y="5048"/>
                  </a:lnTo>
                  <a:lnTo>
                    <a:pt x="794" y="5055"/>
                  </a:lnTo>
                  <a:lnTo>
                    <a:pt x="785" y="5062"/>
                  </a:lnTo>
                  <a:lnTo>
                    <a:pt x="776" y="5070"/>
                  </a:lnTo>
                  <a:lnTo>
                    <a:pt x="768" y="5078"/>
                  </a:lnTo>
                  <a:lnTo>
                    <a:pt x="760" y="5088"/>
                  </a:lnTo>
                  <a:lnTo>
                    <a:pt x="753" y="5097"/>
                  </a:lnTo>
                  <a:lnTo>
                    <a:pt x="746" y="5107"/>
                  </a:lnTo>
                  <a:lnTo>
                    <a:pt x="740" y="5116"/>
                  </a:lnTo>
                  <a:lnTo>
                    <a:pt x="736" y="5127"/>
                  </a:lnTo>
                  <a:lnTo>
                    <a:pt x="732" y="5139"/>
                  </a:lnTo>
                  <a:lnTo>
                    <a:pt x="730" y="5150"/>
                  </a:lnTo>
                  <a:lnTo>
                    <a:pt x="728" y="5161"/>
                  </a:lnTo>
                  <a:lnTo>
                    <a:pt x="728" y="5173"/>
                  </a:lnTo>
                  <a:lnTo>
                    <a:pt x="728" y="5186"/>
                  </a:lnTo>
                  <a:lnTo>
                    <a:pt x="731" y="5199"/>
                  </a:lnTo>
                  <a:lnTo>
                    <a:pt x="734" y="5211"/>
                  </a:lnTo>
                  <a:lnTo>
                    <a:pt x="739" y="5225"/>
                  </a:lnTo>
                  <a:lnTo>
                    <a:pt x="745" y="5239"/>
                  </a:lnTo>
                  <a:lnTo>
                    <a:pt x="745" y="5239"/>
                  </a:lnTo>
                  <a:lnTo>
                    <a:pt x="748" y="5234"/>
                  </a:lnTo>
                  <a:lnTo>
                    <a:pt x="758" y="5221"/>
                  </a:lnTo>
                  <a:lnTo>
                    <a:pt x="773" y="5202"/>
                  </a:lnTo>
                  <a:lnTo>
                    <a:pt x="781" y="5192"/>
                  </a:lnTo>
                  <a:lnTo>
                    <a:pt x="791" y="5182"/>
                  </a:lnTo>
                  <a:lnTo>
                    <a:pt x="803" y="5171"/>
                  </a:lnTo>
                  <a:lnTo>
                    <a:pt x="814" y="5162"/>
                  </a:lnTo>
                  <a:lnTo>
                    <a:pt x="826" y="5154"/>
                  </a:lnTo>
                  <a:lnTo>
                    <a:pt x="839" y="5147"/>
                  </a:lnTo>
                  <a:lnTo>
                    <a:pt x="853" y="5142"/>
                  </a:lnTo>
                  <a:lnTo>
                    <a:pt x="859" y="5140"/>
                  </a:lnTo>
                  <a:lnTo>
                    <a:pt x="866" y="5139"/>
                  </a:lnTo>
                  <a:lnTo>
                    <a:pt x="873" y="5139"/>
                  </a:lnTo>
                  <a:lnTo>
                    <a:pt x="879" y="5139"/>
                  </a:lnTo>
                  <a:lnTo>
                    <a:pt x="887" y="5140"/>
                  </a:lnTo>
                  <a:lnTo>
                    <a:pt x="894" y="5142"/>
                  </a:lnTo>
                  <a:lnTo>
                    <a:pt x="894" y="5142"/>
                  </a:lnTo>
                  <a:lnTo>
                    <a:pt x="899" y="5144"/>
                  </a:lnTo>
                  <a:lnTo>
                    <a:pt x="902" y="5148"/>
                  </a:lnTo>
                  <a:lnTo>
                    <a:pt x="903" y="5154"/>
                  </a:lnTo>
                  <a:lnTo>
                    <a:pt x="904" y="5160"/>
                  </a:lnTo>
                  <a:lnTo>
                    <a:pt x="904" y="5177"/>
                  </a:lnTo>
                  <a:lnTo>
                    <a:pt x="902" y="5195"/>
                  </a:lnTo>
                  <a:lnTo>
                    <a:pt x="902" y="5205"/>
                  </a:lnTo>
                  <a:lnTo>
                    <a:pt x="902" y="5215"/>
                  </a:lnTo>
                  <a:lnTo>
                    <a:pt x="904" y="5226"/>
                  </a:lnTo>
                  <a:lnTo>
                    <a:pt x="906" y="5235"/>
                  </a:lnTo>
                  <a:lnTo>
                    <a:pt x="910" y="5245"/>
                  </a:lnTo>
                  <a:lnTo>
                    <a:pt x="915" y="5254"/>
                  </a:lnTo>
                  <a:lnTo>
                    <a:pt x="923" y="5262"/>
                  </a:lnTo>
                  <a:lnTo>
                    <a:pt x="933" y="5270"/>
                  </a:lnTo>
                  <a:lnTo>
                    <a:pt x="933" y="5270"/>
                  </a:lnTo>
                  <a:lnTo>
                    <a:pt x="941" y="5274"/>
                  </a:lnTo>
                  <a:lnTo>
                    <a:pt x="949" y="5277"/>
                  </a:lnTo>
                  <a:lnTo>
                    <a:pt x="959" y="5280"/>
                  </a:lnTo>
                  <a:lnTo>
                    <a:pt x="970" y="5281"/>
                  </a:lnTo>
                  <a:lnTo>
                    <a:pt x="982" y="5283"/>
                  </a:lnTo>
                  <a:lnTo>
                    <a:pt x="995" y="5283"/>
                  </a:lnTo>
                  <a:lnTo>
                    <a:pt x="1021" y="5283"/>
                  </a:lnTo>
                  <a:lnTo>
                    <a:pt x="1051" y="5281"/>
                  </a:lnTo>
                  <a:lnTo>
                    <a:pt x="1082" y="5278"/>
                  </a:lnTo>
                  <a:lnTo>
                    <a:pt x="1146" y="5270"/>
                  </a:lnTo>
                  <a:lnTo>
                    <a:pt x="1209" y="5261"/>
                  </a:lnTo>
                  <a:lnTo>
                    <a:pt x="1238" y="5257"/>
                  </a:lnTo>
                  <a:lnTo>
                    <a:pt x="1266" y="5255"/>
                  </a:lnTo>
                  <a:lnTo>
                    <a:pt x="1290" y="5254"/>
                  </a:lnTo>
                  <a:lnTo>
                    <a:pt x="1311" y="5255"/>
                  </a:lnTo>
                  <a:lnTo>
                    <a:pt x="1320" y="5256"/>
                  </a:lnTo>
                  <a:lnTo>
                    <a:pt x="1328" y="5258"/>
                  </a:lnTo>
                  <a:lnTo>
                    <a:pt x="1335" y="5261"/>
                  </a:lnTo>
                  <a:lnTo>
                    <a:pt x="1341" y="5266"/>
                  </a:lnTo>
                  <a:lnTo>
                    <a:pt x="1341" y="5266"/>
                  </a:lnTo>
                  <a:lnTo>
                    <a:pt x="1344" y="5269"/>
                  </a:lnTo>
                  <a:lnTo>
                    <a:pt x="1345" y="5272"/>
                  </a:lnTo>
                  <a:lnTo>
                    <a:pt x="1344" y="5274"/>
                  </a:lnTo>
                  <a:lnTo>
                    <a:pt x="1339" y="5277"/>
                  </a:lnTo>
                  <a:lnTo>
                    <a:pt x="1335" y="5279"/>
                  </a:lnTo>
                  <a:lnTo>
                    <a:pt x="1328" y="5282"/>
                  </a:lnTo>
                  <a:lnTo>
                    <a:pt x="1311" y="5286"/>
                  </a:lnTo>
                  <a:lnTo>
                    <a:pt x="1288" y="5290"/>
                  </a:lnTo>
                  <a:lnTo>
                    <a:pt x="1263" y="5293"/>
                  </a:lnTo>
                  <a:lnTo>
                    <a:pt x="1202" y="5301"/>
                  </a:lnTo>
                  <a:lnTo>
                    <a:pt x="1171" y="5305"/>
                  </a:lnTo>
                  <a:lnTo>
                    <a:pt x="1140" y="5310"/>
                  </a:lnTo>
                  <a:lnTo>
                    <a:pt x="1110" y="5317"/>
                  </a:lnTo>
                  <a:lnTo>
                    <a:pt x="1084" y="5323"/>
                  </a:lnTo>
                  <a:lnTo>
                    <a:pt x="1072" y="5327"/>
                  </a:lnTo>
                  <a:lnTo>
                    <a:pt x="1060" y="5331"/>
                  </a:lnTo>
                  <a:lnTo>
                    <a:pt x="1050" y="5335"/>
                  </a:lnTo>
                  <a:lnTo>
                    <a:pt x="1042" y="5340"/>
                  </a:lnTo>
                  <a:lnTo>
                    <a:pt x="1035" y="5345"/>
                  </a:lnTo>
                  <a:lnTo>
                    <a:pt x="1030" y="5350"/>
                  </a:lnTo>
                  <a:lnTo>
                    <a:pt x="1026" y="5357"/>
                  </a:lnTo>
                  <a:lnTo>
                    <a:pt x="1024" y="5363"/>
                  </a:lnTo>
                  <a:lnTo>
                    <a:pt x="1024" y="5363"/>
                  </a:lnTo>
                  <a:lnTo>
                    <a:pt x="1023" y="5368"/>
                  </a:lnTo>
                  <a:lnTo>
                    <a:pt x="1023" y="5377"/>
                  </a:lnTo>
                  <a:lnTo>
                    <a:pt x="1024" y="5388"/>
                  </a:lnTo>
                  <a:lnTo>
                    <a:pt x="1026" y="5394"/>
                  </a:lnTo>
                  <a:lnTo>
                    <a:pt x="1028" y="5399"/>
                  </a:lnTo>
                  <a:lnTo>
                    <a:pt x="1028" y="5399"/>
                  </a:lnTo>
                  <a:lnTo>
                    <a:pt x="1029" y="5406"/>
                  </a:lnTo>
                  <a:lnTo>
                    <a:pt x="1029" y="5412"/>
                  </a:lnTo>
                  <a:lnTo>
                    <a:pt x="1026" y="5418"/>
                  </a:lnTo>
                  <a:lnTo>
                    <a:pt x="1021" y="5424"/>
                  </a:lnTo>
                  <a:lnTo>
                    <a:pt x="1011" y="5438"/>
                  </a:lnTo>
                  <a:lnTo>
                    <a:pt x="997" y="5456"/>
                  </a:lnTo>
                  <a:lnTo>
                    <a:pt x="989" y="5466"/>
                  </a:lnTo>
                  <a:lnTo>
                    <a:pt x="982" y="5476"/>
                  </a:lnTo>
                  <a:lnTo>
                    <a:pt x="974" y="5488"/>
                  </a:lnTo>
                  <a:lnTo>
                    <a:pt x="968" y="5501"/>
                  </a:lnTo>
                  <a:lnTo>
                    <a:pt x="962" y="5515"/>
                  </a:lnTo>
                  <a:lnTo>
                    <a:pt x="958" y="5530"/>
                  </a:lnTo>
                  <a:lnTo>
                    <a:pt x="954" y="5547"/>
                  </a:lnTo>
                  <a:lnTo>
                    <a:pt x="953" y="5565"/>
                  </a:lnTo>
                  <a:lnTo>
                    <a:pt x="953" y="5565"/>
                  </a:lnTo>
                  <a:lnTo>
                    <a:pt x="953" y="5574"/>
                  </a:lnTo>
                  <a:lnTo>
                    <a:pt x="953" y="5583"/>
                  </a:lnTo>
                  <a:lnTo>
                    <a:pt x="956" y="5601"/>
                  </a:lnTo>
                  <a:lnTo>
                    <a:pt x="961" y="5618"/>
                  </a:lnTo>
                  <a:lnTo>
                    <a:pt x="967" y="5634"/>
                  </a:lnTo>
                  <a:lnTo>
                    <a:pt x="975" y="5649"/>
                  </a:lnTo>
                  <a:lnTo>
                    <a:pt x="985" y="5663"/>
                  </a:lnTo>
                  <a:lnTo>
                    <a:pt x="995" y="5676"/>
                  </a:lnTo>
                  <a:lnTo>
                    <a:pt x="1005" y="5688"/>
                  </a:lnTo>
                  <a:lnTo>
                    <a:pt x="1015" y="5698"/>
                  </a:lnTo>
                  <a:lnTo>
                    <a:pt x="1026" y="5707"/>
                  </a:lnTo>
                  <a:lnTo>
                    <a:pt x="1043" y="5723"/>
                  </a:lnTo>
                  <a:lnTo>
                    <a:pt x="1055" y="5731"/>
                  </a:lnTo>
                  <a:lnTo>
                    <a:pt x="1060" y="5735"/>
                  </a:lnTo>
                  <a:lnTo>
                    <a:pt x="1060" y="5735"/>
                  </a:lnTo>
                  <a:lnTo>
                    <a:pt x="1062" y="5731"/>
                  </a:lnTo>
                  <a:lnTo>
                    <a:pt x="1063" y="5726"/>
                  </a:lnTo>
                  <a:lnTo>
                    <a:pt x="1063" y="5717"/>
                  </a:lnTo>
                  <a:lnTo>
                    <a:pt x="1062" y="5708"/>
                  </a:lnTo>
                  <a:lnTo>
                    <a:pt x="1059" y="5687"/>
                  </a:lnTo>
                  <a:lnTo>
                    <a:pt x="1056" y="5661"/>
                  </a:lnTo>
                  <a:lnTo>
                    <a:pt x="1055" y="5649"/>
                  </a:lnTo>
                  <a:lnTo>
                    <a:pt x="1054" y="5636"/>
                  </a:lnTo>
                  <a:lnTo>
                    <a:pt x="1054" y="5624"/>
                  </a:lnTo>
                  <a:lnTo>
                    <a:pt x="1056" y="5613"/>
                  </a:lnTo>
                  <a:lnTo>
                    <a:pt x="1058" y="5603"/>
                  </a:lnTo>
                  <a:lnTo>
                    <a:pt x="1062" y="5594"/>
                  </a:lnTo>
                  <a:lnTo>
                    <a:pt x="1065" y="5591"/>
                  </a:lnTo>
                  <a:lnTo>
                    <a:pt x="1069" y="5587"/>
                  </a:lnTo>
                  <a:lnTo>
                    <a:pt x="1072" y="5585"/>
                  </a:lnTo>
                  <a:lnTo>
                    <a:pt x="1076" y="5582"/>
                  </a:lnTo>
                  <a:lnTo>
                    <a:pt x="1076" y="5582"/>
                  </a:lnTo>
                  <a:lnTo>
                    <a:pt x="1081" y="5581"/>
                  </a:lnTo>
                  <a:lnTo>
                    <a:pt x="1085" y="5581"/>
                  </a:lnTo>
                  <a:lnTo>
                    <a:pt x="1090" y="5582"/>
                  </a:lnTo>
                  <a:lnTo>
                    <a:pt x="1094" y="5586"/>
                  </a:lnTo>
                  <a:lnTo>
                    <a:pt x="1103" y="5593"/>
                  </a:lnTo>
                  <a:lnTo>
                    <a:pt x="1114" y="5602"/>
                  </a:lnTo>
                  <a:lnTo>
                    <a:pt x="1125" y="5613"/>
                  </a:lnTo>
                  <a:lnTo>
                    <a:pt x="1138" y="5622"/>
                  </a:lnTo>
                  <a:lnTo>
                    <a:pt x="1145" y="5627"/>
                  </a:lnTo>
                  <a:lnTo>
                    <a:pt x="1152" y="5631"/>
                  </a:lnTo>
                  <a:lnTo>
                    <a:pt x="1162" y="5634"/>
                  </a:lnTo>
                  <a:lnTo>
                    <a:pt x="1170" y="5636"/>
                  </a:lnTo>
                  <a:lnTo>
                    <a:pt x="1170" y="5636"/>
                  </a:lnTo>
                  <a:lnTo>
                    <a:pt x="1179" y="5636"/>
                  </a:lnTo>
                  <a:lnTo>
                    <a:pt x="1188" y="5636"/>
                  </a:lnTo>
                  <a:lnTo>
                    <a:pt x="1196" y="5635"/>
                  </a:lnTo>
                  <a:lnTo>
                    <a:pt x="1206" y="5633"/>
                  </a:lnTo>
                  <a:lnTo>
                    <a:pt x="1214" y="5629"/>
                  </a:lnTo>
                  <a:lnTo>
                    <a:pt x="1222" y="5625"/>
                  </a:lnTo>
                  <a:lnTo>
                    <a:pt x="1229" y="5621"/>
                  </a:lnTo>
                  <a:lnTo>
                    <a:pt x="1237" y="5616"/>
                  </a:lnTo>
                  <a:lnTo>
                    <a:pt x="1253" y="5604"/>
                  </a:lnTo>
                  <a:lnTo>
                    <a:pt x="1267" y="5590"/>
                  </a:lnTo>
                  <a:lnTo>
                    <a:pt x="1282" y="5573"/>
                  </a:lnTo>
                  <a:lnTo>
                    <a:pt x="1299" y="5556"/>
                  </a:lnTo>
                  <a:lnTo>
                    <a:pt x="1332" y="5517"/>
                  </a:lnTo>
                  <a:lnTo>
                    <a:pt x="1352" y="5498"/>
                  </a:lnTo>
                  <a:lnTo>
                    <a:pt x="1372" y="5478"/>
                  </a:lnTo>
                  <a:lnTo>
                    <a:pt x="1395" y="5458"/>
                  </a:lnTo>
                  <a:lnTo>
                    <a:pt x="1419" y="5439"/>
                  </a:lnTo>
                  <a:lnTo>
                    <a:pt x="1433" y="5430"/>
                  </a:lnTo>
                  <a:lnTo>
                    <a:pt x="1446" y="5422"/>
                  </a:lnTo>
                  <a:lnTo>
                    <a:pt x="1460" y="5414"/>
                  </a:lnTo>
                  <a:lnTo>
                    <a:pt x="1475" y="5406"/>
                  </a:lnTo>
                  <a:lnTo>
                    <a:pt x="1475" y="5406"/>
                  </a:lnTo>
                  <a:lnTo>
                    <a:pt x="1515" y="5387"/>
                  </a:lnTo>
                  <a:lnTo>
                    <a:pt x="1547" y="5375"/>
                  </a:lnTo>
                  <a:lnTo>
                    <a:pt x="1559" y="5370"/>
                  </a:lnTo>
                  <a:lnTo>
                    <a:pt x="1571" y="5367"/>
                  </a:lnTo>
                  <a:lnTo>
                    <a:pt x="1580" y="5366"/>
                  </a:lnTo>
                  <a:lnTo>
                    <a:pt x="1587" y="5365"/>
                  </a:lnTo>
                  <a:lnTo>
                    <a:pt x="1593" y="5365"/>
                  </a:lnTo>
                  <a:lnTo>
                    <a:pt x="1597" y="5367"/>
                  </a:lnTo>
                  <a:lnTo>
                    <a:pt x="1600" y="5369"/>
                  </a:lnTo>
                  <a:lnTo>
                    <a:pt x="1602" y="5372"/>
                  </a:lnTo>
                  <a:lnTo>
                    <a:pt x="1604" y="5375"/>
                  </a:lnTo>
                  <a:lnTo>
                    <a:pt x="1604" y="5379"/>
                  </a:lnTo>
                  <a:lnTo>
                    <a:pt x="1603" y="5389"/>
                  </a:lnTo>
                  <a:lnTo>
                    <a:pt x="1600" y="5401"/>
                  </a:lnTo>
                  <a:lnTo>
                    <a:pt x="1596" y="5415"/>
                  </a:lnTo>
                  <a:lnTo>
                    <a:pt x="1593" y="5428"/>
                  </a:lnTo>
                  <a:lnTo>
                    <a:pt x="1591" y="5440"/>
                  </a:lnTo>
                  <a:lnTo>
                    <a:pt x="1591" y="5446"/>
                  </a:lnTo>
                  <a:lnTo>
                    <a:pt x="1591" y="5453"/>
                  </a:lnTo>
                  <a:lnTo>
                    <a:pt x="1593" y="5458"/>
                  </a:lnTo>
                  <a:lnTo>
                    <a:pt x="1595" y="5463"/>
                  </a:lnTo>
                  <a:lnTo>
                    <a:pt x="1598" y="5467"/>
                  </a:lnTo>
                  <a:lnTo>
                    <a:pt x="1603" y="5471"/>
                  </a:lnTo>
                  <a:lnTo>
                    <a:pt x="1609" y="5474"/>
                  </a:lnTo>
                  <a:lnTo>
                    <a:pt x="1617" y="5476"/>
                  </a:lnTo>
                  <a:lnTo>
                    <a:pt x="1617" y="5476"/>
                  </a:lnTo>
                  <a:lnTo>
                    <a:pt x="1629" y="5480"/>
                  </a:lnTo>
                  <a:lnTo>
                    <a:pt x="1640" y="5483"/>
                  </a:lnTo>
                  <a:lnTo>
                    <a:pt x="1649" y="5488"/>
                  </a:lnTo>
                  <a:lnTo>
                    <a:pt x="1656" y="5492"/>
                  </a:lnTo>
                  <a:lnTo>
                    <a:pt x="1663" y="5498"/>
                  </a:lnTo>
                  <a:lnTo>
                    <a:pt x="1668" y="5503"/>
                  </a:lnTo>
                  <a:lnTo>
                    <a:pt x="1671" y="5509"/>
                  </a:lnTo>
                  <a:lnTo>
                    <a:pt x="1673" y="5515"/>
                  </a:lnTo>
                  <a:lnTo>
                    <a:pt x="1675" y="5521"/>
                  </a:lnTo>
                  <a:lnTo>
                    <a:pt x="1675" y="5527"/>
                  </a:lnTo>
                  <a:lnTo>
                    <a:pt x="1674" y="5534"/>
                  </a:lnTo>
                  <a:lnTo>
                    <a:pt x="1673" y="5541"/>
                  </a:lnTo>
                  <a:lnTo>
                    <a:pt x="1671" y="5548"/>
                  </a:lnTo>
                  <a:lnTo>
                    <a:pt x="1668" y="5555"/>
                  </a:lnTo>
                  <a:lnTo>
                    <a:pt x="1660" y="5568"/>
                  </a:lnTo>
                  <a:lnTo>
                    <a:pt x="1650" y="5581"/>
                  </a:lnTo>
                  <a:lnTo>
                    <a:pt x="1640" y="5594"/>
                  </a:lnTo>
                  <a:lnTo>
                    <a:pt x="1630" y="5605"/>
                  </a:lnTo>
                  <a:lnTo>
                    <a:pt x="1620" y="5615"/>
                  </a:lnTo>
                  <a:lnTo>
                    <a:pt x="1603" y="5629"/>
                  </a:lnTo>
                  <a:lnTo>
                    <a:pt x="1597" y="5636"/>
                  </a:lnTo>
                  <a:lnTo>
                    <a:pt x="1597" y="5636"/>
                  </a:lnTo>
                  <a:lnTo>
                    <a:pt x="1605" y="5640"/>
                  </a:lnTo>
                  <a:lnTo>
                    <a:pt x="1616" y="5642"/>
                  </a:lnTo>
                  <a:lnTo>
                    <a:pt x="1627" y="5643"/>
                  </a:lnTo>
                  <a:lnTo>
                    <a:pt x="1640" y="5642"/>
                  </a:lnTo>
                  <a:lnTo>
                    <a:pt x="1654" y="5639"/>
                  </a:lnTo>
                  <a:lnTo>
                    <a:pt x="1669" y="5635"/>
                  </a:lnTo>
                  <a:lnTo>
                    <a:pt x="1685" y="5628"/>
                  </a:lnTo>
                  <a:lnTo>
                    <a:pt x="1700" y="5620"/>
                  </a:lnTo>
                  <a:lnTo>
                    <a:pt x="1717" y="5611"/>
                  </a:lnTo>
                  <a:lnTo>
                    <a:pt x="1732" y="5600"/>
                  </a:lnTo>
                  <a:lnTo>
                    <a:pt x="1747" y="5587"/>
                  </a:lnTo>
                  <a:lnTo>
                    <a:pt x="1763" y="5572"/>
                  </a:lnTo>
                  <a:lnTo>
                    <a:pt x="1776" y="5555"/>
                  </a:lnTo>
                  <a:lnTo>
                    <a:pt x="1789" y="5536"/>
                  </a:lnTo>
                  <a:lnTo>
                    <a:pt x="1801" y="5516"/>
                  </a:lnTo>
                  <a:lnTo>
                    <a:pt x="1811" y="5495"/>
                  </a:lnTo>
                  <a:lnTo>
                    <a:pt x="1811" y="5495"/>
                  </a:lnTo>
                  <a:lnTo>
                    <a:pt x="1814" y="5486"/>
                  </a:lnTo>
                  <a:lnTo>
                    <a:pt x="1817" y="5480"/>
                  </a:lnTo>
                  <a:lnTo>
                    <a:pt x="1820" y="5475"/>
                  </a:lnTo>
                  <a:lnTo>
                    <a:pt x="1824" y="5471"/>
                  </a:lnTo>
                  <a:lnTo>
                    <a:pt x="1828" y="5468"/>
                  </a:lnTo>
                  <a:lnTo>
                    <a:pt x="1831" y="5465"/>
                  </a:lnTo>
                  <a:lnTo>
                    <a:pt x="1839" y="5462"/>
                  </a:lnTo>
                  <a:lnTo>
                    <a:pt x="1848" y="5459"/>
                  </a:lnTo>
                  <a:lnTo>
                    <a:pt x="1857" y="5455"/>
                  </a:lnTo>
                  <a:lnTo>
                    <a:pt x="1866" y="5449"/>
                  </a:lnTo>
                  <a:lnTo>
                    <a:pt x="1871" y="5444"/>
                  </a:lnTo>
                  <a:lnTo>
                    <a:pt x="1876" y="5439"/>
                  </a:lnTo>
                  <a:lnTo>
                    <a:pt x="1876" y="5439"/>
                  </a:lnTo>
                  <a:lnTo>
                    <a:pt x="1879" y="5433"/>
                  </a:lnTo>
                  <a:lnTo>
                    <a:pt x="1882" y="5427"/>
                  </a:lnTo>
                  <a:lnTo>
                    <a:pt x="1886" y="5421"/>
                  </a:lnTo>
                  <a:lnTo>
                    <a:pt x="1887" y="5415"/>
                  </a:lnTo>
                  <a:lnTo>
                    <a:pt x="1888" y="5400"/>
                  </a:lnTo>
                  <a:lnTo>
                    <a:pt x="1888" y="5386"/>
                  </a:lnTo>
                  <a:lnTo>
                    <a:pt x="1888" y="5371"/>
                  </a:lnTo>
                  <a:lnTo>
                    <a:pt x="1888" y="5357"/>
                  </a:lnTo>
                  <a:lnTo>
                    <a:pt x="1890" y="5342"/>
                  </a:lnTo>
                  <a:lnTo>
                    <a:pt x="1892" y="5336"/>
                  </a:lnTo>
                  <a:lnTo>
                    <a:pt x="1894" y="5330"/>
                  </a:lnTo>
                  <a:lnTo>
                    <a:pt x="1894" y="5330"/>
                  </a:lnTo>
                  <a:lnTo>
                    <a:pt x="1898" y="5324"/>
                  </a:lnTo>
                  <a:lnTo>
                    <a:pt x="1902" y="5319"/>
                  </a:lnTo>
                  <a:lnTo>
                    <a:pt x="1906" y="5314"/>
                  </a:lnTo>
                  <a:lnTo>
                    <a:pt x="1911" y="5309"/>
                  </a:lnTo>
                  <a:lnTo>
                    <a:pt x="1923" y="5301"/>
                  </a:lnTo>
                  <a:lnTo>
                    <a:pt x="1937" y="5295"/>
                  </a:lnTo>
                  <a:lnTo>
                    <a:pt x="1951" y="5290"/>
                  </a:lnTo>
                  <a:lnTo>
                    <a:pt x="1965" y="5286"/>
                  </a:lnTo>
                  <a:lnTo>
                    <a:pt x="1996" y="5278"/>
                  </a:lnTo>
                  <a:lnTo>
                    <a:pt x="2026" y="5272"/>
                  </a:lnTo>
                  <a:lnTo>
                    <a:pt x="2038" y="5268"/>
                  </a:lnTo>
                  <a:lnTo>
                    <a:pt x="2049" y="5262"/>
                  </a:lnTo>
                  <a:lnTo>
                    <a:pt x="2057" y="5256"/>
                  </a:lnTo>
                  <a:lnTo>
                    <a:pt x="2061" y="5253"/>
                  </a:lnTo>
                  <a:lnTo>
                    <a:pt x="2063" y="5249"/>
                  </a:lnTo>
                  <a:lnTo>
                    <a:pt x="2066" y="5245"/>
                  </a:lnTo>
                  <a:lnTo>
                    <a:pt x="2068" y="5240"/>
                  </a:lnTo>
                  <a:lnTo>
                    <a:pt x="2068" y="5235"/>
                  </a:lnTo>
                  <a:lnTo>
                    <a:pt x="2068" y="5230"/>
                  </a:lnTo>
                  <a:lnTo>
                    <a:pt x="2068" y="5230"/>
                  </a:lnTo>
                  <a:lnTo>
                    <a:pt x="2066" y="5215"/>
                  </a:lnTo>
                  <a:lnTo>
                    <a:pt x="2066" y="5202"/>
                  </a:lnTo>
                  <a:lnTo>
                    <a:pt x="2069" y="5190"/>
                  </a:lnTo>
                  <a:lnTo>
                    <a:pt x="2073" y="5180"/>
                  </a:lnTo>
                  <a:lnTo>
                    <a:pt x="2078" y="5169"/>
                  </a:lnTo>
                  <a:lnTo>
                    <a:pt x="2083" y="5161"/>
                  </a:lnTo>
                  <a:lnTo>
                    <a:pt x="2090" y="5153"/>
                  </a:lnTo>
                  <a:lnTo>
                    <a:pt x="2098" y="5146"/>
                  </a:lnTo>
                  <a:lnTo>
                    <a:pt x="2106" y="5140"/>
                  </a:lnTo>
                  <a:lnTo>
                    <a:pt x="2116" y="5134"/>
                  </a:lnTo>
                  <a:lnTo>
                    <a:pt x="2134" y="5124"/>
                  </a:lnTo>
                  <a:lnTo>
                    <a:pt x="2152" y="5116"/>
                  </a:lnTo>
                  <a:lnTo>
                    <a:pt x="2169" y="5109"/>
                  </a:lnTo>
                  <a:lnTo>
                    <a:pt x="2169" y="5109"/>
                  </a:lnTo>
                  <a:lnTo>
                    <a:pt x="2171" y="5109"/>
                  </a:lnTo>
                  <a:lnTo>
                    <a:pt x="2172" y="5110"/>
                  </a:lnTo>
                  <a:lnTo>
                    <a:pt x="2175" y="5112"/>
                  </a:lnTo>
                  <a:lnTo>
                    <a:pt x="2177" y="5117"/>
                  </a:lnTo>
                  <a:lnTo>
                    <a:pt x="2181" y="5124"/>
                  </a:lnTo>
                  <a:lnTo>
                    <a:pt x="2189" y="5143"/>
                  </a:lnTo>
                  <a:lnTo>
                    <a:pt x="2195" y="5154"/>
                  </a:lnTo>
                  <a:lnTo>
                    <a:pt x="2202" y="5166"/>
                  </a:lnTo>
                  <a:lnTo>
                    <a:pt x="2212" y="5179"/>
                  </a:lnTo>
                  <a:lnTo>
                    <a:pt x="2222" y="5192"/>
                  </a:lnTo>
                  <a:lnTo>
                    <a:pt x="2234" y="5206"/>
                  </a:lnTo>
                  <a:lnTo>
                    <a:pt x="2250" y="5220"/>
                  </a:lnTo>
                  <a:lnTo>
                    <a:pt x="2267" y="5233"/>
                  </a:lnTo>
                  <a:lnTo>
                    <a:pt x="2287" y="5245"/>
                  </a:lnTo>
                  <a:lnTo>
                    <a:pt x="2311" y="5257"/>
                  </a:lnTo>
                  <a:lnTo>
                    <a:pt x="2337" y="5268"/>
                  </a:lnTo>
                  <a:lnTo>
                    <a:pt x="2337" y="5268"/>
                  </a:lnTo>
                  <a:lnTo>
                    <a:pt x="2412" y="5237"/>
                  </a:lnTo>
                  <a:lnTo>
                    <a:pt x="2458" y="5215"/>
                  </a:lnTo>
                  <a:lnTo>
                    <a:pt x="2485" y="5202"/>
                  </a:lnTo>
                  <a:lnTo>
                    <a:pt x="2514" y="5187"/>
                  </a:lnTo>
                  <a:lnTo>
                    <a:pt x="2514" y="5187"/>
                  </a:lnTo>
                  <a:lnTo>
                    <a:pt x="2546" y="5170"/>
                  </a:lnTo>
                  <a:lnTo>
                    <a:pt x="2576" y="5153"/>
                  </a:lnTo>
                  <a:lnTo>
                    <a:pt x="2588" y="5145"/>
                  </a:lnTo>
                  <a:lnTo>
                    <a:pt x="2599" y="5138"/>
                  </a:lnTo>
                  <a:lnTo>
                    <a:pt x="2609" y="5130"/>
                  </a:lnTo>
                  <a:lnTo>
                    <a:pt x="2617" y="5123"/>
                  </a:lnTo>
                  <a:lnTo>
                    <a:pt x="2617" y="5123"/>
                  </a:lnTo>
                  <a:lnTo>
                    <a:pt x="2616" y="5121"/>
                  </a:lnTo>
                  <a:lnTo>
                    <a:pt x="2615" y="5119"/>
                  </a:lnTo>
                  <a:lnTo>
                    <a:pt x="2607" y="5112"/>
                  </a:lnTo>
                  <a:lnTo>
                    <a:pt x="2596" y="5101"/>
                  </a:lnTo>
                  <a:lnTo>
                    <a:pt x="2583" y="5087"/>
                  </a:lnTo>
                  <a:lnTo>
                    <a:pt x="2568" y="5069"/>
                  </a:lnTo>
                  <a:lnTo>
                    <a:pt x="2553" y="5050"/>
                  </a:lnTo>
                  <a:lnTo>
                    <a:pt x="2546" y="5039"/>
                  </a:lnTo>
                  <a:lnTo>
                    <a:pt x="2540" y="5026"/>
                  </a:lnTo>
                  <a:lnTo>
                    <a:pt x="2535" y="5015"/>
                  </a:lnTo>
                  <a:lnTo>
                    <a:pt x="2530" y="5002"/>
                  </a:lnTo>
                  <a:lnTo>
                    <a:pt x="2530" y="5002"/>
                  </a:lnTo>
                  <a:lnTo>
                    <a:pt x="2527" y="4989"/>
                  </a:lnTo>
                  <a:lnTo>
                    <a:pt x="2524" y="4978"/>
                  </a:lnTo>
                  <a:lnTo>
                    <a:pt x="2522" y="4969"/>
                  </a:lnTo>
                  <a:lnTo>
                    <a:pt x="2522" y="4960"/>
                  </a:lnTo>
                  <a:lnTo>
                    <a:pt x="2522" y="4953"/>
                  </a:lnTo>
                  <a:lnTo>
                    <a:pt x="2522" y="4948"/>
                  </a:lnTo>
                  <a:lnTo>
                    <a:pt x="2523" y="4944"/>
                  </a:lnTo>
                  <a:lnTo>
                    <a:pt x="2524" y="4942"/>
                  </a:lnTo>
                  <a:lnTo>
                    <a:pt x="2524" y="4942"/>
                  </a:lnTo>
                  <a:lnTo>
                    <a:pt x="2537" y="4959"/>
                  </a:lnTo>
                  <a:lnTo>
                    <a:pt x="2552" y="4976"/>
                  </a:lnTo>
                  <a:lnTo>
                    <a:pt x="2573" y="4997"/>
                  </a:lnTo>
                  <a:lnTo>
                    <a:pt x="2585" y="5008"/>
                  </a:lnTo>
                  <a:lnTo>
                    <a:pt x="2597" y="5019"/>
                  </a:lnTo>
                  <a:lnTo>
                    <a:pt x="2611" y="5030"/>
                  </a:lnTo>
                  <a:lnTo>
                    <a:pt x="2627" y="5042"/>
                  </a:lnTo>
                  <a:lnTo>
                    <a:pt x="2643" y="5053"/>
                  </a:lnTo>
                  <a:lnTo>
                    <a:pt x="2660" y="5062"/>
                  </a:lnTo>
                  <a:lnTo>
                    <a:pt x="2677" y="5071"/>
                  </a:lnTo>
                  <a:lnTo>
                    <a:pt x="2695" y="5079"/>
                  </a:lnTo>
                  <a:lnTo>
                    <a:pt x="2695" y="5079"/>
                  </a:lnTo>
                  <a:lnTo>
                    <a:pt x="2749" y="5051"/>
                  </a:lnTo>
                  <a:lnTo>
                    <a:pt x="2803" y="5021"/>
                  </a:lnTo>
                  <a:lnTo>
                    <a:pt x="2857" y="4988"/>
                  </a:lnTo>
                  <a:lnTo>
                    <a:pt x="2911" y="4954"/>
                  </a:lnTo>
                  <a:lnTo>
                    <a:pt x="2911" y="4954"/>
                  </a:lnTo>
                  <a:lnTo>
                    <a:pt x="2946" y="4930"/>
                  </a:lnTo>
                  <a:lnTo>
                    <a:pt x="2946" y="4930"/>
                  </a:lnTo>
                  <a:lnTo>
                    <a:pt x="2947" y="4929"/>
                  </a:lnTo>
                  <a:lnTo>
                    <a:pt x="2947" y="4929"/>
                  </a:lnTo>
                  <a:lnTo>
                    <a:pt x="2948" y="4927"/>
                  </a:lnTo>
                  <a:lnTo>
                    <a:pt x="2947" y="4925"/>
                  </a:lnTo>
                  <a:lnTo>
                    <a:pt x="2943" y="4918"/>
                  </a:lnTo>
                  <a:lnTo>
                    <a:pt x="2935" y="4909"/>
                  </a:lnTo>
                  <a:lnTo>
                    <a:pt x="2924" y="4898"/>
                  </a:lnTo>
                  <a:lnTo>
                    <a:pt x="2899" y="4874"/>
                  </a:lnTo>
                  <a:lnTo>
                    <a:pt x="2870" y="4845"/>
                  </a:lnTo>
                  <a:lnTo>
                    <a:pt x="2857" y="4831"/>
                  </a:lnTo>
                  <a:lnTo>
                    <a:pt x="2846" y="4817"/>
                  </a:lnTo>
                  <a:lnTo>
                    <a:pt x="2836" y="4802"/>
                  </a:lnTo>
                  <a:lnTo>
                    <a:pt x="2832" y="4795"/>
                  </a:lnTo>
                  <a:lnTo>
                    <a:pt x="2829" y="4789"/>
                  </a:lnTo>
                  <a:lnTo>
                    <a:pt x="2828" y="4782"/>
                  </a:lnTo>
                  <a:lnTo>
                    <a:pt x="2827" y="4776"/>
                  </a:lnTo>
                  <a:lnTo>
                    <a:pt x="2827" y="4770"/>
                  </a:lnTo>
                  <a:lnTo>
                    <a:pt x="2828" y="4765"/>
                  </a:lnTo>
                  <a:lnTo>
                    <a:pt x="2830" y="4759"/>
                  </a:lnTo>
                  <a:lnTo>
                    <a:pt x="2834" y="4754"/>
                  </a:lnTo>
                  <a:lnTo>
                    <a:pt x="2840" y="4750"/>
                  </a:lnTo>
                  <a:lnTo>
                    <a:pt x="2847" y="4746"/>
                  </a:lnTo>
                  <a:lnTo>
                    <a:pt x="2847" y="4746"/>
                  </a:lnTo>
                  <a:lnTo>
                    <a:pt x="2853" y="4742"/>
                  </a:lnTo>
                  <a:lnTo>
                    <a:pt x="2858" y="4737"/>
                  </a:lnTo>
                  <a:lnTo>
                    <a:pt x="2861" y="4732"/>
                  </a:lnTo>
                  <a:lnTo>
                    <a:pt x="2863" y="4726"/>
                  </a:lnTo>
                  <a:lnTo>
                    <a:pt x="2864" y="4720"/>
                  </a:lnTo>
                  <a:lnTo>
                    <a:pt x="2864" y="4711"/>
                  </a:lnTo>
                  <a:lnTo>
                    <a:pt x="2864" y="4704"/>
                  </a:lnTo>
                  <a:lnTo>
                    <a:pt x="2862" y="4695"/>
                  </a:lnTo>
                  <a:lnTo>
                    <a:pt x="2857" y="4678"/>
                  </a:lnTo>
                  <a:lnTo>
                    <a:pt x="2849" y="4658"/>
                  </a:lnTo>
                  <a:lnTo>
                    <a:pt x="2830" y="4616"/>
                  </a:lnTo>
                  <a:lnTo>
                    <a:pt x="2821" y="4595"/>
                  </a:lnTo>
                  <a:lnTo>
                    <a:pt x="2813" y="4574"/>
                  </a:lnTo>
                  <a:lnTo>
                    <a:pt x="2806" y="4554"/>
                  </a:lnTo>
                  <a:lnTo>
                    <a:pt x="2804" y="4544"/>
                  </a:lnTo>
                  <a:lnTo>
                    <a:pt x="2802" y="4534"/>
                  </a:lnTo>
                  <a:lnTo>
                    <a:pt x="2802" y="4525"/>
                  </a:lnTo>
                  <a:lnTo>
                    <a:pt x="2802" y="4517"/>
                  </a:lnTo>
                  <a:lnTo>
                    <a:pt x="2803" y="4509"/>
                  </a:lnTo>
                  <a:lnTo>
                    <a:pt x="2805" y="4502"/>
                  </a:lnTo>
                  <a:lnTo>
                    <a:pt x="2808" y="4495"/>
                  </a:lnTo>
                  <a:lnTo>
                    <a:pt x="2813" y="4488"/>
                  </a:lnTo>
                  <a:lnTo>
                    <a:pt x="2819" y="4482"/>
                  </a:lnTo>
                  <a:lnTo>
                    <a:pt x="2827" y="4478"/>
                  </a:lnTo>
                  <a:lnTo>
                    <a:pt x="2827" y="4478"/>
                  </a:lnTo>
                  <a:lnTo>
                    <a:pt x="2928" y="4425"/>
                  </a:lnTo>
                  <a:lnTo>
                    <a:pt x="3034" y="4374"/>
                  </a:lnTo>
                  <a:lnTo>
                    <a:pt x="3138" y="4323"/>
                  </a:lnTo>
                  <a:lnTo>
                    <a:pt x="3241" y="4273"/>
                  </a:lnTo>
                  <a:lnTo>
                    <a:pt x="3433" y="4182"/>
                  </a:lnTo>
                  <a:lnTo>
                    <a:pt x="3516" y="4142"/>
                  </a:lnTo>
                  <a:lnTo>
                    <a:pt x="3591" y="4105"/>
                  </a:lnTo>
                  <a:lnTo>
                    <a:pt x="3591" y="4105"/>
                  </a:lnTo>
                  <a:lnTo>
                    <a:pt x="3587" y="4089"/>
                  </a:lnTo>
                  <a:lnTo>
                    <a:pt x="3581" y="4070"/>
                  </a:lnTo>
                  <a:lnTo>
                    <a:pt x="3571" y="4047"/>
                  </a:lnTo>
                  <a:lnTo>
                    <a:pt x="3564" y="4035"/>
                  </a:lnTo>
                  <a:lnTo>
                    <a:pt x="3557" y="4020"/>
                  </a:lnTo>
                  <a:lnTo>
                    <a:pt x="3549" y="4006"/>
                  </a:lnTo>
                  <a:lnTo>
                    <a:pt x="3540" y="3992"/>
                  </a:lnTo>
                  <a:lnTo>
                    <a:pt x="3529" y="3977"/>
                  </a:lnTo>
                  <a:lnTo>
                    <a:pt x="3516" y="3962"/>
                  </a:lnTo>
                  <a:lnTo>
                    <a:pt x="3502" y="3948"/>
                  </a:lnTo>
                  <a:lnTo>
                    <a:pt x="3487" y="3933"/>
                  </a:lnTo>
                  <a:close/>
                  <a:moveTo>
                    <a:pt x="322" y="5867"/>
                  </a:moveTo>
                  <a:lnTo>
                    <a:pt x="322" y="5867"/>
                  </a:lnTo>
                  <a:lnTo>
                    <a:pt x="321" y="5881"/>
                  </a:lnTo>
                  <a:lnTo>
                    <a:pt x="321" y="5892"/>
                  </a:lnTo>
                  <a:lnTo>
                    <a:pt x="323" y="5908"/>
                  </a:lnTo>
                  <a:lnTo>
                    <a:pt x="326" y="5923"/>
                  </a:lnTo>
                  <a:lnTo>
                    <a:pt x="329" y="5931"/>
                  </a:lnTo>
                  <a:lnTo>
                    <a:pt x="332" y="5939"/>
                  </a:lnTo>
                  <a:lnTo>
                    <a:pt x="337" y="5947"/>
                  </a:lnTo>
                  <a:lnTo>
                    <a:pt x="343" y="5956"/>
                  </a:lnTo>
                  <a:lnTo>
                    <a:pt x="349" y="5964"/>
                  </a:lnTo>
                  <a:lnTo>
                    <a:pt x="357" y="5971"/>
                  </a:lnTo>
                  <a:lnTo>
                    <a:pt x="357" y="5971"/>
                  </a:lnTo>
                  <a:lnTo>
                    <a:pt x="369" y="5980"/>
                  </a:lnTo>
                  <a:lnTo>
                    <a:pt x="382" y="5988"/>
                  </a:lnTo>
                  <a:lnTo>
                    <a:pt x="397" y="5995"/>
                  </a:lnTo>
                  <a:lnTo>
                    <a:pt x="412" y="6000"/>
                  </a:lnTo>
                  <a:lnTo>
                    <a:pt x="426" y="6002"/>
                  </a:lnTo>
                  <a:lnTo>
                    <a:pt x="434" y="6002"/>
                  </a:lnTo>
                  <a:lnTo>
                    <a:pt x="441" y="6001"/>
                  </a:lnTo>
                  <a:lnTo>
                    <a:pt x="447" y="6000"/>
                  </a:lnTo>
                  <a:lnTo>
                    <a:pt x="453" y="5998"/>
                  </a:lnTo>
                  <a:lnTo>
                    <a:pt x="458" y="5995"/>
                  </a:lnTo>
                  <a:lnTo>
                    <a:pt x="463" y="5991"/>
                  </a:lnTo>
                  <a:lnTo>
                    <a:pt x="463" y="5991"/>
                  </a:lnTo>
                  <a:lnTo>
                    <a:pt x="468" y="5986"/>
                  </a:lnTo>
                  <a:lnTo>
                    <a:pt x="473" y="5979"/>
                  </a:lnTo>
                  <a:lnTo>
                    <a:pt x="476" y="5973"/>
                  </a:lnTo>
                  <a:lnTo>
                    <a:pt x="479" y="5966"/>
                  </a:lnTo>
                  <a:lnTo>
                    <a:pt x="481" y="5958"/>
                  </a:lnTo>
                  <a:lnTo>
                    <a:pt x="482" y="5950"/>
                  </a:lnTo>
                  <a:lnTo>
                    <a:pt x="483" y="5933"/>
                  </a:lnTo>
                  <a:lnTo>
                    <a:pt x="483" y="5917"/>
                  </a:lnTo>
                  <a:lnTo>
                    <a:pt x="484" y="5900"/>
                  </a:lnTo>
                  <a:lnTo>
                    <a:pt x="485" y="5892"/>
                  </a:lnTo>
                  <a:lnTo>
                    <a:pt x="487" y="5884"/>
                  </a:lnTo>
                  <a:lnTo>
                    <a:pt x="489" y="5877"/>
                  </a:lnTo>
                  <a:lnTo>
                    <a:pt x="493" y="5869"/>
                  </a:lnTo>
                  <a:lnTo>
                    <a:pt x="493" y="5869"/>
                  </a:lnTo>
                  <a:lnTo>
                    <a:pt x="495" y="5866"/>
                  </a:lnTo>
                  <a:lnTo>
                    <a:pt x="499" y="5863"/>
                  </a:lnTo>
                  <a:lnTo>
                    <a:pt x="508" y="5857"/>
                  </a:lnTo>
                  <a:lnTo>
                    <a:pt x="516" y="5854"/>
                  </a:lnTo>
                  <a:lnTo>
                    <a:pt x="519" y="5853"/>
                  </a:lnTo>
                  <a:lnTo>
                    <a:pt x="519" y="5853"/>
                  </a:lnTo>
                  <a:lnTo>
                    <a:pt x="526" y="5851"/>
                  </a:lnTo>
                  <a:lnTo>
                    <a:pt x="532" y="5848"/>
                  </a:lnTo>
                  <a:lnTo>
                    <a:pt x="538" y="5845"/>
                  </a:lnTo>
                  <a:lnTo>
                    <a:pt x="544" y="5840"/>
                  </a:lnTo>
                  <a:lnTo>
                    <a:pt x="544" y="5840"/>
                  </a:lnTo>
                  <a:lnTo>
                    <a:pt x="585" y="5859"/>
                  </a:lnTo>
                  <a:lnTo>
                    <a:pt x="626" y="5877"/>
                  </a:lnTo>
                  <a:lnTo>
                    <a:pt x="668" y="5896"/>
                  </a:lnTo>
                  <a:lnTo>
                    <a:pt x="709" y="5917"/>
                  </a:lnTo>
                  <a:lnTo>
                    <a:pt x="748" y="5938"/>
                  </a:lnTo>
                  <a:lnTo>
                    <a:pt x="789" y="5961"/>
                  </a:lnTo>
                  <a:lnTo>
                    <a:pt x="830" y="5983"/>
                  </a:lnTo>
                  <a:lnTo>
                    <a:pt x="870" y="6007"/>
                  </a:lnTo>
                  <a:lnTo>
                    <a:pt x="910" y="6031"/>
                  </a:lnTo>
                  <a:lnTo>
                    <a:pt x="949" y="6056"/>
                  </a:lnTo>
                  <a:lnTo>
                    <a:pt x="1027" y="6106"/>
                  </a:lnTo>
                  <a:lnTo>
                    <a:pt x="1103" y="6158"/>
                  </a:lnTo>
                  <a:lnTo>
                    <a:pt x="1178" y="6211"/>
                  </a:lnTo>
                  <a:lnTo>
                    <a:pt x="1178" y="6211"/>
                  </a:lnTo>
                  <a:lnTo>
                    <a:pt x="1197" y="6225"/>
                  </a:lnTo>
                  <a:lnTo>
                    <a:pt x="1215" y="6236"/>
                  </a:lnTo>
                  <a:lnTo>
                    <a:pt x="1215" y="6236"/>
                  </a:lnTo>
                  <a:lnTo>
                    <a:pt x="1208" y="6258"/>
                  </a:lnTo>
                  <a:lnTo>
                    <a:pt x="1199" y="6281"/>
                  </a:lnTo>
                  <a:lnTo>
                    <a:pt x="1189" y="6305"/>
                  </a:lnTo>
                  <a:lnTo>
                    <a:pt x="1177" y="6331"/>
                  </a:lnTo>
                  <a:lnTo>
                    <a:pt x="1177" y="6331"/>
                  </a:lnTo>
                  <a:lnTo>
                    <a:pt x="1137" y="6407"/>
                  </a:lnTo>
                  <a:lnTo>
                    <a:pt x="1118" y="6443"/>
                  </a:lnTo>
                  <a:lnTo>
                    <a:pt x="1100" y="6479"/>
                  </a:lnTo>
                  <a:lnTo>
                    <a:pt x="1093" y="6497"/>
                  </a:lnTo>
                  <a:lnTo>
                    <a:pt x="1087" y="6514"/>
                  </a:lnTo>
                  <a:lnTo>
                    <a:pt x="1081" y="6530"/>
                  </a:lnTo>
                  <a:lnTo>
                    <a:pt x="1077" y="6547"/>
                  </a:lnTo>
                  <a:lnTo>
                    <a:pt x="1074" y="6562"/>
                  </a:lnTo>
                  <a:lnTo>
                    <a:pt x="1072" y="6576"/>
                  </a:lnTo>
                  <a:lnTo>
                    <a:pt x="1072" y="6591"/>
                  </a:lnTo>
                  <a:lnTo>
                    <a:pt x="1073" y="6603"/>
                  </a:lnTo>
                  <a:lnTo>
                    <a:pt x="1073" y="6603"/>
                  </a:lnTo>
                  <a:lnTo>
                    <a:pt x="1075" y="6612"/>
                  </a:lnTo>
                  <a:lnTo>
                    <a:pt x="1077" y="6621"/>
                  </a:lnTo>
                  <a:lnTo>
                    <a:pt x="1080" y="6629"/>
                  </a:lnTo>
                  <a:lnTo>
                    <a:pt x="1083" y="6638"/>
                  </a:lnTo>
                  <a:lnTo>
                    <a:pt x="1087" y="6645"/>
                  </a:lnTo>
                  <a:lnTo>
                    <a:pt x="1092" y="6652"/>
                  </a:lnTo>
                  <a:lnTo>
                    <a:pt x="1097" y="6658"/>
                  </a:lnTo>
                  <a:lnTo>
                    <a:pt x="1102" y="6664"/>
                  </a:lnTo>
                  <a:lnTo>
                    <a:pt x="1108" y="6669"/>
                  </a:lnTo>
                  <a:lnTo>
                    <a:pt x="1115" y="6674"/>
                  </a:lnTo>
                  <a:lnTo>
                    <a:pt x="1122" y="6679"/>
                  </a:lnTo>
                  <a:lnTo>
                    <a:pt x="1129" y="6682"/>
                  </a:lnTo>
                  <a:lnTo>
                    <a:pt x="1137" y="6685"/>
                  </a:lnTo>
                  <a:lnTo>
                    <a:pt x="1145" y="6687"/>
                  </a:lnTo>
                  <a:lnTo>
                    <a:pt x="1154" y="6689"/>
                  </a:lnTo>
                  <a:lnTo>
                    <a:pt x="1163" y="6690"/>
                  </a:lnTo>
                  <a:lnTo>
                    <a:pt x="1163" y="6690"/>
                  </a:lnTo>
                  <a:lnTo>
                    <a:pt x="1173" y="6690"/>
                  </a:lnTo>
                  <a:lnTo>
                    <a:pt x="1183" y="6689"/>
                  </a:lnTo>
                  <a:lnTo>
                    <a:pt x="1192" y="6687"/>
                  </a:lnTo>
                  <a:lnTo>
                    <a:pt x="1201" y="6685"/>
                  </a:lnTo>
                  <a:lnTo>
                    <a:pt x="1210" y="6682"/>
                  </a:lnTo>
                  <a:lnTo>
                    <a:pt x="1218" y="6677"/>
                  </a:lnTo>
                  <a:lnTo>
                    <a:pt x="1226" y="6673"/>
                  </a:lnTo>
                  <a:lnTo>
                    <a:pt x="1233" y="6668"/>
                  </a:lnTo>
                  <a:lnTo>
                    <a:pt x="1240" y="6662"/>
                  </a:lnTo>
                  <a:lnTo>
                    <a:pt x="1246" y="6657"/>
                  </a:lnTo>
                  <a:lnTo>
                    <a:pt x="1252" y="6651"/>
                  </a:lnTo>
                  <a:lnTo>
                    <a:pt x="1257" y="6644"/>
                  </a:lnTo>
                  <a:lnTo>
                    <a:pt x="1261" y="6637"/>
                  </a:lnTo>
                  <a:lnTo>
                    <a:pt x="1265" y="6629"/>
                  </a:lnTo>
                  <a:lnTo>
                    <a:pt x="1268" y="6622"/>
                  </a:lnTo>
                  <a:lnTo>
                    <a:pt x="1270" y="6614"/>
                  </a:lnTo>
                  <a:lnTo>
                    <a:pt x="1270" y="6614"/>
                  </a:lnTo>
                  <a:lnTo>
                    <a:pt x="1272" y="6598"/>
                  </a:lnTo>
                  <a:lnTo>
                    <a:pt x="1273" y="6582"/>
                  </a:lnTo>
                  <a:lnTo>
                    <a:pt x="1271" y="6570"/>
                  </a:lnTo>
                  <a:lnTo>
                    <a:pt x="1268" y="6558"/>
                  </a:lnTo>
                  <a:lnTo>
                    <a:pt x="1263" y="6549"/>
                  </a:lnTo>
                  <a:lnTo>
                    <a:pt x="1258" y="6539"/>
                  </a:lnTo>
                  <a:lnTo>
                    <a:pt x="1251" y="6532"/>
                  </a:lnTo>
                  <a:lnTo>
                    <a:pt x="1243" y="6527"/>
                  </a:lnTo>
                  <a:lnTo>
                    <a:pt x="1236" y="6522"/>
                  </a:lnTo>
                  <a:lnTo>
                    <a:pt x="1229" y="6518"/>
                  </a:lnTo>
                  <a:lnTo>
                    <a:pt x="1215" y="6513"/>
                  </a:lnTo>
                  <a:lnTo>
                    <a:pt x="1206" y="6511"/>
                  </a:lnTo>
                  <a:lnTo>
                    <a:pt x="1201" y="6511"/>
                  </a:lnTo>
                  <a:lnTo>
                    <a:pt x="1201" y="6511"/>
                  </a:lnTo>
                  <a:lnTo>
                    <a:pt x="1217" y="6466"/>
                  </a:lnTo>
                  <a:lnTo>
                    <a:pt x="1229" y="6430"/>
                  </a:lnTo>
                  <a:lnTo>
                    <a:pt x="1240" y="6401"/>
                  </a:lnTo>
                  <a:lnTo>
                    <a:pt x="1240" y="6401"/>
                  </a:lnTo>
                  <a:lnTo>
                    <a:pt x="1248" y="6381"/>
                  </a:lnTo>
                  <a:lnTo>
                    <a:pt x="1258" y="6363"/>
                  </a:lnTo>
                  <a:lnTo>
                    <a:pt x="1266" y="6345"/>
                  </a:lnTo>
                  <a:lnTo>
                    <a:pt x="1275" y="6329"/>
                  </a:lnTo>
                  <a:lnTo>
                    <a:pt x="1283" y="6314"/>
                  </a:lnTo>
                  <a:lnTo>
                    <a:pt x="1292" y="6299"/>
                  </a:lnTo>
                  <a:lnTo>
                    <a:pt x="1310" y="6275"/>
                  </a:lnTo>
                  <a:lnTo>
                    <a:pt x="1327" y="6254"/>
                  </a:lnTo>
                  <a:lnTo>
                    <a:pt x="1345" y="6237"/>
                  </a:lnTo>
                  <a:lnTo>
                    <a:pt x="1361" y="6224"/>
                  </a:lnTo>
                  <a:lnTo>
                    <a:pt x="1376" y="6212"/>
                  </a:lnTo>
                  <a:lnTo>
                    <a:pt x="1391" y="6205"/>
                  </a:lnTo>
                  <a:lnTo>
                    <a:pt x="1404" y="6199"/>
                  </a:lnTo>
                  <a:lnTo>
                    <a:pt x="1416" y="6195"/>
                  </a:lnTo>
                  <a:lnTo>
                    <a:pt x="1426" y="6193"/>
                  </a:lnTo>
                  <a:lnTo>
                    <a:pt x="1435" y="6192"/>
                  </a:lnTo>
                  <a:lnTo>
                    <a:pt x="1441" y="6192"/>
                  </a:lnTo>
                  <a:lnTo>
                    <a:pt x="1446" y="6192"/>
                  </a:lnTo>
                  <a:lnTo>
                    <a:pt x="1446" y="6192"/>
                  </a:lnTo>
                  <a:lnTo>
                    <a:pt x="1442" y="6188"/>
                  </a:lnTo>
                  <a:lnTo>
                    <a:pt x="1437" y="6183"/>
                  </a:lnTo>
                  <a:lnTo>
                    <a:pt x="1432" y="6175"/>
                  </a:lnTo>
                  <a:lnTo>
                    <a:pt x="1425" y="6166"/>
                  </a:lnTo>
                  <a:lnTo>
                    <a:pt x="1420" y="6155"/>
                  </a:lnTo>
                  <a:lnTo>
                    <a:pt x="1414" y="6142"/>
                  </a:lnTo>
                  <a:lnTo>
                    <a:pt x="1409" y="6125"/>
                  </a:lnTo>
                  <a:lnTo>
                    <a:pt x="1406" y="6108"/>
                  </a:lnTo>
                  <a:lnTo>
                    <a:pt x="1404" y="6088"/>
                  </a:lnTo>
                  <a:lnTo>
                    <a:pt x="1404" y="6065"/>
                  </a:lnTo>
                  <a:lnTo>
                    <a:pt x="1405" y="6053"/>
                  </a:lnTo>
                  <a:lnTo>
                    <a:pt x="1407" y="6041"/>
                  </a:lnTo>
                  <a:lnTo>
                    <a:pt x="1409" y="6027"/>
                  </a:lnTo>
                  <a:lnTo>
                    <a:pt x="1413" y="6013"/>
                  </a:lnTo>
                  <a:lnTo>
                    <a:pt x="1417" y="5999"/>
                  </a:lnTo>
                  <a:lnTo>
                    <a:pt x="1422" y="5983"/>
                  </a:lnTo>
                  <a:lnTo>
                    <a:pt x="1428" y="5968"/>
                  </a:lnTo>
                  <a:lnTo>
                    <a:pt x="1436" y="5952"/>
                  </a:lnTo>
                  <a:lnTo>
                    <a:pt x="1444" y="5934"/>
                  </a:lnTo>
                  <a:lnTo>
                    <a:pt x="1453" y="5917"/>
                  </a:lnTo>
                  <a:lnTo>
                    <a:pt x="1453" y="5917"/>
                  </a:lnTo>
                  <a:lnTo>
                    <a:pt x="1473" y="5880"/>
                  </a:lnTo>
                  <a:lnTo>
                    <a:pt x="1490" y="5844"/>
                  </a:lnTo>
                  <a:lnTo>
                    <a:pt x="1505" y="5811"/>
                  </a:lnTo>
                  <a:lnTo>
                    <a:pt x="1516" y="5780"/>
                  </a:lnTo>
                  <a:lnTo>
                    <a:pt x="1527" y="5749"/>
                  </a:lnTo>
                  <a:lnTo>
                    <a:pt x="1535" y="5719"/>
                  </a:lnTo>
                  <a:lnTo>
                    <a:pt x="1541" y="5691"/>
                  </a:lnTo>
                  <a:lnTo>
                    <a:pt x="1546" y="5663"/>
                  </a:lnTo>
                  <a:lnTo>
                    <a:pt x="1546" y="5663"/>
                  </a:lnTo>
                  <a:lnTo>
                    <a:pt x="1547" y="5654"/>
                  </a:lnTo>
                  <a:lnTo>
                    <a:pt x="1546" y="5645"/>
                  </a:lnTo>
                  <a:lnTo>
                    <a:pt x="1545" y="5636"/>
                  </a:lnTo>
                  <a:lnTo>
                    <a:pt x="1542" y="5626"/>
                  </a:lnTo>
                  <a:lnTo>
                    <a:pt x="1538" y="5617"/>
                  </a:lnTo>
                  <a:lnTo>
                    <a:pt x="1534" y="5609"/>
                  </a:lnTo>
                  <a:lnTo>
                    <a:pt x="1529" y="5600"/>
                  </a:lnTo>
                  <a:lnTo>
                    <a:pt x="1523" y="5592"/>
                  </a:lnTo>
                  <a:lnTo>
                    <a:pt x="1515" y="5585"/>
                  </a:lnTo>
                  <a:lnTo>
                    <a:pt x="1508" y="5577"/>
                  </a:lnTo>
                  <a:lnTo>
                    <a:pt x="1500" y="5571"/>
                  </a:lnTo>
                  <a:lnTo>
                    <a:pt x="1492" y="5566"/>
                  </a:lnTo>
                  <a:lnTo>
                    <a:pt x="1484" y="5561"/>
                  </a:lnTo>
                  <a:lnTo>
                    <a:pt x="1474" y="5558"/>
                  </a:lnTo>
                  <a:lnTo>
                    <a:pt x="1465" y="5556"/>
                  </a:lnTo>
                  <a:lnTo>
                    <a:pt x="1455" y="5554"/>
                  </a:lnTo>
                  <a:lnTo>
                    <a:pt x="1455" y="5554"/>
                  </a:lnTo>
                  <a:lnTo>
                    <a:pt x="1445" y="5554"/>
                  </a:lnTo>
                  <a:lnTo>
                    <a:pt x="1436" y="5555"/>
                  </a:lnTo>
                  <a:lnTo>
                    <a:pt x="1425" y="5557"/>
                  </a:lnTo>
                  <a:lnTo>
                    <a:pt x="1416" y="5560"/>
                  </a:lnTo>
                  <a:lnTo>
                    <a:pt x="1407" y="5564"/>
                  </a:lnTo>
                  <a:lnTo>
                    <a:pt x="1399" y="5568"/>
                  </a:lnTo>
                  <a:lnTo>
                    <a:pt x="1391" y="5574"/>
                  </a:lnTo>
                  <a:lnTo>
                    <a:pt x="1382" y="5579"/>
                  </a:lnTo>
                  <a:lnTo>
                    <a:pt x="1375" y="5587"/>
                  </a:lnTo>
                  <a:lnTo>
                    <a:pt x="1369" y="5593"/>
                  </a:lnTo>
                  <a:lnTo>
                    <a:pt x="1363" y="5600"/>
                  </a:lnTo>
                  <a:lnTo>
                    <a:pt x="1358" y="5608"/>
                  </a:lnTo>
                  <a:lnTo>
                    <a:pt x="1354" y="5616"/>
                  </a:lnTo>
                  <a:lnTo>
                    <a:pt x="1350" y="5624"/>
                  </a:lnTo>
                  <a:lnTo>
                    <a:pt x="1348" y="5633"/>
                  </a:lnTo>
                  <a:lnTo>
                    <a:pt x="1347" y="5641"/>
                  </a:lnTo>
                  <a:lnTo>
                    <a:pt x="1347" y="5641"/>
                  </a:lnTo>
                  <a:lnTo>
                    <a:pt x="1346" y="5661"/>
                  </a:lnTo>
                  <a:lnTo>
                    <a:pt x="1347" y="5680"/>
                  </a:lnTo>
                  <a:lnTo>
                    <a:pt x="1351" y="5695"/>
                  </a:lnTo>
                  <a:lnTo>
                    <a:pt x="1356" y="5707"/>
                  </a:lnTo>
                  <a:lnTo>
                    <a:pt x="1362" y="5717"/>
                  </a:lnTo>
                  <a:lnTo>
                    <a:pt x="1369" y="5727"/>
                  </a:lnTo>
                  <a:lnTo>
                    <a:pt x="1377" y="5734"/>
                  </a:lnTo>
                  <a:lnTo>
                    <a:pt x="1386" y="5739"/>
                  </a:lnTo>
                  <a:lnTo>
                    <a:pt x="1394" y="5743"/>
                  </a:lnTo>
                  <a:lnTo>
                    <a:pt x="1402" y="5747"/>
                  </a:lnTo>
                  <a:lnTo>
                    <a:pt x="1416" y="5752"/>
                  </a:lnTo>
                  <a:lnTo>
                    <a:pt x="1422" y="5754"/>
                  </a:lnTo>
                  <a:lnTo>
                    <a:pt x="1425" y="5756"/>
                  </a:lnTo>
                  <a:lnTo>
                    <a:pt x="1428" y="5759"/>
                  </a:lnTo>
                  <a:lnTo>
                    <a:pt x="1428" y="5762"/>
                  </a:lnTo>
                  <a:lnTo>
                    <a:pt x="1428" y="5762"/>
                  </a:lnTo>
                  <a:lnTo>
                    <a:pt x="1417" y="5798"/>
                  </a:lnTo>
                  <a:lnTo>
                    <a:pt x="1405" y="5831"/>
                  </a:lnTo>
                  <a:lnTo>
                    <a:pt x="1392" y="5861"/>
                  </a:lnTo>
                  <a:lnTo>
                    <a:pt x="1378" y="5887"/>
                  </a:lnTo>
                  <a:lnTo>
                    <a:pt x="1365" y="5912"/>
                  </a:lnTo>
                  <a:lnTo>
                    <a:pt x="1352" y="5933"/>
                  </a:lnTo>
                  <a:lnTo>
                    <a:pt x="1337" y="5953"/>
                  </a:lnTo>
                  <a:lnTo>
                    <a:pt x="1323" y="5969"/>
                  </a:lnTo>
                  <a:lnTo>
                    <a:pt x="1323" y="5969"/>
                  </a:lnTo>
                  <a:lnTo>
                    <a:pt x="1296" y="5953"/>
                  </a:lnTo>
                  <a:lnTo>
                    <a:pt x="1263" y="5933"/>
                  </a:lnTo>
                  <a:lnTo>
                    <a:pt x="1263" y="5933"/>
                  </a:lnTo>
                  <a:lnTo>
                    <a:pt x="1186" y="5891"/>
                  </a:lnTo>
                  <a:lnTo>
                    <a:pt x="1111" y="5850"/>
                  </a:lnTo>
                  <a:lnTo>
                    <a:pt x="1038" y="5811"/>
                  </a:lnTo>
                  <a:lnTo>
                    <a:pt x="1001" y="5793"/>
                  </a:lnTo>
                  <a:lnTo>
                    <a:pt x="964" y="5776"/>
                  </a:lnTo>
                  <a:lnTo>
                    <a:pt x="927" y="5758"/>
                  </a:lnTo>
                  <a:lnTo>
                    <a:pt x="889" y="5743"/>
                  </a:lnTo>
                  <a:lnTo>
                    <a:pt x="850" y="5727"/>
                  </a:lnTo>
                  <a:lnTo>
                    <a:pt x="810" y="5712"/>
                  </a:lnTo>
                  <a:lnTo>
                    <a:pt x="769" y="5698"/>
                  </a:lnTo>
                  <a:lnTo>
                    <a:pt x="727" y="5686"/>
                  </a:lnTo>
                  <a:lnTo>
                    <a:pt x="683" y="5673"/>
                  </a:lnTo>
                  <a:lnTo>
                    <a:pt x="638" y="5662"/>
                  </a:lnTo>
                  <a:lnTo>
                    <a:pt x="638" y="5662"/>
                  </a:lnTo>
                  <a:lnTo>
                    <a:pt x="655" y="5629"/>
                  </a:lnTo>
                  <a:lnTo>
                    <a:pt x="655" y="5629"/>
                  </a:lnTo>
                  <a:lnTo>
                    <a:pt x="681" y="5585"/>
                  </a:lnTo>
                  <a:lnTo>
                    <a:pt x="699" y="5553"/>
                  </a:lnTo>
                  <a:lnTo>
                    <a:pt x="706" y="5542"/>
                  </a:lnTo>
                  <a:lnTo>
                    <a:pt x="710" y="5532"/>
                  </a:lnTo>
                  <a:lnTo>
                    <a:pt x="712" y="5526"/>
                  </a:lnTo>
                  <a:lnTo>
                    <a:pt x="711" y="5524"/>
                  </a:lnTo>
                  <a:lnTo>
                    <a:pt x="710" y="5522"/>
                  </a:lnTo>
                  <a:lnTo>
                    <a:pt x="710" y="5522"/>
                  </a:lnTo>
                  <a:lnTo>
                    <a:pt x="709" y="5522"/>
                  </a:lnTo>
                  <a:lnTo>
                    <a:pt x="708" y="5522"/>
                  </a:lnTo>
                  <a:lnTo>
                    <a:pt x="702" y="5523"/>
                  </a:lnTo>
                  <a:lnTo>
                    <a:pt x="688" y="5532"/>
                  </a:lnTo>
                  <a:lnTo>
                    <a:pt x="664" y="5548"/>
                  </a:lnTo>
                  <a:lnTo>
                    <a:pt x="647" y="5557"/>
                  </a:lnTo>
                  <a:lnTo>
                    <a:pt x="628" y="5568"/>
                  </a:lnTo>
                  <a:lnTo>
                    <a:pt x="628" y="5568"/>
                  </a:lnTo>
                  <a:lnTo>
                    <a:pt x="606" y="5579"/>
                  </a:lnTo>
                  <a:lnTo>
                    <a:pt x="588" y="5589"/>
                  </a:lnTo>
                  <a:lnTo>
                    <a:pt x="573" y="5595"/>
                  </a:lnTo>
                  <a:lnTo>
                    <a:pt x="558" y="5600"/>
                  </a:lnTo>
                  <a:lnTo>
                    <a:pt x="545" y="5604"/>
                  </a:lnTo>
                  <a:lnTo>
                    <a:pt x="532" y="5607"/>
                  </a:lnTo>
                  <a:lnTo>
                    <a:pt x="504" y="5611"/>
                  </a:lnTo>
                  <a:lnTo>
                    <a:pt x="504" y="5611"/>
                  </a:lnTo>
                  <a:lnTo>
                    <a:pt x="495" y="5611"/>
                  </a:lnTo>
                  <a:lnTo>
                    <a:pt x="486" y="5610"/>
                  </a:lnTo>
                  <a:lnTo>
                    <a:pt x="468" y="5607"/>
                  </a:lnTo>
                  <a:lnTo>
                    <a:pt x="453" y="5603"/>
                  </a:lnTo>
                  <a:lnTo>
                    <a:pt x="446" y="5603"/>
                  </a:lnTo>
                  <a:lnTo>
                    <a:pt x="441" y="5604"/>
                  </a:lnTo>
                  <a:lnTo>
                    <a:pt x="441" y="5604"/>
                  </a:lnTo>
                  <a:lnTo>
                    <a:pt x="435" y="5607"/>
                  </a:lnTo>
                  <a:lnTo>
                    <a:pt x="428" y="5613"/>
                  </a:lnTo>
                  <a:lnTo>
                    <a:pt x="423" y="5620"/>
                  </a:lnTo>
                  <a:lnTo>
                    <a:pt x="418" y="5629"/>
                  </a:lnTo>
                  <a:lnTo>
                    <a:pt x="413" y="5642"/>
                  </a:lnTo>
                  <a:lnTo>
                    <a:pt x="408" y="5656"/>
                  </a:lnTo>
                  <a:lnTo>
                    <a:pt x="395" y="5693"/>
                  </a:lnTo>
                  <a:lnTo>
                    <a:pt x="395" y="5693"/>
                  </a:lnTo>
                  <a:lnTo>
                    <a:pt x="370" y="5764"/>
                  </a:lnTo>
                  <a:lnTo>
                    <a:pt x="363" y="5783"/>
                  </a:lnTo>
                  <a:lnTo>
                    <a:pt x="363" y="5783"/>
                  </a:lnTo>
                  <a:lnTo>
                    <a:pt x="355" y="5801"/>
                  </a:lnTo>
                  <a:lnTo>
                    <a:pt x="348" y="5815"/>
                  </a:lnTo>
                  <a:lnTo>
                    <a:pt x="335" y="5834"/>
                  </a:lnTo>
                  <a:lnTo>
                    <a:pt x="331" y="5842"/>
                  </a:lnTo>
                  <a:lnTo>
                    <a:pt x="327" y="5849"/>
                  </a:lnTo>
                  <a:lnTo>
                    <a:pt x="324" y="5857"/>
                  </a:lnTo>
                  <a:lnTo>
                    <a:pt x="322" y="5867"/>
                  </a:lnTo>
                  <a:close/>
                  <a:moveTo>
                    <a:pt x="390" y="969"/>
                  </a:moveTo>
                  <a:lnTo>
                    <a:pt x="390" y="969"/>
                  </a:lnTo>
                  <a:lnTo>
                    <a:pt x="419" y="968"/>
                  </a:lnTo>
                  <a:lnTo>
                    <a:pt x="451" y="965"/>
                  </a:lnTo>
                  <a:lnTo>
                    <a:pt x="483" y="962"/>
                  </a:lnTo>
                  <a:lnTo>
                    <a:pt x="513" y="958"/>
                  </a:lnTo>
                  <a:lnTo>
                    <a:pt x="563" y="952"/>
                  </a:lnTo>
                  <a:lnTo>
                    <a:pt x="583" y="948"/>
                  </a:lnTo>
                  <a:lnTo>
                    <a:pt x="580" y="644"/>
                  </a:lnTo>
                  <a:lnTo>
                    <a:pt x="580" y="644"/>
                  </a:lnTo>
                  <a:lnTo>
                    <a:pt x="531" y="637"/>
                  </a:lnTo>
                  <a:lnTo>
                    <a:pt x="429" y="621"/>
                  </a:lnTo>
                  <a:lnTo>
                    <a:pt x="429" y="621"/>
                  </a:lnTo>
                  <a:lnTo>
                    <a:pt x="416" y="620"/>
                  </a:lnTo>
                  <a:lnTo>
                    <a:pt x="404" y="619"/>
                  </a:lnTo>
                  <a:lnTo>
                    <a:pt x="392" y="619"/>
                  </a:lnTo>
                  <a:lnTo>
                    <a:pt x="381" y="620"/>
                  </a:lnTo>
                  <a:lnTo>
                    <a:pt x="371" y="622"/>
                  </a:lnTo>
                  <a:lnTo>
                    <a:pt x="362" y="625"/>
                  </a:lnTo>
                  <a:lnTo>
                    <a:pt x="353" y="628"/>
                  </a:lnTo>
                  <a:lnTo>
                    <a:pt x="346" y="632"/>
                  </a:lnTo>
                  <a:lnTo>
                    <a:pt x="338" y="636"/>
                  </a:lnTo>
                  <a:lnTo>
                    <a:pt x="331" y="641"/>
                  </a:lnTo>
                  <a:lnTo>
                    <a:pt x="325" y="646"/>
                  </a:lnTo>
                  <a:lnTo>
                    <a:pt x="320" y="651"/>
                  </a:lnTo>
                  <a:lnTo>
                    <a:pt x="311" y="664"/>
                  </a:lnTo>
                  <a:lnTo>
                    <a:pt x="304" y="676"/>
                  </a:lnTo>
                  <a:lnTo>
                    <a:pt x="298" y="689"/>
                  </a:lnTo>
                  <a:lnTo>
                    <a:pt x="293" y="702"/>
                  </a:lnTo>
                  <a:lnTo>
                    <a:pt x="290" y="715"/>
                  </a:lnTo>
                  <a:lnTo>
                    <a:pt x="288" y="725"/>
                  </a:lnTo>
                  <a:lnTo>
                    <a:pt x="287" y="742"/>
                  </a:lnTo>
                  <a:lnTo>
                    <a:pt x="287" y="748"/>
                  </a:lnTo>
                  <a:lnTo>
                    <a:pt x="291" y="832"/>
                  </a:lnTo>
                  <a:lnTo>
                    <a:pt x="291" y="832"/>
                  </a:lnTo>
                  <a:lnTo>
                    <a:pt x="291" y="838"/>
                  </a:lnTo>
                  <a:lnTo>
                    <a:pt x="293" y="854"/>
                  </a:lnTo>
                  <a:lnTo>
                    <a:pt x="298" y="875"/>
                  </a:lnTo>
                  <a:lnTo>
                    <a:pt x="302" y="887"/>
                  </a:lnTo>
                  <a:lnTo>
                    <a:pt x="306" y="901"/>
                  </a:lnTo>
                  <a:lnTo>
                    <a:pt x="311" y="913"/>
                  </a:lnTo>
                  <a:lnTo>
                    <a:pt x="318" y="925"/>
                  </a:lnTo>
                  <a:lnTo>
                    <a:pt x="326" y="938"/>
                  </a:lnTo>
                  <a:lnTo>
                    <a:pt x="335" y="948"/>
                  </a:lnTo>
                  <a:lnTo>
                    <a:pt x="340" y="952"/>
                  </a:lnTo>
                  <a:lnTo>
                    <a:pt x="347" y="956"/>
                  </a:lnTo>
                  <a:lnTo>
                    <a:pt x="353" y="960"/>
                  </a:lnTo>
                  <a:lnTo>
                    <a:pt x="359" y="963"/>
                  </a:lnTo>
                  <a:lnTo>
                    <a:pt x="366" y="965"/>
                  </a:lnTo>
                  <a:lnTo>
                    <a:pt x="373" y="967"/>
                  </a:lnTo>
                  <a:lnTo>
                    <a:pt x="381" y="968"/>
                  </a:lnTo>
                  <a:lnTo>
                    <a:pt x="390" y="969"/>
                  </a:lnTo>
                  <a:close/>
                  <a:moveTo>
                    <a:pt x="1101" y="856"/>
                  </a:moveTo>
                  <a:lnTo>
                    <a:pt x="1101" y="856"/>
                  </a:lnTo>
                  <a:lnTo>
                    <a:pt x="1103" y="835"/>
                  </a:lnTo>
                  <a:lnTo>
                    <a:pt x="1103" y="813"/>
                  </a:lnTo>
                  <a:lnTo>
                    <a:pt x="1103" y="770"/>
                  </a:lnTo>
                  <a:lnTo>
                    <a:pt x="1103" y="770"/>
                  </a:lnTo>
                  <a:lnTo>
                    <a:pt x="1102" y="609"/>
                  </a:lnTo>
                  <a:lnTo>
                    <a:pt x="1102" y="609"/>
                  </a:lnTo>
                  <a:lnTo>
                    <a:pt x="1102" y="599"/>
                  </a:lnTo>
                  <a:lnTo>
                    <a:pt x="1101" y="589"/>
                  </a:lnTo>
                  <a:lnTo>
                    <a:pt x="1100" y="578"/>
                  </a:lnTo>
                  <a:lnTo>
                    <a:pt x="1097" y="565"/>
                  </a:lnTo>
                  <a:lnTo>
                    <a:pt x="1094" y="555"/>
                  </a:lnTo>
                  <a:lnTo>
                    <a:pt x="1092" y="551"/>
                  </a:lnTo>
                  <a:lnTo>
                    <a:pt x="1089" y="548"/>
                  </a:lnTo>
                  <a:lnTo>
                    <a:pt x="1086" y="546"/>
                  </a:lnTo>
                  <a:lnTo>
                    <a:pt x="1082" y="545"/>
                  </a:lnTo>
                  <a:lnTo>
                    <a:pt x="1082" y="545"/>
                  </a:lnTo>
                  <a:lnTo>
                    <a:pt x="1049" y="545"/>
                  </a:lnTo>
                  <a:lnTo>
                    <a:pt x="1031" y="546"/>
                  </a:lnTo>
                  <a:lnTo>
                    <a:pt x="1020" y="547"/>
                  </a:lnTo>
                  <a:lnTo>
                    <a:pt x="1020" y="547"/>
                  </a:lnTo>
                  <a:lnTo>
                    <a:pt x="1017" y="552"/>
                  </a:lnTo>
                  <a:lnTo>
                    <a:pt x="1015" y="559"/>
                  </a:lnTo>
                  <a:lnTo>
                    <a:pt x="1009" y="578"/>
                  </a:lnTo>
                  <a:lnTo>
                    <a:pt x="1003" y="597"/>
                  </a:lnTo>
                  <a:lnTo>
                    <a:pt x="1000" y="604"/>
                  </a:lnTo>
                  <a:lnTo>
                    <a:pt x="998" y="609"/>
                  </a:lnTo>
                  <a:lnTo>
                    <a:pt x="978" y="547"/>
                  </a:lnTo>
                  <a:lnTo>
                    <a:pt x="978" y="547"/>
                  </a:lnTo>
                  <a:lnTo>
                    <a:pt x="962" y="546"/>
                  </a:lnTo>
                  <a:lnTo>
                    <a:pt x="939" y="546"/>
                  </a:lnTo>
                  <a:lnTo>
                    <a:pt x="914" y="547"/>
                  </a:lnTo>
                  <a:lnTo>
                    <a:pt x="900" y="549"/>
                  </a:lnTo>
                  <a:lnTo>
                    <a:pt x="900" y="549"/>
                  </a:lnTo>
                  <a:lnTo>
                    <a:pt x="895" y="561"/>
                  </a:lnTo>
                  <a:lnTo>
                    <a:pt x="889" y="579"/>
                  </a:lnTo>
                  <a:lnTo>
                    <a:pt x="882" y="597"/>
                  </a:lnTo>
                  <a:lnTo>
                    <a:pt x="877" y="609"/>
                  </a:lnTo>
                  <a:lnTo>
                    <a:pt x="858" y="550"/>
                  </a:lnTo>
                  <a:lnTo>
                    <a:pt x="858" y="550"/>
                  </a:lnTo>
                  <a:lnTo>
                    <a:pt x="845" y="549"/>
                  </a:lnTo>
                  <a:lnTo>
                    <a:pt x="821" y="549"/>
                  </a:lnTo>
                  <a:lnTo>
                    <a:pt x="797" y="550"/>
                  </a:lnTo>
                  <a:lnTo>
                    <a:pt x="788" y="551"/>
                  </a:lnTo>
                  <a:lnTo>
                    <a:pt x="784" y="551"/>
                  </a:lnTo>
                  <a:lnTo>
                    <a:pt x="784" y="551"/>
                  </a:lnTo>
                  <a:lnTo>
                    <a:pt x="780" y="556"/>
                  </a:lnTo>
                  <a:lnTo>
                    <a:pt x="777" y="563"/>
                  </a:lnTo>
                  <a:lnTo>
                    <a:pt x="770" y="581"/>
                  </a:lnTo>
                  <a:lnTo>
                    <a:pt x="763" y="598"/>
                  </a:lnTo>
                  <a:lnTo>
                    <a:pt x="758" y="609"/>
                  </a:lnTo>
                  <a:lnTo>
                    <a:pt x="739" y="551"/>
                  </a:lnTo>
                  <a:lnTo>
                    <a:pt x="739" y="551"/>
                  </a:lnTo>
                  <a:lnTo>
                    <a:pt x="722" y="551"/>
                  </a:lnTo>
                  <a:lnTo>
                    <a:pt x="691" y="551"/>
                  </a:lnTo>
                  <a:lnTo>
                    <a:pt x="691" y="551"/>
                  </a:lnTo>
                  <a:lnTo>
                    <a:pt x="686" y="552"/>
                  </a:lnTo>
                  <a:lnTo>
                    <a:pt x="682" y="553"/>
                  </a:lnTo>
                  <a:lnTo>
                    <a:pt x="678" y="555"/>
                  </a:lnTo>
                  <a:lnTo>
                    <a:pt x="674" y="557"/>
                  </a:lnTo>
                  <a:lnTo>
                    <a:pt x="668" y="564"/>
                  </a:lnTo>
                  <a:lnTo>
                    <a:pt x="663" y="573"/>
                  </a:lnTo>
                  <a:lnTo>
                    <a:pt x="658" y="581"/>
                  </a:lnTo>
                  <a:lnTo>
                    <a:pt x="655" y="591"/>
                  </a:lnTo>
                  <a:lnTo>
                    <a:pt x="654" y="600"/>
                  </a:lnTo>
                  <a:lnTo>
                    <a:pt x="653" y="608"/>
                  </a:lnTo>
                  <a:lnTo>
                    <a:pt x="653" y="608"/>
                  </a:lnTo>
                  <a:lnTo>
                    <a:pt x="654" y="686"/>
                  </a:lnTo>
                  <a:lnTo>
                    <a:pt x="655" y="765"/>
                  </a:lnTo>
                  <a:lnTo>
                    <a:pt x="655" y="765"/>
                  </a:lnTo>
                  <a:lnTo>
                    <a:pt x="658" y="869"/>
                  </a:lnTo>
                  <a:lnTo>
                    <a:pt x="661" y="947"/>
                  </a:lnTo>
                  <a:lnTo>
                    <a:pt x="661" y="947"/>
                  </a:lnTo>
                  <a:lnTo>
                    <a:pt x="680" y="946"/>
                  </a:lnTo>
                  <a:lnTo>
                    <a:pt x="690" y="944"/>
                  </a:lnTo>
                  <a:lnTo>
                    <a:pt x="698" y="943"/>
                  </a:lnTo>
                  <a:lnTo>
                    <a:pt x="707" y="941"/>
                  </a:lnTo>
                  <a:lnTo>
                    <a:pt x="715" y="938"/>
                  </a:lnTo>
                  <a:lnTo>
                    <a:pt x="721" y="933"/>
                  </a:lnTo>
                  <a:lnTo>
                    <a:pt x="727" y="929"/>
                  </a:lnTo>
                  <a:lnTo>
                    <a:pt x="727" y="929"/>
                  </a:lnTo>
                  <a:lnTo>
                    <a:pt x="732" y="924"/>
                  </a:lnTo>
                  <a:lnTo>
                    <a:pt x="736" y="919"/>
                  </a:lnTo>
                  <a:lnTo>
                    <a:pt x="743" y="908"/>
                  </a:lnTo>
                  <a:lnTo>
                    <a:pt x="748" y="897"/>
                  </a:lnTo>
                  <a:lnTo>
                    <a:pt x="753" y="886"/>
                  </a:lnTo>
                  <a:lnTo>
                    <a:pt x="756" y="876"/>
                  </a:lnTo>
                  <a:lnTo>
                    <a:pt x="757" y="869"/>
                  </a:lnTo>
                  <a:lnTo>
                    <a:pt x="758" y="862"/>
                  </a:lnTo>
                  <a:lnTo>
                    <a:pt x="758" y="862"/>
                  </a:lnTo>
                  <a:lnTo>
                    <a:pt x="758" y="882"/>
                  </a:lnTo>
                  <a:lnTo>
                    <a:pt x="758" y="912"/>
                  </a:lnTo>
                  <a:lnTo>
                    <a:pt x="759" y="942"/>
                  </a:lnTo>
                  <a:lnTo>
                    <a:pt x="761" y="965"/>
                  </a:lnTo>
                  <a:lnTo>
                    <a:pt x="761" y="965"/>
                  </a:lnTo>
                  <a:lnTo>
                    <a:pt x="761" y="966"/>
                  </a:lnTo>
                  <a:lnTo>
                    <a:pt x="763" y="967"/>
                  </a:lnTo>
                  <a:lnTo>
                    <a:pt x="769" y="969"/>
                  </a:lnTo>
                  <a:lnTo>
                    <a:pt x="778" y="970"/>
                  </a:lnTo>
                  <a:lnTo>
                    <a:pt x="789" y="970"/>
                  </a:lnTo>
                  <a:lnTo>
                    <a:pt x="803" y="968"/>
                  </a:lnTo>
                  <a:lnTo>
                    <a:pt x="816" y="963"/>
                  </a:lnTo>
                  <a:lnTo>
                    <a:pt x="822" y="960"/>
                  </a:lnTo>
                  <a:lnTo>
                    <a:pt x="829" y="957"/>
                  </a:lnTo>
                  <a:lnTo>
                    <a:pt x="835" y="952"/>
                  </a:lnTo>
                  <a:lnTo>
                    <a:pt x="842" y="947"/>
                  </a:lnTo>
                  <a:lnTo>
                    <a:pt x="842" y="947"/>
                  </a:lnTo>
                  <a:lnTo>
                    <a:pt x="850" y="937"/>
                  </a:lnTo>
                  <a:lnTo>
                    <a:pt x="857" y="925"/>
                  </a:lnTo>
                  <a:lnTo>
                    <a:pt x="862" y="913"/>
                  </a:lnTo>
                  <a:lnTo>
                    <a:pt x="866" y="901"/>
                  </a:lnTo>
                  <a:lnTo>
                    <a:pt x="873" y="878"/>
                  </a:lnTo>
                  <a:lnTo>
                    <a:pt x="877" y="862"/>
                  </a:lnTo>
                  <a:lnTo>
                    <a:pt x="877" y="862"/>
                  </a:lnTo>
                  <a:lnTo>
                    <a:pt x="877" y="893"/>
                  </a:lnTo>
                  <a:lnTo>
                    <a:pt x="878" y="926"/>
                  </a:lnTo>
                  <a:lnTo>
                    <a:pt x="880" y="953"/>
                  </a:lnTo>
                  <a:lnTo>
                    <a:pt x="881" y="962"/>
                  </a:lnTo>
                  <a:lnTo>
                    <a:pt x="882" y="964"/>
                  </a:lnTo>
                  <a:lnTo>
                    <a:pt x="883" y="965"/>
                  </a:lnTo>
                  <a:lnTo>
                    <a:pt x="883" y="965"/>
                  </a:lnTo>
                  <a:lnTo>
                    <a:pt x="890" y="966"/>
                  </a:lnTo>
                  <a:lnTo>
                    <a:pt x="898" y="966"/>
                  </a:lnTo>
                  <a:lnTo>
                    <a:pt x="908" y="965"/>
                  </a:lnTo>
                  <a:lnTo>
                    <a:pt x="919" y="963"/>
                  </a:lnTo>
                  <a:lnTo>
                    <a:pt x="930" y="960"/>
                  </a:lnTo>
                  <a:lnTo>
                    <a:pt x="942" y="956"/>
                  </a:lnTo>
                  <a:lnTo>
                    <a:pt x="953" y="950"/>
                  </a:lnTo>
                  <a:lnTo>
                    <a:pt x="958" y="946"/>
                  </a:lnTo>
                  <a:lnTo>
                    <a:pt x="962" y="942"/>
                  </a:lnTo>
                  <a:lnTo>
                    <a:pt x="962" y="942"/>
                  </a:lnTo>
                  <a:lnTo>
                    <a:pt x="970" y="932"/>
                  </a:lnTo>
                  <a:lnTo>
                    <a:pt x="978" y="922"/>
                  </a:lnTo>
                  <a:lnTo>
                    <a:pt x="984" y="912"/>
                  </a:lnTo>
                  <a:lnTo>
                    <a:pt x="989" y="901"/>
                  </a:lnTo>
                  <a:lnTo>
                    <a:pt x="992" y="890"/>
                  </a:lnTo>
                  <a:lnTo>
                    <a:pt x="995" y="879"/>
                  </a:lnTo>
                  <a:lnTo>
                    <a:pt x="998" y="862"/>
                  </a:lnTo>
                  <a:lnTo>
                    <a:pt x="998" y="862"/>
                  </a:lnTo>
                  <a:lnTo>
                    <a:pt x="998" y="891"/>
                  </a:lnTo>
                  <a:lnTo>
                    <a:pt x="999" y="915"/>
                  </a:lnTo>
                  <a:lnTo>
                    <a:pt x="1001" y="936"/>
                  </a:lnTo>
                  <a:lnTo>
                    <a:pt x="1001" y="936"/>
                  </a:lnTo>
                  <a:lnTo>
                    <a:pt x="1015" y="935"/>
                  </a:lnTo>
                  <a:lnTo>
                    <a:pt x="1024" y="933"/>
                  </a:lnTo>
                  <a:lnTo>
                    <a:pt x="1032" y="931"/>
                  </a:lnTo>
                  <a:lnTo>
                    <a:pt x="1032" y="931"/>
                  </a:lnTo>
                  <a:lnTo>
                    <a:pt x="1046" y="925"/>
                  </a:lnTo>
                  <a:lnTo>
                    <a:pt x="1057" y="920"/>
                  </a:lnTo>
                  <a:lnTo>
                    <a:pt x="1068" y="913"/>
                  </a:lnTo>
                  <a:lnTo>
                    <a:pt x="1068" y="913"/>
                  </a:lnTo>
                  <a:lnTo>
                    <a:pt x="1078" y="905"/>
                  </a:lnTo>
                  <a:lnTo>
                    <a:pt x="1083" y="900"/>
                  </a:lnTo>
                  <a:lnTo>
                    <a:pt x="1088" y="894"/>
                  </a:lnTo>
                  <a:lnTo>
                    <a:pt x="1092" y="887"/>
                  </a:lnTo>
                  <a:lnTo>
                    <a:pt x="1096" y="878"/>
                  </a:lnTo>
                  <a:lnTo>
                    <a:pt x="1099" y="868"/>
                  </a:lnTo>
                  <a:lnTo>
                    <a:pt x="1101" y="856"/>
                  </a:lnTo>
                  <a:close/>
                  <a:moveTo>
                    <a:pt x="1266" y="1010"/>
                  </a:moveTo>
                  <a:lnTo>
                    <a:pt x="1266" y="916"/>
                  </a:lnTo>
                  <a:lnTo>
                    <a:pt x="1266" y="916"/>
                  </a:lnTo>
                  <a:lnTo>
                    <a:pt x="1261" y="910"/>
                  </a:lnTo>
                  <a:lnTo>
                    <a:pt x="1255" y="902"/>
                  </a:lnTo>
                  <a:lnTo>
                    <a:pt x="1247" y="891"/>
                  </a:lnTo>
                  <a:lnTo>
                    <a:pt x="1240" y="875"/>
                  </a:lnTo>
                  <a:lnTo>
                    <a:pt x="1237" y="866"/>
                  </a:lnTo>
                  <a:lnTo>
                    <a:pt x="1234" y="856"/>
                  </a:lnTo>
                  <a:lnTo>
                    <a:pt x="1232" y="845"/>
                  </a:lnTo>
                  <a:lnTo>
                    <a:pt x="1229" y="831"/>
                  </a:lnTo>
                  <a:lnTo>
                    <a:pt x="1228" y="818"/>
                  </a:lnTo>
                  <a:lnTo>
                    <a:pt x="1227" y="803"/>
                  </a:lnTo>
                  <a:lnTo>
                    <a:pt x="1227" y="803"/>
                  </a:lnTo>
                  <a:lnTo>
                    <a:pt x="1227" y="792"/>
                  </a:lnTo>
                  <a:lnTo>
                    <a:pt x="1228" y="782"/>
                  </a:lnTo>
                  <a:lnTo>
                    <a:pt x="1229" y="772"/>
                  </a:lnTo>
                  <a:lnTo>
                    <a:pt x="1232" y="762"/>
                  </a:lnTo>
                  <a:lnTo>
                    <a:pt x="1238" y="743"/>
                  </a:lnTo>
                  <a:lnTo>
                    <a:pt x="1244" y="727"/>
                  </a:lnTo>
                  <a:lnTo>
                    <a:pt x="1252" y="714"/>
                  </a:lnTo>
                  <a:lnTo>
                    <a:pt x="1258" y="702"/>
                  </a:lnTo>
                  <a:lnTo>
                    <a:pt x="1264" y="693"/>
                  </a:lnTo>
                  <a:lnTo>
                    <a:pt x="1263" y="603"/>
                  </a:lnTo>
                  <a:lnTo>
                    <a:pt x="1263" y="603"/>
                  </a:lnTo>
                  <a:lnTo>
                    <a:pt x="1254" y="596"/>
                  </a:lnTo>
                  <a:lnTo>
                    <a:pt x="1230" y="581"/>
                  </a:lnTo>
                  <a:lnTo>
                    <a:pt x="1216" y="573"/>
                  </a:lnTo>
                  <a:lnTo>
                    <a:pt x="1201" y="565"/>
                  </a:lnTo>
                  <a:lnTo>
                    <a:pt x="1194" y="562"/>
                  </a:lnTo>
                  <a:lnTo>
                    <a:pt x="1188" y="561"/>
                  </a:lnTo>
                  <a:lnTo>
                    <a:pt x="1182" y="560"/>
                  </a:lnTo>
                  <a:lnTo>
                    <a:pt x="1176" y="560"/>
                  </a:lnTo>
                  <a:lnTo>
                    <a:pt x="1177" y="887"/>
                  </a:lnTo>
                  <a:lnTo>
                    <a:pt x="1177" y="887"/>
                  </a:lnTo>
                  <a:lnTo>
                    <a:pt x="1177" y="899"/>
                  </a:lnTo>
                  <a:lnTo>
                    <a:pt x="1174" y="909"/>
                  </a:lnTo>
                  <a:lnTo>
                    <a:pt x="1170" y="920"/>
                  </a:lnTo>
                  <a:lnTo>
                    <a:pt x="1164" y="930"/>
                  </a:lnTo>
                  <a:lnTo>
                    <a:pt x="1156" y="942"/>
                  </a:lnTo>
                  <a:lnTo>
                    <a:pt x="1148" y="952"/>
                  </a:lnTo>
                  <a:lnTo>
                    <a:pt x="1138" y="962"/>
                  </a:lnTo>
                  <a:lnTo>
                    <a:pt x="1128" y="971"/>
                  </a:lnTo>
                  <a:lnTo>
                    <a:pt x="1117" y="981"/>
                  </a:lnTo>
                  <a:lnTo>
                    <a:pt x="1104" y="989"/>
                  </a:lnTo>
                  <a:lnTo>
                    <a:pt x="1092" y="997"/>
                  </a:lnTo>
                  <a:lnTo>
                    <a:pt x="1079" y="1003"/>
                  </a:lnTo>
                  <a:lnTo>
                    <a:pt x="1065" y="1009"/>
                  </a:lnTo>
                  <a:lnTo>
                    <a:pt x="1052" y="1014"/>
                  </a:lnTo>
                  <a:lnTo>
                    <a:pt x="1039" y="1018"/>
                  </a:lnTo>
                  <a:lnTo>
                    <a:pt x="1026" y="1021"/>
                  </a:lnTo>
                  <a:lnTo>
                    <a:pt x="1026" y="1021"/>
                  </a:lnTo>
                  <a:lnTo>
                    <a:pt x="996" y="1027"/>
                  </a:lnTo>
                  <a:lnTo>
                    <a:pt x="967" y="1031"/>
                  </a:lnTo>
                  <a:lnTo>
                    <a:pt x="939" y="1034"/>
                  </a:lnTo>
                  <a:lnTo>
                    <a:pt x="911" y="1037"/>
                  </a:lnTo>
                  <a:lnTo>
                    <a:pt x="858" y="1040"/>
                  </a:lnTo>
                  <a:lnTo>
                    <a:pt x="810" y="1042"/>
                  </a:lnTo>
                  <a:lnTo>
                    <a:pt x="770" y="1042"/>
                  </a:lnTo>
                  <a:lnTo>
                    <a:pt x="739" y="1042"/>
                  </a:lnTo>
                  <a:lnTo>
                    <a:pt x="712" y="1041"/>
                  </a:lnTo>
                  <a:lnTo>
                    <a:pt x="712" y="1041"/>
                  </a:lnTo>
                  <a:lnTo>
                    <a:pt x="713" y="1048"/>
                  </a:lnTo>
                  <a:lnTo>
                    <a:pt x="716" y="1068"/>
                  </a:lnTo>
                  <a:lnTo>
                    <a:pt x="722" y="1095"/>
                  </a:lnTo>
                  <a:lnTo>
                    <a:pt x="725" y="1110"/>
                  </a:lnTo>
                  <a:lnTo>
                    <a:pt x="730" y="1126"/>
                  </a:lnTo>
                  <a:lnTo>
                    <a:pt x="730" y="1126"/>
                  </a:lnTo>
                  <a:lnTo>
                    <a:pt x="735" y="1136"/>
                  </a:lnTo>
                  <a:lnTo>
                    <a:pt x="741" y="1146"/>
                  </a:lnTo>
                  <a:lnTo>
                    <a:pt x="748" y="1155"/>
                  </a:lnTo>
                  <a:lnTo>
                    <a:pt x="756" y="1164"/>
                  </a:lnTo>
                  <a:lnTo>
                    <a:pt x="769" y="1176"/>
                  </a:lnTo>
                  <a:lnTo>
                    <a:pt x="774" y="1180"/>
                  </a:lnTo>
                  <a:lnTo>
                    <a:pt x="1163" y="1180"/>
                  </a:lnTo>
                  <a:lnTo>
                    <a:pt x="1266" y="1010"/>
                  </a:lnTo>
                  <a:close/>
                  <a:moveTo>
                    <a:pt x="773" y="1398"/>
                  </a:moveTo>
                  <a:lnTo>
                    <a:pt x="1164" y="1398"/>
                  </a:lnTo>
                  <a:lnTo>
                    <a:pt x="1164" y="1398"/>
                  </a:lnTo>
                  <a:lnTo>
                    <a:pt x="1175" y="1365"/>
                  </a:lnTo>
                  <a:lnTo>
                    <a:pt x="1183" y="1339"/>
                  </a:lnTo>
                  <a:lnTo>
                    <a:pt x="1186" y="1328"/>
                  </a:lnTo>
                  <a:lnTo>
                    <a:pt x="1188" y="1319"/>
                  </a:lnTo>
                  <a:lnTo>
                    <a:pt x="1170" y="1256"/>
                  </a:lnTo>
                  <a:lnTo>
                    <a:pt x="775" y="1256"/>
                  </a:lnTo>
                  <a:lnTo>
                    <a:pt x="753" y="1321"/>
                  </a:lnTo>
                  <a:lnTo>
                    <a:pt x="773" y="1398"/>
                  </a:lnTo>
                  <a:close/>
                  <a:moveTo>
                    <a:pt x="1164" y="1471"/>
                  </a:moveTo>
                  <a:lnTo>
                    <a:pt x="782" y="1471"/>
                  </a:lnTo>
                  <a:lnTo>
                    <a:pt x="780" y="1976"/>
                  </a:lnTo>
                  <a:lnTo>
                    <a:pt x="1111" y="1985"/>
                  </a:lnTo>
                  <a:lnTo>
                    <a:pt x="1216" y="1902"/>
                  </a:lnTo>
                  <a:lnTo>
                    <a:pt x="1164" y="1471"/>
                  </a:lnTo>
                  <a:close/>
                  <a:moveTo>
                    <a:pt x="1343" y="2103"/>
                  </a:moveTo>
                  <a:lnTo>
                    <a:pt x="1343" y="2103"/>
                  </a:lnTo>
                  <a:lnTo>
                    <a:pt x="1309" y="2079"/>
                  </a:lnTo>
                  <a:lnTo>
                    <a:pt x="1284" y="2061"/>
                  </a:lnTo>
                  <a:lnTo>
                    <a:pt x="1276" y="2054"/>
                  </a:lnTo>
                  <a:lnTo>
                    <a:pt x="1271" y="2049"/>
                  </a:lnTo>
                  <a:lnTo>
                    <a:pt x="1271" y="2049"/>
                  </a:lnTo>
                  <a:lnTo>
                    <a:pt x="1269" y="2043"/>
                  </a:lnTo>
                  <a:lnTo>
                    <a:pt x="1267" y="2033"/>
                  </a:lnTo>
                  <a:lnTo>
                    <a:pt x="1263" y="2004"/>
                  </a:lnTo>
                  <a:lnTo>
                    <a:pt x="1260" y="1964"/>
                  </a:lnTo>
                  <a:lnTo>
                    <a:pt x="1138" y="2062"/>
                  </a:lnTo>
                  <a:lnTo>
                    <a:pt x="765" y="2061"/>
                  </a:lnTo>
                  <a:lnTo>
                    <a:pt x="765" y="2061"/>
                  </a:lnTo>
                  <a:lnTo>
                    <a:pt x="765" y="2062"/>
                  </a:lnTo>
                  <a:lnTo>
                    <a:pt x="764" y="2064"/>
                  </a:lnTo>
                  <a:lnTo>
                    <a:pt x="762" y="2072"/>
                  </a:lnTo>
                  <a:lnTo>
                    <a:pt x="760" y="2103"/>
                  </a:lnTo>
                  <a:lnTo>
                    <a:pt x="759" y="2147"/>
                  </a:lnTo>
                  <a:lnTo>
                    <a:pt x="758" y="2197"/>
                  </a:lnTo>
                  <a:lnTo>
                    <a:pt x="757" y="2291"/>
                  </a:lnTo>
                  <a:lnTo>
                    <a:pt x="757" y="2333"/>
                  </a:lnTo>
                  <a:lnTo>
                    <a:pt x="757" y="2333"/>
                  </a:lnTo>
                  <a:lnTo>
                    <a:pt x="786" y="2359"/>
                  </a:lnTo>
                  <a:lnTo>
                    <a:pt x="852" y="2412"/>
                  </a:lnTo>
                  <a:lnTo>
                    <a:pt x="888" y="2441"/>
                  </a:lnTo>
                  <a:lnTo>
                    <a:pt x="919" y="2465"/>
                  </a:lnTo>
                  <a:lnTo>
                    <a:pt x="943" y="2481"/>
                  </a:lnTo>
                  <a:lnTo>
                    <a:pt x="950" y="2486"/>
                  </a:lnTo>
                  <a:lnTo>
                    <a:pt x="952" y="2487"/>
                  </a:lnTo>
                  <a:lnTo>
                    <a:pt x="954" y="2487"/>
                  </a:lnTo>
                  <a:lnTo>
                    <a:pt x="1205" y="2170"/>
                  </a:lnTo>
                  <a:lnTo>
                    <a:pt x="1343" y="2103"/>
                  </a:lnTo>
                  <a:close/>
                  <a:moveTo>
                    <a:pt x="1259" y="2225"/>
                  </a:moveTo>
                  <a:lnTo>
                    <a:pt x="1033" y="2515"/>
                  </a:lnTo>
                  <a:lnTo>
                    <a:pt x="1402" y="2669"/>
                  </a:lnTo>
                  <a:lnTo>
                    <a:pt x="1402" y="2669"/>
                  </a:lnTo>
                  <a:lnTo>
                    <a:pt x="1442" y="2647"/>
                  </a:lnTo>
                  <a:lnTo>
                    <a:pt x="1485" y="2624"/>
                  </a:lnTo>
                  <a:lnTo>
                    <a:pt x="1528" y="2599"/>
                  </a:lnTo>
                  <a:lnTo>
                    <a:pt x="1571" y="2573"/>
                  </a:lnTo>
                  <a:lnTo>
                    <a:pt x="1656" y="2521"/>
                  </a:lnTo>
                  <a:lnTo>
                    <a:pt x="1736" y="2471"/>
                  </a:lnTo>
                  <a:lnTo>
                    <a:pt x="1806" y="2426"/>
                  </a:lnTo>
                  <a:lnTo>
                    <a:pt x="1862" y="2389"/>
                  </a:lnTo>
                  <a:lnTo>
                    <a:pt x="1912" y="2356"/>
                  </a:lnTo>
                  <a:lnTo>
                    <a:pt x="1392" y="2160"/>
                  </a:lnTo>
                  <a:lnTo>
                    <a:pt x="1259" y="2225"/>
                  </a:lnTo>
                  <a:close/>
                  <a:moveTo>
                    <a:pt x="1462" y="703"/>
                  </a:moveTo>
                  <a:lnTo>
                    <a:pt x="1462" y="703"/>
                  </a:lnTo>
                  <a:lnTo>
                    <a:pt x="1461" y="553"/>
                  </a:lnTo>
                  <a:lnTo>
                    <a:pt x="1461" y="448"/>
                  </a:lnTo>
                  <a:lnTo>
                    <a:pt x="1462" y="411"/>
                  </a:lnTo>
                  <a:lnTo>
                    <a:pt x="1463" y="399"/>
                  </a:lnTo>
                  <a:lnTo>
                    <a:pt x="1464" y="394"/>
                  </a:lnTo>
                  <a:lnTo>
                    <a:pt x="1464" y="394"/>
                  </a:lnTo>
                  <a:lnTo>
                    <a:pt x="1469" y="386"/>
                  </a:lnTo>
                  <a:lnTo>
                    <a:pt x="1474" y="379"/>
                  </a:lnTo>
                  <a:lnTo>
                    <a:pt x="1480" y="368"/>
                  </a:lnTo>
                  <a:lnTo>
                    <a:pt x="1480" y="368"/>
                  </a:lnTo>
                  <a:lnTo>
                    <a:pt x="1483" y="360"/>
                  </a:lnTo>
                  <a:lnTo>
                    <a:pt x="1484" y="351"/>
                  </a:lnTo>
                  <a:lnTo>
                    <a:pt x="1484" y="343"/>
                  </a:lnTo>
                  <a:lnTo>
                    <a:pt x="1483" y="333"/>
                  </a:lnTo>
                  <a:lnTo>
                    <a:pt x="1481" y="320"/>
                  </a:lnTo>
                  <a:lnTo>
                    <a:pt x="1480" y="315"/>
                  </a:lnTo>
                  <a:lnTo>
                    <a:pt x="1298" y="315"/>
                  </a:lnTo>
                  <a:lnTo>
                    <a:pt x="1298" y="315"/>
                  </a:lnTo>
                  <a:lnTo>
                    <a:pt x="1297" y="319"/>
                  </a:lnTo>
                  <a:lnTo>
                    <a:pt x="1296" y="323"/>
                  </a:lnTo>
                  <a:lnTo>
                    <a:pt x="1296" y="335"/>
                  </a:lnTo>
                  <a:lnTo>
                    <a:pt x="1297" y="348"/>
                  </a:lnTo>
                  <a:lnTo>
                    <a:pt x="1299" y="358"/>
                  </a:lnTo>
                  <a:lnTo>
                    <a:pt x="1299" y="358"/>
                  </a:lnTo>
                  <a:lnTo>
                    <a:pt x="1303" y="369"/>
                  </a:lnTo>
                  <a:lnTo>
                    <a:pt x="1309" y="380"/>
                  </a:lnTo>
                  <a:lnTo>
                    <a:pt x="1316" y="391"/>
                  </a:lnTo>
                  <a:lnTo>
                    <a:pt x="1320" y="395"/>
                  </a:lnTo>
                  <a:lnTo>
                    <a:pt x="1325" y="398"/>
                  </a:lnTo>
                  <a:lnTo>
                    <a:pt x="1325" y="703"/>
                  </a:lnTo>
                  <a:lnTo>
                    <a:pt x="1325" y="703"/>
                  </a:lnTo>
                  <a:lnTo>
                    <a:pt x="1321" y="710"/>
                  </a:lnTo>
                  <a:lnTo>
                    <a:pt x="1316" y="717"/>
                  </a:lnTo>
                  <a:lnTo>
                    <a:pt x="1311" y="727"/>
                  </a:lnTo>
                  <a:lnTo>
                    <a:pt x="1306" y="741"/>
                  </a:lnTo>
                  <a:lnTo>
                    <a:pt x="1301" y="758"/>
                  </a:lnTo>
                  <a:lnTo>
                    <a:pt x="1296" y="778"/>
                  </a:lnTo>
                  <a:lnTo>
                    <a:pt x="1292" y="802"/>
                  </a:lnTo>
                  <a:lnTo>
                    <a:pt x="1292" y="802"/>
                  </a:lnTo>
                  <a:lnTo>
                    <a:pt x="1292" y="813"/>
                  </a:lnTo>
                  <a:lnTo>
                    <a:pt x="1292" y="823"/>
                  </a:lnTo>
                  <a:lnTo>
                    <a:pt x="1293" y="833"/>
                  </a:lnTo>
                  <a:lnTo>
                    <a:pt x="1296" y="844"/>
                  </a:lnTo>
                  <a:lnTo>
                    <a:pt x="1302" y="861"/>
                  </a:lnTo>
                  <a:lnTo>
                    <a:pt x="1308" y="877"/>
                  </a:lnTo>
                  <a:lnTo>
                    <a:pt x="1315" y="891"/>
                  </a:lnTo>
                  <a:lnTo>
                    <a:pt x="1321" y="900"/>
                  </a:lnTo>
                  <a:lnTo>
                    <a:pt x="1327" y="909"/>
                  </a:lnTo>
                  <a:lnTo>
                    <a:pt x="1323" y="1165"/>
                  </a:lnTo>
                  <a:lnTo>
                    <a:pt x="1323" y="1165"/>
                  </a:lnTo>
                  <a:lnTo>
                    <a:pt x="1321" y="1167"/>
                  </a:lnTo>
                  <a:lnTo>
                    <a:pt x="1315" y="1174"/>
                  </a:lnTo>
                  <a:lnTo>
                    <a:pt x="1312" y="1179"/>
                  </a:lnTo>
                  <a:lnTo>
                    <a:pt x="1310" y="1186"/>
                  </a:lnTo>
                  <a:lnTo>
                    <a:pt x="1307" y="1194"/>
                  </a:lnTo>
                  <a:lnTo>
                    <a:pt x="1306" y="1203"/>
                  </a:lnTo>
                  <a:lnTo>
                    <a:pt x="1306" y="1203"/>
                  </a:lnTo>
                  <a:lnTo>
                    <a:pt x="1306" y="1213"/>
                  </a:lnTo>
                  <a:lnTo>
                    <a:pt x="1306" y="1221"/>
                  </a:lnTo>
                  <a:lnTo>
                    <a:pt x="1307" y="1234"/>
                  </a:lnTo>
                  <a:lnTo>
                    <a:pt x="1309" y="1241"/>
                  </a:lnTo>
                  <a:lnTo>
                    <a:pt x="1310" y="1243"/>
                  </a:lnTo>
                  <a:lnTo>
                    <a:pt x="1480" y="1243"/>
                  </a:lnTo>
                  <a:lnTo>
                    <a:pt x="1480" y="1243"/>
                  </a:lnTo>
                  <a:lnTo>
                    <a:pt x="1482" y="1235"/>
                  </a:lnTo>
                  <a:lnTo>
                    <a:pt x="1483" y="1221"/>
                  </a:lnTo>
                  <a:lnTo>
                    <a:pt x="1482" y="1204"/>
                  </a:lnTo>
                  <a:lnTo>
                    <a:pt x="1482" y="1196"/>
                  </a:lnTo>
                  <a:lnTo>
                    <a:pt x="1480" y="1188"/>
                  </a:lnTo>
                  <a:lnTo>
                    <a:pt x="1480" y="1188"/>
                  </a:lnTo>
                  <a:lnTo>
                    <a:pt x="1477" y="1179"/>
                  </a:lnTo>
                  <a:lnTo>
                    <a:pt x="1471" y="1172"/>
                  </a:lnTo>
                  <a:lnTo>
                    <a:pt x="1466" y="1166"/>
                  </a:lnTo>
                  <a:lnTo>
                    <a:pt x="1461" y="1161"/>
                  </a:lnTo>
                  <a:lnTo>
                    <a:pt x="1460" y="909"/>
                  </a:lnTo>
                  <a:lnTo>
                    <a:pt x="1460" y="909"/>
                  </a:lnTo>
                  <a:lnTo>
                    <a:pt x="1473" y="888"/>
                  </a:lnTo>
                  <a:lnTo>
                    <a:pt x="1482" y="876"/>
                  </a:lnTo>
                  <a:lnTo>
                    <a:pt x="1488" y="865"/>
                  </a:lnTo>
                  <a:lnTo>
                    <a:pt x="1494" y="852"/>
                  </a:lnTo>
                  <a:lnTo>
                    <a:pt x="1499" y="837"/>
                  </a:lnTo>
                  <a:lnTo>
                    <a:pt x="1502" y="822"/>
                  </a:lnTo>
                  <a:lnTo>
                    <a:pt x="1503" y="814"/>
                  </a:lnTo>
                  <a:lnTo>
                    <a:pt x="1503" y="806"/>
                  </a:lnTo>
                  <a:lnTo>
                    <a:pt x="1503" y="806"/>
                  </a:lnTo>
                  <a:lnTo>
                    <a:pt x="1503" y="797"/>
                  </a:lnTo>
                  <a:lnTo>
                    <a:pt x="1502" y="788"/>
                  </a:lnTo>
                  <a:lnTo>
                    <a:pt x="1498" y="773"/>
                  </a:lnTo>
                  <a:lnTo>
                    <a:pt x="1493" y="758"/>
                  </a:lnTo>
                  <a:lnTo>
                    <a:pt x="1487" y="743"/>
                  </a:lnTo>
                  <a:lnTo>
                    <a:pt x="1481" y="731"/>
                  </a:lnTo>
                  <a:lnTo>
                    <a:pt x="1473" y="720"/>
                  </a:lnTo>
                  <a:lnTo>
                    <a:pt x="1462" y="703"/>
                  </a:lnTo>
                  <a:close/>
                  <a:moveTo>
                    <a:pt x="1843" y="953"/>
                  </a:moveTo>
                  <a:lnTo>
                    <a:pt x="2130" y="663"/>
                  </a:lnTo>
                  <a:lnTo>
                    <a:pt x="2130" y="663"/>
                  </a:lnTo>
                  <a:lnTo>
                    <a:pt x="1946" y="660"/>
                  </a:lnTo>
                  <a:lnTo>
                    <a:pt x="1837" y="659"/>
                  </a:lnTo>
                  <a:lnTo>
                    <a:pt x="1715" y="658"/>
                  </a:lnTo>
                  <a:lnTo>
                    <a:pt x="1715" y="658"/>
                  </a:lnTo>
                  <a:lnTo>
                    <a:pt x="1708" y="657"/>
                  </a:lnTo>
                  <a:lnTo>
                    <a:pt x="1698" y="655"/>
                  </a:lnTo>
                  <a:lnTo>
                    <a:pt x="1687" y="651"/>
                  </a:lnTo>
                  <a:lnTo>
                    <a:pt x="1676" y="646"/>
                  </a:lnTo>
                  <a:lnTo>
                    <a:pt x="1650" y="634"/>
                  </a:lnTo>
                  <a:lnTo>
                    <a:pt x="1623" y="620"/>
                  </a:lnTo>
                  <a:lnTo>
                    <a:pt x="1597" y="606"/>
                  </a:lnTo>
                  <a:lnTo>
                    <a:pt x="1576" y="596"/>
                  </a:lnTo>
                  <a:lnTo>
                    <a:pt x="1566" y="592"/>
                  </a:lnTo>
                  <a:lnTo>
                    <a:pt x="1558" y="591"/>
                  </a:lnTo>
                  <a:lnTo>
                    <a:pt x="1553" y="590"/>
                  </a:lnTo>
                  <a:lnTo>
                    <a:pt x="1551" y="591"/>
                  </a:lnTo>
                  <a:lnTo>
                    <a:pt x="1550" y="592"/>
                  </a:lnTo>
                  <a:lnTo>
                    <a:pt x="1550" y="592"/>
                  </a:lnTo>
                  <a:lnTo>
                    <a:pt x="1535" y="628"/>
                  </a:lnTo>
                  <a:lnTo>
                    <a:pt x="1514" y="681"/>
                  </a:lnTo>
                  <a:lnTo>
                    <a:pt x="1514" y="681"/>
                  </a:lnTo>
                  <a:lnTo>
                    <a:pt x="1523" y="691"/>
                  </a:lnTo>
                  <a:lnTo>
                    <a:pt x="1532" y="703"/>
                  </a:lnTo>
                  <a:lnTo>
                    <a:pt x="1542" y="719"/>
                  </a:lnTo>
                  <a:lnTo>
                    <a:pt x="1551" y="737"/>
                  </a:lnTo>
                  <a:lnTo>
                    <a:pt x="1556" y="747"/>
                  </a:lnTo>
                  <a:lnTo>
                    <a:pt x="1560" y="759"/>
                  </a:lnTo>
                  <a:lnTo>
                    <a:pt x="1563" y="770"/>
                  </a:lnTo>
                  <a:lnTo>
                    <a:pt x="1565" y="781"/>
                  </a:lnTo>
                  <a:lnTo>
                    <a:pt x="1568" y="793"/>
                  </a:lnTo>
                  <a:lnTo>
                    <a:pt x="1568" y="806"/>
                  </a:lnTo>
                  <a:lnTo>
                    <a:pt x="1568" y="806"/>
                  </a:lnTo>
                  <a:lnTo>
                    <a:pt x="1566" y="825"/>
                  </a:lnTo>
                  <a:lnTo>
                    <a:pt x="1564" y="838"/>
                  </a:lnTo>
                  <a:lnTo>
                    <a:pt x="1561" y="855"/>
                  </a:lnTo>
                  <a:lnTo>
                    <a:pt x="1558" y="864"/>
                  </a:lnTo>
                  <a:lnTo>
                    <a:pt x="1555" y="873"/>
                  </a:lnTo>
                  <a:lnTo>
                    <a:pt x="1551" y="883"/>
                  </a:lnTo>
                  <a:lnTo>
                    <a:pt x="1545" y="894"/>
                  </a:lnTo>
                  <a:lnTo>
                    <a:pt x="1539" y="903"/>
                  </a:lnTo>
                  <a:lnTo>
                    <a:pt x="1532" y="914"/>
                  </a:lnTo>
                  <a:lnTo>
                    <a:pt x="1524" y="924"/>
                  </a:lnTo>
                  <a:lnTo>
                    <a:pt x="1513" y="935"/>
                  </a:lnTo>
                  <a:lnTo>
                    <a:pt x="1513" y="935"/>
                  </a:lnTo>
                  <a:lnTo>
                    <a:pt x="1536" y="981"/>
                  </a:lnTo>
                  <a:lnTo>
                    <a:pt x="1553" y="1013"/>
                  </a:lnTo>
                  <a:lnTo>
                    <a:pt x="1560" y="1025"/>
                  </a:lnTo>
                  <a:lnTo>
                    <a:pt x="1565" y="1032"/>
                  </a:lnTo>
                  <a:lnTo>
                    <a:pt x="1565" y="1032"/>
                  </a:lnTo>
                  <a:lnTo>
                    <a:pt x="1580" y="1023"/>
                  </a:lnTo>
                  <a:lnTo>
                    <a:pt x="1597" y="1013"/>
                  </a:lnTo>
                  <a:lnTo>
                    <a:pt x="1618" y="1002"/>
                  </a:lnTo>
                  <a:lnTo>
                    <a:pt x="1642" y="990"/>
                  </a:lnTo>
                  <a:lnTo>
                    <a:pt x="1669" y="978"/>
                  </a:lnTo>
                  <a:lnTo>
                    <a:pt x="1696" y="968"/>
                  </a:lnTo>
                  <a:lnTo>
                    <a:pt x="1711" y="964"/>
                  </a:lnTo>
                  <a:lnTo>
                    <a:pt x="1724" y="961"/>
                  </a:lnTo>
                  <a:lnTo>
                    <a:pt x="1724" y="961"/>
                  </a:lnTo>
                  <a:lnTo>
                    <a:pt x="1737" y="959"/>
                  </a:lnTo>
                  <a:lnTo>
                    <a:pt x="1761" y="957"/>
                  </a:lnTo>
                  <a:lnTo>
                    <a:pt x="1843" y="953"/>
                  </a:lnTo>
                  <a:close/>
                  <a:moveTo>
                    <a:pt x="3120" y="962"/>
                  </a:moveTo>
                  <a:lnTo>
                    <a:pt x="3486" y="484"/>
                  </a:lnTo>
                  <a:lnTo>
                    <a:pt x="3486" y="484"/>
                  </a:lnTo>
                  <a:lnTo>
                    <a:pt x="3479" y="482"/>
                  </a:lnTo>
                  <a:lnTo>
                    <a:pt x="3469" y="481"/>
                  </a:lnTo>
                  <a:lnTo>
                    <a:pt x="3458" y="480"/>
                  </a:lnTo>
                  <a:lnTo>
                    <a:pt x="3445" y="480"/>
                  </a:lnTo>
                  <a:lnTo>
                    <a:pt x="3428" y="483"/>
                  </a:lnTo>
                  <a:lnTo>
                    <a:pt x="3420" y="485"/>
                  </a:lnTo>
                  <a:lnTo>
                    <a:pt x="3412" y="488"/>
                  </a:lnTo>
                  <a:lnTo>
                    <a:pt x="3403" y="492"/>
                  </a:lnTo>
                  <a:lnTo>
                    <a:pt x="3394" y="496"/>
                  </a:lnTo>
                  <a:lnTo>
                    <a:pt x="3394" y="496"/>
                  </a:lnTo>
                  <a:lnTo>
                    <a:pt x="3385" y="502"/>
                  </a:lnTo>
                  <a:lnTo>
                    <a:pt x="3376" y="508"/>
                  </a:lnTo>
                  <a:lnTo>
                    <a:pt x="3369" y="515"/>
                  </a:lnTo>
                  <a:lnTo>
                    <a:pt x="3363" y="523"/>
                  </a:lnTo>
                  <a:lnTo>
                    <a:pt x="3358" y="532"/>
                  </a:lnTo>
                  <a:lnTo>
                    <a:pt x="3353" y="540"/>
                  </a:lnTo>
                  <a:lnTo>
                    <a:pt x="3349" y="548"/>
                  </a:lnTo>
                  <a:lnTo>
                    <a:pt x="3346" y="557"/>
                  </a:lnTo>
                  <a:lnTo>
                    <a:pt x="3341" y="574"/>
                  </a:lnTo>
                  <a:lnTo>
                    <a:pt x="3337" y="589"/>
                  </a:lnTo>
                  <a:lnTo>
                    <a:pt x="3336" y="600"/>
                  </a:lnTo>
                  <a:lnTo>
                    <a:pt x="3337" y="605"/>
                  </a:lnTo>
                  <a:lnTo>
                    <a:pt x="3338" y="608"/>
                  </a:lnTo>
                  <a:lnTo>
                    <a:pt x="3338" y="608"/>
                  </a:lnTo>
                  <a:lnTo>
                    <a:pt x="3334" y="599"/>
                  </a:lnTo>
                  <a:lnTo>
                    <a:pt x="3330" y="592"/>
                  </a:lnTo>
                  <a:lnTo>
                    <a:pt x="3325" y="585"/>
                  </a:lnTo>
                  <a:lnTo>
                    <a:pt x="3320" y="579"/>
                  </a:lnTo>
                  <a:lnTo>
                    <a:pt x="3315" y="574"/>
                  </a:lnTo>
                  <a:lnTo>
                    <a:pt x="3310" y="568"/>
                  </a:lnTo>
                  <a:lnTo>
                    <a:pt x="3304" y="564"/>
                  </a:lnTo>
                  <a:lnTo>
                    <a:pt x="3299" y="561"/>
                  </a:lnTo>
                  <a:lnTo>
                    <a:pt x="3286" y="556"/>
                  </a:lnTo>
                  <a:lnTo>
                    <a:pt x="3273" y="554"/>
                  </a:lnTo>
                  <a:lnTo>
                    <a:pt x="3261" y="553"/>
                  </a:lnTo>
                  <a:lnTo>
                    <a:pt x="3249" y="554"/>
                  </a:lnTo>
                  <a:lnTo>
                    <a:pt x="3236" y="556"/>
                  </a:lnTo>
                  <a:lnTo>
                    <a:pt x="3225" y="558"/>
                  </a:lnTo>
                  <a:lnTo>
                    <a:pt x="3214" y="562"/>
                  </a:lnTo>
                  <a:lnTo>
                    <a:pt x="3206" y="565"/>
                  </a:lnTo>
                  <a:lnTo>
                    <a:pt x="3192" y="572"/>
                  </a:lnTo>
                  <a:lnTo>
                    <a:pt x="3187" y="574"/>
                  </a:lnTo>
                  <a:lnTo>
                    <a:pt x="3187" y="574"/>
                  </a:lnTo>
                  <a:lnTo>
                    <a:pt x="3199" y="594"/>
                  </a:lnTo>
                  <a:lnTo>
                    <a:pt x="3209" y="613"/>
                  </a:lnTo>
                  <a:lnTo>
                    <a:pt x="3215" y="632"/>
                  </a:lnTo>
                  <a:lnTo>
                    <a:pt x="3219" y="647"/>
                  </a:lnTo>
                  <a:lnTo>
                    <a:pt x="3220" y="663"/>
                  </a:lnTo>
                  <a:lnTo>
                    <a:pt x="3220" y="675"/>
                  </a:lnTo>
                  <a:lnTo>
                    <a:pt x="3218" y="687"/>
                  </a:lnTo>
                  <a:lnTo>
                    <a:pt x="3214" y="696"/>
                  </a:lnTo>
                  <a:lnTo>
                    <a:pt x="3209" y="705"/>
                  </a:lnTo>
                  <a:lnTo>
                    <a:pt x="3203" y="712"/>
                  </a:lnTo>
                  <a:lnTo>
                    <a:pt x="3194" y="718"/>
                  </a:lnTo>
                  <a:lnTo>
                    <a:pt x="3186" y="722"/>
                  </a:lnTo>
                  <a:lnTo>
                    <a:pt x="3178" y="724"/>
                  </a:lnTo>
                  <a:lnTo>
                    <a:pt x="3169" y="725"/>
                  </a:lnTo>
                  <a:lnTo>
                    <a:pt x="3160" y="725"/>
                  </a:lnTo>
                  <a:lnTo>
                    <a:pt x="3150" y="724"/>
                  </a:lnTo>
                  <a:lnTo>
                    <a:pt x="3150" y="724"/>
                  </a:lnTo>
                  <a:lnTo>
                    <a:pt x="3138" y="720"/>
                  </a:lnTo>
                  <a:lnTo>
                    <a:pt x="3129" y="715"/>
                  </a:lnTo>
                  <a:lnTo>
                    <a:pt x="3121" y="709"/>
                  </a:lnTo>
                  <a:lnTo>
                    <a:pt x="3114" y="702"/>
                  </a:lnTo>
                  <a:lnTo>
                    <a:pt x="3108" y="695"/>
                  </a:lnTo>
                  <a:lnTo>
                    <a:pt x="3104" y="688"/>
                  </a:lnTo>
                  <a:lnTo>
                    <a:pt x="3100" y="680"/>
                  </a:lnTo>
                  <a:lnTo>
                    <a:pt x="3098" y="673"/>
                  </a:lnTo>
                  <a:lnTo>
                    <a:pt x="3095" y="658"/>
                  </a:lnTo>
                  <a:lnTo>
                    <a:pt x="3095" y="646"/>
                  </a:lnTo>
                  <a:lnTo>
                    <a:pt x="3095" y="638"/>
                  </a:lnTo>
                  <a:lnTo>
                    <a:pt x="3095" y="635"/>
                  </a:lnTo>
                  <a:lnTo>
                    <a:pt x="3095" y="635"/>
                  </a:lnTo>
                  <a:lnTo>
                    <a:pt x="3092" y="637"/>
                  </a:lnTo>
                  <a:lnTo>
                    <a:pt x="3084" y="643"/>
                  </a:lnTo>
                  <a:lnTo>
                    <a:pt x="3072" y="650"/>
                  </a:lnTo>
                  <a:lnTo>
                    <a:pt x="3064" y="653"/>
                  </a:lnTo>
                  <a:lnTo>
                    <a:pt x="3056" y="656"/>
                  </a:lnTo>
                  <a:lnTo>
                    <a:pt x="3047" y="658"/>
                  </a:lnTo>
                  <a:lnTo>
                    <a:pt x="3038" y="659"/>
                  </a:lnTo>
                  <a:lnTo>
                    <a:pt x="3028" y="659"/>
                  </a:lnTo>
                  <a:lnTo>
                    <a:pt x="3018" y="658"/>
                  </a:lnTo>
                  <a:lnTo>
                    <a:pt x="3008" y="655"/>
                  </a:lnTo>
                  <a:lnTo>
                    <a:pt x="2999" y="650"/>
                  </a:lnTo>
                  <a:lnTo>
                    <a:pt x="2989" y="643"/>
                  </a:lnTo>
                  <a:lnTo>
                    <a:pt x="2980" y="634"/>
                  </a:lnTo>
                  <a:lnTo>
                    <a:pt x="2980" y="634"/>
                  </a:lnTo>
                  <a:lnTo>
                    <a:pt x="2973" y="625"/>
                  </a:lnTo>
                  <a:lnTo>
                    <a:pt x="2969" y="616"/>
                  </a:lnTo>
                  <a:lnTo>
                    <a:pt x="2967" y="607"/>
                  </a:lnTo>
                  <a:lnTo>
                    <a:pt x="2968" y="598"/>
                  </a:lnTo>
                  <a:lnTo>
                    <a:pt x="2969" y="589"/>
                  </a:lnTo>
                  <a:lnTo>
                    <a:pt x="2973" y="581"/>
                  </a:lnTo>
                  <a:lnTo>
                    <a:pt x="2980" y="572"/>
                  </a:lnTo>
                  <a:lnTo>
                    <a:pt x="2987" y="564"/>
                  </a:lnTo>
                  <a:lnTo>
                    <a:pt x="2996" y="557"/>
                  </a:lnTo>
                  <a:lnTo>
                    <a:pt x="3006" y="550"/>
                  </a:lnTo>
                  <a:lnTo>
                    <a:pt x="3019" y="544"/>
                  </a:lnTo>
                  <a:lnTo>
                    <a:pt x="3033" y="540"/>
                  </a:lnTo>
                  <a:lnTo>
                    <a:pt x="3048" y="536"/>
                  </a:lnTo>
                  <a:lnTo>
                    <a:pt x="3065" y="533"/>
                  </a:lnTo>
                  <a:lnTo>
                    <a:pt x="3083" y="532"/>
                  </a:lnTo>
                  <a:lnTo>
                    <a:pt x="3102" y="531"/>
                  </a:lnTo>
                  <a:lnTo>
                    <a:pt x="3102" y="531"/>
                  </a:lnTo>
                  <a:lnTo>
                    <a:pt x="3103" y="520"/>
                  </a:lnTo>
                  <a:lnTo>
                    <a:pt x="3102" y="509"/>
                  </a:lnTo>
                  <a:lnTo>
                    <a:pt x="3099" y="494"/>
                  </a:lnTo>
                  <a:lnTo>
                    <a:pt x="3096" y="486"/>
                  </a:lnTo>
                  <a:lnTo>
                    <a:pt x="3093" y="477"/>
                  </a:lnTo>
                  <a:lnTo>
                    <a:pt x="3089" y="469"/>
                  </a:lnTo>
                  <a:lnTo>
                    <a:pt x="3084" y="460"/>
                  </a:lnTo>
                  <a:lnTo>
                    <a:pt x="3078" y="451"/>
                  </a:lnTo>
                  <a:lnTo>
                    <a:pt x="3071" y="443"/>
                  </a:lnTo>
                  <a:lnTo>
                    <a:pt x="3061" y="435"/>
                  </a:lnTo>
                  <a:lnTo>
                    <a:pt x="3051" y="426"/>
                  </a:lnTo>
                  <a:lnTo>
                    <a:pt x="3051" y="426"/>
                  </a:lnTo>
                  <a:lnTo>
                    <a:pt x="3043" y="421"/>
                  </a:lnTo>
                  <a:lnTo>
                    <a:pt x="3034" y="417"/>
                  </a:lnTo>
                  <a:lnTo>
                    <a:pt x="3024" y="415"/>
                  </a:lnTo>
                  <a:lnTo>
                    <a:pt x="3014" y="413"/>
                  </a:lnTo>
                  <a:lnTo>
                    <a:pt x="3004" y="412"/>
                  </a:lnTo>
                  <a:lnTo>
                    <a:pt x="2995" y="412"/>
                  </a:lnTo>
                  <a:lnTo>
                    <a:pt x="2977" y="414"/>
                  </a:lnTo>
                  <a:lnTo>
                    <a:pt x="2960" y="418"/>
                  </a:lnTo>
                  <a:lnTo>
                    <a:pt x="2947" y="421"/>
                  </a:lnTo>
                  <a:lnTo>
                    <a:pt x="2936" y="425"/>
                  </a:lnTo>
                  <a:lnTo>
                    <a:pt x="2936" y="425"/>
                  </a:lnTo>
                  <a:lnTo>
                    <a:pt x="2943" y="421"/>
                  </a:lnTo>
                  <a:lnTo>
                    <a:pt x="2951" y="415"/>
                  </a:lnTo>
                  <a:lnTo>
                    <a:pt x="2960" y="408"/>
                  </a:lnTo>
                  <a:lnTo>
                    <a:pt x="2970" y="397"/>
                  </a:lnTo>
                  <a:lnTo>
                    <a:pt x="2980" y="384"/>
                  </a:lnTo>
                  <a:lnTo>
                    <a:pt x="2984" y="376"/>
                  </a:lnTo>
                  <a:lnTo>
                    <a:pt x="2988" y="369"/>
                  </a:lnTo>
                  <a:lnTo>
                    <a:pt x="2991" y="360"/>
                  </a:lnTo>
                  <a:lnTo>
                    <a:pt x="2993" y="351"/>
                  </a:lnTo>
                  <a:lnTo>
                    <a:pt x="2993" y="351"/>
                  </a:lnTo>
                  <a:lnTo>
                    <a:pt x="2995" y="336"/>
                  </a:lnTo>
                  <a:lnTo>
                    <a:pt x="2994" y="320"/>
                  </a:lnTo>
                  <a:lnTo>
                    <a:pt x="2992" y="303"/>
                  </a:lnTo>
                  <a:lnTo>
                    <a:pt x="2988" y="285"/>
                  </a:lnTo>
                  <a:lnTo>
                    <a:pt x="2981" y="267"/>
                  </a:lnTo>
                  <a:lnTo>
                    <a:pt x="2972" y="249"/>
                  </a:lnTo>
                  <a:lnTo>
                    <a:pt x="2961" y="232"/>
                  </a:lnTo>
                  <a:lnTo>
                    <a:pt x="2955" y="223"/>
                  </a:lnTo>
                  <a:lnTo>
                    <a:pt x="2948" y="216"/>
                  </a:lnTo>
                  <a:lnTo>
                    <a:pt x="2947" y="214"/>
                  </a:lnTo>
                  <a:lnTo>
                    <a:pt x="2944" y="214"/>
                  </a:lnTo>
                  <a:lnTo>
                    <a:pt x="2944" y="214"/>
                  </a:lnTo>
                  <a:lnTo>
                    <a:pt x="2934" y="214"/>
                  </a:lnTo>
                  <a:lnTo>
                    <a:pt x="2923" y="215"/>
                  </a:lnTo>
                  <a:lnTo>
                    <a:pt x="2903" y="219"/>
                  </a:lnTo>
                  <a:lnTo>
                    <a:pt x="2885" y="224"/>
                  </a:lnTo>
                  <a:lnTo>
                    <a:pt x="2866" y="232"/>
                  </a:lnTo>
                  <a:lnTo>
                    <a:pt x="2851" y="240"/>
                  </a:lnTo>
                  <a:lnTo>
                    <a:pt x="2836" y="250"/>
                  </a:lnTo>
                  <a:lnTo>
                    <a:pt x="2824" y="261"/>
                  </a:lnTo>
                  <a:lnTo>
                    <a:pt x="2814" y="272"/>
                  </a:lnTo>
                  <a:lnTo>
                    <a:pt x="2814" y="272"/>
                  </a:lnTo>
                  <a:lnTo>
                    <a:pt x="2809" y="280"/>
                  </a:lnTo>
                  <a:lnTo>
                    <a:pt x="2805" y="288"/>
                  </a:lnTo>
                  <a:lnTo>
                    <a:pt x="2802" y="297"/>
                  </a:lnTo>
                  <a:lnTo>
                    <a:pt x="2799" y="305"/>
                  </a:lnTo>
                  <a:lnTo>
                    <a:pt x="2796" y="320"/>
                  </a:lnTo>
                  <a:lnTo>
                    <a:pt x="2795" y="334"/>
                  </a:lnTo>
                  <a:lnTo>
                    <a:pt x="2795" y="347"/>
                  </a:lnTo>
                  <a:lnTo>
                    <a:pt x="2796" y="357"/>
                  </a:lnTo>
                  <a:lnTo>
                    <a:pt x="2798" y="365"/>
                  </a:lnTo>
                  <a:lnTo>
                    <a:pt x="2798" y="365"/>
                  </a:lnTo>
                  <a:lnTo>
                    <a:pt x="2792" y="354"/>
                  </a:lnTo>
                  <a:lnTo>
                    <a:pt x="2787" y="341"/>
                  </a:lnTo>
                  <a:lnTo>
                    <a:pt x="2778" y="327"/>
                  </a:lnTo>
                  <a:lnTo>
                    <a:pt x="2767" y="313"/>
                  </a:lnTo>
                  <a:lnTo>
                    <a:pt x="2761" y="306"/>
                  </a:lnTo>
                  <a:lnTo>
                    <a:pt x="2754" y="299"/>
                  </a:lnTo>
                  <a:lnTo>
                    <a:pt x="2746" y="292"/>
                  </a:lnTo>
                  <a:lnTo>
                    <a:pt x="2737" y="287"/>
                  </a:lnTo>
                  <a:lnTo>
                    <a:pt x="2729" y="283"/>
                  </a:lnTo>
                  <a:lnTo>
                    <a:pt x="2719" y="281"/>
                  </a:lnTo>
                  <a:lnTo>
                    <a:pt x="2719" y="281"/>
                  </a:lnTo>
                  <a:lnTo>
                    <a:pt x="2707" y="278"/>
                  </a:lnTo>
                  <a:lnTo>
                    <a:pt x="2694" y="278"/>
                  </a:lnTo>
                  <a:lnTo>
                    <a:pt x="2683" y="278"/>
                  </a:lnTo>
                  <a:lnTo>
                    <a:pt x="2672" y="279"/>
                  </a:lnTo>
                  <a:lnTo>
                    <a:pt x="2663" y="281"/>
                  </a:lnTo>
                  <a:lnTo>
                    <a:pt x="2653" y="284"/>
                  </a:lnTo>
                  <a:lnTo>
                    <a:pt x="2644" y="287"/>
                  </a:lnTo>
                  <a:lnTo>
                    <a:pt x="2637" y="291"/>
                  </a:lnTo>
                  <a:lnTo>
                    <a:pt x="2624" y="300"/>
                  </a:lnTo>
                  <a:lnTo>
                    <a:pt x="2615" y="307"/>
                  </a:lnTo>
                  <a:lnTo>
                    <a:pt x="2607" y="314"/>
                  </a:lnTo>
                  <a:lnTo>
                    <a:pt x="2607" y="314"/>
                  </a:lnTo>
                  <a:lnTo>
                    <a:pt x="2621" y="328"/>
                  </a:lnTo>
                  <a:lnTo>
                    <a:pt x="2632" y="343"/>
                  </a:lnTo>
                  <a:lnTo>
                    <a:pt x="2641" y="357"/>
                  </a:lnTo>
                  <a:lnTo>
                    <a:pt x="2648" y="371"/>
                  </a:lnTo>
                  <a:lnTo>
                    <a:pt x="2654" y="384"/>
                  </a:lnTo>
                  <a:lnTo>
                    <a:pt x="2659" y="398"/>
                  </a:lnTo>
                  <a:lnTo>
                    <a:pt x="2661" y="410"/>
                  </a:lnTo>
                  <a:lnTo>
                    <a:pt x="2662" y="421"/>
                  </a:lnTo>
                  <a:lnTo>
                    <a:pt x="2661" y="432"/>
                  </a:lnTo>
                  <a:lnTo>
                    <a:pt x="2659" y="442"/>
                  </a:lnTo>
                  <a:lnTo>
                    <a:pt x="2654" y="451"/>
                  </a:lnTo>
                  <a:lnTo>
                    <a:pt x="2649" y="458"/>
                  </a:lnTo>
                  <a:lnTo>
                    <a:pt x="2642" y="464"/>
                  </a:lnTo>
                  <a:lnTo>
                    <a:pt x="2635" y="469"/>
                  </a:lnTo>
                  <a:lnTo>
                    <a:pt x="2626" y="472"/>
                  </a:lnTo>
                  <a:lnTo>
                    <a:pt x="2616" y="473"/>
                  </a:lnTo>
                  <a:lnTo>
                    <a:pt x="2616" y="473"/>
                  </a:lnTo>
                  <a:lnTo>
                    <a:pt x="2601" y="473"/>
                  </a:lnTo>
                  <a:lnTo>
                    <a:pt x="2590" y="471"/>
                  </a:lnTo>
                  <a:lnTo>
                    <a:pt x="2580" y="467"/>
                  </a:lnTo>
                  <a:lnTo>
                    <a:pt x="2571" y="462"/>
                  </a:lnTo>
                  <a:lnTo>
                    <a:pt x="2562" y="456"/>
                  </a:lnTo>
                  <a:lnTo>
                    <a:pt x="2556" y="449"/>
                  </a:lnTo>
                  <a:lnTo>
                    <a:pt x="2551" y="441"/>
                  </a:lnTo>
                  <a:lnTo>
                    <a:pt x="2547" y="432"/>
                  </a:lnTo>
                  <a:lnTo>
                    <a:pt x="2543" y="424"/>
                  </a:lnTo>
                  <a:lnTo>
                    <a:pt x="2541" y="417"/>
                  </a:lnTo>
                  <a:lnTo>
                    <a:pt x="2538" y="403"/>
                  </a:lnTo>
                  <a:lnTo>
                    <a:pt x="2536" y="393"/>
                  </a:lnTo>
                  <a:lnTo>
                    <a:pt x="2536" y="390"/>
                  </a:lnTo>
                  <a:lnTo>
                    <a:pt x="2536" y="390"/>
                  </a:lnTo>
                  <a:lnTo>
                    <a:pt x="2534" y="392"/>
                  </a:lnTo>
                  <a:lnTo>
                    <a:pt x="2528" y="398"/>
                  </a:lnTo>
                  <a:lnTo>
                    <a:pt x="2518" y="405"/>
                  </a:lnTo>
                  <a:lnTo>
                    <a:pt x="2506" y="413"/>
                  </a:lnTo>
                  <a:lnTo>
                    <a:pt x="2499" y="416"/>
                  </a:lnTo>
                  <a:lnTo>
                    <a:pt x="2491" y="419"/>
                  </a:lnTo>
                  <a:lnTo>
                    <a:pt x="2483" y="420"/>
                  </a:lnTo>
                  <a:lnTo>
                    <a:pt x="2473" y="421"/>
                  </a:lnTo>
                  <a:lnTo>
                    <a:pt x="2464" y="421"/>
                  </a:lnTo>
                  <a:lnTo>
                    <a:pt x="2454" y="419"/>
                  </a:lnTo>
                  <a:lnTo>
                    <a:pt x="2444" y="415"/>
                  </a:lnTo>
                  <a:lnTo>
                    <a:pt x="2434" y="409"/>
                  </a:lnTo>
                  <a:lnTo>
                    <a:pt x="2434" y="409"/>
                  </a:lnTo>
                  <a:lnTo>
                    <a:pt x="2426" y="404"/>
                  </a:lnTo>
                  <a:lnTo>
                    <a:pt x="2419" y="397"/>
                  </a:lnTo>
                  <a:lnTo>
                    <a:pt x="2414" y="390"/>
                  </a:lnTo>
                  <a:lnTo>
                    <a:pt x="2410" y="381"/>
                  </a:lnTo>
                  <a:lnTo>
                    <a:pt x="2408" y="372"/>
                  </a:lnTo>
                  <a:lnTo>
                    <a:pt x="2407" y="363"/>
                  </a:lnTo>
                  <a:lnTo>
                    <a:pt x="2407" y="354"/>
                  </a:lnTo>
                  <a:lnTo>
                    <a:pt x="2410" y="345"/>
                  </a:lnTo>
                  <a:lnTo>
                    <a:pt x="2415" y="334"/>
                  </a:lnTo>
                  <a:lnTo>
                    <a:pt x="2421" y="325"/>
                  </a:lnTo>
                  <a:lnTo>
                    <a:pt x="2432" y="316"/>
                  </a:lnTo>
                  <a:lnTo>
                    <a:pt x="2443" y="308"/>
                  </a:lnTo>
                  <a:lnTo>
                    <a:pt x="2457" y="300"/>
                  </a:lnTo>
                  <a:lnTo>
                    <a:pt x="2474" y="292"/>
                  </a:lnTo>
                  <a:lnTo>
                    <a:pt x="2495" y="286"/>
                  </a:lnTo>
                  <a:lnTo>
                    <a:pt x="2518" y="280"/>
                  </a:lnTo>
                  <a:lnTo>
                    <a:pt x="2518" y="280"/>
                  </a:lnTo>
                  <a:lnTo>
                    <a:pt x="2517" y="275"/>
                  </a:lnTo>
                  <a:lnTo>
                    <a:pt x="2512" y="262"/>
                  </a:lnTo>
                  <a:lnTo>
                    <a:pt x="2509" y="253"/>
                  </a:lnTo>
                  <a:lnTo>
                    <a:pt x="2504" y="242"/>
                  </a:lnTo>
                  <a:lnTo>
                    <a:pt x="2499" y="232"/>
                  </a:lnTo>
                  <a:lnTo>
                    <a:pt x="2492" y="222"/>
                  </a:lnTo>
                  <a:lnTo>
                    <a:pt x="2484" y="213"/>
                  </a:lnTo>
                  <a:lnTo>
                    <a:pt x="2474" y="203"/>
                  </a:lnTo>
                  <a:lnTo>
                    <a:pt x="2464" y="196"/>
                  </a:lnTo>
                  <a:lnTo>
                    <a:pt x="2452" y="190"/>
                  </a:lnTo>
                  <a:lnTo>
                    <a:pt x="2446" y="188"/>
                  </a:lnTo>
                  <a:lnTo>
                    <a:pt x="2440" y="187"/>
                  </a:lnTo>
                  <a:lnTo>
                    <a:pt x="2433" y="186"/>
                  </a:lnTo>
                  <a:lnTo>
                    <a:pt x="2424" y="185"/>
                  </a:lnTo>
                  <a:lnTo>
                    <a:pt x="2417" y="186"/>
                  </a:lnTo>
                  <a:lnTo>
                    <a:pt x="2408" y="187"/>
                  </a:lnTo>
                  <a:lnTo>
                    <a:pt x="2400" y="190"/>
                  </a:lnTo>
                  <a:lnTo>
                    <a:pt x="2391" y="193"/>
                  </a:lnTo>
                  <a:lnTo>
                    <a:pt x="2391" y="193"/>
                  </a:lnTo>
                  <a:lnTo>
                    <a:pt x="2394" y="191"/>
                  </a:lnTo>
                  <a:lnTo>
                    <a:pt x="2398" y="188"/>
                  </a:lnTo>
                  <a:lnTo>
                    <a:pt x="2406" y="180"/>
                  </a:lnTo>
                  <a:lnTo>
                    <a:pt x="2415" y="168"/>
                  </a:lnTo>
                  <a:lnTo>
                    <a:pt x="2423" y="153"/>
                  </a:lnTo>
                  <a:lnTo>
                    <a:pt x="2427" y="144"/>
                  </a:lnTo>
                  <a:lnTo>
                    <a:pt x="2432" y="136"/>
                  </a:lnTo>
                  <a:lnTo>
                    <a:pt x="2435" y="127"/>
                  </a:lnTo>
                  <a:lnTo>
                    <a:pt x="2437" y="117"/>
                  </a:lnTo>
                  <a:lnTo>
                    <a:pt x="2438" y="106"/>
                  </a:lnTo>
                  <a:lnTo>
                    <a:pt x="2439" y="97"/>
                  </a:lnTo>
                  <a:lnTo>
                    <a:pt x="2438" y="86"/>
                  </a:lnTo>
                  <a:lnTo>
                    <a:pt x="2436" y="76"/>
                  </a:lnTo>
                  <a:lnTo>
                    <a:pt x="2436" y="76"/>
                  </a:lnTo>
                  <a:lnTo>
                    <a:pt x="2434" y="66"/>
                  </a:lnTo>
                  <a:lnTo>
                    <a:pt x="2429" y="57"/>
                  </a:lnTo>
                  <a:lnTo>
                    <a:pt x="2426" y="49"/>
                  </a:lnTo>
                  <a:lnTo>
                    <a:pt x="2422" y="41"/>
                  </a:lnTo>
                  <a:lnTo>
                    <a:pt x="2413" y="28"/>
                  </a:lnTo>
                  <a:lnTo>
                    <a:pt x="2404" y="17"/>
                  </a:lnTo>
                  <a:lnTo>
                    <a:pt x="2396" y="9"/>
                  </a:lnTo>
                  <a:lnTo>
                    <a:pt x="2389" y="4"/>
                  </a:lnTo>
                  <a:lnTo>
                    <a:pt x="2382" y="0"/>
                  </a:lnTo>
                  <a:lnTo>
                    <a:pt x="2279" y="593"/>
                  </a:lnTo>
                  <a:lnTo>
                    <a:pt x="2548" y="712"/>
                  </a:lnTo>
                  <a:lnTo>
                    <a:pt x="2548" y="712"/>
                  </a:lnTo>
                  <a:lnTo>
                    <a:pt x="2572" y="693"/>
                  </a:lnTo>
                  <a:lnTo>
                    <a:pt x="2594" y="677"/>
                  </a:lnTo>
                  <a:lnTo>
                    <a:pt x="2615" y="665"/>
                  </a:lnTo>
                  <a:lnTo>
                    <a:pt x="2633" y="656"/>
                  </a:lnTo>
                  <a:lnTo>
                    <a:pt x="2633" y="656"/>
                  </a:lnTo>
                  <a:lnTo>
                    <a:pt x="2646" y="650"/>
                  </a:lnTo>
                  <a:lnTo>
                    <a:pt x="2661" y="646"/>
                  </a:lnTo>
                  <a:lnTo>
                    <a:pt x="2675" y="642"/>
                  </a:lnTo>
                  <a:lnTo>
                    <a:pt x="2688" y="639"/>
                  </a:lnTo>
                  <a:lnTo>
                    <a:pt x="2702" y="637"/>
                  </a:lnTo>
                  <a:lnTo>
                    <a:pt x="2716" y="636"/>
                  </a:lnTo>
                  <a:lnTo>
                    <a:pt x="2729" y="635"/>
                  </a:lnTo>
                  <a:lnTo>
                    <a:pt x="2743" y="635"/>
                  </a:lnTo>
                  <a:lnTo>
                    <a:pt x="2757" y="636"/>
                  </a:lnTo>
                  <a:lnTo>
                    <a:pt x="2770" y="638"/>
                  </a:lnTo>
                  <a:lnTo>
                    <a:pt x="2783" y="640"/>
                  </a:lnTo>
                  <a:lnTo>
                    <a:pt x="2796" y="643"/>
                  </a:lnTo>
                  <a:lnTo>
                    <a:pt x="2821" y="650"/>
                  </a:lnTo>
                  <a:lnTo>
                    <a:pt x="2845" y="658"/>
                  </a:lnTo>
                  <a:lnTo>
                    <a:pt x="2845" y="658"/>
                  </a:lnTo>
                  <a:lnTo>
                    <a:pt x="2861" y="667"/>
                  </a:lnTo>
                  <a:lnTo>
                    <a:pt x="2875" y="675"/>
                  </a:lnTo>
                  <a:lnTo>
                    <a:pt x="2889" y="683"/>
                  </a:lnTo>
                  <a:lnTo>
                    <a:pt x="2900" y="691"/>
                  </a:lnTo>
                  <a:lnTo>
                    <a:pt x="2910" y="699"/>
                  </a:lnTo>
                  <a:lnTo>
                    <a:pt x="2918" y="709"/>
                  </a:lnTo>
                  <a:lnTo>
                    <a:pt x="2925" y="717"/>
                  </a:lnTo>
                  <a:lnTo>
                    <a:pt x="2932" y="726"/>
                  </a:lnTo>
                  <a:lnTo>
                    <a:pt x="2937" y="735"/>
                  </a:lnTo>
                  <a:lnTo>
                    <a:pt x="2941" y="743"/>
                  </a:lnTo>
                  <a:lnTo>
                    <a:pt x="2944" y="753"/>
                  </a:lnTo>
                  <a:lnTo>
                    <a:pt x="2947" y="761"/>
                  </a:lnTo>
                  <a:lnTo>
                    <a:pt x="2950" y="778"/>
                  </a:lnTo>
                  <a:lnTo>
                    <a:pt x="2952" y="793"/>
                  </a:lnTo>
                  <a:lnTo>
                    <a:pt x="2952" y="793"/>
                  </a:lnTo>
                  <a:lnTo>
                    <a:pt x="2951" y="804"/>
                  </a:lnTo>
                  <a:lnTo>
                    <a:pt x="2949" y="815"/>
                  </a:lnTo>
                  <a:lnTo>
                    <a:pt x="2946" y="827"/>
                  </a:lnTo>
                  <a:lnTo>
                    <a:pt x="2942" y="839"/>
                  </a:lnTo>
                  <a:lnTo>
                    <a:pt x="2933" y="863"/>
                  </a:lnTo>
                  <a:lnTo>
                    <a:pt x="2925" y="877"/>
                  </a:lnTo>
                  <a:lnTo>
                    <a:pt x="3120" y="962"/>
                  </a:lnTo>
                  <a:close/>
                  <a:moveTo>
                    <a:pt x="4480" y="887"/>
                  </a:moveTo>
                  <a:lnTo>
                    <a:pt x="4715" y="773"/>
                  </a:lnTo>
                  <a:lnTo>
                    <a:pt x="4477" y="674"/>
                  </a:lnTo>
                  <a:lnTo>
                    <a:pt x="4477" y="674"/>
                  </a:lnTo>
                  <a:lnTo>
                    <a:pt x="4404" y="675"/>
                  </a:lnTo>
                  <a:lnTo>
                    <a:pt x="4312" y="676"/>
                  </a:lnTo>
                  <a:lnTo>
                    <a:pt x="4201" y="675"/>
                  </a:lnTo>
                  <a:lnTo>
                    <a:pt x="4076" y="673"/>
                  </a:lnTo>
                  <a:lnTo>
                    <a:pt x="3783" y="667"/>
                  </a:lnTo>
                  <a:lnTo>
                    <a:pt x="3449" y="660"/>
                  </a:lnTo>
                  <a:lnTo>
                    <a:pt x="3252" y="916"/>
                  </a:lnTo>
                  <a:lnTo>
                    <a:pt x="3252" y="916"/>
                  </a:lnTo>
                  <a:lnTo>
                    <a:pt x="3986" y="900"/>
                  </a:lnTo>
                  <a:lnTo>
                    <a:pt x="4276" y="894"/>
                  </a:lnTo>
                  <a:lnTo>
                    <a:pt x="4480" y="887"/>
                  </a:lnTo>
                  <a:close/>
                  <a:moveTo>
                    <a:pt x="4171" y="2139"/>
                  </a:moveTo>
                  <a:lnTo>
                    <a:pt x="4171" y="2139"/>
                  </a:lnTo>
                  <a:lnTo>
                    <a:pt x="4105" y="2106"/>
                  </a:lnTo>
                  <a:lnTo>
                    <a:pt x="4042" y="2073"/>
                  </a:lnTo>
                  <a:lnTo>
                    <a:pt x="3983" y="2042"/>
                  </a:lnTo>
                  <a:lnTo>
                    <a:pt x="3954" y="2025"/>
                  </a:lnTo>
                  <a:lnTo>
                    <a:pt x="3926" y="2008"/>
                  </a:lnTo>
                  <a:lnTo>
                    <a:pt x="3900" y="1991"/>
                  </a:lnTo>
                  <a:lnTo>
                    <a:pt x="3875" y="1973"/>
                  </a:lnTo>
                  <a:lnTo>
                    <a:pt x="3852" y="1954"/>
                  </a:lnTo>
                  <a:lnTo>
                    <a:pt x="3829" y="1934"/>
                  </a:lnTo>
                  <a:lnTo>
                    <a:pt x="3809" y="1914"/>
                  </a:lnTo>
                  <a:lnTo>
                    <a:pt x="3789" y="1893"/>
                  </a:lnTo>
                  <a:lnTo>
                    <a:pt x="3772" y="1869"/>
                  </a:lnTo>
                  <a:lnTo>
                    <a:pt x="3756" y="1845"/>
                  </a:lnTo>
                  <a:lnTo>
                    <a:pt x="3756" y="1845"/>
                  </a:lnTo>
                  <a:lnTo>
                    <a:pt x="3750" y="1832"/>
                  </a:lnTo>
                  <a:lnTo>
                    <a:pt x="3743" y="1819"/>
                  </a:lnTo>
                  <a:lnTo>
                    <a:pt x="3738" y="1805"/>
                  </a:lnTo>
                  <a:lnTo>
                    <a:pt x="3733" y="1790"/>
                  </a:lnTo>
                  <a:lnTo>
                    <a:pt x="3729" y="1775"/>
                  </a:lnTo>
                  <a:lnTo>
                    <a:pt x="3726" y="1760"/>
                  </a:lnTo>
                  <a:lnTo>
                    <a:pt x="3723" y="1743"/>
                  </a:lnTo>
                  <a:lnTo>
                    <a:pt x="3721" y="1727"/>
                  </a:lnTo>
                  <a:lnTo>
                    <a:pt x="3720" y="1711"/>
                  </a:lnTo>
                  <a:lnTo>
                    <a:pt x="3719" y="1693"/>
                  </a:lnTo>
                  <a:lnTo>
                    <a:pt x="3719" y="1677"/>
                  </a:lnTo>
                  <a:lnTo>
                    <a:pt x="3720" y="1659"/>
                  </a:lnTo>
                  <a:lnTo>
                    <a:pt x="3721" y="1641"/>
                  </a:lnTo>
                  <a:lnTo>
                    <a:pt x="3724" y="1624"/>
                  </a:lnTo>
                  <a:lnTo>
                    <a:pt x="3726" y="1606"/>
                  </a:lnTo>
                  <a:lnTo>
                    <a:pt x="3730" y="1589"/>
                  </a:lnTo>
                  <a:lnTo>
                    <a:pt x="3734" y="1571"/>
                  </a:lnTo>
                  <a:lnTo>
                    <a:pt x="3740" y="1554"/>
                  </a:lnTo>
                  <a:lnTo>
                    <a:pt x="3745" y="1537"/>
                  </a:lnTo>
                  <a:lnTo>
                    <a:pt x="3753" y="1519"/>
                  </a:lnTo>
                  <a:lnTo>
                    <a:pt x="3761" y="1503"/>
                  </a:lnTo>
                  <a:lnTo>
                    <a:pt x="3769" y="1487"/>
                  </a:lnTo>
                  <a:lnTo>
                    <a:pt x="3778" y="1470"/>
                  </a:lnTo>
                  <a:lnTo>
                    <a:pt x="3788" y="1454"/>
                  </a:lnTo>
                  <a:lnTo>
                    <a:pt x="3800" y="1439"/>
                  </a:lnTo>
                  <a:lnTo>
                    <a:pt x="3812" y="1424"/>
                  </a:lnTo>
                  <a:lnTo>
                    <a:pt x="3824" y="1410"/>
                  </a:lnTo>
                  <a:lnTo>
                    <a:pt x="3839" y="1396"/>
                  </a:lnTo>
                  <a:lnTo>
                    <a:pt x="3853" y="1382"/>
                  </a:lnTo>
                  <a:lnTo>
                    <a:pt x="3868" y="1370"/>
                  </a:lnTo>
                  <a:lnTo>
                    <a:pt x="3885" y="1358"/>
                  </a:lnTo>
                  <a:lnTo>
                    <a:pt x="3902" y="1347"/>
                  </a:lnTo>
                  <a:lnTo>
                    <a:pt x="3902" y="1347"/>
                  </a:lnTo>
                  <a:lnTo>
                    <a:pt x="3910" y="1355"/>
                  </a:lnTo>
                  <a:lnTo>
                    <a:pt x="3917" y="1363"/>
                  </a:lnTo>
                  <a:lnTo>
                    <a:pt x="3922" y="1370"/>
                  </a:lnTo>
                  <a:lnTo>
                    <a:pt x="3927" y="1378"/>
                  </a:lnTo>
                  <a:lnTo>
                    <a:pt x="3936" y="1394"/>
                  </a:lnTo>
                  <a:lnTo>
                    <a:pt x="3941" y="1408"/>
                  </a:lnTo>
                  <a:lnTo>
                    <a:pt x="3944" y="1420"/>
                  </a:lnTo>
                  <a:lnTo>
                    <a:pt x="3946" y="1429"/>
                  </a:lnTo>
                  <a:lnTo>
                    <a:pt x="3946" y="1438"/>
                  </a:lnTo>
                  <a:lnTo>
                    <a:pt x="3946" y="1438"/>
                  </a:lnTo>
                  <a:lnTo>
                    <a:pt x="3966" y="1438"/>
                  </a:lnTo>
                  <a:lnTo>
                    <a:pt x="3991" y="1438"/>
                  </a:lnTo>
                  <a:lnTo>
                    <a:pt x="4044" y="1434"/>
                  </a:lnTo>
                  <a:lnTo>
                    <a:pt x="4098" y="1432"/>
                  </a:lnTo>
                  <a:lnTo>
                    <a:pt x="4123" y="1431"/>
                  </a:lnTo>
                  <a:lnTo>
                    <a:pt x="4143" y="1431"/>
                  </a:lnTo>
                  <a:lnTo>
                    <a:pt x="4143" y="1431"/>
                  </a:lnTo>
                  <a:lnTo>
                    <a:pt x="4144" y="1417"/>
                  </a:lnTo>
                  <a:lnTo>
                    <a:pt x="4144" y="1400"/>
                  </a:lnTo>
                  <a:lnTo>
                    <a:pt x="4143" y="1382"/>
                  </a:lnTo>
                  <a:lnTo>
                    <a:pt x="4141" y="1364"/>
                  </a:lnTo>
                  <a:lnTo>
                    <a:pt x="4138" y="1344"/>
                  </a:lnTo>
                  <a:lnTo>
                    <a:pt x="4133" y="1325"/>
                  </a:lnTo>
                  <a:lnTo>
                    <a:pt x="4126" y="1307"/>
                  </a:lnTo>
                  <a:lnTo>
                    <a:pt x="4121" y="1297"/>
                  </a:lnTo>
                  <a:lnTo>
                    <a:pt x="4116" y="1288"/>
                  </a:lnTo>
                  <a:lnTo>
                    <a:pt x="4116" y="1288"/>
                  </a:lnTo>
                  <a:lnTo>
                    <a:pt x="4134" y="1302"/>
                  </a:lnTo>
                  <a:lnTo>
                    <a:pt x="4150" y="1315"/>
                  </a:lnTo>
                  <a:lnTo>
                    <a:pt x="4165" y="1328"/>
                  </a:lnTo>
                  <a:lnTo>
                    <a:pt x="4172" y="1335"/>
                  </a:lnTo>
                  <a:lnTo>
                    <a:pt x="4178" y="1343"/>
                  </a:lnTo>
                  <a:lnTo>
                    <a:pt x="4184" y="1352"/>
                  </a:lnTo>
                  <a:lnTo>
                    <a:pt x="4189" y="1361"/>
                  </a:lnTo>
                  <a:lnTo>
                    <a:pt x="4194" y="1370"/>
                  </a:lnTo>
                  <a:lnTo>
                    <a:pt x="4198" y="1380"/>
                  </a:lnTo>
                  <a:lnTo>
                    <a:pt x="4203" y="1392"/>
                  </a:lnTo>
                  <a:lnTo>
                    <a:pt x="4206" y="1404"/>
                  </a:lnTo>
                  <a:lnTo>
                    <a:pt x="4209" y="1417"/>
                  </a:lnTo>
                  <a:lnTo>
                    <a:pt x="4212" y="1431"/>
                  </a:lnTo>
                  <a:lnTo>
                    <a:pt x="4212" y="1431"/>
                  </a:lnTo>
                  <a:lnTo>
                    <a:pt x="4390" y="1438"/>
                  </a:lnTo>
                  <a:lnTo>
                    <a:pt x="4390" y="1438"/>
                  </a:lnTo>
                  <a:lnTo>
                    <a:pt x="4390" y="1421"/>
                  </a:lnTo>
                  <a:lnTo>
                    <a:pt x="4389" y="1406"/>
                  </a:lnTo>
                  <a:lnTo>
                    <a:pt x="4386" y="1391"/>
                  </a:lnTo>
                  <a:lnTo>
                    <a:pt x="4381" y="1376"/>
                  </a:lnTo>
                  <a:lnTo>
                    <a:pt x="4376" y="1363"/>
                  </a:lnTo>
                  <a:lnTo>
                    <a:pt x="4370" y="1350"/>
                  </a:lnTo>
                  <a:lnTo>
                    <a:pt x="4362" y="1338"/>
                  </a:lnTo>
                  <a:lnTo>
                    <a:pt x="4353" y="1326"/>
                  </a:lnTo>
                  <a:lnTo>
                    <a:pt x="4353" y="1326"/>
                  </a:lnTo>
                  <a:lnTo>
                    <a:pt x="4370" y="1334"/>
                  </a:lnTo>
                  <a:lnTo>
                    <a:pt x="4388" y="1342"/>
                  </a:lnTo>
                  <a:lnTo>
                    <a:pt x="4403" y="1352"/>
                  </a:lnTo>
                  <a:lnTo>
                    <a:pt x="4418" y="1361"/>
                  </a:lnTo>
                  <a:lnTo>
                    <a:pt x="4433" y="1371"/>
                  </a:lnTo>
                  <a:lnTo>
                    <a:pt x="4447" y="1381"/>
                  </a:lnTo>
                  <a:lnTo>
                    <a:pt x="4459" y="1392"/>
                  </a:lnTo>
                  <a:lnTo>
                    <a:pt x="4471" y="1403"/>
                  </a:lnTo>
                  <a:lnTo>
                    <a:pt x="4483" y="1414"/>
                  </a:lnTo>
                  <a:lnTo>
                    <a:pt x="4494" y="1426"/>
                  </a:lnTo>
                  <a:lnTo>
                    <a:pt x="4504" y="1439"/>
                  </a:lnTo>
                  <a:lnTo>
                    <a:pt x="4513" y="1451"/>
                  </a:lnTo>
                  <a:lnTo>
                    <a:pt x="4522" y="1463"/>
                  </a:lnTo>
                  <a:lnTo>
                    <a:pt x="4530" y="1475"/>
                  </a:lnTo>
                  <a:lnTo>
                    <a:pt x="4544" y="1501"/>
                  </a:lnTo>
                  <a:lnTo>
                    <a:pt x="4556" y="1526"/>
                  </a:lnTo>
                  <a:lnTo>
                    <a:pt x="4567" y="1551"/>
                  </a:lnTo>
                  <a:lnTo>
                    <a:pt x="4574" y="1577"/>
                  </a:lnTo>
                  <a:lnTo>
                    <a:pt x="4580" y="1600"/>
                  </a:lnTo>
                  <a:lnTo>
                    <a:pt x="4584" y="1624"/>
                  </a:lnTo>
                  <a:lnTo>
                    <a:pt x="4587" y="1646"/>
                  </a:lnTo>
                  <a:lnTo>
                    <a:pt x="4588" y="1667"/>
                  </a:lnTo>
                  <a:lnTo>
                    <a:pt x="4588" y="1685"/>
                  </a:lnTo>
                  <a:lnTo>
                    <a:pt x="4588" y="1685"/>
                  </a:lnTo>
                  <a:lnTo>
                    <a:pt x="4588" y="1711"/>
                  </a:lnTo>
                  <a:lnTo>
                    <a:pt x="4587" y="1737"/>
                  </a:lnTo>
                  <a:lnTo>
                    <a:pt x="4583" y="1762"/>
                  </a:lnTo>
                  <a:lnTo>
                    <a:pt x="4578" y="1787"/>
                  </a:lnTo>
                  <a:lnTo>
                    <a:pt x="4571" y="1811"/>
                  </a:lnTo>
                  <a:lnTo>
                    <a:pt x="4562" y="1834"/>
                  </a:lnTo>
                  <a:lnTo>
                    <a:pt x="4553" y="1857"/>
                  </a:lnTo>
                  <a:lnTo>
                    <a:pt x="4542" y="1878"/>
                  </a:lnTo>
                  <a:lnTo>
                    <a:pt x="4530" y="1900"/>
                  </a:lnTo>
                  <a:lnTo>
                    <a:pt x="4515" y="1919"/>
                  </a:lnTo>
                  <a:lnTo>
                    <a:pt x="4501" y="1939"/>
                  </a:lnTo>
                  <a:lnTo>
                    <a:pt x="4485" y="1956"/>
                  </a:lnTo>
                  <a:lnTo>
                    <a:pt x="4468" y="1972"/>
                  </a:lnTo>
                  <a:lnTo>
                    <a:pt x="4450" y="1988"/>
                  </a:lnTo>
                  <a:lnTo>
                    <a:pt x="4432" y="2002"/>
                  </a:lnTo>
                  <a:lnTo>
                    <a:pt x="4412" y="2015"/>
                  </a:lnTo>
                  <a:lnTo>
                    <a:pt x="4412" y="2015"/>
                  </a:lnTo>
                  <a:lnTo>
                    <a:pt x="4377" y="2036"/>
                  </a:lnTo>
                  <a:lnTo>
                    <a:pt x="4345" y="2054"/>
                  </a:lnTo>
                  <a:lnTo>
                    <a:pt x="4313" y="2071"/>
                  </a:lnTo>
                  <a:lnTo>
                    <a:pt x="4282" y="2087"/>
                  </a:lnTo>
                  <a:lnTo>
                    <a:pt x="4225" y="2114"/>
                  </a:lnTo>
                  <a:lnTo>
                    <a:pt x="4171" y="2139"/>
                  </a:lnTo>
                  <a:close/>
                  <a:moveTo>
                    <a:pt x="3989" y="3389"/>
                  </a:moveTo>
                  <a:lnTo>
                    <a:pt x="3989" y="3389"/>
                  </a:lnTo>
                  <a:lnTo>
                    <a:pt x="3970" y="3382"/>
                  </a:lnTo>
                  <a:lnTo>
                    <a:pt x="3970" y="3382"/>
                  </a:lnTo>
                  <a:lnTo>
                    <a:pt x="3967" y="3380"/>
                  </a:lnTo>
                  <a:lnTo>
                    <a:pt x="3967" y="3380"/>
                  </a:lnTo>
                  <a:lnTo>
                    <a:pt x="3989" y="3389"/>
                  </a:lnTo>
                  <a:close/>
                  <a:moveTo>
                    <a:pt x="2262" y="1056"/>
                  </a:moveTo>
                  <a:lnTo>
                    <a:pt x="2262" y="1056"/>
                  </a:lnTo>
                  <a:lnTo>
                    <a:pt x="2262" y="1057"/>
                  </a:lnTo>
                  <a:lnTo>
                    <a:pt x="2261" y="1059"/>
                  </a:lnTo>
                  <a:lnTo>
                    <a:pt x="2257" y="1061"/>
                  </a:lnTo>
                  <a:lnTo>
                    <a:pt x="2251" y="1064"/>
                  </a:lnTo>
                  <a:lnTo>
                    <a:pt x="2241" y="1066"/>
                  </a:lnTo>
                  <a:lnTo>
                    <a:pt x="2219" y="1072"/>
                  </a:lnTo>
                  <a:lnTo>
                    <a:pt x="2191" y="1077"/>
                  </a:lnTo>
                  <a:lnTo>
                    <a:pt x="2164" y="1081"/>
                  </a:lnTo>
                  <a:lnTo>
                    <a:pt x="2138" y="1083"/>
                  </a:lnTo>
                  <a:lnTo>
                    <a:pt x="2120" y="1083"/>
                  </a:lnTo>
                  <a:lnTo>
                    <a:pt x="2113" y="1082"/>
                  </a:lnTo>
                  <a:lnTo>
                    <a:pt x="2109" y="1081"/>
                  </a:lnTo>
                  <a:lnTo>
                    <a:pt x="2109" y="1081"/>
                  </a:lnTo>
                  <a:lnTo>
                    <a:pt x="2106" y="1079"/>
                  </a:lnTo>
                  <a:lnTo>
                    <a:pt x="2104" y="1075"/>
                  </a:lnTo>
                  <a:lnTo>
                    <a:pt x="2101" y="1064"/>
                  </a:lnTo>
                  <a:lnTo>
                    <a:pt x="2098" y="1052"/>
                  </a:lnTo>
                  <a:lnTo>
                    <a:pt x="2096" y="1038"/>
                  </a:lnTo>
                  <a:lnTo>
                    <a:pt x="2096" y="1023"/>
                  </a:lnTo>
                  <a:lnTo>
                    <a:pt x="2096" y="1010"/>
                  </a:lnTo>
                  <a:lnTo>
                    <a:pt x="2097" y="1000"/>
                  </a:lnTo>
                  <a:lnTo>
                    <a:pt x="2098" y="995"/>
                  </a:lnTo>
                  <a:lnTo>
                    <a:pt x="2100" y="992"/>
                  </a:lnTo>
                  <a:lnTo>
                    <a:pt x="2100" y="992"/>
                  </a:lnTo>
                  <a:lnTo>
                    <a:pt x="2101" y="991"/>
                  </a:lnTo>
                  <a:lnTo>
                    <a:pt x="2103" y="989"/>
                  </a:lnTo>
                  <a:lnTo>
                    <a:pt x="2109" y="988"/>
                  </a:lnTo>
                  <a:lnTo>
                    <a:pt x="2118" y="987"/>
                  </a:lnTo>
                  <a:lnTo>
                    <a:pt x="2128" y="987"/>
                  </a:lnTo>
                  <a:lnTo>
                    <a:pt x="2139" y="988"/>
                  </a:lnTo>
                  <a:lnTo>
                    <a:pt x="2151" y="990"/>
                  </a:lnTo>
                  <a:lnTo>
                    <a:pt x="2165" y="993"/>
                  </a:lnTo>
                  <a:lnTo>
                    <a:pt x="2179" y="997"/>
                  </a:lnTo>
                  <a:lnTo>
                    <a:pt x="2192" y="1002"/>
                  </a:lnTo>
                  <a:lnTo>
                    <a:pt x="2206" y="1007"/>
                  </a:lnTo>
                  <a:lnTo>
                    <a:pt x="2219" y="1014"/>
                  </a:lnTo>
                  <a:lnTo>
                    <a:pt x="2231" y="1021"/>
                  </a:lnTo>
                  <a:lnTo>
                    <a:pt x="2241" y="1029"/>
                  </a:lnTo>
                  <a:lnTo>
                    <a:pt x="2251" y="1038"/>
                  </a:lnTo>
                  <a:lnTo>
                    <a:pt x="2258" y="1047"/>
                  </a:lnTo>
                  <a:lnTo>
                    <a:pt x="2260" y="1051"/>
                  </a:lnTo>
                  <a:lnTo>
                    <a:pt x="2262" y="1056"/>
                  </a:lnTo>
                  <a:close/>
                  <a:moveTo>
                    <a:pt x="4842" y="2915"/>
                  </a:moveTo>
                  <a:lnTo>
                    <a:pt x="4842" y="2915"/>
                  </a:lnTo>
                  <a:lnTo>
                    <a:pt x="4862" y="2919"/>
                  </a:lnTo>
                  <a:lnTo>
                    <a:pt x="4881" y="2921"/>
                  </a:lnTo>
                  <a:lnTo>
                    <a:pt x="4900" y="2922"/>
                  </a:lnTo>
                  <a:lnTo>
                    <a:pt x="4916" y="2921"/>
                  </a:lnTo>
                  <a:lnTo>
                    <a:pt x="4932" y="2919"/>
                  </a:lnTo>
                  <a:lnTo>
                    <a:pt x="4946" y="2916"/>
                  </a:lnTo>
                  <a:lnTo>
                    <a:pt x="4958" y="2911"/>
                  </a:lnTo>
                  <a:lnTo>
                    <a:pt x="4969" y="2905"/>
                  </a:lnTo>
                  <a:lnTo>
                    <a:pt x="4969" y="2905"/>
                  </a:lnTo>
                  <a:lnTo>
                    <a:pt x="4967" y="2879"/>
                  </a:lnTo>
                  <a:lnTo>
                    <a:pt x="4960" y="2819"/>
                  </a:lnTo>
                  <a:lnTo>
                    <a:pt x="4951" y="2746"/>
                  </a:lnTo>
                  <a:lnTo>
                    <a:pt x="4946" y="2714"/>
                  </a:lnTo>
                  <a:lnTo>
                    <a:pt x="4940" y="2686"/>
                  </a:lnTo>
                  <a:lnTo>
                    <a:pt x="4940" y="2686"/>
                  </a:lnTo>
                  <a:lnTo>
                    <a:pt x="4922" y="2689"/>
                  </a:lnTo>
                  <a:lnTo>
                    <a:pt x="4902" y="2692"/>
                  </a:lnTo>
                  <a:lnTo>
                    <a:pt x="4891" y="2692"/>
                  </a:lnTo>
                  <a:lnTo>
                    <a:pt x="4879" y="2692"/>
                  </a:lnTo>
                  <a:lnTo>
                    <a:pt x="4867" y="2691"/>
                  </a:lnTo>
                  <a:lnTo>
                    <a:pt x="4855" y="2689"/>
                  </a:lnTo>
                  <a:lnTo>
                    <a:pt x="4843" y="2686"/>
                  </a:lnTo>
                  <a:lnTo>
                    <a:pt x="4830" y="2682"/>
                  </a:lnTo>
                  <a:lnTo>
                    <a:pt x="4818" y="2677"/>
                  </a:lnTo>
                  <a:lnTo>
                    <a:pt x="4806" y="2670"/>
                  </a:lnTo>
                  <a:lnTo>
                    <a:pt x="4794" y="2660"/>
                  </a:lnTo>
                  <a:lnTo>
                    <a:pt x="4782" y="2650"/>
                  </a:lnTo>
                  <a:lnTo>
                    <a:pt x="4771" y="2638"/>
                  </a:lnTo>
                  <a:lnTo>
                    <a:pt x="4761" y="2624"/>
                  </a:lnTo>
                  <a:lnTo>
                    <a:pt x="4761" y="2624"/>
                  </a:lnTo>
                  <a:lnTo>
                    <a:pt x="4743" y="2595"/>
                  </a:lnTo>
                  <a:lnTo>
                    <a:pt x="4724" y="2567"/>
                  </a:lnTo>
                  <a:lnTo>
                    <a:pt x="4724" y="2567"/>
                  </a:lnTo>
                  <a:lnTo>
                    <a:pt x="4703" y="2539"/>
                  </a:lnTo>
                  <a:lnTo>
                    <a:pt x="4680" y="2511"/>
                  </a:lnTo>
                  <a:lnTo>
                    <a:pt x="4658" y="2485"/>
                  </a:lnTo>
                  <a:lnTo>
                    <a:pt x="4634" y="2459"/>
                  </a:lnTo>
                  <a:lnTo>
                    <a:pt x="4611" y="2435"/>
                  </a:lnTo>
                  <a:lnTo>
                    <a:pt x="4586" y="2412"/>
                  </a:lnTo>
                  <a:lnTo>
                    <a:pt x="4562" y="2389"/>
                  </a:lnTo>
                  <a:lnTo>
                    <a:pt x="4538" y="2369"/>
                  </a:lnTo>
                  <a:lnTo>
                    <a:pt x="4513" y="2349"/>
                  </a:lnTo>
                  <a:lnTo>
                    <a:pt x="4489" y="2329"/>
                  </a:lnTo>
                  <a:lnTo>
                    <a:pt x="4463" y="2311"/>
                  </a:lnTo>
                  <a:lnTo>
                    <a:pt x="4439" y="2292"/>
                  </a:lnTo>
                  <a:lnTo>
                    <a:pt x="4413" y="2276"/>
                  </a:lnTo>
                  <a:lnTo>
                    <a:pt x="4389" y="2260"/>
                  </a:lnTo>
                  <a:lnTo>
                    <a:pt x="4337" y="2228"/>
                  </a:lnTo>
                  <a:lnTo>
                    <a:pt x="4337" y="2228"/>
                  </a:lnTo>
                  <a:lnTo>
                    <a:pt x="4381" y="2205"/>
                  </a:lnTo>
                  <a:lnTo>
                    <a:pt x="4422" y="2183"/>
                  </a:lnTo>
                  <a:lnTo>
                    <a:pt x="4459" y="2160"/>
                  </a:lnTo>
                  <a:lnTo>
                    <a:pt x="4492" y="2139"/>
                  </a:lnTo>
                  <a:lnTo>
                    <a:pt x="4523" y="2117"/>
                  </a:lnTo>
                  <a:lnTo>
                    <a:pt x="4549" y="2096"/>
                  </a:lnTo>
                  <a:lnTo>
                    <a:pt x="4574" y="2076"/>
                  </a:lnTo>
                  <a:lnTo>
                    <a:pt x="4595" y="2055"/>
                  </a:lnTo>
                  <a:lnTo>
                    <a:pt x="4615" y="2036"/>
                  </a:lnTo>
                  <a:lnTo>
                    <a:pt x="4632" y="2017"/>
                  </a:lnTo>
                  <a:lnTo>
                    <a:pt x="4647" y="1999"/>
                  </a:lnTo>
                  <a:lnTo>
                    <a:pt x="4661" y="1981"/>
                  </a:lnTo>
                  <a:lnTo>
                    <a:pt x="4673" y="1965"/>
                  </a:lnTo>
                  <a:lnTo>
                    <a:pt x="4683" y="1950"/>
                  </a:lnTo>
                  <a:lnTo>
                    <a:pt x="4700" y="1922"/>
                  </a:lnTo>
                  <a:lnTo>
                    <a:pt x="4700" y="1922"/>
                  </a:lnTo>
                  <a:lnTo>
                    <a:pt x="4708" y="1910"/>
                  </a:lnTo>
                  <a:lnTo>
                    <a:pt x="4714" y="1896"/>
                  </a:lnTo>
                  <a:lnTo>
                    <a:pt x="4721" y="1880"/>
                  </a:lnTo>
                  <a:lnTo>
                    <a:pt x="4727" y="1864"/>
                  </a:lnTo>
                  <a:lnTo>
                    <a:pt x="4733" y="1845"/>
                  </a:lnTo>
                  <a:lnTo>
                    <a:pt x="4739" y="1826"/>
                  </a:lnTo>
                  <a:lnTo>
                    <a:pt x="4743" y="1806"/>
                  </a:lnTo>
                  <a:lnTo>
                    <a:pt x="4749" y="1785"/>
                  </a:lnTo>
                  <a:lnTo>
                    <a:pt x="4753" y="1763"/>
                  </a:lnTo>
                  <a:lnTo>
                    <a:pt x="4756" y="1740"/>
                  </a:lnTo>
                  <a:lnTo>
                    <a:pt x="4758" y="1716"/>
                  </a:lnTo>
                  <a:lnTo>
                    <a:pt x="4759" y="1692"/>
                  </a:lnTo>
                  <a:lnTo>
                    <a:pt x="4760" y="1667"/>
                  </a:lnTo>
                  <a:lnTo>
                    <a:pt x="4759" y="1642"/>
                  </a:lnTo>
                  <a:lnTo>
                    <a:pt x="4758" y="1616"/>
                  </a:lnTo>
                  <a:lnTo>
                    <a:pt x="4755" y="1590"/>
                  </a:lnTo>
                  <a:lnTo>
                    <a:pt x="4751" y="1564"/>
                  </a:lnTo>
                  <a:lnTo>
                    <a:pt x="4745" y="1538"/>
                  </a:lnTo>
                  <a:lnTo>
                    <a:pt x="4738" y="1511"/>
                  </a:lnTo>
                  <a:lnTo>
                    <a:pt x="4730" y="1486"/>
                  </a:lnTo>
                  <a:lnTo>
                    <a:pt x="4720" y="1459"/>
                  </a:lnTo>
                  <a:lnTo>
                    <a:pt x="4709" y="1433"/>
                  </a:lnTo>
                  <a:lnTo>
                    <a:pt x="4695" y="1408"/>
                  </a:lnTo>
                  <a:lnTo>
                    <a:pt x="4681" y="1383"/>
                  </a:lnTo>
                  <a:lnTo>
                    <a:pt x="4665" y="1359"/>
                  </a:lnTo>
                  <a:lnTo>
                    <a:pt x="4646" y="1334"/>
                  </a:lnTo>
                  <a:lnTo>
                    <a:pt x="4625" y="1311"/>
                  </a:lnTo>
                  <a:lnTo>
                    <a:pt x="4602" y="1288"/>
                  </a:lnTo>
                  <a:lnTo>
                    <a:pt x="4578" y="1267"/>
                  </a:lnTo>
                  <a:lnTo>
                    <a:pt x="4551" y="1246"/>
                  </a:lnTo>
                  <a:lnTo>
                    <a:pt x="4522" y="1227"/>
                  </a:lnTo>
                  <a:lnTo>
                    <a:pt x="4490" y="1207"/>
                  </a:lnTo>
                  <a:lnTo>
                    <a:pt x="4490" y="1207"/>
                  </a:lnTo>
                  <a:lnTo>
                    <a:pt x="4466" y="1195"/>
                  </a:lnTo>
                  <a:lnTo>
                    <a:pt x="4443" y="1184"/>
                  </a:lnTo>
                  <a:lnTo>
                    <a:pt x="4419" y="1174"/>
                  </a:lnTo>
                  <a:lnTo>
                    <a:pt x="4396" y="1165"/>
                  </a:lnTo>
                  <a:lnTo>
                    <a:pt x="4372" y="1156"/>
                  </a:lnTo>
                  <a:lnTo>
                    <a:pt x="4348" y="1149"/>
                  </a:lnTo>
                  <a:lnTo>
                    <a:pt x="4325" y="1143"/>
                  </a:lnTo>
                  <a:lnTo>
                    <a:pt x="4302" y="1138"/>
                  </a:lnTo>
                  <a:lnTo>
                    <a:pt x="4278" y="1133"/>
                  </a:lnTo>
                  <a:lnTo>
                    <a:pt x="4256" y="1130"/>
                  </a:lnTo>
                  <a:lnTo>
                    <a:pt x="4233" y="1127"/>
                  </a:lnTo>
                  <a:lnTo>
                    <a:pt x="4211" y="1125"/>
                  </a:lnTo>
                  <a:lnTo>
                    <a:pt x="4188" y="1123"/>
                  </a:lnTo>
                  <a:lnTo>
                    <a:pt x="4167" y="1123"/>
                  </a:lnTo>
                  <a:lnTo>
                    <a:pt x="4145" y="1123"/>
                  </a:lnTo>
                  <a:lnTo>
                    <a:pt x="4124" y="1123"/>
                  </a:lnTo>
                  <a:lnTo>
                    <a:pt x="4083" y="1126"/>
                  </a:lnTo>
                  <a:lnTo>
                    <a:pt x="4044" y="1130"/>
                  </a:lnTo>
                  <a:lnTo>
                    <a:pt x="4007" y="1136"/>
                  </a:lnTo>
                  <a:lnTo>
                    <a:pt x="3973" y="1144"/>
                  </a:lnTo>
                  <a:lnTo>
                    <a:pt x="3941" y="1152"/>
                  </a:lnTo>
                  <a:lnTo>
                    <a:pt x="3912" y="1161"/>
                  </a:lnTo>
                  <a:lnTo>
                    <a:pt x="3887" y="1172"/>
                  </a:lnTo>
                  <a:lnTo>
                    <a:pt x="3864" y="1181"/>
                  </a:lnTo>
                  <a:lnTo>
                    <a:pt x="3864" y="1181"/>
                  </a:lnTo>
                  <a:lnTo>
                    <a:pt x="3844" y="1191"/>
                  </a:lnTo>
                  <a:lnTo>
                    <a:pt x="3824" y="1201"/>
                  </a:lnTo>
                  <a:lnTo>
                    <a:pt x="3806" y="1213"/>
                  </a:lnTo>
                  <a:lnTo>
                    <a:pt x="3787" y="1224"/>
                  </a:lnTo>
                  <a:lnTo>
                    <a:pt x="3769" y="1237"/>
                  </a:lnTo>
                  <a:lnTo>
                    <a:pt x="3752" y="1249"/>
                  </a:lnTo>
                  <a:lnTo>
                    <a:pt x="3735" y="1264"/>
                  </a:lnTo>
                  <a:lnTo>
                    <a:pt x="3719" y="1278"/>
                  </a:lnTo>
                  <a:lnTo>
                    <a:pt x="3703" y="1293"/>
                  </a:lnTo>
                  <a:lnTo>
                    <a:pt x="3687" y="1309"/>
                  </a:lnTo>
                  <a:lnTo>
                    <a:pt x="3673" y="1325"/>
                  </a:lnTo>
                  <a:lnTo>
                    <a:pt x="3659" y="1341"/>
                  </a:lnTo>
                  <a:lnTo>
                    <a:pt x="3645" y="1359"/>
                  </a:lnTo>
                  <a:lnTo>
                    <a:pt x="3633" y="1377"/>
                  </a:lnTo>
                  <a:lnTo>
                    <a:pt x="3621" y="1396"/>
                  </a:lnTo>
                  <a:lnTo>
                    <a:pt x="3609" y="1415"/>
                  </a:lnTo>
                  <a:lnTo>
                    <a:pt x="3599" y="1434"/>
                  </a:lnTo>
                  <a:lnTo>
                    <a:pt x="3589" y="1455"/>
                  </a:lnTo>
                  <a:lnTo>
                    <a:pt x="3581" y="1475"/>
                  </a:lnTo>
                  <a:lnTo>
                    <a:pt x="3573" y="1497"/>
                  </a:lnTo>
                  <a:lnTo>
                    <a:pt x="3565" y="1518"/>
                  </a:lnTo>
                  <a:lnTo>
                    <a:pt x="3559" y="1541"/>
                  </a:lnTo>
                  <a:lnTo>
                    <a:pt x="3554" y="1563"/>
                  </a:lnTo>
                  <a:lnTo>
                    <a:pt x="3550" y="1586"/>
                  </a:lnTo>
                  <a:lnTo>
                    <a:pt x="3547" y="1609"/>
                  </a:lnTo>
                  <a:lnTo>
                    <a:pt x="3545" y="1634"/>
                  </a:lnTo>
                  <a:lnTo>
                    <a:pt x="3544" y="1658"/>
                  </a:lnTo>
                  <a:lnTo>
                    <a:pt x="3543" y="1683"/>
                  </a:lnTo>
                  <a:lnTo>
                    <a:pt x="3544" y="1708"/>
                  </a:lnTo>
                  <a:lnTo>
                    <a:pt x="3546" y="1734"/>
                  </a:lnTo>
                  <a:lnTo>
                    <a:pt x="3550" y="1760"/>
                  </a:lnTo>
                  <a:lnTo>
                    <a:pt x="3554" y="1786"/>
                  </a:lnTo>
                  <a:lnTo>
                    <a:pt x="3554" y="1786"/>
                  </a:lnTo>
                  <a:lnTo>
                    <a:pt x="3559" y="1810"/>
                  </a:lnTo>
                  <a:lnTo>
                    <a:pt x="3564" y="1831"/>
                  </a:lnTo>
                  <a:lnTo>
                    <a:pt x="3571" y="1853"/>
                  </a:lnTo>
                  <a:lnTo>
                    <a:pt x="3577" y="1873"/>
                  </a:lnTo>
                  <a:lnTo>
                    <a:pt x="3585" y="1893"/>
                  </a:lnTo>
                  <a:lnTo>
                    <a:pt x="3592" y="1911"/>
                  </a:lnTo>
                  <a:lnTo>
                    <a:pt x="3601" y="1929"/>
                  </a:lnTo>
                  <a:lnTo>
                    <a:pt x="3610" y="1947"/>
                  </a:lnTo>
                  <a:lnTo>
                    <a:pt x="3620" y="1963"/>
                  </a:lnTo>
                  <a:lnTo>
                    <a:pt x="3631" y="1978"/>
                  </a:lnTo>
                  <a:lnTo>
                    <a:pt x="3641" y="1994"/>
                  </a:lnTo>
                  <a:lnTo>
                    <a:pt x="3652" y="2009"/>
                  </a:lnTo>
                  <a:lnTo>
                    <a:pt x="3665" y="2023"/>
                  </a:lnTo>
                  <a:lnTo>
                    <a:pt x="3677" y="2037"/>
                  </a:lnTo>
                  <a:lnTo>
                    <a:pt x="3690" y="2050"/>
                  </a:lnTo>
                  <a:lnTo>
                    <a:pt x="3704" y="2062"/>
                  </a:lnTo>
                  <a:lnTo>
                    <a:pt x="3732" y="2087"/>
                  </a:lnTo>
                  <a:lnTo>
                    <a:pt x="3763" y="2109"/>
                  </a:lnTo>
                  <a:lnTo>
                    <a:pt x="3795" y="2131"/>
                  </a:lnTo>
                  <a:lnTo>
                    <a:pt x="3828" y="2151"/>
                  </a:lnTo>
                  <a:lnTo>
                    <a:pt x="3863" y="2172"/>
                  </a:lnTo>
                  <a:lnTo>
                    <a:pt x="3899" y="2191"/>
                  </a:lnTo>
                  <a:lnTo>
                    <a:pt x="3976" y="2229"/>
                  </a:lnTo>
                  <a:lnTo>
                    <a:pt x="3976" y="2229"/>
                  </a:lnTo>
                  <a:lnTo>
                    <a:pt x="3945" y="2246"/>
                  </a:lnTo>
                  <a:lnTo>
                    <a:pt x="3916" y="2263"/>
                  </a:lnTo>
                  <a:lnTo>
                    <a:pt x="3890" y="2280"/>
                  </a:lnTo>
                  <a:lnTo>
                    <a:pt x="3864" y="2298"/>
                  </a:lnTo>
                  <a:lnTo>
                    <a:pt x="3840" y="2318"/>
                  </a:lnTo>
                  <a:lnTo>
                    <a:pt x="3817" y="2337"/>
                  </a:lnTo>
                  <a:lnTo>
                    <a:pt x="3797" y="2358"/>
                  </a:lnTo>
                  <a:lnTo>
                    <a:pt x="3778" y="2379"/>
                  </a:lnTo>
                  <a:lnTo>
                    <a:pt x="3761" y="2403"/>
                  </a:lnTo>
                  <a:lnTo>
                    <a:pt x="3754" y="2415"/>
                  </a:lnTo>
                  <a:lnTo>
                    <a:pt x="3746" y="2427"/>
                  </a:lnTo>
                  <a:lnTo>
                    <a:pt x="3739" y="2440"/>
                  </a:lnTo>
                  <a:lnTo>
                    <a:pt x="3733" y="2453"/>
                  </a:lnTo>
                  <a:lnTo>
                    <a:pt x="3728" y="2466"/>
                  </a:lnTo>
                  <a:lnTo>
                    <a:pt x="3723" y="2480"/>
                  </a:lnTo>
                  <a:lnTo>
                    <a:pt x="3718" y="2495"/>
                  </a:lnTo>
                  <a:lnTo>
                    <a:pt x="3714" y="2510"/>
                  </a:lnTo>
                  <a:lnTo>
                    <a:pt x="3711" y="2525"/>
                  </a:lnTo>
                  <a:lnTo>
                    <a:pt x="3708" y="2541"/>
                  </a:lnTo>
                  <a:lnTo>
                    <a:pt x="3706" y="2557"/>
                  </a:lnTo>
                  <a:lnTo>
                    <a:pt x="3705" y="2574"/>
                  </a:lnTo>
                  <a:lnTo>
                    <a:pt x="3704" y="2592"/>
                  </a:lnTo>
                  <a:lnTo>
                    <a:pt x="3703" y="2609"/>
                  </a:lnTo>
                  <a:lnTo>
                    <a:pt x="3703" y="2609"/>
                  </a:lnTo>
                  <a:lnTo>
                    <a:pt x="3704" y="2632"/>
                  </a:lnTo>
                  <a:lnTo>
                    <a:pt x="3707" y="2655"/>
                  </a:lnTo>
                  <a:lnTo>
                    <a:pt x="3711" y="2678"/>
                  </a:lnTo>
                  <a:lnTo>
                    <a:pt x="3716" y="2701"/>
                  </a:lnTo>
                  <a:lnTo>
                    <a:pt x="3729" y="2749"/>
                  </a:lnTo>
                  <a:lnTo>
                    <a:pt x="3736" y="2775"/>
                  </a:lnTo>
                  <a:lnTo>
                    <a:pt x="3742" y="2801"/>
                  </a:lnTo>
                  <a:lnTo>
                    <a:pt x="3749" y="2830"/>
                  </a:lnTo>
                  <a:lnTo>
                    <a:pt x="3753" y="2859"/>
                  </a:lnTo>
                  <a:lnTo>
                    <a:pt x="3757" y="2889"/>
                  </a:lnTo>
                  <a:lnTo>
                    <a:pt x="3758" y="2922"/>
                  </a:lnTo>
                  <a:lnTo>
                    <a:pt x="3758" y="2957"/>
                  </a:lnTo>
                  <a:lnTo>
                    <a:pt x="3757" y="2975"/>
                  </a:lnTo>
                  <a:lnTo>
                    <a:pt x="3755" y="2994"/>
                  </a:lnTo>
                  <a:lnTo>
                    <a:pt x="3753" y="3012"/>
                  </a:lnTo>
                  <a:lnTo>
                    <a:pt x="3750" y="3033"/>
                  </a:lnTo>
                  <a:lnTo>
                    <a:pt x="3745" y="3053"/>
                  </a:lnTo>
                  <a:lnTo>
                    <a:pt x="3741" y="3073"/>
                  </a:lnTo>
                  <a:lnTo>
                    <a:pt x="3741" y="3073"/>
                  </a:lnTo>
                  <a:lnTo>
                    <a:pt x="3741" y="3075"/>
                  </a:lnTo>
                  <a:lnTo>
                    <a:pt x="3741" y="3076"/>
                  </a:lnTo>
                  <a:lnTo>
                    <a:pt x="3743" y="3076"/>
                  </a:lnTo>
                  <a:lnTo>
                    <a:pt x="3745" y="3078"/>
                  </a:lnTo>
                  <a:lnTo>
                    <a:pt x="3753" y="3075"/>
                  </a:lnTo>
                  <a:lnTo>
                    <a:pt x="3762" y="3073"/>
                  </a:lnTo>
                  <a:lnTo>
                    <a:pt x="3785" y="3063"/>
                  </a:lnTo>
                  <a:lnTo>
                    <a:pt x="3814" y="3051"/>
                  </a:lnTo>
                  <a:lnTo>
                    <a:pt x="3842" y="3036"/>
                  </a:lnTo>
                  <a:lnTo>
                    <a:pt x="3867" y="3022"/>
                  </a:lnTo>
                  <a:lnTo>
                    <a:pt x="3886" y="3011"/>
                  </a:lnTo>
                  <a:lnTo>
                    <a:pt x="3891" y="3007"/>
                  </a:lnTo>
                  <a:lnTo>
                    <a:pt x="3894" y="3005"/>
                  </a:lnTo>
                  <a:lnTo>
                    <a:pt x="3894" y="3005"/>
                  </a:lnTo>
                  <a:lnTo>
                    <a:pt x="3903" y="2981"/>
                  </a:lnTo>
                  <a:lnTo>
                    <a:pt x="3910" y="2958"/>
                  </a:lnTo>
                  <a:lnTo>
                    <a:pt x="3916" y="2934"/>
                  </a:lnTo>
                  <a:lnTo>
                    <a:pt x="3921" y="2910"/>
                  </a:lnTo>
                  <a:lnTo>
                    <a:pt x="3925" y="2886"/>
                  </a:lnTo>
                  <a:lnTo>
                    <a:pt x="3928" y="2863"/>
                  </a:lnTo>
                  <a:lnTo>
                    <a:pt x="3930" y="2840"/>
                  </a:lnTo>
                  <a:lnTo>
                    <a:pt x="3932" y="2818"/>
                  </a:lnTo>
                  <a:lnTo>
                    <a:pt x="3932" y="2779"/>
                  </a:lnTo>
                  <a:lnTo>
                    <a:pt x="3931" y="2748"/>
                  </a:lnTo>
                  <a:lnTo>
                    <a:pt x="3928" y="2721"/>
                  </a:lnTo>
                  <a:lnTo>
                    <a:pt x="3928" y="2721"/>
                  </a:lnTo>
                  <a:lnTo>
                    <a:pt x="3939" y="2730"/>
                  </a:lnTo>
                  <a:lnTo>
                    <a:pt x="3947" y="2741"/>
                  </a:lnTo>
                  <a:lnTo>
                    <a:pt x="3954" y="2753"/>
                  </a:lnTo>
                  <a:lnTo>
                    <a:pt x="3960" y="2767"/>
                  </a:lnTo>
                  <a:lnTo>
                    <a:pt x="3964" y="2782"/>
                  </a:lnTo>
                  <a:lnTo>
                    <a:pt x="3968" y="2797"/>
                  </a:lnTo>
                  <a:lnTo>
                    <a:pt x="3971" y="2814"/>
                  </a:lnTo>
                  <a:lnTo>
                    <a:pt x="3973" y="2830"/>
                  </a:lnTo>
                  <a:lnTo>
                    <a:pt x="3975" y="2847"/>
                  </a:lnTo>
                  <a:lnTo>
                    <a:pt x="3976" y="2865"/>
                  </a:lnTo>
                  <a:lnTo>
                    <a:pt x="3976" y="2881"/>
                  </a:lnTo>
                  <a:lnTo>
                    <a:pt x="3975" y="2899"/>
                  </a:lnTo>
                  <a:lnTo>
                    <a:pt x="3971" y="2930"/>
                  </a:lnTo>
                  <a:lnTo>
                    <a:pt x="3965" y="2959"/>
                  </a:lnTo>
                  <a:lnTo>
                    <a:pt x="3965" y="2959"/>
                  </a:lnTo>
                  <a:lnTo>
                    <a:pt x="3982" y="2950"/>
                  </a:lnTo>
                  <a:lnTo>
                    <a:pt x="3998" y="2938"/>
                  </a:lnTo>
                  <a:lnTo>
                    <a:pt x="4016" y="2925"/>
                  </a:lnTo>
                  <a:lnTo>
                    <a:pt x="4036" y="2911"/>
                  </a:lnTo>
                  <a:lnTo>
                    <a:pt x="4053" y="2896"/>
                  </a:lnTo>
                  <a:lnTo>
                    <a:pt x="4061" y="2888"/>
                  </a:lnTo>
                  <a:lnTo>
                    <a:pt x="4068" y="2881"/>
                  </a:lnTo>
                  <a:lnTo>
                    <a:pt x="4072" y="2874"/>
                  </a:lnTo>
                  <a:lnTo>
                    <a:pt x="4075" y="2868"/>
                  </a:lnTo>
                  <a:lnTo>
                    <a:pt x="4075" y="2868"/>
                  </a:lnTo>
                  <a:lnTo>
                    <a:pt x="4083" y="2838"/>
                  </a:lnTo>
                  <a:lnTo>
                    <a:pt x="4090" y="2810"/>
                  </a:lnTo>
                  <a:lnTo>
                    <a:pt x="4094" y="2783"/>
                  </a:lnTo>
                  <a:lnTo>
                    <a:pt x="4096" y="2757"/>
                  </a:lnTo>
                  <a:lnTo>
                    <a:pt x="4096" y="2733"/>
                  </a:lnTo>
                  <a:lnTo>
                    <a:pt x="4095" y="2709"/>
                  </a:lnTo>
                  <a:lnTo>
                    <a:pt x="4093" y="2687"/>
                  </a:lnTo>
                  <a:lnTo>
                    <a:pt x="4090" y="2665"/>
                  </a:lnTo>
                  <a:lnTo>
                    <a:pt x="4085" y="2645"/>
                  </a:lnTo>
                  <a:lnTo>
                    <a:pt x="4080" y="2626"/>
                  </a:lnTo>
                  <a:lnTo>
                    <a:pt x="4075" y="2607"/>
                  </a:lnTo>
                  <a:lnTo>
                    <a:pt x="4069" y="2590"/>
                  </a:lnTo>
                  <a:lnTo>
                    <a:pt x="4055" y="2556"/>
                  </a:lnTo>
                  <a:lnTo>
                    <a:pt x="4043" y="2524"/>
                  </a:lnTo>
                  <a:lnTo>
                    <a:pt x="4043" y="2524"/>
                  </a:lnTo>
                  <a:lnTo>
                    <a:pt x="4038" y="2509"/>
                  </a:lnTo>
                  <a:lnTo>
                    <a:pt x="4035" y="2494"/>
                  </a:lnTo>
                  <a:lnTo>
                    <a:pt x="4034" y="2479"/>
                  </a:lnTo>
                  <a:lnTo>
                    <a:pt x="4035" y="2464"/>
                  </a:lnTo>
                  <a:lnTo>
                    <a:pt x="4037" y="2450"/>
                  </a:lnTo>
                  <a:lnTo>
                    <a:pt x="4041" y="2435"/>
                  </a:lnTo>
                  <a:lnTo>
                    <a:pt x="4046" y="2421"/>
                  </a:lnTo>
                  <a:lnTo>
                    <a:pt x="4053" y="2408"/>
                  </a:lnTo>
                  <a:lnTo>
                    <a:pt x="4061" y="2395"/>
                  </a:lnTo>
                  <a:lnTo>
                    <a:pt x="4071" y="2381"/>
                  </a:lnTo>
                  <a:lnTo>
                    <a:pt x="4081" y="2369"/>
                  </a:lnTo>
                  <a:lnTo>
                    <a:pt x="4092" y="2358"/>
                  </a:lnTo>
                  <a:lnTo>
                    <a:pt x="4103" y="2346"/>
                  </a:lnTo>
                  <a:lnTo>
                    <a:pt x="4117" y="2335"/>
                  </a:lnTo>
                  <a:lnTo>
                    <a:pt x="4130" y="2326"/>
                  </a:lnTo>
                  <a:lnTo>
                    <a:pt x="4145" y="2317"/>
                  </a:lnTo>
                  <a:lnTo>
                    <a:pt x="4145" y="2317"/>
                  </a:lnTo>
                  <a:lnTo>
                    <a:pt x="4180" y="2336"/>
                  </a:lnTo>
                  <a:lnTo>
                    <a:pt x="4215" y="2357"/>
                  </a:lnTo>
                  <a:lnTo>
                    <a:pt x="4251" y="2378"/>
                  </a:lnTo>
                  <a:lnTo>
                    <a:pt x="4286" y="2402"/>
                  </a:lnTo>
                  <a:lnTo>
                    <a:pt x="4286" y="2402"/>
                  </a:lnTo>
                  <a:lnTo>
                    <a:pt x="4307" y="2416"/>
                  </a:lnTo>
                  <a:lnTo>
                    <a:pt x="4341" y="2441"/>
                  </a:lnTo>
                  <a:lnTo>
                    <a:pt x="4361" y="2456"/>
                  </a:lnTo>
                  <a:lnTo>
                    <a:pt x="4382" y="2474"/>
                  </a:lnTo>
                  <a:lnTo>
                    <a:pt x="4405" y="2494"/>
                  </a:lnTo>
                  <a:lnTo>
                    <a:pt x="4430" y="2515"/>
                  </a:lnTo>
                  <a:lnTo>
                    <a:pt x="4453" y="2539"/>
                  </a:lnTo>
                  <a:lnTo>
                    <a:pt x="4478" y="2563"/>
                  </a:lnTo>
                  <a:lnTo>
                    <a:pt x="4501" y="2590"/>
                  </a:lnTo>
                  <a:lnTo>
                    <a:pt x="4524" y="2618"/>
                  </a:lnTo>
                  <a:lnTo>
                    <a:pt x="4545" y="2647"/>
                  </a:lnTo>
                  <a:lnTo>
                    <a:pt x="4564" y="2678"/>
                  </a:lnTo>
                  <a:lnTo>
                    <a:pt x="4574" y="2693"/>
                  </a:lnTo>
                  <a:lnTo>
                    <a:pt x="4582" y="2709"/>
                  </a:lnTo>
                  <a:lnTo>
                    <a:pt x="4590" y="2726"/>
                  </a:lnTo>
                  <a:lnTo>
                    <a:pt x="4596" y="2742"/>
                  </a:lnTo>
                  <a:lnTo>
                    <a:pt x="4596" y="2742"/>
                  </a:lnTo>
                  <a:lnTo>
                    <a:pt x="4606" y="2768"/>
                  </a:lnTo>
                  <a:lnTo>
                    <a:pt x="4616" y="2792"/>
                  </a:lnTo>
                  <a:lnTo>
                    <a:pt x="4624" y="2817"/>
                  </a:lnTo>
                  <a:lnTo>
                    <a:pt x="4630" y="2840"/>
                  </a:lnTo>
                  <a:lnTo>
                    <a:pt x="4636" y="2864"/>
                  </a:lnTo>
                  <a:lnTo>
                    <a:pt x="4641" y="2886"/>
                  </a:lnTo>
                  <a:lnTo>
                    <a:pt x="4645" y="2908"/>
                  </a:lnTo>
                  <a:lnTo>
                    <a:pt x="4649" y="2928"/>
                  </a:lnTo>
                  <a:lnTo>
                    <a:pt x="4651" y="2949"/>
                  </a:lnTo>
                  <a:lnTo>
                    <a:pt x="4653" y="2968"/>
                  </a:lnTo>
                  <a:lnTo>
                    <a:pt x="4654" y="2987"/>
                  </a:lnTo>
                  <a:lnTo>
                    <a:pt x="4655" y="3005"/>
                  </a:lnTo>
                  <a:lnTo>
                    <a:pt x="4654" y="3039"/>
                  </a:lnTo>
                  <a:lnTo>
                    <a:pt x="4652" y="3070"/>
                  </a:lnTo>
                  <a:lnTo>
                    <a:pt x="4648" y="3099"/>
                  </a:lnTo>
                  <a:lnTo>
                    <a:pt x="4642" y="3126"/>
                  </a:lnTo>
                  <a:lnTo>
                    <a:pt x="4635" y="3149"/>
                  </a:lnTo>
                  <a:lnTo>
                    <a:pt x="4628" y="3171"/>
                  </a:lnTo>
                  <a:lnTo>
                    <a:pt x="4620" y="3189"/>
                  </a:lnTo>
                  <a:lnTo>
                    <a:pt x="4612" y="3206"/>
                  </a:lnTo>
                  <a:lnTo>
                    <a:pt x="4603" y="3221"/>
                  </a:lnTo>
                  <a:lnTo>
                    <a:pt x="4596" y="3232"/>
                  </a:lnTo>
                  <a:lnTo>
                    <a:pt x="4596" y="3232"/>
                  </a:lnTo>
                  <a:lnTo>
                    <a:pt x="4582" y="3252"/>
                  </a:lnTo>
                  <a:lnTo>
                    <a:pt x="4568" y="3273"/>
                  </a:lnTo>
                  <a:lnTo>
                    <a:pt x="4553" y="3291"/>
                  </a:lnTo>
                  <a:lnTo>
                    <a:pt x="4538" y="3310"/>
                  </a:lnTo>
                  <a:lnTo>
                    <a:pt x="4522" y="3327"/>
                  </a:lnTo>
                  <a:lnTo>
                    <a:pt x="4505" y="3343"/>
                  </a:lnTo>
                  <a:lnTo>
                    <a:pt x="4487" y="3359"/>
                  </a:lnTo>
                  <a:lnTo>
                    <a:pt x="4469" y="3373"/>
                  </a:lnTo>
                  <a:lnTo>
                    <a:pt x="4450" y="3386"/>
                  </a:lnTo>
                  <a:lnTo>
                    <a:pt x="4430" y="3398"/>
                  </a:lnTo>
                  <a:lnTo>
                    <a:pt x="4409" y="3409"/>
                  </a:lnTo>
                  <a:lnTo>
                    <a:pt x="4388" y="3418"/>
                  </a:lnTo>
                  <a:lnTo>
                    <a:pt x="4364" y="3426"/>
                  </a:lnTo>
                  <a:lnTo>
                    <a:pt x="4341" y="3433"/>
                  </a:lnTo>
                  <a:lnTo>
                    <a:pt x="4316" y="3438"/>
                  </a:lnTo>
                  <a:lnTo>
                    <a:pt x="4290" y="3441"/>
                  </a:lnTo>
                  <a:lnTo>
                    <a:pt x="4290" y="3441"/>
                  </a:lnTo>
                  <a:lnTo>
                    <a:pt x="4283" y="3440"/>
                  </a:lnTo>
                  <a:lnTo>
                    <a:pt x="4275" y="3440"/>
                  </a:lnTo>
                  <a:lnTo>
                    <a:pt x="4275" y="3440"/>
                  </a:lnTo>
                  <a:lnTo>
                    <a:pt x="4242" y="3441"/>
                  </a:lnTo>
                  <a:lnTo>
                    <a:pt x="4213" y="3441"/>
                  </a:lnTo>
                  <a:lnTo>
                    <a:pt x="4185" y="3440"/>
                  </a:lnTo>
                  <a:lnTo>
                    <a:pt x="4159" y="3437"/>
                  </a:lnTo>
                  <a:lnTo>
                    <a:pt x="4159" y="3437"/>
                  </a:lnTo>
                  <a:lnTo>
                    <a:pt x="4131" y="3432"/>
                  </a:lnTo>
                  <a:lnTo>
                    <a:pt x="4103" y="3427"/>
                  </a:lnTo>
                  <a:lnTo>
                    <a:pt x="4077" y="3420"/>
                  </a:lnTo>
                  <a:lnTo>
                    <a:pt x="4052" y="3413"/>
                  </a:lnTo>
                  <a:lnTo>
                    <a:pt x="4052" y="3413"/>
                  </a:lnTo>
                  <a:lnTo>
                    <a:pt x="4009" y="3398"/>
                  </a:lnTo>
                  <a:lnTo>
                    <a:pt x="3965" y="3379"/>
                  </a:lnTo>
                  <a:lnTo>
                    <a:pt x="3965" y="3379"/>
                  </a:lnTo>
                  <a:lnTo>
                    <a:pt x="3925" y="3359"/>
                  </a:lnTo>
                  <a:lnTo>
                    <a:pt x="3874" y="3331"/>
                  </a:lnTo>
                  <a:lnTo>
                    <a:pt x="3846" y="3314"/>
                  </a:lnTo>
                  <a:lnTo>
                    <a:pt x="3815" y="3294"/>
                  </a:lnTo>
                  <a:lnTo>
                    <a:pt x="3782" y="3274"/>
                  </a:lnTo>
                  <a:lnTo>
                    <a:pt x="3748" y="3250"/>
                  </a:lnTo>
                  <a:lnTo>
                    <a:pt x="3712" y="3226"/>
                  </a:lnTo>
                  <a:lnTo>
                    <a:pt x="3676" y="3198"/>
                  </a:lnTo>
                  <a:lnTo>
                    <a:pt x="3638" y="3170"/>
                  </a:lnTo>
                  <a:lnTo>
                    <a:pt x="3601" y="3139"/>
                  </a:lnTo>
                  <a:lnTo>
                    <a:pt x="3563" y="3106"/>
                  </a:lnTo>
                  <a:lnTo>
                    <a:pt x="3526" y="3071"/>
                  </a:lnTo>
                  <a:lnTo>
                    <a:pt x="3488" y="3035"/>
                  </a:lnTo>
                  <a:lnTo>
                    <a:pt x="3451" y="2997"/>
                  </a:lnTo>
                  <a:lnTo>
                    <a:pt x="3451" y="2997"/>
                  </a:lnTo>
                  <a:lnTo>
                    <a:pt x="3394" y="2933"/>
                  </a:lnTo>
                  <a:lnTo>
                    <a:pt x="3342" y="2874"/>
                  </a:lnTo>
                  <a:lnTo>
                    <a:pt x="3295" y="2819"/>
                  </a:lnTo>
                  <a:lnTo>
                    <a:pt x="3253" y="2769"/>
                  </a:lnTo>
                  <a:lnTo>
                    <a:pt x="3215" y="2722"/>
                  </a:lnTo>
                  <a:lnTo>
                    <a:pt x="3180" y="2679"/>
                  </a:lnTo>
                  <a:lnTo>
                    <a:pt x="3120" y="2602"/>
                  </a:lnTo>
                  <a:lnTo>
                    <a:pt x="3120" y="2602"/>
                  </a:lnTo>
                  <a:lnTo>
                    <a:pt x="3138" y="2609"/>
                  </a:lnTo>
                  <a:lnTo>
                    <a:pt x="3156" y="2615"/>
                  </a:lnTo>
                  <a:lnTo>
                    <a:pt x="3175" y="2620"/>
                  </a:lnTo>
                  <a:lnTo>
                    <a:pt x="3193" y="2625"/>
                  </a:lnTo>
                  <a:lnTo>
                    <a:pt x="3211" y="2628"/>
                  </a:lnTo>
                  <a:lnTo>
                    <a:pt x="3229" y="2630"/>
                  </a:lnTo>
                  <a:lnTo>
                    <a:pt x="3262" y="2633"/>
                  </a:lnTo>
                  <a:lnTo>
                    <a:pt x="3289" y="2633"/>
                  </a:lnTo>
                  <a:lnTo>
                    <a:pt x="3312" y="2632"/>
                  </a:lnTo>
                  <a:lnTo>
                    <a:pt x="3332" y="2630"/>
                  </a:lnTo>
                  <a:lnTo>
                    <a:pt x="3332" y="2630"/>
                  </a:lnTo>
                  <a:lnTo>
                    <a:pt x="3336" y="2580"/>
                  </a:lnTo>
                  <a:lnTo>
                    <a:pt x="3338" y="2535"/>
                  </a:lnTo>
                  <a:lnTo>
                    <a:pt x="3340" y="2495"/>
                  </a:lnTo>
                  <a:lnTo>
                    <a:pt x="3346" y="2360"/>
                  </a:lnTo>
                  <a:lnTo>
                    <a:pt x="3346" y="2360"/>
                  </a:lnTo>
                  <a:lnTo>
                    <a:pt x="3349" y="2323"/>
                  </a:lnTo>
                  <a:lnTo>
                    <a:pt x="3351" y="2288"/>
                  </a:lnTo>
                  <a:lnTo>
                    <a:pt x="3352" y="2251"/>
                  </a:lnTo>
                  <a:lnTo>
                    <a:pt x="3352" y="2251"/>
                  </a:lnTo>
                  <a:lnTo>
                    <a:pt x="3340" y="2250"/>
                  </a:lnTo>
                  <a:lnTo>
                    <a:pt x="3307" y="2246"/>
                  </a:lnTo>
                  <a:lnTo>
                    <a:pt x="3285" y="2243"/>
                  </a:lnTo>
                  <a:lnTo>
                    <a:pt x="3260" y="2238"/>
                  </a:lnTo>
                  <a:lnTo>
                    <a:pt x="3233" y="2233"/>
                  </a:lnTo>
                  <a:lnTo>
                    <a:pt x="3206" y="2226"/>
                  </a:lnTo>
                  <a:lnTo>
                    <a:pt x="3176" y="2217"/>
                  </a:lnTo>
                  <a:lnTo>
                    <a:pt x="3147" y="2206"/>
                  </a:lnTo>
                  <a:lnTo>
                    <a:pt x="3120" y="2194"/>
                  </a:lnTo>
                  <a:lnTo>
                    <a:pt x="3106" y="2188"/>
                  </a:lnTo>
                  <a:lnTo>
                    <a:pt x="3093" y="2181"/>
                  </a:lnTo>
                  <a:lnTo>
                    <a:pt x="3081" y="2173"/>
                  </a:lnTo>
                  <a:lnTo>
                    <a:pt x="3070" y="2164"/>
                  </a:lnTo>
                  <a:lnTo>
                    <a:pt x="3058" y="2155"/>
                  </a:lnTo>
                  <a:lnTo>
                    <a:pt x="3049" y="2146"/>
                  </a:lnTo>
                  <a:lnTo>
                    <a:pt x="3040" y="2136"/>
                  </a:lnTo>
                  <a:lnTo>
                    <a:pt x="3032" y="2125"/>
                  </a:lnTo>
                  <a:lnTo>
                    <a:pt x="3025" y="2113"/>
                  </a:lnTo>
                  <a:lnTo>
                    <a:pt x="3019" y="2101"/>
                  </a:lnTo>
                  <a:lnTo>
                    <a:pt x="3019" y="2101"/>
                  </a:lnTo>
                  <a:lnTo>
                    <a:pt x="3030" y="2107"/>
                  </a:lnTo>
                  <a:lnTo>
                    <a:pt x="3042" y="2112"/>
                  </a:lnTo>
                  <a:lnTo>
                    <a:pt x="3059" y="2119"/>
                  </a:lnTo>
                  <a:lnTo>
                    <a:pt x="3081" y="2127"/>
                  </a:lnTo>
                  <a:lnTo>
                    <a:pt x="3106" y="2134"/>
                  </a:lnTo>
                  <a:lnTo>
                    <a:pt x="3136" y="2139"/>
                  </a:lnTo>
                  <a:lnTo>
                    <a:pt x="3152" y="2141"/>
                  </a:lnTo>
                  <a:lnTo>
                    <a:pt x="3169" y="2142"/>
                  </a:lnTo>
                  <a:lnTo>
                    <a:pt x="3169" y="2142"/>
                  </a:lnTo>
                  <a:lnTo>
                    <a:pt x="3201" y="2143"/>
                  </a:lnTo>
                  <a:lnTo>
                    <a:pt x="3234" y="2143"/>
                  </a:lnTo>
                  <a:lnTo>
                    <a:pt x="3266" y="2141"/>
                  </a:lnTo>
                  <a:lnTo>
                    <a:pt x="3295" y="2139"/>
                  </a:lnTo>
                  <a:lnTo>
                    <a:pt x="3340" y="2133"/>
                  </a:lnTo>
                  <a:lnTo>
                    <a:pt x="3357" y="2131"/>
                  </a:lnTo>
                  <a:lnTo>
                    <a:pt x="3357" y="2131"/>
                  </a:lnTo>
                  <a:lnTo>
                    <a:pt x="3359" y="2125"/>
                  </a:lnTo>
                  <a:lnTo>
                    <a:pt x="3361" y="2113"/>
                  </a:lnTo>
                  <a:lnTo>
                    <a:pt x="3364" y="2083"/>
                  </a:lnTo>
                  <a:lnTo>
                    <a:pt x="3367" y="2043"/>
                  </a:lnTo>
                  <a:lnTo>
                    <a:pt x="3369" y="1999"/>
                  </a:lnTo>
                  <a:lnTo>
                    <a:pt x="3373" y="1919"/>
                  </a:lnTo>
                  <a:lnTo>
                    <a:pt x="3375" y="1884"/>
                  </a:lnTo>
                  <a:lnTo>
                    <a:pt x="3375" y="1884"/>
                  </a:lnTo>
                  <a:lnTo>
                    <a:pt x="3376" y="1856"/>
                  </a:lnTo>
                  <a:lnTo>
                    <a:pt x="3377" y="1816"/>
                  </a:lnTo>
                  <a:lnTo>
                    <a:pt x="3377" y="1767"/>
                  </a:lnTo>
                  <a:lnTo>
                    <a:pt x="3377" y="1767"/>
                  </a:lnTo>
                  <a:lnTo>
                    <a:pt x="3369" y="1769"/>
                  </a:lnTo>
                  <a:lnTo>
                    <a:pt x="3359" y="1770"/>
                  </a:lnTo>
                  <a:lnTo>
                    <a:pt x="3338" y="1772"/>
                  </a:lnTo>
                  <a:lnTo>
                    <a:pt x="3315" y="1771"/>
                  </a:lnTo>
                  <a:lnTo>
                    <a:pt x="3290" y="1769"/>
                  </a:lnTo>
                  <a:lnTo>
                    <a:pt x="3264" y="1766"/>
                  </a:lnTo>
                  <a:lnTo>
                    <a:pt x="3236" y="1762"/>
                  </a:lnTo>
                  <a:lnTo>
                    <a:pt x="3208" y="1756"/>
                  </a:lnTo>
                  <a:lnTo>
                    <a:pt x="3178" y="1748"/>
                  </a:lnTo>
                  <a:lnTo>
                    <a:pt x="3178" y="1748"/>
                  </a:lnTo>
                  <a:lnTo>
                    <a:pt x="3158" y="1742"/>
                  </a:lnTo>
                  <a:lnTo>
                    <a:pt x="3135" y="1733"/>
                  </a:lnTo>
                  <a:lnTo>
                    <a:pt x="3112" y="1721"/>
                  </a:lnTo>
                  <a:lnTo>
                    <a:pt x="3088" y="1706"/>
                  </a:lnTo>
                  <a:lnTo>
                    <a:pt x="3064" y="1690"/>
                  </a:lnTo>
                  <a:lnTo>
                    <a:pt x="3053" y="1681"/>
                  </a:lnTo>
                  <a:lnTo>
                    <a:pt x="3043" y="1672"/>
                  </a:lnTo>
                  <a:lnTo>
                    <a:pt x="3034" y="1661"/>
                  </a:lnTo>
                  <a:lnTo>
                    <a:pt x="3025" y="1652"/>
                  </a:lnTo>
                  <a:lnTo>
                    <a:pt x="3017" y="1642"/>
                  </a:lnTo>
                  <a:lnTo>
                    <a:pt x="3010" y="1631"/>
                  </a:lnTo>
                  <a:lnTo>
                    <a:pt x="3010" y="1631"/>
                  </a:lnTo>
                  <a:lnTo>
                    <a:pt x="3022" y="1636"/>
                  </a:lnTo>
                  <a:lnTo>
                    <a:pt x="3035" y="1640"/>
                  </a:lnTo>
                  <a:lnTo>
                    <a:pt x="3052" y="1646"/>
                  </a:lnTo>
                  <a:lnTo>
                    <a:pt x="3075" y="1652"/>
                  </a:lnTo>
                  <a:lnTo>
                    <a:pt x="3101" y="1658"/>
                  </a:lnTo>
                  <a:lnTo>
                    <a:pt x="3132" y="1665"/>
                  </a:lnTo>
                  <a:lnTo>
                    <a:pt x="3167" y="1670"/>
                  </a:lnTo>
                  <a:lnTo>
                    <a:pt x="3167" y="1670"/>
                  </a:lnTo>
                  <a:lnTo>
                    <a:pt x="3187" y="1672"/>
                  </a:lnTo>
                  <a:lnTo>
                    <a:pt x="3207" y="1673"/>
                  </a:lnTo>
                  <a:lnTo>
                    <a:pt x="3226" y="1674"/>
                  </a:lnTo>
                  <a:lnTo>
                    <a:pt x="3245" y="1674"/>
                  </a:lnTo>
                  <a:lnTo>
                    <a:pt x="3283" y="1672"/>
                  </a:lnTo>
                  <a:lnTo>
                    <a:pt x="3317" y="1669"/>
                  </a:lnTo>
                  <a:lnTo>
                    <a:pt x="3346" y="1663"/>
                  </a:lnTo>
                  <a:lnTo>
                    <a:pt x="3369" y="1658"/>
                  </a:lnTo>
                  <a:lnTo>
                    <a:pt x="3377" y="1655"/>
                  </a:lnTo>
                  <a:lnTo>
                    <a:pt x="3383" y="1653"/>
                  </a:lnTo>
                  <a:lnTo>
                    <a:pt x="3388" y="1650"/>
                  </a:lnTo>
                  <a:lnTo>
                    <a:pt x="3390" y="1647"/>
                  </a:lnTo>
                  <a:lnTo>
                    <a:pt x="3390" y="1647"/>
                  </a:lnTo>
                  <a:lnTo>
                    <a:pt x="3392" y="1621"/>
                  </a:lnTo>
                  <a:lnTo>
                    <a:pt x="3393" y="1587"/>
                  </a:lnTo>
                  <a:lnTo>
                    <a:pt x="3394" y="1510"/>
                  </a:lnTo>
                  <a:lnTo>
                    <a:pt x="3394" y="1412"/>
                  </a:lnTo>
                  <a:lnTo>
                    <a:pt x="3394" y="1412"/>
                  </a:lnTo>
                  <a:lnTo>
                    <a:pt x="3399" y="1348"/>
                  </a:lnTo>
                  <a:lnTo>
                    <a:pt x="3400" y="1304"/>
                  </a:lnTo>
                  <a:lnTo>
                    <a:pt x="3400" y="1289"/>
                  </a:lnTo>
                  <a:lnTo>
                    <a:pt x="3399" y="1285"/>
                  </a:lnTo>
                  <a:lnTo>
                    <a:pt x="3398" y="1284"/>
                  </a:lnTo>
                  <a:lnTo>
                    <a:pt x="3398" y="1284"/>
                  </a:lnTo>
                  <a:lnTo>
                    <a:pt x="3392" y="1284"/>
                  </a:lnTo>
                  <a:lnTo>
                    <a:pt x="3381" y="1285"/>
                  </a:lnTo>
                  <a:lnTo>
                    <a:pt x="3368" y="1285"/>
                  </a:lnTo>
                  <a:lnTo>
                    <a:pt x="3354" y="1284"/>
                  </a:lnTo>
                  <a:lnTo>
                    <a:pt x="3336" y="1282"/>
                  </a:lnTo>
                  <a:lnTo>
                    <a:pt x="3317" y="1279"/>
                  </a:lnTo>
                  <a:lnTo>
                    <a:pt x="3297" y="1274"/>
                  </a:lnTo>
                  <a:lnTo>
                    <a:pt x="3274" y="1269"/>
                  </a:lnTo>
                  <a:lnTo>
                    <a:pt x="3251" y="1261"/>
                  </a:lnTo>
                  <a:lnTo>
                    <a:pt x="3226" y="1251"/>
                  </a:lnTo>
                  <a:lnTo>
                    <a:pt x="3200" y="1240"/>
                  </a:lnTo>
                  <a:lnTo>
                    <a:pt x="3175" y="1226"/>
                  </a:lnTo>
                  <a:lnTo>
                    <a:pt x="3149" y="1210"/>
                  </a:lnTo>
                  <a:lnTo>
                    <a:pt x="3123" y="1191"/>
                  </a:lnTo>
                  <a:lnTo>
                    <a:pt x="3110" y="1181"/>
                  </a:lnTo>
                  <a:lnTo>
                    <a:pt x="3097" y="1170"/>
                  </a:lnTo>
                  <a:lnTo>
                    <a:pt x="3085" y="1157"/>
                  </a:lnTo>
                  <a:lnTo>
                    <a:pt x="3073" y="1145"/>
                  </a:lnTo>
                  <a:lnTo>
                    <a:pt x="3073" y="1145"/>
                  </a:lnTo>
                  <a:lnTo>
                    <a:pt x="3071" y="1143"/>
                  </a:lnTo>
                  <a:lnTo>
                    <a:pt x="3065" y="1138"/>
                  </a:lnTo>
                  <a:lnTo>
                    <a:pt x="3059" y="1129"/>
                  </a:lnTo>
                  <a:lnTo>
                    <a:pt x="3056" y="1123"/>
                  </a:lnTo>
                  <a:lnTo>
                    <a:pt x="3053" y="1116"/>
                  </a:lnTo>
                  <a:lnTo>
                    <a:pt x="3051" y="1109"/>
                  </a:lnTo>
                  <a:lnTo>
                    <a:pt x="3050" y="1101"/>
                  </a:lnTo>
                  <a:lnTo>
                    <a:pt x="3049" y="1092"/>
                  </a:lnTo>
                  <a:lnTo>
                    <a:pt x="3050" y="1082"/>
                  </a:lnTo>
                  <a:lnTo>
                    <a:pt x="3053" y="1072"/>
                  </a:lnTo>
                  <a:lnTo>
                    <a:pt x="3056" y="1060"/>
                  </a:lnTo>
                  <a:lnTo>
                    <a:pt x="3062" y="1048"/>
                  </a:lnTo>
                  <a:lnTo>
                    <a:pt x="3071" y="1035"/>
                  </a:lnTo>
                  <a:lnTo>
                    <a:pt x="3071" y="1035"/>
                  </a:lnTo>
                  <a:lnTo>
                    <a:pt x="2806" y="916"/>
                  </a:lnTo>
                  <a:lnTo>
                    <a:pt x="2806" y="916"/>
                  </a:lnTo>
                  <a:lnTo>
                    <a:pt x="2815" y="907"/>
                  </a:lnTo>
                  <a:lnTo>
                    <a:pt x="2824" y="896"/>
                  </a:lnTo>
                  <a:lnTo>
                    <a:pt x="2834" y="881"/>
                  </a:lnTo>
                  <a:lnTo>
                    <a:pt x="2845" y="865"/>
                  </a:lnTo>
                  <a:lnTo>
                    <a:pt x="2850" y="856"/>
                  </a:lnTo>
                  <a:lnTo>
                    <a:pt x="2854" y="847"/>
                  </a:lnTo>
                  <a:lnTo>
                    <a:pt x="2858" y="836"/>
                  </a:lnTo>
                  <a:lnTo>
                    <a:pt x="2861" y="826"/>
                  </a:lnTo>
                  <a:lnTo>
                    <a:pt x="2863" y="816"/>
                  </a:lnTo>
                  <a:lnTo>
                    <a:pt x="2863" y="806"/>
                  </a:lnTo>
                  <a:lnTo>
                    <a:pt x="2863" y="806"/>
                  </a:lnTo>
                  <a:lnTo>
                    <a:pt x="2863" y="794"/>
                  </a:lnTo>
                  <a:lnTo>
                    <a:pt x="2860" y="784"/>
                  </a:lnTo>
                  <a:lnTo>
                    <a:pt x="2855" y="774"/>
                  </a:lnTo>
                  <a:lnTo>
                    <a:pt x="2849" y="765"/>
                  </a:lnTo>
                  <a:lnTo>
                    <a:pt x="2841" y="756"/>
                  </a:lnTo>
                  <a:lnTo>
                    <a:pt x="2830" y="748"/>
                  </a:lnTo>
                  <a:lnTo>
                    <a:pt x="2820" y="741"/>
                  </a:lnTo>
                  <a:lnTo>
                    <a:pt x="2808" y="735"/>
                  </a:lnTo>
                  <a:lnTo>
                    <a:pt x="2795" y="730"/>
                  </a:lnTo>
                  <a:lnTo>
                    <a:pt x="2781" y="726"/>
                  </a:lnTo>
                  <a:lnTo>
                    <a:pt x="2767" y="722"/>
                  </a:lnTo>
                  <a:lnTo>
                    <a:pt x="2753" y="720"/>
                  </a:lnTo>
                  <a:lnTo>
                    <a:pt x="2738" y="718"/>
                  </a:lnTo>
                  <a:lnTo>
                    <a:pt x="2723" y="718"/>
                  </a:lnTo>
                  <a:lnTo>
                    <a:pt x="2709" y="719"/>
                  </a:lnTo>
                  <a:lnTo>
                    <a:pt x="2694" y="721"/>
                  </a:lnTo>
                  <a:lnTo>
                    <a:pt x="2694" y="721"/>
                  </a:lnTo>
                  <a:lnTo>
                    <a:pt x="2681" y="724"/>
                  </a:lnTo>
                  <a:lnTo>
                    <a:pt x="2669" y="728"/>
                  </a:lnTo>
                  <a:lnTo>
                    <a:pt x="2656" y="733"/>
                  </a:lnTo>
                  <a:lnTo>
                    <a:pt x="2644" y="739"/>
                  </a:lnTo>
                  <a:lnTo>
                    <a:pt x="2634" y="746"/>
                  </a:lnTo>
                  <a:lnTo>
                    <a:pt x="2623" y="754"/>
                  </a:lnTo>
                  <a:lnTo>
                    <a:pt x="2604" y="769"/>
                  </a:lnTo>
                  <a:lnTo>
                    <a:pt x="2589" y="784"/>
                  </a:lnTo>
                  <a:lnTo>
                    <a:pt x="2578" y="796"/>
                  </a:lnTo>
                  <a:lnTo>
                    <a:pt x="2569" y="809"/>
                  </a:lnTo>
                  <a:lnTo>
                    <a:pt x="2238" y="662"/>
                  </a:lnTo>
                  <a:lnTo>
                    <a:pt x="1977" y="925"/>
                  </a:lnTo>
                  <a:lnTo>
                    <a:pt x="1977" y="925"/>
                  </a:lnTo>
                  <a:lnTo>
                    <a:pt x="1972" y="930"/>
                  </a:lnTo>
                  <a:lnTo>
                    <a:pt x="1966" y="942"/>
                  </a:lnTo>
                  <a:lnTo>
                    <a:pt x="1963" y="949"/>
                  </a:lnTo>
                  <a:lnTo>
                    <a:pt x="1961" y="957"/>
                  </a:lnTo>
                  <a:lnTo>
                    <a:pt x="1960" y="966"/>
                  </a:lnTo>
                  <a:lnTo>
                    <a:pt x="1960" y="975"/>
                  </a:lnTo>
                  <a:lnTo>
                    <a:pt x="1964" y="999"/>
                  </a:lnTo>
                  <a:lnTo>
                    <a:pt x="1964" y="999"/>
                  </a:lnTo>
                  <a:lnTo>
                    <a:pt x="1964" y="1005"/>
                  </a:lnTo>
                  <a:lnTo>
                    <a:pt x="1963" y="1011"/>
                  </a:lnTo>
                  <a:lnTo>
                    <a:pt x="1962" y="1016"/>
                  </a:lnTo>
                  <a:lnTo>
                    <a:pt x="1961" y="1020"/>
                  </a:lnTo>
                  <a:lnTo>
                    <a:pt x="1957" y="1028"/>
                  </a:lnTo>
                  <a:lnTo>
                    <a:pt x="1955" y="1032"/>
                  </a:lnTo>
                  <a:lnTo>
                    <a:pt x="1955" y="1032"/>
                  </a:lnTo>
                  <a:lnTo>
                    <a:pt x="1936" y="1054"/>
                  </a:lnTo>
                  <a:lnTo>
                    <a:pt x="1916" y="1078"/>
                  </a:lnTo>
                  <a:lnTo>
                    <a:pt x="1896" y="1100"/>
                  </a:lnTo>
                  <a:lnTo>
                    <a:pt x="1876" y="1123"/>
                  </a:lnTo>
                  <a:lnTo>
                    <a:pt x="1876" y="1123"/>
                  </a:lnTo>
                  <a:lnTo>
                    <a:pt x="1847" y="1161"/>
                  </a:lnTo>
                  <a:lnTo>
                    <a:pt x="1836" y="1177"/>
                  </a:lnTo>
                  <a:lnTo>
                    <a:pt x="1828" y="1189"/>
                  </a:lnTo>
                  <a:lnTo>
                    <a:pt x="1828" y="1189"/>
                  </a:lnTo>
                  <a:lnTo>
                    <a:pt x="1819" y="1204"/>
                  </a:lnTo>
                  <a:lnTo>
                    <a:pt x="1811" y="1220"/>
                  </a:lnTo>
                  <a:lnTo>
                    <a:pt x="1799" y="1245"/>
                  </a:lnTo>
                  <a:lnTo>
                    <a:pt x="1789" y="1269"/>
                  </a:lnTo>
                  <a:lnTo>
                    <a:pt x="1781" y="1290"/>
                  </a:lnTo>
                  <a:lnTo>
                    <a:pt x="1781" y="1290"/>
                  </a:lnTo>
                  <a:lnTo>
                    <a:pt x="1780" y="1293"/>
                  </a:lnTo>
                  <a:lnTo>
                    <a:pt x="1778" y="1304"/>
                  </a:lnTo>
                  <a:lnTo>
                    <a:pt x="1778" y="1311"/>
                  </a:lnTo>
                  <a:lnTo>
                    <a:pt x="1777" y="1319"/>
                  </a:lnTo>
                  <a:lnTo>
                    <a:pt x="1778" y="1328"/>
                  </a:lnTo>
                  <a:lnTo>
                    <a:pt x="1780" y="1339"/>
                  </a:lnTo>
                  <a:lnTo>
                    <a:pt x="1784" y="1352"/>
                  </a:lnTo>
                  <a:lnTo>
                    <a:pt x="1789" y="1365"/>
                  </a:lnTo>
                  <a:lnTo>
                    <a:pt x="1797" y="1378"/>
                  </a:lnTo>
                  <a:lnTo>
                    <a:pt x="1807" y="1394"/>
                  </a:lnTo>
                  <a:lnTo>
                    <a:pt x="1819" y="1410"/>
                  </a:lnTo>
                  <a:lnTo>
                    <a:pt x="1833" y="1426"/>
                  </a:lnTo>
                  <a:lnTo>
                    <a:pt x="1852" y="1444"/>
                  </a:lnTo>
                  <a:lnTo>
                    <a:pt x="1874" y="1462"/>
                  </a:lnTo>
                  <a:lnTo>
                    <a:pt x="1881" y="1468"/>
                  </a:lnTo>
                  <a:lnTo>
                    <a:pt x="1881" y="1468"/>
                  </a:lnTo>
                  <a:lnTo>
                    <a:pt x="1894" y="1451"/>
                  </a:lnTo>
                  <a:lnTo>
                    <a:pt x="1905" y="1462"/>
                  </a:lnTo>
                  <a:lnTo>
                    <a:pt x="1905" y="1462"/>
                  </a:lnTo>
                  <a:lnTo>
                    <a:pt x="1914" y="1471"/>
                  </a:lnTo>
                  <a:lnTo>
                    <a:pt x="1926" y="1482"/>
                  </a:lnTo>
                  <a:lnTo>
                    <a:pt x="1941" y="1494"/>
                  </a:lnTo>
                  <a:lnTo>
                    <a:pt x="1957" y="1504"/>
                  </a:lnTo>
                  <a:lnTo>
                    <a:pt x="1957" y="1504"/>
                  </a:lnTo>
                  <a:lnTo>
                    <a:pt x="1959" y="1497"/>
                  </a:lnTo>
                  <a:lnTo>
                    <a:pt x="1964" y="1477"/>
                  </a:lnTo>
                  <a:lnTo>
                    <a:pt x="1969" y="1464"/>
                  </a:lnTo>
                  <a:lnTo>
                    <a:pt x="1975" y="1451"/>
                  </a:lnTo>
                  <a:lnTo>
                    <a:pt x="1983" y="1437"/>
                  </a:lnTo>
                  <a:lnTo>
                    <a:pt x="1991" y="1422"/>
                  </a:lnTo>
                  <a:lnTo>
                    <a:pt x="1991" y="1422"/>
                  </a:lnTo>
                  <a:lnTo>
                    <a:pt x="2000" y="1410"/>
                  </a:lnTo>
                  <a:lnTo>
                    <a:pt x="2011" y="1398"/>
                  </a:lnTo>
                  <a:lnTo>
                    <a:pt x="2025" y="1384"/>
                  </a:lnTo>
                  <a:lnTo>
                    <a:pt x="2038" y="1371"/>
                  </a:lnTo>
                  <a:lnTo>
                    <a:pt x="2052" y="1359"/>
                  </a:lnTo>
                  <a:lnTo>
                    <a:pt x="2065" y="1348"/>
                  </a:lnTo>
                  <a:lnTo>
                    <a:pt x="2080" y="1337"/>
                  </a:lnTo>
                  <a:lnTo>
                    <a:pt x="2092" y="1329"/>
                  </a:lnTo>
                  <a:lnTo>
                    <a:pt x="2092" y="1329"/>
                  </a:lnTo>
                  <a:lnTo>
                    <a:pt x="2107" y="1320"/>
                  </a:lnTo>
                  <a:lnTo>
                    <a:pt x="2123" y="1312"/>
                  </a:lnTo>
                  <a:lnTo>
                    <a:pt x="2138" y="1305"/>
                  </a:lnTo>
                  <a:lnTo>
                    <a:pt x="2154" y="1298"/>
                  </a:lnTo>
                  <a:lnTo>
                    <a:pt x="2170" y="1294"/>
                  </a:lnTo>
                  <a:lnTo>
                    <a:pt x="2186" y="1291"/>
                  </a:lnTo>
                  <a:lnTo>
                    <a:pt x="2202" y="1288"/>
                  </a:lnTo>
                  <a:lnTo>
                    <a:pt x="2220" y="1287"/>
                  </a:lnTo>
                  <a:lnTo>
                    <a:pt x="2220" y="1287"/>
                  </a:lnTo>
                  <a:lnTo>
                    <a:pt x="2234" y="1288"/>
                  </a:lnTo>
                  <a:lnTo>
                    <a:pt x="2247" y="1289"/>
                  </a:lnTo>
                  <a:lnTo>
                    <a:pt x="2261" y="1292"/>
                  </a:lnTo>
                  <a:lnTo>
                    <a:pt x="2272" y="1297"/>
                  </a:lnTo>
                  <a:lnTo>
                    <a:pt x="2283" y="1304"/>
                  </a:lnTo>
                  <a:lnTo>
                    <a:pt x="2295" y="1311"/>
                  </a:lnTo>
                  <a:lnTo>
                    <a:pt x="2305" y="1320"/>
                  </a:lnTo>
                  <a:lnTo>
                    <a:pt x="2316" y="1330"/>
                  </a:lnTo>
                  <a:lnTo>
                    <a:pt x="2316" y="1330"/>
                  </a:lnTo>
                  <a:lnTo>
                    <a:pt x="2323" y="1338"/>
                  </a:lnTo>
                  <a:lnTo>
                    <a:pt x="2330" y="1349"/>
                  </a:lnTo>
                  <a:lnTo>
                    <a:pt x="2336" y="1360"/>
                  </a:lnTo>
                  <a:lnTo>
                    <a:pt x="2342" y="1372"/>
                  </a:lnTo>
                  <a:lnTo>
                    <a:pt x="2347" y="1384"/>
                  </a:lnTo>
                  <a:lnTo>
                    <a:pt x="2351" y="1398"/>
                  </a:lnTo>
                  <a:lnTo>
                    <a:pt x="2355" y="1412"/>
                  </a:lnTo>
                  <a:lnTo>
                    <a:pt x="2358" y="1426"/>
                  </a:lnTo>
                  <a:lnTo>
                    <a:pt x="2360" y="1440"/>
                  </a:lnTo>
                  <a:lnTo>
                    <a:pt x="2362" y="1454"/>
                  </a:lnTo>
                  <a:lnTo>
                    <a:pt x="2363" y="1467"/>
                  </a:lnTo>
                  <a:lnTo>
                    <a:pt x="2364" y="1480"/>
                  </a:lnTo>
                  <a:lnTo>
                    <a:pt x="2364" y="1493"/>
                  </a:lnTo>
                  <a:lnTo>
                    <a:pt x="2363" y="1504"/>
                  </a:lnTo>
                  <a:lnTo>
                    <a:pt x="2361" y="1514"/>
                  </a:lnTo>
                  <a:lnTo>
                    <a:pt x="2359" y="1523"/>
                  </a:lnTo>
                  <a:lnTo>
                    <a:pt x="2359" y="1523"/>
                  </a:lnTo>
                  <a:lnTo>
                    <a:pt x="2330" y="1505"/>
                  </a:lnTo>
                  <a:lnTo>
                    <a:pt x="2330" y="1505"/>
                  </a:lnTo>
                  <a:lnTo>
                    <a:pt x="2309" y="1494"/>
                  </a:lnTo>
                  <a:lnTo>
                    <a:pt x="2281" y="1484"/>
                  </a:lnTo>
                  <a:lnTo>
                    <a:pt x="2266" y="1477"/>
                  </a:lnTo>
                  <a:lnTo>
                    <a:pt x="2251" y="1473"/>
                  </a:lnTo>
                  <a:lnTo>
                    <a:pt x="2233" y="1469"/>
                  </a:lnTo>
                  <a:lnTo>
                    <a:pt x="2215" y="1465"/>
                  </a:lnTo>
                  <a:lnTo>
                    <a:pt x="2195" y="1463"/>
                  </a:lnTo>
                  <a:lnTo>
                    <a:pt x="2175" y="1462"/>
                  </a:lnTo>
                  <a:lnTo>
                    <a:pt x="2154" y="1462"/>
                  </a:lnTo>
                  <a:lnTo>
                    <a:pt x="2132" y="1464"/>
                  </a:lnTo>
                  <a:lnTo>
                    <a:pt x="2109" y="1467"/>
                  </a:lnTo>
                  <a:lnTo>
                    <a:pt x="2086" y="1472"/>
                  </a:lnTo>
                  <a:lnTo>
                    <a:pt x="2062" y="1480"/>
                  </a:lnTo>
                  <a:lnTo>
                    <a:pt x="2037" y="1491"/>
                  </a:lnTo>
                  <a:lnTo>
                    <a:pt x="2037" y="1491"/>
                  </a:lnTo>
                  <a:lnTo>
                    <a:pt x="1995" y="1509"/>
                  </a:lnTo>
                  <a:lnTo>
                    <a:pt x="1967" y="1521"/>
                  </a:lnTo>
                  <a:lnTo>
                    <a:pt x="1936" y="1534"/>
                  </a:lnTo>
                  <a:lnTo>
                    <a:pt x="1900" y="1548"/>
                  </a:lnTo>
                  <a:lnTo>
                    <a:pt x="1860" y="1562"/>
                  </a:lnTo>
                  <a:lnTo>
                    <a:pt x="1814" y="1578"/>
                  </a:lnTo>
                  <a:lnTo>
                    <a:pt x="1764" y="1593"/>
                  </a:lnTo>
                  <a:lnTo>
                    <a:pt x="1764" y="1593"/>
                  </a:lnTo>
                  <a:lnTo>
                    <a:pt x="1737" y="1600"/>
                  </a:lnTo>
                  <a:lnTo>
                    <a:pt x="1725" y="1602"/>
                  </a:lnTo>
                  <a:lnTo>
                    <a:pt x="1713" y="1603"/>
                  </a:lnTo>
                  <a:lnTo>
                    <a:pt x="1701" y="1603"/>
                  </a:lnTo>
                  <a:lnTo>
                    <a:pt x="1691" y="1603"/>
                  </a:lnTo>
                  <a:lnTo>
                    <a:pt x="1681" y="1602"/>
                  </a:lnTo>
                  <a:lnTo>
                    <a:pt x="1672" y="1600"/>
                  </a:lnTo>
                  <a:lnTo>
                    <a:pt x="1664" y="1597"/>
                  </a:lnTo>
                  <a:lnTo>
                    <a:pt x="1655" y="1592"/>
                  </a:lnTo>
                  <a:lnTo>
                    <a:pt x="1649" y="1587"/>
                  </a:lnTo>
                  <a:lnTo>
                    <a:pt x="1642" y="1581"/>
                  </a:lnTo>
                  <a:lnTo>
                    <a:pt x="1637" y="1574"/>
                  </a:lnTo>
                  <a:lnTo>
                    <a:pt x="1633" y="1564"/>
                  </a:lnTo>
                  <a:lnTo>
                    <a:pt x="1629" y="1554"/>
                  </a:lnTo>
                  <a:lnTo>
                    <a:pt x="1626" y="1543"/>
                  </a:lnTo>
                  <a:lnTo>
                    <a:pt x="1626" y="1543"/>
                  </a:lnTo>
                  <a:lnTo>
                    <a:pt x="1624" y="1533"/>
                  </a:lnTo>
                  <a:lnTo>
                    <a:pt x="1623" y="1522"/>
                  </a:lnTo>
                  <a:lnTo>
                    <a:pt x="1623" y="1513"/>
                  </a:lnTo>
                  <a:lnTo>
                    <a:pt x="1623" y="1504"/>
                  </a:lnTo>
                  <a:lnTo>
                    <a:pt x="1625" y="1488"/>
                  </a:lnTo>
                  <a:lnTo>
                    <a:pt x="1629" y="1473"/>
                  </a:lnTo>
                  <a:lnTo>
                    <a:pt x="1633" y="1462"/>
                  </a:lnTo>
                  <a:lnTo>
                    <a:pt x="1636" y="1454"/>
                  </a:lnTo>
                  <a:lnTo>
                    <a:pt x="1640" y="1446"/>
                  </a:lnTo>
                  <a:lnTo>
                    <a:pt x="1640" y="1446"/>
                  </a:lnTo>
                  <a:lnTo>
                    <a:pt x="1636" y="1447"/>
                  </a:lnTo>
                  <a:lnTo>
                    <a:pt x="1626" y="1450"/>
                  </a:lnTo>
                  <a:lnTo>
                    <a:pt x="1610" y="1456"/>
                  </a:lnTo>
                  <a:lnTo>
                    <a:pt x="1601" y="1459"/>
                  </a:lnTo>
                  <a:lnTo>
                    <a:pt x="1592" y="1464"/>
                  </a:lnTo>
                  <a:lnTo>
                    <a:pt x="1582" y="1470"/>
                  </a:lnTo>
                  <a:lnTo>
                    <a:pt x="1573" y="1476"/>
                  </a:lnTo>
                  <a:lnTo>
                    <a:pt x="1563" y="1485"/>
                  </a:lnTo>
                  <a:lnTo>
                    <a:pt x="1554" y="1494"/>
                  </a:lnTo>
                  <a:lnTo>
                    <a:pt x="1546" y="1504"/>
                  </a:lnTo>
                  <a:lnTo>
                    <a:pt x="1539" y="1515"/>
                  </a:lnTo>
                  <a:lnTo>
                    <a:pt x="1533" y="1529"/>
                  </a:lnTo>
                  <a:lnTo>
                    <a:pt x="1528" y="1543"/>
                  </a:lnTo>
                  <a:lnTo>
                    <a:pt x="1528" y="1543"/>
                  </a:lnTo>
                  <a:lnTo>
                    <a:pt x="1525" y="1558"/>
                  </a:lnTo>
                  <a:lnTo>
                    <a:pt x="1523" y="1574"/>
                  </a:lnTo>
                  <a:lnTo>
                    <a:pt x="1523" y="1589"/>
                  </a:lnTo>
                  <a:lnTo>
                    <a:pt x="1523" y="1603"/>
                  </a:lnTo>
                  <a:lnTo>
                    <a:pt x="1524" y="1616"/>
                  </a:lnTo>
                  <a:lnTo>
                    <a:pt x="1527" y="1631"/>
                  </a:lnTo>
                  <a:lnTo>
                    <a:pt x="1531" y="1643"/>
                  </a:lnTo>
                  <a:lnTo>
                    <a:pt x="1536" y="1655"/>
                  </a:lnTo>
                  <a:lnTo>
                    <a:pt x="1542" y="1668"/>
                  </a:lnTo>
                  <a:lnTo>
                    <a:pt x="1549" y="1678"/>
                  </a:lnTo>
                  <a:lnTo>
                    <a:pt x="1557" y="1688"/>
                  </a:lnTo>
                  <a:lnTo>
                    <a:pt x="1568" y="1696"/>
                  </a:lnTo>
                  <a:lnTo>
                    <a:pt x="1578" y="1704"/>
                  </a:lnTo>
                  <a:lnTo>
                    <a:pt x="1590" y="1711"/>
                  </a:lnTo>
                  <a:lnTo>
                    <a:pt x="1602" y="1717"/>
                  </a:lnTo>
                  <a:lnTo>
                    <a:pt x="1617" y="1721"/>
                  </a:lnTo>
                  <a:lnTo>
                    <a:pt x="1617" y="1721"/>
                  </a:lnTo>
                  <a:lnTo>
                    <a:pt x="1630" y="1724"/>
                  </a:lnTo>
                  <a:lnTo>
                    <a:pt x="1644" y="1725"/>
                  </a:lnTo>
                  <a:lnTo>
                    <a:pt x="1660" y="1724"/>
                  </a:lnTo>
                  <a:lnTo>
                    <a:pt x="1676" y="1722"/>
                  </a:lnTo>
                  <a:lnTo>
                    <a:pt x="1692" y="1720"/>
                  </a:lnTo>
                  <a:lnTo>
                    <a:pt x="1710" y="1716"/>
                  </a:lnTo>
                  <a:lnTo>
                    <a:pt x="1727" y="1711"/>
                  </a:lnTo>
                  <a:lnTo>
                    <a:pt x="1744" y="1705"/>
                  </a:lnTo>
                  <a:lnTo>
                    <a:pt x="1779" y="1691"/>
                  </a:lnTo>
                  <a:lnTo>
                    <a:pt x="1815" y="1676"/>
                  </a:lnTo>
                  <a:lnTo>
                    <a:pt x="1849" y="1659"/>
                  </a:lnTo>
                  <a:lnTo>
                    <a:pt x="1880" y="1643"/>
                  </a:lnTo>
                  <a:lnTo>
                    <a:pt x="1880" y="1643"/>
                  </a:lnTo>
                  <a:lnTo>
                    <a:pt x="1942" y="1611"/>
                  </a:lnTo>
                  <a:lnTo>
                    <a:pt x="1979" y="1593"/>
                  </a:lnTo>
                  <a:lnTo>
                    <a:pt x="2013" y="1577"/>
                  </a:lnTo>
                  <a:lnTo>
                    <a:pt x="2013" y="1577"/>
                  </a:lnTo>
                  <a:lnTo>
                    <a:pt x="2041" y="1565"/>
                  </a:lnTo>
                  <a:lnTo>
                    <a:pt x="2054" y="1561"/>
                  </a:lnTo>
                  <a:lnTo>
                    <a:pt x="2068" y="1557"/>
                  </a:lnTo>
                  <a:lnTo>
                    <a:pt x="2081" y="1554"/>
                  </a:lnTo>
                  <a:lnTo>
                    <a:pt x="2093" y="1552"/>
                  </a:lnTo>
                  <a:lnTo>
                    <a:pt x="2105" y="1550"/>
                  </a:lnTo>
                  <a:lnTo>
                    <a:pt x="2119" y="1550"/>
                  </a:lnTo>
                  <a:lnTo>
                    <a:pt x="2131" y="1550"/>
                  </a:lnTo>
                  <a:lnTo>
                    <a:pt x="2143" y="1551"/>
                  </a:lnTo>
                  <a:lnTo>
                    <a:pt x="2156" y="1553"/>
                  </a:lnTo>
                  <a:lnTo>
                    <a:pt x="2170" y="1555"/>
                  </a:lnTo>
                  <a:lnTo>
                    <a:pt x="2183" y="1559"/>
                  </a:lnTo>
                  <a:lnTo>
                    <a:pt x="2196" y="1563"/>
                  </a:lnTo>
                  <a:lnTo>
                    <a:pt x="2211" y="1569"/>
                  </a:lnTo>
                  <a:lnTo>
                    <a:pt x="2226" y="1576"/>
                  </a:lnTo>
                  <a:lnTo>
                    <a:pt x="2226" y="1576"/>
                  </a:lnTo>
                  <a:lnTo>
                    <a:pt x="2246" y="1586"/>
                  </a:lnTo>
                  <a:lnTo>
                    <a:pt x="2265" y="1596"/>
                  </a:lnTo>
                  <a:lnTo>
                    <a:pt x="2281" y="1607"/>
                  </a:lnTo>
                  <a:lnTo>
                    <a:pt x="2295" y="1616"/>
                  </a:lnTo>
                  <a:lnTo>
                    <a:pt x="2305" y="1626"/>
                  </a:lnTo>
                  <a:lnTo>
                    <a:pt x="2312" y="1633"/>
                  </a:lnTo>
                  <a:lnTo>
                    <a:pt x="2319" y="1639"/>
                  </a:lnTo>
                  <a:lnTo>
                    <a:pt x="2319" y="1639"/>
                  </a:lnTo>
                  <a:lnTo>
                    <a:pt x="2317" y="1642"/>
                  </a:lnTo>
                  <a:lnTo>
                    <a:pt x="2313" y="1649"/>
                  </a:lnTo>
                  <a:lnTo>
                    <a:pt x="2305" y="1660"/>
                  </a:lnTo>
                  <a:lnTo>
                    <a:pt x="2300" y="1667"/>
                  </a:lnTo>
                  <a:lnTo>
                    <a:pt x="2293" y="1674"/>
                  </a:lnTo>
                  <a:lnTo>
                    <a:pt x="2285" y="1680"/>
                  </a:lnTo>
                  <a:lnTo>
                    <a:pt x="2276" y="1687"/>
                  </a:lnTo>
                  <a:lnTo>
                    <a:pt x="2267" y="1693"/>
                  </a:lnTo>
                  <a:lnTo>
                    <a:pt x="2255" y="1698"/>
                  </a:lnTo>
                  <a:lnTo>
                    <a:pt x="2242" y="1703"/>
                  </a:lnTo>
                  <a:lnTo>
                    <a:pt x="2228" y="1707"/>
                  </a:lnTo>
                  <a:lnTo>
                    <a:pt x="2212" y="1711"/>
                  </a:lnTo>
                  <a:lnTo>
                    <a:pt x="2194" y="1712"/>
                  </a:lnTo>
                  <a:lnTo>
                    <a:pt x="2194" y="1712"/>
                  </a:lnTo>
                  <a:lnTo>
                    <a:pt x="2180" y="1713"/>
                  </a:lnTo>
                  <a:lnTo>
                    <a:pt x="2166" y="1712"/>
                  </a:lnTo>
                  <a:lnTo>
                    <a:pt x="2152" y="1710"/>
                  </a:lnTo>
                  <a:lnTo>
                    <a:pt x="2139" y="1706"/>
                  </a:lnTo>
                  <a:lnTo>
                    <a:pt x="2127" y="1703"/>
                  </a:lnTo>
                  <a:lnTo>
                    <a:pt x="2115" y="1699"/>
                  </a:lnTo>
                  <a:lnTo>
                    <a:pt x="2103" y="1695"/>
                  </a:lnTo>
                  <a:lnTo>
                    <a:pt x="2092" y="1689"/>
                  </a:lnTo>
                  <a:lnTo>
                    <a:pt x="2082" y="1684"/>
                  </a:lnTo>
                  <a:lnTo>
                    <a:pt x="2073" y="1678"/>
                  </a:lnTo>
                  <a:lnTo>
                    <a:pt x="2064" y="1672"/>
                  </a:lnTo>
                  <a:lnTo>
                    <a:pt x="2056" y="1665"/>
                  </a:lnTo>
                  <a:lnTo>
                    <a:pt x="2048" y="1657"/>
                  </a:lnTo>
                  <a:lnTo>
                    <a:pt x="2042" y="1650"/>
                  </a:lnTo>
                  <a:lnTo>
                    <a:pt x="2036" y="1643"/>
                  </a:lnTo>
                  <a:lnTo>
                    <a:pt x="2031" y="1636"/>
                  </a:lnTo>
                  <a:lnTo>
                    <a:pt x="2031" y="1636"/>
                  </a:lnTo>
                  <a:lnTo>
                    <a:pt x="2022" y="1658"/>
                  </a:lnTo>
                  <a:lnTo>
                    <a:pt x="2013" y="1676"/>
                  </a:lnTo>
                  <a:lnTo>
                    <a:pt x="2007" y="1689"/>
                  </a:lnTo>
                  <a:lnTo>
                    <a:pt x="2007" y="1689"/>
                  </a:lnTo>
                  <a:lnTo>
                    <a:pt x="2003" y="1697"/>
                  </a:lnTo>
                  <a:lnTo>
                    <a:pt x="2000" y="1704"/>
                  </a:lnTo>
                  <a:lnTo>
                    <a:pt x="1998" y="1713"/>
                  </a:lnTo>
                  <a:lnTo>
                    <a:pt x="1997" y="1719"/>
                  </a:lnTo>
                  <a:lnTo>
                    <a:pt x="1997" y="1726"/>
                  </a:lnTo>
                  <a:lnTo>
                    <a:pt x="1997" y="1732"/>
                  </a:lnTo>
                  <a:lnTo>
                    <a:pt x="1999" y="1744"/>
                  </a:lnTo>
                  <a:lnTo>
                    <a:pt x="2001" y="1756"/>
                  </a:lnTo>
                  <a:lnTo>
                    <a:pt x="2003" y="1766"/>
                  </a:lnTo>
                  <a:lnTo>
                    <a:pt x="2004" y="1777"/>
                  </a:lnTo>
                  <a:lnTo>
                    <a:pt x="2003" y="1783"/>
                  </a:lnTo>
                  <a:lnTo>
                    <a:pt x="2001" y="1788"/>
                  </a:lnTo>
                  <a:lnTo>
                    <a:pt x="2001" y="1788"/>
                  </a:lnTo>
                  <a:lnTo>
                    <a:pt x="1999" y="1794"/>
                  </a:lnTo>
                  <a:lnTo>
                    <a:pt x="1995" y="1800"/>
                  </a:lnTo>
                  <a:lnTo>
                    <a:pt x="1986" y="1813"/>
                  </a:lnTo>
                  <a:lnTo>
                    <a:pt x="1973" y="1825"/>
                  </a:lnTo>
                  <a:lnTo>
                    <a:pt x="1960" y="1837"/>
                  </a:lnTo>
                  <a:lnTo>
                    <a:pt x="1945" y="1849"/>
                  </a:lnTo>
                  <a:lnTo>
                    <a:pt x="1931" y="1860"/>
                  </a:lnTo>
                  <a:lnTo>
                    <a:pt x="1904" y="1878"/>
                  </a:lnTo>
                  <a:lnTo>
                    <a:pt x="1904" y="1878"/>
                  </a:lnTo>
                  <a:lnTo>
                    <a:pt x="1886" y="1889"/>
                  </a:lnTo>
                  <a:lnTo>
                    <a:pt x="1864" y="1901"/>
                  </a:lnTo>
                  <a:lnTo>
                    <a:pt x="1842" y="1911"/>
                  </a:lnTo>
                  <a:lnTo>
                    <a:pt x="1819" y="1919"/>
                  </a:lnTo>
                  <a:lnTo>
                    <a:pt x="1798" y="1926"/>
                  </a:lnTo>
                  <a:lnTo>
                    <a:pt x="1779" y="1932"/>
                  </a:lnTo>
                  <a:lnTo>
                    <a:pt x="1754" y="1940"/>
                  </a:lnTo>
                  <a:lnTo>
                    <a:pt x="1754" y="1940"/>
                  </a:lnTo>
                  <a:lnTo>
                    <a:pt x="1779" y="1998"/>
                  </a:lnTo>
                  <a:lnTo>
                    <a:pt x="1811" y="2066"/>
                  </a:lnTo>
                  <a:lnTo>
                    <a:pt x="1811" y="2066"/>
                  </a:lnTo>
                  <a:lnTo>
                    <a:pt x="1833" y="2111"/>
                  </a:lnTo>
                  <a:lnTo>
                    <a:pt x="1862" y="2166"/>
                  </a:lnTo>
                  <a:lnTo>
                    <a:pt x="1877" y="2193"/>
                  </a:lnTo>
                  <a:lnTo>
                    <a:pt x="1893" y="2219"/>
                  </a:lnTo>
                  <a:lnTo>
                    <a:pt x="1909" y="2240"/>
                  </a:lnTo>
                  <a:lnTo>
                    <a:pt x="1916" y="2250"/>
                  </a:lnTo>
                  <a:lnTo>
                    <a:pt x="1924" y="2259"/>
                  </a:lnTo>
                  <a:lnTo>
                    <a:pt x="1924" y="2259"/>
                  </a:lnTo>
                  <a:lnTo>
                    <a:pt x="1940" y="2254"/>
                  </a:lnTo>
                  <a:lnTo>
                    <a:pt x="1957" y="2249"/>
                  </a:lnTo>
                  <a:lnTo>
                    <a:pt x="1980" y="2243"/>
                  </a:lnTo>
                  <a:lnTo>
                    <a:pt x="2004" y="2235"/>
                  </a:lnTo>
                  <a:lnTo>
                    <a:pt x="2031" y="2225"/>
                  </a:lnTo>
                  <a:lnTo>
                    <a:pt x="2057" y="2213"/>
                  </a:lnTo>
                  <a:lnTo>
                    <a:pt x="2071" y="2206"/>
                  </a:lnTo>
                  <a:lnTo>
                    <a:pt x="2083" y="2199"/>
                  </a:lnTo>
                  <a:lnTo>
                    <a:pt x="2083" y="2199"/>
                  </a:lnTo>
                  <a:lnTo>
                    <a:pt x="2105" y="2186"/>
                  </a:lnTo>
                  <a:lnTo>
                    <a:pt x="2126" y="2172"/>
                  </a:lnTo>
                  <a:lnTo>
                    <a:pt x="2145" y="2157"/>
                  </a:lnTo>
                  <a:lnTo>
                    <a:pt x="2162" y="2142"/>
                  </a:lnTo>
                  <a:lnTo>
                    <a:pt x="2177" y="2128"/>
                  </a:lnTo>
                  <a:lnTo>
                    <a:pt x="2189" y="2113"/>
                  </a:lnTo>
                  <a:lnTo>
                    <a:pt x="2199" y="2099"/>
                  </a:lnTo>
                  <a:lnTo>
                    <a:pt x="2207" y="2086"/>
                  </a:lnTo>
                  <a:lnTo>
                    <a:pt x="2207" y="2086"/>
                  </a:lnTo>
                  <a:lnTo>
                    <a:pt x="2190" y="2122"/>
                  </a:lnTo>
                  <a:lnTo>
                    <a:pt x="2175" y="2155"/>
                  </a:lnTo>
                  <a:lnTo>
                    <a:pt x="2161" y="2185"/>
                  </a:lnTo>
                  <a:lnTo>
                    <a:pt x="2146" y="2213"/>
                  </a:lnTo>
                  <a:lnTo>
                    <a:pt x="2132" y="2238"/>
                  </a:lnTo>
                  <a:lnTo>
                    <a:pt x="2119" y="2261"/>
                  </a:lnTo>
                  <a:lnTo>
                    <a:pt x="2105" y="2281"/>
                  </a:lnTo>
                  <a:lnTo>
                    <a:pt x="2092" y="2299"/>
                  </a:lnTo>
                  <a:lnTo>
                    <a:pt x="2080" y="2317"/>
                  </a:lnTo>
                  <a:lnTo>
                    <a:pt x="2068" y="2331"/>
                  </a:lnTo>
                  <a:lnTo>
                    <a:pt x="2055" y="2344"/>
                  </a:lnTo>
                  <a:lnTo>
                    <a:pt x="2044" y="2356"/>
                  </a:lnTo>
                  <a:lnTo>
                    <a:pt x="2033" y="2367"/>
                  </a:lnTo>
                  <a:lnTo>
                    <a:pt x="2022" y="2376"/>
                  </a:lnTo>
                  <a:lnTo>
                    <a:pt x="2011" y="2383"/>
                  </a:lnTo>
                  <a:lnTo>
                    <a:pt x="2000" y="2391"/>
                  </a:lnTo>
                  <a:lnTo>
                    <a:pt x="2000" y="2391"/>
                  </a:lnTo>
                  <a:lnTo>
                    <a:pt x="1907" y="2452"/>
                  </a:lnTo>
                  <a:lnTo>
                    <a:pt x="1797" y="2524"/>
                  </a:lnTo>
                  <a:lnTo>
                    <a:pt x="1735" y="2563"/>
                  </a:lnTo>
                  <a:lnTo>
                    <a:pt x="1671" y="2602"/>
                  </a:lnTo>
                  <a:lnTo>
                    <a:pt x="1602" y="2642"/>
                  </a:lnTo>
                  <a:lnTo>
                    <a:pt x="1532" y="2682"/>
                  </a:lnTo>
                  <a:lnTo>
                    <a:pt x="1459" y="2720"/>
                  </a:lnTo>
                  <a:lnTo>
                    <a:pt x="1422" y="2739"/>
                  </a:lnTo>
                  <a:lnTo>
                    <a:pt x="1384" y="2756"/>
                  </a:lnTo>
                  <a:lnTo>
                    <a:pt x="1347" y="2774"/>
                  </a:lnTo>
                  <a:lnTo>
                    <a:pt x="1308" y="2791"/>
                  </a:lnTo>
                  <a:lnTo>
                    <a:pt x="1269" y="2808"/>
                  </a:lnTo>
                  <a:lnTo>
                    <a:pt x="1230" y="2823"/>
                  </a:lnTo>
                  <a:lnTo>
                    <a:pt x="1190" y="2837"/>
                  </a:lnTo>
                  <a:lnTo>
                    <a:pt x="1151" y="2851"/>
                  </a:lnTo>
                  <a:lnTo>
                    <a:pt x="1111" y="2864"/>
                  </a:lnTo>
                  <a:lnTo>
                    <a:pt x="1072" y="2875"/>
                  </a:lnTo>
                  <a:lnTo>
                    <a:pt x="1032" y="2885"/>
                  </a:lnTo>
                  <a:lnTo>
                    <a:pt x="992" y="2893"/>
                  </a:lnTo>
                  <a:lnTo>
                    <a:pt x="952" y="2902"/>
                  </a:lnTo>
                  <a:lnTo>
                    <a:pt x="913" y="2908"/>
                  </a:lnTo>
                  <a:lnTo>
                    <a:pt x="913" y="2908"/>
                  </a:lnTo>
                  <a:lnTo>
                    <a:pt x="901" y="2908"/>
                  </a:lnTo>
                  <a:lnTo>
                    <a:pt x="889" y="2907"/>
                  </a:lnTo>
                  <a:lnTo>
                    <a:pt x="876" y="2904"/>
                  </a:lnTo>
                  <a:lnTo>
                    <a:pt x="863" y="2901"/>
                  </a:lnTo>
                  <a:lnTo>
                    <a:pt x="850" y="2898"/>
                  </a:lnTo>
                  <a:lnTo>
                    <a:pt x="836" y="2892"/>
                  </a:lnTo>
                  <a:lnTo>
                    <a:pt x="809" y="2880"/>
                  </a:lnTo>
                  <a:lnTo>
                    <a:pt x="781" y="2866"/>
                  </a:lnTo>
                  <a:lnTo>
                    <a:pt x="754" y="2850"/>
                  </a:lnTo>
                  <a:lnTo>
                    <a:pt x="726" y="2832"/>
                  </a:lnTo>
                  <a:lnTo>
                    <a:pt x="698" y="2813"/>
                  </a:lnTo>
                  <a:lnTo>
                    <a:pt x="672" y="2792"/>
                  </a:lnTo>
                  <a:lnTo>
                    <a:pt x="646" y="2772"/>
                  </a:lnTo>
                  <a:lnTo>
                    <a:pt x="623" y="2751"/>
                  </a:lnTo>
                  <a:lnTo>
                    <a:pt x="600" y="2731"/>
                  </a:lnTo>
                  <a:lnTo>
                    <a:pt x="581" y="2711"/>
                  </a:lnTo>
                  <a:lnTo>
                    <a:pt x="563" y="2694"/>
                  </a:lnTo>
                  <a:lnTo>
                    <a:pt x="548" y="2679"/>
                  </a:lnTo>
                  <a:lnTo>
                    <a:pt x="537" y="2665"/>
                  </a:lnTo>
                  <a:lnTo>
                    <a:pt x="537" y="2665"/>
                  </a:lnTo>
                  <a:lnTo>
                    <a:pt x="533" y="2661"/>
                  </a:lnTo>
                  <a:lnTo>
                    <a:pt x="530" y="2657"/>
                  </a:lnTo>
                  <a:lnTo>
                    <a:pt x="520" y="2652"/>
                  </a:lnTo>
                  <a:lnTo>
                    <a:pt x="512" y="2650"/>
                  </a:lnTo>
                  <a:lnTo>
                    <a:pt x="502" y="2649"/>
                  </a:lnTo>
                  <a:lnTo>
                    <a:pt x="493" y="2649"/>
                  </a:lnTo>
                  <a:lnTo>
                    <a:pt x="483" y="2651"/>
                  </a:lnTo>
                  <a:lnTo>
                    <a:pt x="473" y="2654"/>
                  </a:lnTo>
                  <a:lnTo>
                    <a:pt x="464" y="2658"/>
                  </a:lnTo>
                  <a:lnTo>
                    <a:pt x="447" y="2666"/>
                  </a:lnTo>
                  <a:lnTo>
                    <a:pt x="433" y="2676"/>
                  </a:lnTo>
                  <a:lnTo>
                    <a:pt x="419" y="2686"/>
                  </a:lnTo>
                  <a:lnTo>
                    <a:pt x="419" y="2686"/>
                  </a:lnTo>
                  <a:lnTo>
                    <a:pt x="412" y="2685"/>
                  </a:lnTo>
                  <a:lnTo>
                    <a:pt x="393" y="2683"/>
                  </a:lnTo>
                  <a:lnTo>
                    <a:pt x="379" y="2683"/>
                  </a:lnTo>
                  <a:lnTo>
                    <a:pt x="364" y="2683"/>
                  </a:lnTo>
                  <a:lnTo>
                    <a:pt x="348" y="2684"/>
                  </a:lnTo>
                  <a:lnTo>
                    <a:pt x="329" y="2686"/>
                  </a:lnTo>
                  <a:lnTo>
                    <a:pt x="310" y="2689"/>
                  </a:lnTo>
                  <a:lnTo>
                    <a:pt x="290" y="2694"/>
                  </a:lnTo>
                  <a:lnTo>
                    <a:pt x="271" y="2700"/>
                  </a:lnTo>
                  <a:lnTo>
                    <a:pt x="252" y="2709"/>
                  </a:lnTo>
                  <a:lnTo>
                    <a:pt x="242" y="2715"/>
                  </a:lnTo>
                  <a:lnTo>
                    <a:pt x="233" y="2720"/>
                  </a:lnTo>
                  <a:lnTo>
                    <a:pt x="224" y="2726"/>
                  </a:lnTo>
                  <a:lnTo>
                    <a:pt x="216" y="2733"/>
                  </a:lnTo>
                  <a:lnTo>
                    <a:pt x="207" y="2741"/>
                  </a:lnTo>
                  <a:lnTo>
                    <a:pt x="199" y="2749"/>
                  </a:lnTo>
                  <a:lnTo>
                    <a:pt x="191" y="2759"/>
                  </a:lnTo>
                  <a:lnTo>
                    <a:pt x="184" y="2768"/>
                  </a:lnTo>
                  <a:lnTo>
                    <a:pt x="184" y="2768"/>
                  </a:lnTo>
                  <a:lnTo>
                    <a:pt x="183" y="2771"/>
                  </a:lnTo>
                  <a:lnTo>
                    <a:pt x="185" y="2773"/>
                  </a:lnTo>
                  <a:lnTo>
                    <a:pt x="188" y="2774"/>
                  </a:lnTo>
                  <a:lnTo>
                    <a:pt x="193" y="2774"/>
                  </a:lnTo>
                  <a:lnTo>
                    <a:pt x="210" y="2772"/>
                  </a:lnTo>
                  <a:lnTo>
                    <a:pt x="230" y="2770"/>
                  </a:lnTo>
                  <a:lnTo>
                    <a:pt x="255" y="2768"/>
                  </a:lnTo>
                  <a:lnTo>
                    <a:pt x="280" y="2767"/>
                  </a:lnTo>
                  <a:lnTo>
                    <a:pt x="293" y="2768"/>
                  </a:lnTo>
                  <a:lnTo>
                    <a:pt x="307" y="2769"/>
                  </a:lnTo>
                  <a:lnTo>
                    <a:pt x="319" y="2771"/>
                  </a:lnTo>
                  <a:lnTo>
                    <a:pt x="331" y="2774"/>
                  </a:lnTo>
                  <a:lnTo>
                    <a:pt x="331" y="2774"/>
                  </a:lnTo>
                  <a:lnTo>
                    <a:pt x="338" y="2777"/>
                  </a:lnTo>
                  <a:lnTo>
                    <a:pt x="343" y="2780"/>
                  </a:lnTo>
                  <a:lnTo>
                    <a:pt x="346" y="2783"/>
                  </a:lnTo>
                  <a:lnTo>
                    <a:pt x="347" y="2786"/>
                  </a:lnTo>
                  <a:lnTo>
                    <a:pt x="347" y="2789"/>
                  </a:lnTo>
                  <a:lnTo>
                    <a:pt x="345" y="2793"/>
                  </a:lnTo>
                  <a:lnTo>
                    <a:pt x="339" y="2801"/>
                  </a:lnTo>
                  <a:lnTo>
                    <a:pt x="332" y="2811"/>
                  </a:lnTo>
                  <a:lnTo>
                    <a:pt x="325" y="2822"/>
                  </a:lnTo>
                  <a:lnTo>
                    <a:pt x="321" y="2828"/>
                  </a:lnTo>
                  <a:lnTo>
                    <a:pt x="319" y="2834"/>
                  </a:lnTo>
                  <a:lnTo>
                    <a:pt x="317" y="2840"/>
                  </a:lnTo>
                  <a:lnTo>
                    <a:pt x="317" y="2847"/>
                  </a:lnTo>
                  <a:lnTo>
                    <a:pt x="317" y="2847"/>
                  </a:lnTo>
                  <a:lnTo>
                    <a:pt x="317" y="2853"/>
                  </a:lnTo>
                  <a:lnTo>
                    <a:pt x="319" y="2859"/>
                  </a:lnTo>
                  <a:lnTo>
                    <a:pt x="321" y="2864"/>
                  </a:lnTo>
                  <a:lnTo>
                    <a:pt x="324" y="2869"/>
                  </a:lnTo>
                  <a:lnTo>
                    <a:pt x="328" y="2874"/>
                  </a:lnTo>
                  <a:lnTo>
                    <a:pt x="333" y="2879"/>
                  </a:lnTo>
                  <a:lnTo>
                    <a:pt x="346" y="2889"/>
                  </a:lnTo>
                  <a:lnTo>
                    <a:pt x="361" y="2899"/>
                  </a:lnTo>
                  <a:lnTo>
                    <a:pt x="377" y="2908"/>
                  </a:lnTo>
                  <a:lnTo>
                    <a:pt x="397" y="2917"/>
                  </a:lnTo>
                  <a:lnTo>
                    <a:pt x="416" y="2925"/>
                  </a:lnTo>
                  <a:lnTo>
                    <a:pt x="458" y="2941"/>
                  </a:lnTo>
                  <a:lnTo>
                    <a:pt x="500" y="2955"/>
                  </a:lnTo>
                  <a:lnTo>
                    <a:pt x="571" y="2976"/>
                  </a:lnTo>
                  <a:lnTo>
                    <a:pt x="571" y="2976"/>
                  </a:lnTo>
                  <a:lnTo>
                    <a:pt x="579" y="2980"/>
                  </a:lnTo>
                  <a:lnTo>
                    <a:pt x="585" y="2984"/>
                  </a:lnTo>
                  <a:lnTo>
                    <a:pt x="588" y="2990"/>
                  </a:lnTo>
                  <a:lnTo>
                    <a:pt x="590" y="2995"/>
                  </a:lnTo>
                  <a:lnTo>
                    <a:pt x="590" y="2999"/>
                  </a:lnTo>
                  <a:lnTo>
                    <a:pt x="588" y="3003"/>
                  </a:lnTo>
                  <a:lnTo>
                    <a:pt x="585" y="3005"/>
                  </a:lnTo>
                  <a:lnTo>
                    <a:pt x="581" y="3006"/>
                  </a:lnTo>
                  <a:lnTo>
                    <a:pt x="581" y="3006"/>
                  </a:lnTo>
                  <a:lnTo>
                    <a:pt x="556" y="3005"/>
                  </a:lnTo>
                  <a:lnTo>
                    <a:pt x="532" y="3002"/>
                  </a:lnTo>
                  <a:lnTo>
                    <a:pt x="509" y="2999"/>
                  </a:lnTo>
                  <a:lnTo>
                    <a:pt x="488" y="2994"/>
                  </a:lnTo>
                  <a:lnTo>
                    <a:pt x="467" y="2989"/>
                  </a:lnTo>
                  <a:lnTo>
                    <a:pt x="448" y="2982"/>
                  </a:lnTo>
                  <a:lnTo>
                    <a:pt x="429" y="2976"/>
                  </a:lnTo>
                  <a:lnTo>
                    <a:pt x="412" y="2970"/>
                  </a:lnTo>
                  <a:lnTo>
                    <a:pt x="380" y="2957"/>
                  </a:lnTo>
                  <a:lnTo>
                    <a:pt x="352" y="2945"/>
                  </a:lnTo>
                  <a:lnTo>
                    <a:pt x="327" y="2933"/>
                  </a:lnTo>
                  <a:lnTo>
                    <a:pt x="316" y="2929"/>
                  </a:lnTo>
                  <a:lnTo>
                    <a:pt x="305" y="2925"/>
                  </a:lnTo>
                  <a:lnTo>
                    <a:pt x="305" y="2925"/>
                  </a:lnTo>
                  <a:lnTo>
                    <a:pt x="286" y="2920"/>
                  </a:lnTo>
                  <a:lnTo>
                    <a:pt x="268" y="2916"/>
                  </a:lnTo>
                  <a:lnTo>
                    <a:pt x="253" y="2913"/>
                  </a:lnTo>
                  <a:lnTo>
                    <a:pt x="237" y="2911"/>
                  </a:lnTo>
                  <a:lnTo>
                    <a:pt x="224" y="2910"/>
                  </a:lnTo>
                  <a:lnTo>
                    <a:pt x="213" y="2911"/>
                  </a:lnTo>
                  <a:lnTo>
                    <a:pt x="202" y="2912"/>
                  </a:lnTo>
                  <a:lnTo>
                    <a:pt x="192" y="2914"/>
                  </a:lnTo>
                  <a:lnTo>
                    <a:pt x="185" y="2918"/>
                  </a:lnTo>
                  <a:lnTo>
                    <a:pt x="178" y="2922"/>
                  </a:lnTo>
                  <a:lnTo>
                    <a:pt x="172" y="2927"/>
                  </a:lnTo>
                  <a:lnTo>
                    <a:pt x="167" y="2933"/>
                  </a:lnTo>
                  <a:lnTo>
                    <a:pt x="163" y="2939"/>
                  </a:lnTo>
                  <a:lnTo>
                    <a:pt x="160" y="2948"/>
                  </a:lnTo>
                  <a:lnTo>
                    <a:pt x="156" y="2956"/>
                  </a:lnTo>
                  <a:lnTo>
                    <a:pt x="155" y="2965"/>
                  </a:lnTo>
                  <a:lnTo>
                    <a:pt x="155" y="2965"/>
                  </a:lnTo>
                  <a:lnTo>
                    <a:pt x="154" y="2968"/>
                  </a:lnTo>
                  <a:lnTo>
                    <a:pt x="152" y="2971"/>
                  </a:lnTo>
                  <a:lnTo>
                    <a:pt x="150" y="2974"/>
                  </a:lnTo>
                  <a:lnTo>
                    <a:pt x="147" y="2976"/>
                  </a:lnTo>
                  <a:lnTo>
                    <a:pt x="140" y="2980"/>
                  </a:lnTo>
                  <a:lnTo>
                    <a:pt x="132" y="2985"/>
                  </a:lnTo>
                  <a:lnTo>
                    <a:pt x="109" y="2995"/>
                  </a:lnTo>
                  <a:lnTo>
                    <a:pt x="97" y="3001"/>
                  </a:lnTo>
                  <a:lnTo>
                    <a:pt x="84" y="3009"/>
                  </a:lnTo>
                  <a:lnTo>
                    <a:pt x="71" y="3019"/>
                  </a:lnTo>
                  <a:lnTo>
                    <a:pt x="57" y="3033"/>
                  </a:lnTo>
                  <a:lnTo>
                    <a:pt x="51" y="3040"/>
                  </a:lnTo>
                  <a:lnTo>
                    <a:pt x="45" y="3048"/>
                  </a:lnTo>
                  <a:lnTo>
                    <a:pt x="39" y="3058"/>
                  </a:lnTo>
                  <a:lnTo>
                    <a:pt x="33" y="3068"/>
                  </a:lnTo>
                  <a:lnTo>
                    <a:pt x="28" y="3080"/>
                  </a:lnTo>
                  <a:lnTo>
                    <a:pt x="22" y="3092"/>
                  </a:lnTo>
                  <a:lnTo>
                    <a:pt x="17" y="3106"/>
                  </a:lnTo>
                  <a:lnTo>
                    <a:pt x="13" y="3120"/>
                  </a:lnTo>
                  <a:lnTo>
                    <a:pt x="9" y="3137"/>
                  </a:lnTo>
                  <a:lnTo>
                    <a:pt x="6" y="3154"/>
                  </a:lnTo>
                  <a:lnTo>
                    <a:pt x="3" y="3174"/>
                  </a:lnTo>
                  <a:lnTo>
                    <a:pt x="0" y="3194"/>
                  </a:lnTo>
                  <a:lnTo>
                    <a:pt x="0" y="3194"/>
                  </a:lnTo>
                  <a:lnTo>
                    <a:pt x="1" y="3195"/>
                  </a:lnTo>
                  <a:lnTo>
                    <a:pt x="2" y="3196"/>
                  </a:lnTo>
                  <a:lnTo>
                    <a:pt x="6" y="3194"/>
                  </a:lnTo>
                  <a:lnTo>
                    <a:pt x="12" y="3189"/>
                  </a:lnTo>
                  <a:lnTo>
                    <a:pt x="20" y="3181"/>
                  </a:lnTo>
                  <a:lnTo>
                    <a:pt x="43" y="3158"/>
                  </a:lnTo>
                  <a:lnTo>
                    <a:pt x="69" y="3134"/>
                  </a:lnTo>
                  <a:lnTo>
                    <a:pt x="82" y="3121"/>
                  </a:lnTo>
                  <a:lnTo>
                    <a:pt x="95" y="3110"/>
                  </a:lnTo>
                  <a:lnTo>
                    <a:pt x="107" y="3101"/>
                  </a:lnTo>
                  <a:lnTo>
                    <a:pt x="119" y="3094"/>
                  </a:lnTo>
                  <a:lnTo>
                    <a:pt x="124" y="3091"/>
                  </a:lnTo>
                  <a:lnTo>
                    <a:pt x="129" y="3090"/>
                  </a:lnTo>
                  <a:lnTo>
                    <a:pt x="133" y="3089"/>
                  </a:lnTo>
                  <a:lnTo>
                    <a:pt x="137" y="3089"/>
                  </a:lnTo>
                  <a:lnTo>
                    <a:pt x="140" y="3091"/>
                  </a:lnTo>
                  <a:lnTo>
                    <a:pt x="143" y="3093"/>
                  </a:lnTo>
                  <a:lnTo>
                    <a:pt x="144" y="3097"/>
                  </a:lnTo>
                  <a:lnTo>
                    <a:pt x="146" y="3101"/>
                  </a:lnTo>
                  <a:lnTo>
                    <a:pt x="146" y="3101"/>
                  </a:lnTo>
                  <a:lnTo>
                    <a:pt x="149" y="3117"/>
                  </a:lnTo>
                  <a:lnTo>
                    <a:pt x="154" y="3132"/>
                  </a:lnTo>
                  <a:lnTo>
                    <a:pt x="162" y="3145"/>
                  </a:lnTo>
                  <a:lnTo>
                    <a:pt x="170" y="3155"/>
                  </a:lnTo>
                  <a:lnTo>
                    <a:pt x="179" y="3165"/>
                  </a:lnTo>
                  <a:lnTo>
                    <a:pt x="189" y="3173"/>
                  </a:lnTo>
                  <a:lnTo>
                    <a:pt x="200" y="3180"/>
                  </a:lnTo>
                  <a:lnTo>
                    <a:pt x="214" y="3185"/>
                  </a:lnTo>
                  <a:lnTo>
                    <a:pt x="227" y="3189"/>
                  </a:lnTo>
                  <a:lnTo>
                    <a:pt x="241" y="3191"/>
                  </a:lnTo>
                  <a:lnTo>
                    <a:pt x="256" y="3193"/>
                  </a:lnTo>
                  <a:lnTo>
                    <a:pt x="271" y="3194"/>
                  </a:lnTo>
                  <a:lnTo>
                    <a:pt x="287" y="3195"/>
                  </a:lnTo>
                  <a:lnTo>
                    <a:pt x="304" y="3194"/>
                  </a:lnTo>
                  <a:lnTo>
                    <a:pt x="337" y="3192"/>
                  </a:lnTo>
                  <a:lnTo>
                    <a:pt x="371" y="3188"/>
                  </a:lnTo>
                  <a:lnTo>
                    <a:pt x="405" y="3183"/>
                  </a:lnTo>
                  <a:lnTo>
                    <a:pt x="438" y="3178"/>
                  </a:lnTo>
                  <a:lnTo>
                    <a:pt x="468" y="3174"/>
                  </a:lnTo>
                  <a:lnTo>
                    <a:pt x="496" y="3172"/>
                  </a:lnTo>
                  <a:lnTo>
                    <a:pt x="509" y="3171"/>
                  </a:lnTo>
                  <a:lnTo>
                    <a:pt x="520" y="3171"/>
                  </a:lnTo>
                  <a:lnTo>
                    <a:pt x="531" y="3172"/>
                  </a:lnTo>
                  <a:lnTo>
                    <a:pt x="541" y="3174"/>
                  </a:lnTo>
                  <a:lnTo>
                    <a:pt x="549" y="3177"/>
                  </a:lnTo>
                  <a:lnTo>
                    <a:pt x="555" y="3181"/>
                  </a:lnTo>
                  <a:lnTo>
                    <a:pt x="555" y="3181"/>
                  </a:lnTo>
                  <a:lnTo>
                    <a:pt x="558" y="3184"/>
                  </a:lnTo>
                  <a:lnTo>
                    <a:pt x="559" y="3186"/>
                  </a:lnTo>
                  <a:lnTo>
                    <a:pt x="557" y="3189"/>
                  </a:lnTo>
                  <a:lnTo>
                    <a:pt x="554" y="3191"/>
                  </a:lnTo>
                  <a:lnTo>
                    <a:pt x="549" y="3194"/>
                  </a:lnTo>
                  <a:lnTo>
                    <a:pt x="542" y="3196"/>
                  </a:lnTo>
                  <a:lnTo>
                    <a:pt x="525" y="3200"/>
                  </a:lnTo>
                  <a:lnTo>
                    <a:pt x="475" y="3209"/>
                  </a:lnTo>
                  <a:lnTo>
                    <a:pt x="447" y="3215"/>
                  </a:lnTo>
                  <a:lnTo>
                    <a:pt x="417" y="3221"/>
                  </a:lnTo>
                  <a:lnTo>
                    <a:pt x="388" y="3228"/>
                  </a:lnTo>
                  <a:lnTo>
                    <a:pt x="359" y="3236"/>
                  </a:lnTo>
                  <a:lnTo>
                    <a:pt x="346" y="3240"/>
                  </a:lnTo>
                  <a:lnTo>
                    <a:pt x="333" y="3245"/>
                  </a:lnTo>
                  <a:lnTo>
                    <a:pt x="322" y="3250"/>
                  </a:lnTo>
                  <a:lnTo>
                    <a:pt x="312" y="3256"/>
                  </a:lnTo>
                  <a:lnTo>
                    <a:pt x="303" y="3263"/>
                  </a:lnTo>
                  <a:lnTo>
                    <a:pt x="294" y="3269"/>
                  </a:lnTo>
                  <a:lnTo>
                    <a:pt x="288" y="3276"/>
                  </a:lnTo>
                  <a:lnTo>
                    <a:pt x="284" y="3284"/>
                  </a:lnTo>
                  <a:lnTo>
                    <a:pt x="282" y="3292"/>
                  </a:lnTo>
                  <a:lnTo>
                    <a:pt x="281" y="3300"/>
                  </a:lnTo>
                  <a:lnTo>
                    <a:pt x="283" y="3311"/>
                  </a:lnTo>
                  <a:lnTo>
                    <a:pt x="287" y="3321"/>
                  </a:lnTo>
                  <a:lnTo>
                    <a:pt x="287" y="3321"/>
                  </a:lnTo>
                  <a:lnTo>
                    <a:pt x="287" y="3322"/>
                  </a:lnTo>
                  <a:lnTo>
                    <a:pt x="286" y="3325"/>
                  </a:lnTo>
                  <a:lnTo>
                    <a:pt x="283" y="3331"/>
                  </a:lnTo>
                  <a:lnTo>
                    <a:pt x="268" y="3348"/>
                  </a:lnTo>
                  <a:lnTo>
                    <a:pt x="258" y="3361"/>
                  </a:lnTo>
                  <a:lnTo>
                    <a:pt x="247" y="3374"/>
                  </a:lnTo>
                  <a:lnTo>
                    <a:pt x="237" y="3389"/>
                  </a:lnTo>
                  <a:lnTo>
                    <a:pt x="228" y="3406"/>
                  </a:lnTo>
                  <a:lnTo>
                    <a:pt x="220" y="3423"/>
                  </a:lnTo>
                  <a:lnTo>
                    <a:pt x="217" y="3432"/>
                  </a:lnTo>
                  <a:lnTo>
                    <a:pt x="214" y="3443"/>
                  </a:lnTo>
                  <a:lnTo>
                    <a:pt x="213" y="3452"/>
                  </a:lnTo>
                  <a:lnTo>
                    <a:pt x="212" y="3463"/>
                  </a:lnTo>
                  <a:lnTo>
                    <a:pt x="212" y="3473"/>
                  </a:lnTo>
                  <a:lnTo>
                    <a:pt x="213" y="3483"/>
                  </a:lnTo>
                  <a:lnTo>
                    <a:pt x="215" y="3495"/>
                  </a:lnTo>
                  <a:lnTo>
                    <a:pt x="219" y="3506"/>
                  </a:lnTo>
                  <a:lnTo>
                    <a:pt x="223" y="3518"/>
                  </a:lnTo>
                  <a:lnTo>
                    <a:pt x="229" y="3529"/>
                  </a:lnTo>
                  <a:lnTo>
                    <a:pt x="237" y="3542"/>
                  </a:lnTo>
                  <a:lnTo>
                    <a:pt x="246" y="3554"/>
                  </a:lnTo>
                  <a:lnTo>
                    <a:pt x="257" y="3566"/>
                  </a:lnTo>
                  <a:lnTo>
                    <a:pt x="270" y="3579"/>
                  </a:lnTo>
                  <a:lnTo>
                    <a:pt x="270" y="3579"/>
                  </a:lnTo>
                  <a:lnTo>
                    <a:pt x="270" y="3572"/>
                  </a:lnTo>
                  <a:lnTo>
                    <a:pt x="272" y="3555"/>
                  </a:lnTo>
                  <a:lnTo>
                    <a:pt x="277" y="3530"/>
                  </a:lnTo>
                  <a:lnTo>
                    <a:pt x="281" y="3517"/>
                  </a:lnTo>
                  <a:lnTo>
                    <a:pt x="285" y="3503"/>
                  </a:lnTo>
                  <a:lnTo>
                    <a:pt x="291" y="3490"/>
                  </a:lnTo>
                  <a:lnTo>
                    <a:pt x="298" y="3476"/>
                  </a:lnTo>
                  <a:lnTo>
                    <a:pt x="306" y="3463"/>
                  </a:lnTo>
                  <a:lnTo>
                    <a:pt x="315" y="3453"/>
                  </a:lnTo>
                  <a:lnTo>
                    <a:pt x="321" y="3448"/>
                  </a:lnTo>
                  <a:lnTo>
                    <a:pt x="326" y="3444"/>
                  </a:lnTo>
                  <a:lnTo>
                    <a:pt x="332" y="3439"/>
                  </a:lnTo>
                  <a:lnTo>
                    <a:pt x="339" y="3436"/>
                  </a:lnTo>
                  <a:lnTo>
                    <a:pt x="346" y="3434"/>
                  </a:lnTo>
                  <a:lnTo>
                    <a:pt x="354" y="3432"/>
                  </a:lnTo>
                  <a:lnTo>
                    <a:pt x="361" y="3432"/>
                  </a:lnTo>
                  <a:lnTo>
                    <a:pt x="369" y="3432"/>
                  </a:lnTo>
                  <a:lnTo>
                    <a:pt x="369" y="3432"/>
                  </a:lnTo>
                  <a:lnTo>
                    <a:pt x="383" y="3433"/>
                  </a:lnTo>
                  <a:lnTo>
                    <a:pt x="396" y="3436"/>
                  </a:lnTo>
                  <a:lnTo>
                    <a:pt x="408" y="3440"/>
                  </a:lnTo>
                  <a:lnTo>
                    <a:pt x="420" y="3445"/>
                  </a:lnTo>
                  <a:lnTo>
                    <a:pt x="443" y="3455"/>
                  </a:lnTo>
                  <a:lnTo>
                    <a:pt x="454" y="3459"/>
                  </a:lnTo>
                  <a:lnTo>
                    <a:pt x="465" y="3463"/>
                  </a:lnTo>
                  <a:lnTo>
                    <a:pt x="476" y="3466"/>
                  </a:lnTo>
                  <a:lnTo>
                    <a:pt x="489" y="3468"/>
                  </a:lnTo>
                  <a:lnTo>
                    <a:pt x="501" y="3469"/>
                  </a:lnTo>
                  <a:lnTo>
                    <a:pt x="514" y="3467"/>
                  </a:lnTo>
                  <a:lnTo>
                    <a:pt x="528" y="3464"/>
                  </a:lnTo>
                  <a:lnTo>
                    <a:pt x="542" y="3458"/>
                  </a:lnTo>
                  <a:lnTo>
                    <a:pt x="558" y="3450"/>
                  </a:lnTo>
                  <a:lnTo>
                    <a:pt x="575" y="3437"/>
                  </a:lnTo>
                  <a:lnTo>
                    <a:pt x="575" y="3437"/>
                  </a:lnTo>
                  <a:lnTo>
                    <a:pt x="588" y="3428"/>
                  </a:lnTo>
                  <a:lnTo>
                    <a:pt x="600" y="3417"/>
                  </a:lnTo>
                  <a:lnTo>
                    <a:pt x="614" y="3405"/>
                  </a:lnTo>
                  <a:lnTo>
                    <a:pt x="630" y="3392"/>
                  </a:lnTo>
                  <a:lnTo>
                    <a:pt x="651" y="3380"/>
                  </a:lnTo>
                  <a:lnTo>
                    <a:pt x="664" y="3373"/>
                  </a:lnTo>
                  <a:lnTo>
                    <a:pt x="678" y="3367"/>
                  </a:lnTo>
                  <a:lnTo>
                    <a:pt x="693" y="3360"/>
                  </a:lnTo>
                  <a:lnTo>
                    <a:pt x="712" y="3354"/>
                  </a:lnTo>
                  <a:lnTo>
                    <a:pt x="732" y="3346"/>
                  </a:lnTo>
                  <a:lnTo>
                    <a:pt x="754" y="3339"/>
                  </a:lnTo>
                  <a:lnTo>
                    <a:pt x="754" y="3339"/>
                  </a:lnTo>
                  <a:lnTo>
                    <a:pt x="756" y="3339"/>
                  </a:lnTo>
                  <a:lnTo>
                    <a:pt x="757" y="3340"/>
                  </a:lnTo>
                  <a:lnTo>
                    <a:pt x="760" y="3345"/>
                  </a:lnTo>
                  <a:lnTo>
                    <a:pt x="762" y="3354"/>
                  </a:lnTo>
                  <a:lnTo>
                    <a:pt x="765" y="3363"/>
                  </a:lnTo>
                  <a:lnTo>
                    <a:pt x="768" y="3375"/>
                  </a:lnTo>
                  <a:lnTo>
                    <a:pt x="772" y="3387"/>
                  </a:lnTo>
                  <a:lnTo>
                    <a:pt x="777" y="3400"/>
                  </a:lnTo>
                  <a:lnTo>
                    <a:pt x="783" y="3412"/>
                  </a:lnTo>
                  <a:lnTo>
                    <a:pt x="783" y="3412"/>
                  </a:lnTo>
                  <a:lnTo>
                    <a:pt x="786" y="3415"/>
                  </a:lnTo>
                  <a:lnTo>
                    <a:pt x="789" y="3417"/>
                  </a:lnTo>
                  <a:lnTo>
                    <a:pt x="797" y="3422"/>
                  </a:lnTo>
                  <a:lnTo>
                    <a:pt x="805" y="3425"/>
                  </a:lnTo>
                  <a:lnTo>
                    <a:pt x="813" y="3429"/>
                  </a:lnTo>
                  <a:lnTo>
                    <a:pt x="821" y="3432"/>
                  </a:lnTo>
                  <a:lnTo>
                    <a:pt x="827" y="3435"/>
                  </a:lnTo>
                  <a:lnTo>
                    <a:pt x="830" y="3437"/>
                  </a:lnTo>
                  <a:lnTo>
                    <a:pt x="831" y="3439"/>
                  </a:lnTo>
                  <a:lnTo>
                    <a:pt x="833" y="3443"/>
                  </a:lnTo>
                  <a:lnTo>
                    <a:pt x="833" y="3446"/>
                  </a:lnTo>
                  <a:lnTo>
                    <a:pt x="833" y="3446"/>
                  </a:lnTo>
                  <a:lnTo>
                    <a:pt x="832" y="3456"/>
                  </a:lnTo>
                  <a:lnTo>
                    <a:pt x="830" y="3467"/>
                  </a:lnTo>
                  <a:lnTo>
                    <a:pt x="826" y="3477"/>
                  </a:lnTo>
                  <a:lnTo>
                    <a:pt x="822" y="3486"/>
                  </a:lnTo>
                  <a:lnTo>
                    <a:pt x="817" y="3496"/>
                  </a:lnTo>
                  <a:lnTo>
                    <a:pt x="811" y="3505"/>
                  </a:lnTo>
                  <a:lnTo>
                    <a:pt x="798" y="3521"/>
                  </a:lnTo>
                  <a:lnTo>
                    <a:pt x="784" y="3535"/>
                  </a:lnTo>
                  <a:lnTo>
                    <a:pt x="773" y="3546"/>
                  </a:lnTo>
                  <a:lnTo>
                    <a:pt x="765" y="3552"/>
                  </a:lnTo>
                  <a:lnTo>
                    <a:pt x="763" y="3555"/>
                  </a:lnTo>
                  <a:lnTo>
                    <a:pt x="763" y="3555"/>
                  </a:lnTo>
                  <a:lnTo>
                    <a:pt x="767" y="3558"/>
                  </a:lnTo>
                  <a:lnTo>
                    <a:pt x="778" y="3561"/>
                  </a:lnTo>
                  <a:lnTo>
                    <a:pt x="785" y="3562"/>
                  </a:lnTo>
                  <a:lnTo>
                    <a:pt x="794" y="3563"/>
                  </a:lnTo>
                  <a:lnTo>
                    <a:pt x="804" y="3563"/>
                  </a:lnTo>
                  <a:lnTo>
                    <a:pt x="815" y="3561"/>
                  </a:lnTo>
                  <a:lnTo>
                    <a:pt x="826" y="3558"/>
                  </a:lnTo>
                  <a:lnTo>
                    <a:pt x="839" y="3553"/>
                  </a:lnTo>
                  <a:lnTo>
                    <a:pt x="852" y="3546"/>
                  </a:lnTo>
                  <a:lnTo>
                    <a:pt x="865" y="3536"/>
                  </a:lnTo>
                  <a:lnTo>
                    <a:pt x="879" y="3522"/>
                  </a:lnTo>
                  <a:lnTo>
                    <a:pt x="894" y="3506"/>
                  </a:lnTo>
                  <a:lnTo>
                    <a:pt x="907" y="3486"/>
                  </a:lnTo>
                  <a:lnTo>
                    <a:pt x="921" y="3463"/>
                  </a:lnTo>
                  <a:lnTo>
                    <a:pt x="921" y="3463"/>
                  </a:lnTo>
                  <a:lnTo>
                    <a:pt x="924" y="3459"/>
                  </a:lnTo>
                  <a:lnTo>
                    <a:pt x="927" y="3455"/>
                  </a:lnTo>
                  <a:lnTo>
                    <a:pt x="930" y="3453"/>
                  </a:lnTo>
                  <a:lnTo>
                    <a:pt x="935" y="3451"/>
                  </a:lnTo>
                  <a:lnTo>
                    <a:pt x="939" y="3450"/>
                  </a:lnTo>
                  <a:lnTo>
                    <a:pt x="943" y="3450"/>
                  </a:lnTo>
                  <a:lnTo>
                    <a:pt x="951" y="3450"/>
                  </a:lnTo>
                  <a:lnTo>
                    <a:pt x="970" y="3452"/>
                  </a:lnTo>
                  <a:lnTo>
                    <a:pt x="982" y="3452"/>
                  </a:lnTo>
                  <a:lnTo>
                    <a:pt x="987" y="3451"/>
                  </a:lnTo>
                  <a:lnTo>
                    <a:pt x="992" y="3450"/>
                  </a:lnTo>
                  <a:lnTo>
                    <a:pt x="992" y="3450"/>
                  </a:lnTo>
                  <a:lnTo>
                    <a:pt x="1010" y="3444"/>
                  </a:lnTo>
                  <a:lnTo>
                    <a:pt x="1017" y="3439"/>
                  </a:lnTo>
                  <a:lnTo>
                    <a:pt x="1024" y="3435"/>
                  </a:lnTo>
                  <a:lnTo>
                    <a:pt x="1029" y="3432"/>
                  </a:lnTo>
                  <a:lnTo>
                    <a:pt x="1033" y="3428"/>
                  </a:lnTo>
                  <a:lnTo>
                    <a:pt x="1036" y="3424"/>
                  </a:lnTo>
                  <a:lnTo>
                    <a:pt x="1039" y="3419"/>
                  </a:lnTo>
                  <a:lnTo>
                    <a:pt x="1041" y="3415"/>
                  </a:lnTo>
                  <a:lnTo>
                    <a:pt x="1042" y="3410"/>
                  </a:lnTo>
                  <a:lnTo>
                    <a:pt x="1043" y="3401"/>
                  </a:lnTo>
                  <a:lnTo>
                    <a:pt x="1042" y="3390"/>
                  </a:lnTo>
                  <a:lnTo>
                    <a:pt x="1040" y="3380"/>
                  </a:lnTo>
                  <a:lnTo>
                    <a:pt x="1035" y="3358"/>
                  </a:lnTo>
                  <a:lnTo>
                    <a:pt x="1034" y="3347"/>
                  </a:lnTo>
                  <a:lnTo>
                    <a:pt x="1033" y="3335"/>
                  </a:lnTo>
                  <a:lnTo>
                    <a:pt x="1034" y="3324"/>
                  </a:lnTo>
                  <a:lnTo>
                    <a:pt x="1036" y="3319"/>
                  </a:lnTo>
                  <a:lnTo>
                    <a:pt x="1038" y="3313"/>
                  </a:lnTo>
                  <a:lnTo>
                    <a:pt x="1040" y="3308"/>
                  </a:lnTo>
                  <a:lnTo>
                    <a:pt x="1044" y="3302"/>
                  </a:lnTo>
                  <a:lnTo>
                    <a:pt x="1048" y="3296"/>
                  </a:lnTo>
                  <a:lnTo>
                    <a:pt x="1054" y="3291"/>
                  </a:lnTo>
                  <a:lnTo>
                    <a:pt x="1054" y="3291"/>
                  </a:lnTo>
                  <a:lnTo>
                    <a:pt x="1069" y="3278"/>
                  </a:lnTo>
                  <a:lnTo>
                    <a:pt x="1084" y="3265"/>
                  </a:lnTo>
                  <a:lnTo>
                    <a:pt x="1099" y="3253"/>
                  </a:lnTo>
                  <a:lnTo>
                    <a:pt x="1115" y="3241"/>
                  </a:lnTo>
                  <a:lnTo>
                    <a:pt x="1146" y="3221"/>
                  </a:lnTo>
                  <a:lnTo>
                    <a:pt x="1178" y="3202"/>
                  </a:lnTo>
                  <a:lnTo>
                    <a:pt x="1210" y="3186"/>
                  </a:lnTo>
                  <a:lnTo>
                    <a:pt x="1241" y="3171"/>
                  </a:lnTo>
                  <a:lnTo>
                    <a:pt x="1273" y="3156"/>
                  </a:lnTo>
                  <a:lnTo>
                    <a:pt x="1304" y="3144"/>
                  </a:lnTo>
                  <a:lnTo>
                    <a:pt x="1304" y="3144"/>
                  </a:lnTo>
                  <a:lnTo>
                    <a:pt x="1303" y="3148"/>
                  </a:lnTo>
                  <a:lnTo>
                    <a:pt x="1299" y="3160"/>
                  </a:lnTo>
                  <a:lnTo>
                    <a:pt x="1294" y="3180"/>
                  </a:lnTo>
                  <a:lnTo>
                    <a:pt x="1291" y="3203"/>
                  </a:lnTo>
                  <a:lnTo>
                    <a:pt x="1290" y="3218"/>
                  </a:lnTo>
                  <a:lnTo>
                    <a:pt x="1290" y="3232"/>
                  </a:lnTo>
                  <a:lnTo>
                    <a:pt x="1291" y="3247"/>
                  </a:lnTo>
                  <a:lnTo>
                    <a:pt x="1292" y="3264"/>
                  </a:lnTo>
                  <a:lnTo>
                    <a:pt x="1296" y="3280"/>
                  </a:lnTo>
                  <a:lnTo>
                    <a:pt x="1301" y="3296"/>
                  </a:lnTo>
                  <a:lnTo>
                    <a:pt x="1306" y="3314"/>
                  </a:lnTo>
                  <a:lnTo>
                    <a:pt x="1314" y="3331"/>
                  </a:lnTo>
                  <a:lnTo>
                    <a:pt x="1640" y="3247"/>
                  </a:lnTo>
                  <a:lnTo>
                    <a:pt x="1640" y="3247"/>
                  </a:lnTo>
                  <a:lnTo>
                    <a:pt x="1634" y="3231"/>
                  </a:lnTo>
                  <a:lnTo>
                    <a:pt x="1631" y="3215"/>
                  </a:lnTo>
                  <a:lnTo>
                    <a:pt x="1629" y="3197"/>
                  </a:lnTo>
                  <a:lnTo>
                    <a:pt x="1629" y="3180"/>
                  </a:lnTo>
                  <a:lnTo>
                    <a:pt x="1631" y="3162"/>
                  </a:lnTo>
                  <a:lnTo>
                    <a:pt x="1634" y="3145"/>
                  </a:lnTo>
                  <a:lnTo>
                    <a:pt x="1638" y="3128"/>
                  </a:lnTo>
                  <a:lnTo>
                    <a:pt x="1644" y="3109"/>
                  </a:lnTo>
                  <a:lnTo>
                    <a:pt x="1651" y="3092"/>
                  </a:lnTo>
                  <a:lnTo>
                    <a:pt x="1660" y="3073"/>
                  </a:lnTo>
                  <a:lnTo>
                    <a:pt x="1669" y="3056"/>
                  </a:lnTo>
                  <a:lnTo>
                    <a:pt x="1679" y="3039"/>
                  </a:lnTo>
                  <a:lnTo>
                    <a:pt x="1689" y="3021"/>
                  </a:lnTo>
                  <a:lnTo>
                    <a:pt x="1701" y="3004"/>
                  </a:lnTo>
                  <a:lnTo>
                    <a:pt x="1725" y="2972"/>
                  </a:lnTo>
                  <a:lnTo>
                    <a:pt x="1725" y="2972"/>
                  </a:lnTo>
                  <a:lnTo>
                    <a:pt x="1726" y="2971"/>
                  </a:lnTo>
                  <a:lnTo>
                    <a:pt x="1727" y="2971"/>
                  </a:lnTo>
                  <a:lnTo>
                    <a:pt x="1728" y="2975"/>
                  </a:lnTo>
                  <a:lnTo>
                    <a:pt x="1725" y="2997"/>
                  </a:lnTo>
                  <a:lnTo>
                    <a:pt x="1721" y="3030"/>
                  </a:lnTo>
                  <a:lnTo>
                    <a:pt x="1715" y="3072"/>
                  </a:lnTo>
                  <a:lnTo>
                    <a:pt x="1713" y="3095"/>
                  </a:lnTo>
                  <a:lnTo>
                    <a:pt x="1711" y="3118"/>
                  </a:lnTo>
                  <a:lnTo>
                    <a:pt x="1711" y="3140"/>
                  </a:lnTo>
                  <a:lnTo>
                    <a:pt x="1711" y="3161"/>
                  </a:lnTo>
                  <a:lnTo>
                    <a:pt x="1713" y="3181"/>
                  </a:lnTo>
                  <a:lnTo>
                    <a:pt x="1716" y="3198"/>
                  </a:lnTo>
                  <a:lnTo>
                    <a:pt x="1719" y="3206"/>
                  </a:lnTo>
                  <a:lnTo>
                    <a:pt x="1722" y="3213"/>
                  </a:lnTo>
                  <a:lnTo>
                    <a:pt x="1726" y="3219"/>
                  </a:lnTo>
                  <a:lnTo>
                    <a:pt x="1730" y="3224"/>
                  </a:lnTo>
                  <a:lnTo>
                    <a:pt x="2050" y="3141"/>
                  </a:lnTo>
                  <a:lnTo>
                    <a:pt x="2050" y="3141"/>
                  </a:lnTo>
                  <a:lnTo>
                    <a:pt x="2046" y="3131"/>
                  </a:lnTo>
                  <a:lnTo>
                    <a:pt x="2043" y="3119"/>
                  </a:lnTo>
                  <a:lnTo>
                    <a:pt x="2041" y="3108"/>
                  </a:lnTo>
                  <a:lnTo>
                    <a:pt x="2039" y="3096"/>
                  </a:lnTo>
                  <a:lnTo>
                    <a:pt x="2038" y="3084"/>
                  </a:lnTo>
                  <a:lnTo>
                    <a:pt x="2038" y="3071"/>
                  </a:lnTo>
                  <a:lnTo>
                    <a:pt x="2039" y="3045"/>
                  </a:lnTo>
                  <a:lnTo>
                    <a:pt x="2043" y="3018"/>
                  </a:lnTo>
                  <a:lnTo>
                    <a:pt x="2048" y="2992"/>
                  </a:lnTo>
                  <a:lnTo>
                    <a:pt x="2055" y="2965"/>
                  </a:lnTo>
                  <a:lnTo>
                    <a:pt x="2064" y="2941"/>
                  </a:lnTo>
                  <a:lnTo>
                    <a:pt x="2064" y="2941"/>
                  </a:lnTo>
                  <a:lnTo>
                    <a:pt x="2072" y="2968"/>
                  </a:lnTo>
                  <a:lnTo>
                    <a:pt x="2079" y="2997"/>
                  </a:lnTo>
                  <a:lnTo>
                    <a:pt x="2088" y="3024"/>
                  </a:lnTo>
                  <a:lnTo>
                    <a:pt x="2098" y="3052"/>
                  </a:lnTo>
                  <a:lnTo>
                    <a:pt x="2108" y="3079"/>
                  </a:lnTo>
                  <a:lnTo>
                    <a:pt x="2121" y="3105"/>
                  </a:lnTo>
                  <a:lnTo>
                    <a:pt x="2135" y="3131"/>
                  </a:lnTo>
                  <a:lnTo>
                    <a:pt x="2149" y="3156"/>
                  </a:lnTo>
                  <a:lnTo>
                    <a:pt x="2166" y="3181"/>
                  </a:lnTo>
                  <a:lnTo>
                    <a:pt x="2183" y="3203"/>
                  </a:lnTo>
                  <a:lnTo>
                    <a:pt x="2201" y="3225"/>
                  </a:lnTo>
                  <a:lnTo>
                    <a:pt x="2222" y="3245"/>
                  </a:lnTo>
                  <a:lnTo>
                    <a:pt x="2244" y="3265"/>
                  </a:lnTo>
                  <a:lnTo>
                    <a:pt x="2268" y="3281"/>
                  </a:lnTo>
                  <a:lnTo>
                    <a:pt x="2280" y="3289"/>
                  </a:lnTo>
                  <a:lnTo>
                    <a:pt x="2292" y="3296"/>
                  </a:lnTo>
                  <a:lnTo>
                    <a:pt x="2306" y="3303"/>
                  </a:lnTo>
                  <a:lnTo>
                    <a:pt x="2320" y="3310"/>
                  </a:lnTo>
                  <a:lnTo>
                    <a:pt x="2320" y="3310"/>
                  </a:lnTo>
                  <a:lnTo>
                    <a:pt x="2365" y="3329"/>
                  </a:lnTo>
                  <a:lnTo>
                    <a:pt x="2410" y="3347"/>
                  </a:lnTo>
                  <a:lnTo>
                    <a:pt x="2454" y="3364"/>
                  </a:lnTo>
                  <a:lnTo>
                    <a:pt x="2499" y="3380"/>
                  </a:lnTo>
                  <a:lnTo>
                    <a:pt x="2544" y="3395"/>
                  </a:lnTo>
                  <a:lnTo>
                    <a:pt x="2589" y="3411"/>
                  </a:lnTo>
                  <a:lnTo>
                    <a:pt x="2683" y="3440"/>
                  </a:lnTo>
                  <a:lnTo>
                    <a:pt x="2782" y="3469"/>
                  </a:lnTo>
                  <a:lnTo>
                    <a:pt x="2889" y="3500"/>
                  </a:lnTo>
                  <a:lnTo>
                    <a:pt x="3005" y="3534"/>
                  </a:lnTo>
                  <a:lnTo>
                    <a:pt x="3133" y="3570"/>
                  </a:lnTo>
                  <a:lnTo>
                    <a:pt x="3133" y="3570"/>
                  </a:lnTo>
                  <a:lnTo>
                    <a:pt x="3205" y="3593"/>
                  </a:lnTo>
                  <a:lnTo>
                    <a:pt x="3273" y="3616"/>
                  </a:lnTo>
                  <a:lnTo>
                    <a:pt x="3305" y="3628"/>
                  </a:lnTo>
                  <a:lnTo>
                    <a:pt x="3333" y="3639"/>
                  </a:lnTo>
                  <a:lnTo>
                    <a:pt x="3358" y="3649"/>
                  </a:lnTo>
                  <a:lnTo>
                    <a:pt x="3377" y="3658"/>
                  </a:lnTo>
                  <a:lnTo>
                    <a:pt x="3377" y="3658"/>
                  </a:lnTo>
                  <a:lnTo>
                    <a:pt x="3383" y="3661"/>
                  </a:lnTo>
                  <a:lnTo>
                    <a:pt x="3389" y="3665"/>
                  </a:lnTo>
                  <a:lnTo>
                    <a:pt x="3393" y="3668"/>
                  </a:lnTo>
                  <a:lnTo>
                    <a:pt x="3397" y="3673"/>
                  </a:lnTo>
                  <a:lnTo>
                    <a:pt x="3399" y="3677"/>
                  </a:lnTo>
                  <a:lnTo>
                    <a:pt x="3401" y="3682"/>
                  </a:lnTo>
                  <a:lnTo>
                    <a:pt x="3402" y="3686"/>
                  </a:lnTo>
                  <a:lnTo>
                    <a:pt x="3402" y="3690"/>
                  </a:lnTo>
                  <a:lnTo>
                    <a:pt x="3401" y="3699"/>
                  </a:lnTo>
                  <a:lnTo>
                    <a:pt x="3397" y="3708"/>
                  </a:lnTo>
                  <a:lnTo>
                    <a:pt x="3392" y="3717"/>
                  </a:lnTo>
                  <a:lnTo>
                    <a:pt x="3386" y="3726"/>
                  </a:lnTo>
                  <a:lnTo>
                    <a:pt x="3378" y="3734"/>
                  </a:lnTo>
                  <a:lnTo>
                    <a:pt x="3371" y="3742"/>
                  </a:lnTo>
                  <a:lnTo>
                    <a:pt x="3357" y="3754"/>
                  </a:lnTo>
                  <a:lnTo>
                    <a:pt x="3346" y="3764"/>
                  </a:lnTo>
                  <a:lnTo>
                    <a:pt x="3341" y="3767"/>
                  </a:lnTo>
                  <a:lnTo>
                    <a:pt x="3341" y="3767"/>
                  </a:lnTo>
                  <a:lnTo>
                    <a:pt x="3355" y="3775"/>
                  </a:lnTo>
                  <a:lnTo>
                    <a:pt x="3371" y="3783"/>
                  </a:lnTo>
                  <a:lnTo>
                    <a:pt x="3411" y="3801"/>
                  </a:lnTo>
                  <a:lnTo>
                    <a:pt x="3435" y="3814"/>
                  </a:lnTo>
                  <a:lnTo>
                    <a:pt x="3461" y="3829"/>
                  </a:lnTo>
                  <a:lnTo>
                    <a:pt x="3492" y="3848"/>
                  </a:lnTo>
                  <a:lnTo>
                    <a:pt x="3527" y="3873"/>
                  </a:lnTo>
                  <a:lnTo>
                    <a:pt x="3527" y="3873"/>
                  </a:lnTo>
                  <a:lnTo>
                    <a:pt x="3545" y="3888"/>
                  </a:lnTo>
                  <a:lnTo>
                    <a:pt x="3563" y="3906"/>
                  </a:lnTo>
                  <a:lnTo>
                    <a:pt x="3580" y="3925"/>
                  </a:lnTo>
                  <a:lnTo>
                    <a:pt x="3595" y="3946"/>
                  </a:lnTo>
                  <a:lnTo>
                    <a:pt x="3608" y="3967"/>
                  </a:lnTo>
                  <a:lnTo>
                    <a:pt x="3622" y="3991"/>
                  </a:lnTo>
                  <a:lnTo>
                    <a:pt x="3634" y="4014"/>
                  </a:lnTo>
                  <a:lnTo>
                    <a:pt x="3645" y="4040"/>
                  </a:lnTo>
                  <a:lnTo>
                    <a:pt x="3655" y="4066"/>
                  </a:lnTo>
                  <a:lnTo>
                    <a:pt x="3665" y="4094"/>
                  </a:lnTo>
                  <a:lnTo>
                    <a:pt x="3674" y="4122"/>
                  </a:lnTo>
                  <a:lnTo>
                    <a:pt x="3682" y="4151"/>
                  </a:lnTo>
                  <a:lnTo>
                    <a:pt x="3698" y="4211"/>
                  </a:lnTo>
                  <a:lnTo>
                    <a:pt x="3714" y="4274"/>
                  </a:lnTo>
                  <a:lnTo>
                    <a:pt x="3714" y="4274"/>
                  </a:lnTo>
                  <a:lnTo>
                    <a:pt x="3725" y="4324"/>
                  </a:lnTo>
                  <a:lnTo>
                    <a:pt x="3734" y="4377"/>
                  </a:lnTo>
                  <a:lnTo>
                    <a:pt x="3742" y="4430"/>
                  </a:lnTo>
                  <a:lnTo>
                    <a:pt x="3744" y="4457"/>
                  </a:lnTo>
                  <a:lnTo>
                    <a:pt x="3746" y="4481"/>
                  </a:lnTo>
                  <a:lnTo>
                    <a:pt x="3748" y="4506"/>
                  </a:lnTo>
                  <a:lnTo>
                    <a:pt x="3749" y="4529"/>
                  </a:lnTo>
                  <a:lnTo>
                    <a:pt x="3748" y="4551"/>
                  </a:lnTo>
                  <a:lnTo>
                    <a:pt x="3745" y="4571"/>
                  </a:lnTo>
                  <a:lnTo>
                    <a:pt x="3742" y="4590"/>
                  </a:lnTo>
                  <a:lnTo>
                    <a:pt x="3737" y="4606"/>
                  </a:lnTo>
                  <a:lnTo>
                    <a:pt x="3731" y="4619"/>
                  </a:lnTo>
                  <a:lnTo>
                    <a:pt x="3728" y="4625"/>
                  </a:lnTo>
                  <a:lnTo>
                    <a:pt x="3724" y="4631"/>
                  </a:lnTo>
                  <a:lnTo>
                    <a:pt x="3724" y="4631"/>
                  </a:lnTo>
                  <a:lnTo>
                    <a:pt x="3715" y="4641"/>
                  </a:lnTo>
                  <a:lnTo>
                    <a:pt x="3705" y="4651"/>
                  </a:lnTo>
                  <a:lnTo>
                    <a:pt x="3691" y="4660"/>
                  </a:lnTo>
                  <a:lnTo>
                    <a:pt x="3683" y="4665"/>
                  </a:lnTo>
                  <a:lnTo>
                    <a:pt x="3673" y="4670"/>
                  </a:lnTo>
                  <a:lnTo>
                    <a:pt x="3663" y="4676"/>
                  </a:lnTo>
                  <a:lnTo>
                    <a:pt x="3650" y="4681"/>
                  </a:lnTo>
                  <a:lnTo>
                    <a:pt x="3621" y="4690"/>
                  </a:lnTo>
                  <a:lnTo>
                    <a:pt x="3582" y="4700"/>
                  </a:lnTo>
                  <a:lnTo>
                    <a:pt x="3535" y="4710"/>
                  </a:lnTo>
                  <a:lnTo>
                    <a:pt x="3560" y="4833"/>
                  </a:lnTo>
                  <a:lnTo>
                    <a:pt x="3560" y="4833"/>
                  </a:lnTo>
                  <a:lnTo>
                    <a:pt x="3579" y="4834"/>
                  </a:lnTo>
                  <a:lnTo>
                    <a:pt x="3597" y="4834"/>
                  </a:lnTo>
                  <a:lnTo>
                    <a:pt x="3615" y="4833"/>
                  </a:lnTo>
                  <a:lnTo>
                    <a:pt x="3631" y="4831"/>
                  </a:lnTo>
                  <a:lnTo>
                    <a:pt x="3646" y="4829"/>
                  </a:lnTo>
                  <a:lnTo>
                    <a:pt x="3662" y="4826"/>
                  </a:lnTo>
                  <a:lnTo>
                    <a:pt x="3688" y="4819"/>
                  </a:lnTo>
                  <a:lnTo>
                    <a:pt x="3711" y="4812"/>
                  </a:lnTo>
                  <a:lnTo>
                    <a:pt x="3728" y="4805"/>
                  </a:lnTo>
                  <a:lnTo>
                    <a:pt x="3742" y="4799"/>
                  </a:lnTo>
                  <a:lnTo>
                    <a:pt x="3742" y="4799"/>
                  </a:lnTo>
                  <a:lnTo>
                    <a:pt x="3736" y="4805"/>
                  </a:lnTo>
                  <a:lnTo>
                    <a:pt x="3730" y="4813"/>
                  </a:lnTo>
                  <a:lnTo>
                    <a:pt x="3722" y="4823"/>
                  </a:lnTo>
                  <a:lnTo>
                    <a:pt x="3722" y="4823"/>
                  </a:lnTo>
                  <a:lnTo>
                    <a:pt x="3711" y="4839"/>
                  </a:lnTo>
                  <a:lnTo>
                    <a:pt x="3700" y="4856"/>
                  </a:lnTo>
                  <a:lnTo>
                    <a:pt x="3692" y="4871"/>
                  </a:lnTo>
                  <a:lnTo>
                    <a:pt x="3685" y="4886"/>
                  </a:lnTo>
                  <a:lnTo>
                    <a:pt x="3680" y="4902"/>
                  </a:lnTo>
                  <a:lnTo>
                    <a:pt x="3675" y="4919"/>
                  </a:lnTo>
                  <a:lnTo>
                    <a:pt x="3672" y="4936"/>
                  </a:lnTo>
                  <a:lnTo>
                    <a:pt x="3669" y="4957"/>
                  </a:lnTo>
                  <a:lnTo>
                    <a:pt x="3799" y="5041"/>
                  </a:lnTo>
                  <a:lnTo>
                    <a:pt x="3799" y="5041"/>
                  </a:lnTo>
                  <a:lnTo>
                    <a:pt x="3812" y="5000"/>
                  </a:lnTo>
                  <a:lnTo>
                    <a:pt x="3826" y="4960"/>
                  </a:lnTo>
                  <a:lnTo>
                    <a:pt x="3841" y="4924"/>
                  </a:lnTo>
                  <a:lnTo>
                    <a:pt x="3855" y="4891"/>
                  </a:lnTo>
                  <a:lnTo>
                    <a:pt x="3870" y="4864"/>
                  </a:lnTo>
                  <a:lnTo>
                    <a:pt x="3877" y="4851"/>
                  </a:lnTo>
                  <a:lnTo>
                    <a:pt x="3885" y="4841"/>
                  </a:lnTo>
                  <a:lnTo>
                    <a:pt x="3892" y="4832"/>
                  </a:lnTo>
                  <a:lnTo>
                    <a:pt x="3899" y="4825"/>
                  </a:lnTo>
                  <a:lnTo>
                    <a:pt x="3906" y="4820"/>
                  </a:lnTo>
                  <a:lnTo>
                    <a:pt x="3913" y="4816"/>
                  </a:lnTo>
                  <a:lnTo>
                    <a:pt x="3913" y="4816"/>
                  </a:lnTo>
                  <a:lnTo>
                    <a:pt x="3919" y="4814"/>
                  </a:lnTo>
                  <a:lnTo>
                    <a:pt x="3926" y="4814"/>
                  </a:lnTo>
                  <a:lnTo>
                    <a:pt x="3935" y="4814"/>
                  </a:lnTo>
                  <a:lnTo>
                    <a:pt x="3944" y="4815"/>
                  </a:lnTo>
                  <a:lnTo>
                    <a:pt x="3954" y="4817"/>
                  </a:lnTo>
                  <a:lnTo>
                    <a:pt x="3965" y="4819"/>
                  </a:lnTo>
                  <a:lnTo>
                    <a:pt x="3990" y="4828"/>
                  </a:lnTo>
                  <a:lnTo>
                    <a:pt x="4017" y="4839"/>
                  </a:lnTo>
                  <a:lnTo>
                    <a:pt x="4047" y="4854"/>
                  </a:lnTo>
                  <a:lnTo>
                    <a:pt x="4078" y="4874"/>
                  </a:lnTo>
                  <a:lnTo>
                    <a:pt x="4110" y="4895"/>
                  </a:lnTo>
                  <a:lnTo>
                    <a:pt x="4127" y="4908"/>
                  </a:lnTo>
                  <a:lnTo>
                    <a:pt x="4143" y="4921"/>
                  </a:lnTo>
                  <a:lnTo>
                    <a:pt x="4160" y="4935"/>
                  </a:lnTo>
                  <a:lnTo>
                    <a:pt x="4176" y="4950"/>
                  </a:lnTo>
                  <a:lnTo>
                    <a:pt x="4192" y="4965"/>
                  </a:lnTo>
                  <a:lnTo>
                    <a:pt x="4208" y="4981"/>
                  </a:lnTo>
                  <a:lnTo>
                    <a:pt x="4224" y="4999"/>
                  </a:lnTo>
                  <a:lnTo>
                    <a:pt x="4239" y="5017"/>
                  </a:lnTo>
                  <a:lnTo>
                    <a:pt x="4254" y="5035"/>
                  </a:lnTo>
                  <a:lnTo>
                    <a:pt x="4268" y="5055"/>
                  </a:lnTo>
                  <a:lnTo>
                    <a:pt x="4282" y="5075"/>
                  </a:lnTo>
                  <a:lnTo>
                    <a:pt x="4296" y="5097"/>
                  </a:lnTo>
                  <a:lnTo>
                    <a:pt x="4308" y="5118"/>
                  </a:lnTo>
                  <a:lnTo>
                    <a:pt x="4320" y="5141"/>
                  </a:lnTo>
                  <a:lnTo>
                    <a:pt x="4331" y="5164"/>
                  </a:lnTo>
                  <a:lnTo>
                    <a:pt x="4342" y="5189"/>
                  </a:lnTo>
                  <a:lnTo>
                    <a:pt x="4342" y="5189"/>
                  </a:lnTo>
                  <a:lnTo>
                    <a:pt x="4347" y="5203"/>
                  </a:lnTo>
                  <a:lnTo>
                    <a:pt x="4352" y="5220"/>
                  </a:lnTo>
                  <a:lnTo>
                    <a:pt x="4356" y="5236"/>
                  </a:lnTo>
                  <a:lnTo>
                    <a:pt x="4360" y="5253"/>
                  </a:lnTo>
                  <a:lnTo>
                    <a:pt x="4363" y="5272"/>
                  </a:lnTo>
                  <a:lnTo>
                    <a:pt x="4366" y="5290"/>
                  </a:lnTo>
                  <a:lnTo>
                    <a:pt x="4370" y="5329"/>
                  </a:lnTo>
                  <a:lnTo>
                    <a:pt x="4372" y="5368"/>
                  </a:lnTo>
                  <a:lnTo>
                    <a:pt x="4371" y="5409"/>
                  </a:lnTo>
                  <a:lnTo>
                    <a:pt x="4370" y="5429"/>
                  </a:lnTo>
                  <a:lnTo>
                    <a:pt x="4369" y="5449"/>
                  </a:lnTo>
                  <a:lnTo>
                    <a:pt x="4366" y="5469"/>
                  </a:lnTo>
                  <a:lnTo>
                    <a:pt x="4363" y="5488"/>
                  </a:lnTo>
                  <a:lnTo>
                    <a:pt x="4360" y="5508"/>
                  </a:lnTo>
                  <a:lnTo>
                    <a:pt x="4356" y="5526"/>
                  </a:lnTo>
                  <a:lnTo>
                    <a:pt x="4351" y="5545"/>
                  </a:lnTo>
                  <a:lnTo>
                    <a:pt x="4345" y="5562"/>
                  </a:lnTo>
                  <a:lnTo>
                    <a:pt x="4339" y="5579"/>
                  </a:lnTo>
                  <a:lnTo>
                    <a:pt x="4332" y="5595"/>
                  </a:lnTo>
                  <a:lnTo>
                    <a:pt x="4324" y="5610"/>
                  </a:lnTo>
                  <a:lnTo>
                    <a:pt x="4316" y="5624"/>
                  </a:lnTo>
                  <a:lnTo>
                    <a:pt x="4307" y="5638"/>
                  </a:lnTo>
                  <a:lnTo>
                    <a:pt x="4298" y="5650"/>
                  </a:lnTo>
                  <a:lnTo>
                    <a:pt x="4287" y="5661"/>
                  </a:lnTo>
                  <a:lnTo>
                    <a:pt x="4276" y="5670"/>
                  </a:lnTo>
                  <a:lnTo>
                    <a:pt x="4264" y="5679"/>
                  </a:lnTo>
                  <a:lnTo>
                    <a:pt x="4252" y="5686"/>
                  </a:lnTo>
                  <a:lnTo>
                    <a:pt x="4238" y="5691"/>
                  </a:lnTo>
                  <a:lnTo>
                    <a:pt x="4224" y="5694"/>
                  </a:lnTo>
                  <a:lnTo>
                    <a:pt x="4224" y="5694"/>
                  </a:lnTo>
                  <a:lnTo>
                    <a:pt x="4216" y="5695"/>
                  </a:lnTo>
                  <a:lnTo>
                    <a:pt x="4208" y="5695"/>
                  </a:lnTo>
                  <a:lnTo>
                    <a:pt x="4198" y="5694"/>
                  </a:lnTo>
                  <a:lnTo>
                    <a:pt x="4188" y="5692"/>
                  </a:lnTo>
                  <a:lnTo>
                    <a:pt x="4168" y="5687"/>
                  </a:lnTo>
                  <a:lnTo>
                    <a:pt x="4145" y="5679"/>
                  </a:lnTo>
                  <a:lnTo>
                    <a:pt x="4123" y="5668"/>
                  </a:lnTo>
                  <a:lnTo>
                    <a:pt x="4099" y="5657"/>
                  </a:lnTo>
                  <a:lnTo>
                    <a:pt x="4051" y="5635"/>
                  </a:lnTo>
                  <a:lnTo>
                    <a:pt x="4028" y="5623"/>
                  </a:lnTo>
                  <a:lnTo>
                    <a:pt x="4005" y="5614"/>
                  </a:lnTo>
                  <a:lnTo>
                    <a:pt x="3984" y="5607"/>
                  </a:lnTo>
                  <a:lnTo>
                    <a:pt x="3964" y="5602"/>
                  </a:lnTo>
                  <a:lnTo>
                    <a:pt x="3955" y="5601"/>
                  </a:lnTo>
                  <a:lnTo>
                    <a:pt x="3947" y="5600"/>
                  </a:lnTo>
                  <a:lnTo>
                    <a:pt x="3939" y="5601"/>
                  </a:lnTo>
                  <a:lnTo>
                    <a:pt x="3932" y="5602"/>
                  </a:lnTo>
                  <a:lnTo>
                    <a:pt x="3924" y="5605"/>
                  </a:lnTo>
                  <a:lnTo>
                    <a:pt x="3919" y="5609"/>
                  </a:lnTo>
                  <a:lnTo>
                    <a:pt x="3914" y="5614"/>
                  </a:lnTo>
                  <a:lnTo>
                    <a:pt x="3909" y="5620"/>
                  </a:lnTo>
                  <a:lnTo>
                    <a:pt x="3909" y="5620"/>
                  </a:lnTo>
                  <a:lnTo>
                    <a:pt x="3905" y="5627"/>
                  </a:lnTo>
                  <a:lnTo>
                    <a:pt x="3900" y="5635"/>
                  </a:lnTo>
                  <a:lnTo>
                    <a:pt x="3893" y="5641"/>
                  </a:lnTo>
                  <a:lnTo>
                    <a:pt x="3886" y="5647"/>
                  </a:lnTo>
                  <a:lnTo>
                    <a:pt x="3869" y="5658"/>
                  </a:lnTo>
                  <a:lnTo>
                    <a:pt x="3851" y="5668"/>
                  </a:lnTo>
                  <a:lnTo>
                    <a:pt x="3810" y="5690"/>
                  </a:lnTo>
                  <a:lnTo>
                    <a:pt x="3789" y="5701"/>
                  </a:lnTo>
                  <a:lnTo>
                    <a:pt x="3770" y="5714"/>
                  </a:lnTo>
                  <a:lnTo>
                    <a:pt x="3761" y="5720"/>
                  </a:lnTo>
                  <a:lnTo>
                    <a:pt x="3752" y="5729"/>
                  </a:lnTo>
                  <a:lnTo>
                    <a:pt x="3743" y="5736"/>
                  </a:lnTo>
                  <a:lnTo>
                    <a:pt x="3735" y="5745"/>
                  </a:lnTo>
                  <a:lnTo>
                    <a:pt x="3728" y="5754"/>
                  </a:lnTo>
                  <a:lnTo>
                    <a:pt x="3722" y="5764"/>
                  </a:lnTo>
                  <a:lnTo>
                    <a:pt x="3717" y="5775"/>
                  </a:lnTo>
                  <a:lnTo>
                    <a:pt x="3713" y="5787"/>
                  </a:lnTo>
                  <a:lnTo>
                    <a:pt x="3710" y="5799"/>
                  </a:lnTo>
                  <a:lnTo>
                    <a:pt x="3708" y="5813"/>
                  </a:lnTo>
                  <a:lnTo>
                    <a:pt x="3707" y="5827"/>
                  </a:lnTo>
                  <a:lnTo>
                    <a:pt x="3707" y="5843"/>
                  </a:lnTo>
                  <a:lnTo>
                    <a:pt x="3709" y="5860"/>
                  </a:lnTo>
                  <a:lnTo>
                    <a:pt x="3713" y="5877"/>
                  </a:lnTo>
                  <a:lnTo>
                    <a:pt x="3718" y="5896"/>
                  </a:lnTo>
                  <a:lnTo>
                    <a:pt x="3724" y="5917"/>
                  </a:lnTo>
                  <a:lnTo>
                    <a:pt x="3724" y="5917"/>
                  </a:lnTo>
                  <a:lnTo>
                    <a:pt x="3741" y="5896"/>
                  </a:lnTo>
                  <a:lnTo>
                    <a:pt x="3759" y="5875"/>
                  </a:lnTo>
                  <a:lnTo>
                    <a:pt x="3776" y="5856"/>
                  </a:lnTo>
                  <a:lnTo>
                    <a:pt x="3794" y="5840"/>
                  </a:lnTo>
                  <a:lnTo>
                    <a:pt x="3802" y="5833"/>
                  </a:lnTo>
                  <a:lnTo>
                    <a:pt x="3811" y="5827"/>
                  </a:lnTo>
                  <a:lnTo>
                    <a:pt x="3819" y="5821"/>
                  </a:lnTo>
                  <a:lnTo>
                    <a:pt x="3827" y="5817"/>
                  </a:lnTo>
                  <a:lnTo>
                    <a:pt x="3835" y="5815"/>
                  </a:lnTo>
                  <a:lnTo>
                    <a:pt x="3843" y="5813"/>
                  </a:lnTo>
                  <a:lnTo>
                    <a:pt x="3850" y="5813"/>
                  </a:lnTo>
                  <a:lnTo>
                    <a:pt x="3857" y="5815"/>
                  </a:lnTo>
                  <a:lnTo>
                    <a:pt x="3857" y="5815"/>
                  </a:lnTo>
                  <a:lnTo>
                    <a:pt x="3861" y="5817"/>
                  </a:lnTo>
                  <a:lnTo>
                    <a:pt x="3864" y="5819"/>
                  </a:lnTo>
                  <a:lnTo>
                    <a:pt x="3870" y="5825"/>
                  </a:lnTo>
                  <a:lnTo>
                    <a:pt x="3875" y="5833"/>
                  </a:lnTo>
                  <a:lnTo>
                    <a:pt x="3879" y="5841"/>
                  </a:lnTo>
                  <a:lnTo>
                    <a:pt x="3888" y="5862"/>
                  </a:lnTo>
                  <a:lnTo>
                    <a:pt x="3894" y="5872"/>
                  </a:lnTo>
                  <a:lnTo>
                    <a:pt x="3901" y="5882"/>
                  </a:lnTo>
                  <a:lnTo>
                    <a:pt x="3901" y="5882"/>
                  </a:lnTo>
                  <a:lnTo>
                    <a:pt x="3904" y="5885"/>
                  </a:lnTo>
                  <a:lnTo>
                    <a:pt x="3908" y="5887"/>
                  </a:lnTo>
                  <a:lnTo>
                    <a:pt x="3913" y="5889"/>
                  </a:lnTo>
                  <a:lnTo>
                    <a:pt x="3919" y="5890"/>
                  </a:lnTo>
                  <a:lnTo>
                    <a:pt x="3934" y="5892"/>
                  </a:lnTo>
                  <a:lnTo>
                    <a:pt x="3950" y="5892"/>
                  </a:lnTo>
                  <a:lnTo>
                    <a:pt x="3968" y="5891"/>
                  </a:lnTo>
                  <a:lnTo>
                    <a:pt x="3989" y="5889"/>
                  </a:lnTo>
                  <a:lnTo>
                    <a:pt x="4032" y="5885"/>
                  </a:lnTo>
                  <a:lnTo>
                    <a:pt x="4074" y="5881"/>
                  </a:lnTo>
                  <a:lnTo>
                    <a:pt x="4093" y="5879"/>
                  </a:lnTo>
                  <a:lnTo>
                    <a:pt x="4110" y="5879"/>
                  </a:lnTo>
                  <a:lnTo>
                    <a:pt x="4126" y="5879"/>
                  </a:lnTo>
                  <a:lnTo>
                    <a:pt x="4137" y="5881"/>
                  </a:lnTo>
                  <a:lnTo>
                    <a:pt x="4142" y="5883"/>
                  </a:lnTo>
                  <a:lnTo>
                    <a:pt x="4146" y="5885"/>
                  </a:lnTo>
                  <a:lnTo>
                    <a:pt x="4148" y="5887"/>
                  </a:lnTo>
                  <a:lnTo>
                    <a:pt x="4150" y="5890"/>
                  </a:lnTo>
                  <a:lnTo>
                    <a:pt x="4150" y="5890"/>
                  </a:lnTo>
                  <a:lnTo>
                    <a:pt x="4151" y="5893"/>
                  </a:lnTo>
                  <a:lnTo>
                    <a:pt x="4150" y="5896"/>
                  </a:lnTo>
                  <a:lnTo>
                    <a:pt x="4149" y="5898"/>
                  </a:lnTo>
                  <a:lnTo>
                    <a:pt x="4148" y="5900"/>
                  </a:lnTo>
                  <a:lnTo>
                    <a:pt x="4143" y="5904"/>
                  </a:lnTo>
                  <a:lnTo>
                    <a:pt x="4136" y="5905"/>
                  </a:lnTo>
                  <a:lnTo>
                    <a:pt x="4118" y="5908"/>
                  </a:lnTo>
                  <a:lnTo>
                    <a:pt x="4100" y="5910"/>
                  </a:lnTo>
                  <a:lnTo>
                    <a:pt x="4100" y="5910"/>
                  </a:lnTo>
                  <a:lnTo>
                    <a:pt x="4021" y="5924"/>
                  </a:lnTo>
                  <a:lnTo>
                    <a:pt x="3981" y="5931"/>
                  </a:lnTo>
                  <a:lnTo>
                    <a:pt x="3943" y="5939"/>
                  </a:lnTo>
                  <a:lnTo>
                    <a:pt x="3925" y="5944"/>
                  </a:lnTo>
                  <a:lnTo>
                    <a:pt x="3909" y="5950"/>
                  </a:lnTo>
                  <a:lnTo>
                    <a:pt x="3894" y="5956"/>
                  </a:lnTo>
                  <a:lnTo>
                    <a:pt x="3881" y="5962"/>
                  </a:lnTo>
                  <a:lnTo>
                    <a:pt x="3869" y="5968"/>
                  </a:lnTo>
                  <a:lnTo>
                    <a:pt x="3860" y="5976"/>
                  </a:lnTo>
                  <a:lnTo>
                    <a:pt x="3853" y="5984"/>
                  </a:lnTo>
                  <a:lnTo>
                    <a:pt x="3850" y="5988"/>
                  </a:lnTo>
                  <a:lnTo>
                    <a:pt x="3848" y="5993"/>
                  </a:lnTo>
                  <a:lnTo>
                    <a:pt x="3848" y="5993"/>
                  </a:lnTo>
                  <a:lnTo>
                    <a:pt x="3846" y="6000"/>
                  </a:lnTo>
                  <a:lnTo>
                    <a:pt x="3846" y="6004"/>
                  </a:lnTo>
                  <a:lnTo>
                    <a:pt x="3847" y="6014"/>
                  </a:lnTo>
                  <a:lnTo>
                    <a:pt x="3847" y="6019"/>
                  </a:lnTo>
                  <a:lnTo>
                    <a:pt x="3846" y="6025"/>
                  </a:lnTo>
                  <a:lnTo>
                    <a:pt x="3845" y="6033"/>
                  </a:lnTo>
                  <a:lnTo>
                    <a:pt x="3842" y="6044"/>
                  </a:lnTo>
                  <a:lnTo>
                    <a:pt x="3842" y="6044"/>
                  </a:lnTo>
                  <a:lnTo>
                    <a:pt x="3837" y="6055"/>
                  </a:lnTo>
                  <a:lnTo>
                    <a:pt x="3831" y="6064"/>
                  </a:lnTo>
                  <a:lnTo>
                    <a:pt x="3823" y="6072"/>
                  </a:lnTo>
                  <a:lnTo>
                    <a:pt x="3815" y="6080"/>
                  </a:lnTo>
                  <a:lnTo>
                    <a:pt x="3796" y="6096"/>
                  </a:lnTo>
                  <a:lnTo>
                    <a:pt x="3786" y="6104"/>
                  </a:lnTo>
                  <a:lnTo>
                    <a:pt x="3776" y="6113"/>
                  </a:lnTo>
                  <a:lnTo>
                    <a:pt x="3767" y="6122"/>
                  </a:lnTo>
                  <a:lnTo>
                    <a:pt x="3758" y="6134"/>
                  </a:lnTo>
                  <a:lnTo>
                    <a:pt x="3750" y="6147"/>
                  </a:lnTo>
                  <a:lnTo>
                    <a:pt x="3742" y="6161"/>
                  </a:lnTo>
                  <a:lnTo>
                    <a:pt x="3736" y="6179"/>
                  </a:lnTo>
                  <a:lnTo>
                    <a:pt x="3732" y="6198"/>
                  </a:lnTo>
                  <a:lnTo>
                    <a:pt x="3730" y="6220"/>
                  </a:lnTo>
                  <a:lnTo>
                    <a:pt x="3730" y="6246"/>
                  </a:lnTo>
                  <a:lnTo>
                    <a:pt x="3730" y="6246"/>
                  </a:lnTo>
                  <a:lnTo>
                    <a:pt x="3732" y="6259"/>
                  </a:lnTo>
                  <a:lnTo>
                    <a:pt x="3735" y="6272"/>
                  </a:lnTo>
                  <a:lnTo>
                    <a:pt x="3739" y="6284"/>
                  </a:lnTo>
                  <a:lnTo>
                    <a:pt x="3744" y="6296"/>
                  </a:lnTo>
                  <a:lnTo>
                    <a:pt x="3751" y="6306"/>
                  </a:lnTo>
                  <a:lnTo>
                    <a:pt x="3757" y="6318"/>
                  </a:lnTo>
                  <a:lnTo>
                    <a:pt x="3763" y="6327"/>
                  </a:lnTo>
                  <a:lnTo>
                    <a:pt x="3770" y="6336"/>
                  </a:lnTo>
                  <a:lnTo>
                    <a:pt x="3784" y="6351"/>
                  </a:lnTo>
                  <a:lnTo>
                    <a:pt x="3797" y="6363"/>
                  </a:lnTo>
                  <a:lnTo>
                    <a:pt x="3807" y="6370"/>
                  </a:lnTo>
                  <a:lnTo>
                    <a:pt x="3810" y="6372"/>
                  </a:lnTo>
                  <a:lnTo>
                    <a:pt x="3813" y="6373"/>
                  </a:lnTo>
                  <a:lnTo>
                    <a:pt x="3813" y="6373"/>
                  </a:lnTo>
                  <a:lnTo>
                    <a:pt x="3814" y="6372"/>
                  </a:lnTo>
                  <a:lnTo>
                    <a:pt x="3815" y="6371"/>
                  </a:lnTo>
                  <a:lnTo>
                    <a:pt x="3816" y="6366"/>
                  </a:lnTo>
                  <a:lnTo>
                    <a:pt x="3818" y="6358"/>
                  </a:lnTo>
                  <a:lnTo>
                    <a:pt x="3818" y="6348"/>
                  </a:lnTo>
                  <a:lnTo>
                    <a:pt x="3820" y="6324"/>
                  </a:lnTo>
                  <a:lnTo>
                    <a:pt x="3823" y="6295"/>
                  </a:lnTo>
                  <a:lnTo>
                    <a:pt x="3825" y="6281"/>
                  </a:lnTo>
                  <a:lnTo>
                    <a:pt x="3828" y="6265"/>
                  </a:lnTo>
                  <a:lnTo>
                    <a:pt x="3831" y="6252"/>
                  </a:lnTo>
                  <a:lnTo>
                    <a:pt x="3836" y="6239"/>
                  </a:lnTo>
                  <a:lnTo>
                    <a:pt x="3843" y="6228"/>
                  </a:lnTo>
                  <a:lnTo>
                    <a:pt x="3847" y="6224"/>
                  </a:lnTo>
                  <a:lnTo>
                    <a:pt x="3851" y="6218"/>
                  </a:lnTo>
                  <a:lnTo>
                    <a:pt x="3855" y="6215"/>
                  </a:lnTo>
                  <a:lnTo>
                    <a:pt x="3860" y="6212"/>
                  </a:lnTo>
                  <a:lnTo>
                    <a:pt x="3865" y="6209"/>
                  </a:lnTo>
                  <a:lnTo>
                    <a:pt x="3871" y="6208"/>
                  </a:lnTo>
                  <a:lnTo>
                    <a:pt x="3871" y="6208"/>
                  </a:lnTo>
                  <a:lnTo>
                    <a:pt x="3877" y="6207"/>
                  </a:lnTo>
                  <a:lnTo>
                    <a:pt x="3882" y="6208"/>
                  </a:lnTo>
                  <a:lnTo>
                    <a:pt x="3888" y="6210"/>
                  </a:lnTo>
                  <a:lnTo>
                    <a:pt x="3892" y="6214"/>
                  </a:lnTo>
                  <a:lnTo>
                    <a:pt x="3902" y="6223"/>
                  </a:lnTo>
                  <a:lnTo>
                    <a:pt x="3911" y="6233"/>
                  </a:lnTo>
                  <a:lnTo>
                    <a:pt x="3921" y="6243"/>
                  </a:lnTo>
                  <a:lnTo>
                    <a:pt x="3926" y="6248"/>
                  </a:lnTo>
                  <a:lnTo>
                    <a:pt x="3933" y="6252"/>
                  </a:lnTo>
                  <a:lnTo>
                    <a:pt x="3940" y="6256"/>
                  </a:lnTo>
                  <a:lnTo>
                    <a:pt x="3946" y="6259"/>
                  </a:lnTo>
                  <a:lnTo>
                    <a:pt x="3954" y="6260"/>
                  </a:lnTo>
                  <a:lnTo>
                    <a:pt x="3962" y="6261"/>
                  </a:lnTo>
                  <a:lnTo>
                    <a:pt x="3962" y="6261"/>
                  </a:lnTo>
                  <a:lnTo>
                    <a:pt x="3970" y="6260"/>
                  </a:lnTo>
                  <a:lnTo>
                    <a:pt x="3979" y="6257"/>
                  </a:lnTo>
                  <a:lnTo>
                    <a:pt x="3987" y="6254"/>
                  </a:lnTo>
                  <a:lnTo>
                    <a:pt x="3996" y="6250"/>
                  </a:lnTo>
                  <a:lnTo>
                    <a:pt x="4005" y="6244"/>
                  </a:lnTo>
                  <a:lnTo>
                    <a:pt x="4014" y="6238"/>
                  </a:lnTo>
                  <a:lnTo>
                    <a:pt x="4035" y="6221"/>
                  </a:lnTo>
                  <a:lnTo>
                    <a:pt x="4055" y="6204"/>
                  </a:lnTo>
                  <a:lnTo>
                    <a:pt x="4077" y="6184"/>
                  </a:lnTo>
                  <a:lnTo>
                    <a:pt x="4122" y="6141"/>
                  </a:lnTo>
                  <a:lnTo>
                    <a:pt x="4144" y="6119"/>
                  </a:lnTo>
                  <a:lnTo>
                    <a:pt x="4166" y="6099"/>
                  </a:lnTo>
                  <a:lnTo>
                    <a:pt x="4187" y="6079"/>
                  </a:lnTo>
                  <a:lnTo>
                    <a:pt x="4208" y="6064"/>
                  </a:lnTo>
                  <a:lnTo>
                    <a:pt x="4227" y="6051"/>
                  </a:lnTo>
                  <a:lnTo>
                    <a:pt x="4236" y="6046"/>
                  </a:lnTo>
                  <a:lnTo>
                    <a:pt x="4245" y="6042"/>
                  </a:lnTo>
                  <a:lnTo>
                    <a:pt x="4254" y="6038"/>
                  </a:lnTo>
                  <a:lnTo>
                    <a:pt x="4262" y="6036"/>
                  </a:lnTo>
                  <a:lnTo>
                    <a:pt x="4270" y="6036"/>
                  </a:lnTo>
                  <a:lnTo>
                    <a:pt x="4277" y="6037"/>
                  </a:lnTo>
                  <a:lnTo>
                    <a:pt x="4277" y="6037"/>
                  </a:lnTo>
                  <a:lnTo>
                    <a:pt x="4278" y="6038"/>
                  </a:lnTo>
                  <a:lnTo>
                    <a:pt x="4279" y="6041"/>
                  </a:lnTo>
                  <a:lnTo>
                    <a:pt x="4278" y="6044"/>
                  </a:lnTo>
                  <a:lnTo>
                    <a:pt x="4277" y="6046"/>
                  </a:lnTo>
                  <a:lnTo>
                    <a:pt x="4272" y="6053"/>
                  </a:lnTo>
                  <a:lnTo>
                    <a:pt x="4264" y="6061"/>
                  </a:lnTo>
                  <a:lnTo>
                    <a:pt x="4241" y="6082"/>
                  </a:lnTo>
                  <a:lnTo>
                    <a:pt x="4212" y="6109"/>
                  </a:lnTo>
                  <a:lnTo>
                    <a:pt x="4181" y="6139"/>
                  </a:lnTo>
                  <a:lnTo>
                    <a:pt x="4167" y="6154"/>
                  </a:lnTo>
                  <a:lnTo>
                    <a:pt x="4152" y="6170"/>
                  </a:lnTo>
                  <a:lnTo>
                    <a:pt x="4140" y="6187"/>
                  </a:lnTo>
                  <a:lnTo>
                    <a:pt x="4129" y="6204"/>
                  </a:lnTo>
                  <a:lnTo>
                    <a:pt x="4121" y="6220"/>
                  </a:lnTo>
                  <a:lnTo>
                    <a:pt x="4118" y="6229"/>
                  </a:lnTo>
                  <a:lnTo>
                    <a:pt x="4116" y="6238"/>
                  </a:lnTo>
                  <a:lnTo>
                    <a:pt x="4116" y="6238"/>
                  </a:lnTo>
                  <a:lnTo>
                    <a:pt x="4114" y="6250"/>
                  </a:lnTo>
                  <a:lnTo>
                    <a:pt x="4114" y="6261"/>
                  </a:lnTo>
                  <a:lnTo>
                    <a:pt x="4115" y="6273"/>
                  </a:lnTo>
                  <a:lnTo>
                    <a:pt x="4119" y="6282"/>
                  </a:lnTo>
                  <a:lnTo>
                    <a:pt x="4123" y="6290"/>
                  </a:lnTo>
                  <a:lnTo>
                    <a:pt x="4129" y="6298"/>
                  </a:lnTo>
                  <a:lnTo>
                    <a:pt x="4135" y="6305"/>
                  </a:lnTo>
                  <a:lnTo>
                    <a:pt x="4142" y="6311"/>
                  </a:lnTo>
                  <a:lnTo>
                    <a:pt x="4157" y="6325"/>
                  </a:lnTo>
                  <a:lnTo>
                    <a:pt x="4163" y="6331"/>
                  </a:lnTo>
                  <a:lnTo>
                    <a:pt x="4169" y="6338"/>
                  </a:lnTo>
                  <a:lnTo>
                    <a:pt x="4175" y="6345"/>
                  </a:lnTo>
                  <a:lnTo>
                    <a:pt x="4179" y="6352"/>
                  </a:lnTo>
                  <a:lnTo>
                    <a:pt x="4182" y="6361"/>
                  </a:lnTo>
                  <a:lnTo>
                    <a:pt x="4183" y="6370"/>
                  </a:lnTo>
                  <a:lnTo>
                    <a:pt x="4183" y="6370"/>
                  </a:lnTo>
                  <a:lnTo>
                    <a:pt x="4184" y="6380"/>
                  </a:lnTo>
                  <a:lnTo>
                    <a:pt x="4186" y="6391"/>
                  </a:lnTo>
                  <a:lnTo>
                    <a:pt x="4189" y="6400"/>
                  </a:lnTo>
                  <a:lnTo>
                    <a:pt x="4193" y="6411"/>
                  </a:lnTo>
                  <a:lnTo>
                    <a:pt x="4198" y="6420"/>
                  </a:lnTo>
                  <a:lnTo>
                    <a:pt x="4205" y="6429"/>
                  </a:lnTo>
                  <a:lnTo>
                    <a:pt x="4212" y="6437"/>
                  </a:lnTo>
                  <a:lnTo>
                    <a:pt x="4220" y="6445"/>
                  </a:lnTo>
                  <a:lnTo>
                    <a:pt x="4228" y="6454"/>
                  </a:lnTo>
                  <a:lnTo>
                    <a:pt x="4237" y="6461"/>
                  </a:lnTo>
                  <a:lnTo>
                    <a:pt x="4257" y="6474"/>
                  </a:lnTo>
                  <a:lnTo>
                    <a:pt x="4278" y="6486"/>
                  </a:lnTo>
                  <a:lnTo>
                    <a:pt x="4300" y="6497"/>
                  </a:lnTo>
                  <a:lnTo>
                    <a:pt x="4322" y="6506"/>
                  </a:lnTo>
                  <a:lnTo>
                    <a:pt x="4344" y="6514"/>
                  </a:lnTo>
                  <a:lnTo>
                    <a:pt x="4364" y="6519"/>
                  </a:lnTo>
                  <a:lnTo>
                    <a:pt x="4382" y="6524"/>
                  </a:lnTo>
                  <a:lnTo>
                    <a:pt x="4399" y="6526"/>
                  </a:lnTo>
                  <a:lnTo>
                    <a:pt x="4412" y="6527"/>
                  </a:lnTo>
                  <a:lnTo>
                    <a:pt x="4421" y="6527"/>
                  </a:lnTo>
                  <a:lnTo>
                    <a:pt x="4424" y="6526"/>
                  </a:lnTo>
                  <a:lnTo>
                    <a:pt x="4426" y="6525"/>
                  </a:lnTo>
                  <a:lnTo>
                    <a:pt x="4426" y="6525"/>
                  </a:lnTo>
                  <a:lnTo>
                    <a:pt x="4427" y="6523"/>
                  </a:lnTo>
                  <a:lnTo>
                    <a:pt x="4427" y="6521"/>
                  </a:lnTo>
                  <a:lnTo>
                    <a:pt x="4425" y="6515"/>
                  </a:lnTo>
                  <a:lnTo>
                    <a:pt x="4420" y="6508"/>
                  </a:lnTo>
                  <a:lnTo>
                    <a:pt x="4412" y="6498"/>
                  </a:lnTo>
                  <a:lnTo>
                    <a:pt x="4393" y="6475"/>
                  </a:lnTo>
                  <a:lnTo>
                    <a:pt x="4369" y="6448"/>
                  </a:lnTo>
                  <a:lnTo>
                    <a:pt x="4358" y="6435"/>
                  </a:lnTo>
                  <a:lnTo>
                    <a:pt x="4348" y="6421"/>
                  </a:lnTo>
                  <a:lnTo>
                    <a:pt x="4339" y="6407"/>
                  </a:lnTo>
                  <a:lnTo>
                    <a:pt x="4330" y="6393"/>
                  </a:lnTo>
                  <a:lnTo>
                    <a:pt x="4325" y="6380"/>
                  </a:lnTo>
                  <a:lnTo>
                    <a:pt x="4324" y="6374"/>
                  </a:lnTo>
                  <a:lnTo>
                    <a:pt x="4323" y="6368"/>
                  </a:lnTo>
                  <a:lnTo>
                    <a:pt x="4323" y="6362"/>
                  </a:lnTo>
                  <a:lnTo>
                    <a:pt x="4324" y="6356"/>
                  </a:lnTo>
                  <a:lnTo>
                    <a:pt x="4326" y="6351"/>
                  </a:lnTo>
                  <a:lnTo>
                    <a:pt x="4329" y="6346"/>
                  </a:lnTo>
                  <a:lnTo>
                    <a:pt x="4329" y="6346"/>
                  </a:lnTo>
                  <a:lnTo>
                    <a:pt x="4333" y="6342"/>
                  </a:lnTo>
                  <a:lnTo>
                    <a:pt x="4337" y="6339"/>
                  </a:lnTo>
                  <a:lnTo>
                    <a:pt x="4343" y="6338"/>
                  </a:lnTo>
                  <a:lnTo>
                    <a:pt x="4347" y="6337"/>
                  </a:lnTo>
                  <a:lnTo>
                    <a:pt x="4352" y="6337"/>
                  </a:lnTo>
                  <a:lnTo>
                    <a:pt x="4358" y="6338"/>
                  </a:lnTo>
                  <a:lnTo>
                    <a:pt x="4370" y="6340"/>
                  </a:lnTo>
                  <a:lnTo>
                    <a:pt x="4384" y="6343"/>
                  </a:lnTo>
                  <a:lnTo>
                    <a:pt x="4392" y="6344"/>
                  </a:lnTo>
                  <a:lnTo>
                    <a:pt x="4399" y="6344"/>
                  </a:lnTo>
                  <a:lnTo>
                    <a:pt x="4408" y="6344"/>
                  </a:lnTo>
                  <a:lnTo>
                    <a:pt x="4416" y="6343"/>
                  </a:lnTo>
                  <a:lnTo>
                    <a:pt x="4425" y="6341"/>
                  </a:lnTo>
                  <a:lnTo>
                    <a:pt x="4436" y="6337"/>
                  </a:lnTo>
                  <a:lnTo>
                    <a:pt x="4436" y="6337"/>
                  </a:lnTo>
                  <a:lnTo>
                    <a:pt x="4437" y="6335"/>
                  </a:lnTo>
                  <a:lnTo>
                    <a:pt x="4438" y="6332"/>
                  </a:lnTo>
                  <a:lnTo>
                    <a:pt x="4438" y="6325"/>
                  </a:lnTo>
                  <a:lnTo>
                    <a:pt x="4436" y="6314"/>
                  </a:lnTo>
                  <a:lnTo>
                    <a:pt x="4434" y="6299"/>
                  </a:lnTo>
                  <a:lnTo>
                    <a:pt x="4431" y="6283"/>
                  </a:lnTo>
                  <a:lnTo>
                    <a:pt x="4428" y="6264"/>
                  </a:lnTo>
                  <a:lnTo>
                    <a:pt x="4426" y="6243"/>
                  </a:lnTo>
                  <a:lnTo>
                    <a:pt x="4426" y="6219"/>
                  </a:lnTo>
                  <a:lnTo>
                    <a:pt x="4428" y="6195"/>
                  </a:lnTo>
                  <a:lnTo>
                    <a:pt x="4431" y="6182"/>
                  </a:lnTo>
                  <a:lnTo>
                    <a:pt x="4434" y="6167"/>
                  </a:lnTo>
                  <a:lnTo>
                    <a:pt x="4437" y="6154"/>
                  </a:lnTo>
                  <a:lnTo>
                    <a:pt x="4441" y="6139"/>
                  </a:lnTo>
                  <a:lnTo>
                    <a:pt x="4446" y="6124"/>
                  </a:lnTo>
                  <a:lnTo>
                    <a:pt x="4453" y="6109"/>
                  </a:lnTo>
                  <a:lnTo>
                    <a:pt x="4460" y="6094"/>
                  </a:lnTo>
                  <a:lnTo>
                    <a:pt x="4469" y="6078"/>
                  </a:lnTo>
                  <a:lnTo>
                    <a:pt x="4479" y="6062"/>
                  </a:lnTo>
                  <a:lnTo>
                    <a:pt x="4490" y="6046"/>
                  </a:lnTo>
                  <a:lnTo>
                    <a:pt x="4503" y="6029"/>
                  </a:lnTo>
                  <a:lnTo>
                    <a:pt x="4516" y="6013"/>
                  </a:lnTo>
                  <a:lnTo>
                    <a:pt x="4533" y="5996"/>
                  </a:lnTo>
                  <a:lnTo>
                    <a:pt x="4550" y="5979"/>
                  </a:lnTo>
                  <a:lnTo>
                    <a:pt x="4550" y="5979"/>
                  </a:lnTo>
                  <a:lnTo>
                    <a:pt x="4557" y="5990"/>
                  </a:lnTo>
                  <a:lnTo>
                    <a:pt x="4566" y="6002"/>
                  </a:lnTo>
                  <a:lnTo>
                    <a:pt x="4578" y="6015"/>
                  </a:lnTo>
                  <a:lnTo>
                    <a:pt x="4586" y="6022"/>
                  </a:lnTo>
                  <a:lnTo>
                    <a:pt x="4594" y="6029"/>
                  </a:lnTo>
                  <a:lnTo>
                    <a:pt x="4603" y="6035"/>
                  </a:lnTo>
                  <a:lnTo>
                    <a:pt x="4614" y="6043"/>
                  </a:lnTo>
                  <a:lnTo>
                    <a:pt x="4624" y="6048"/>
                  </a:lnTo>
                  <a:lnTo>
                    <a:pt x="4636" y="6052"/>
                  </a:lnTo>
                  <a:lnTo>
                    <a:pt x="4648" y="6056"/>
                  </a:lnTo>
                  <a:lnTo>
                    <a:pt x="4662" y="6058"/>
                  </a:lnTo>
                  <a:lnTo>
                    <a:pt x="4662" y="6058"/>
                  </a:lnTo>
                  <a:lnTo>
                    <a:pt x="4668" y="6059"/>
                  </a:lnTo>
                  <a:lnTo>
                    <a:pt x="4673" y="6061"/>
                  </a:lnTo>
                  <a:lnTo>
                    <a:pt x="4677" y="6064"/>
                  </a:lnTo>
                  <a:lnTo>
                    <a:pt x="4681" y="6067"/>
                  </a:lnTo>
                  <a:lnTo>
                    <a:pt x="4685" y="6071"/>
                  </a:lnTo>
                  <a:lnTo>
                    <a:pt x="4688" y="6075"/>
                  </a:lnTo>
                  <a:lnTo>
                    <a:pt x="4692" y="6087"/>
                  </a:lnTo>
                  <a:lnTo>
                    <a:pt x="4696" y="6099"/>
                  </a:lnTo>
                  <a:lnTo>
                    <a:pt x="4698" y="6112"/>
                  </a:lnTo>
                  <a:lnTo>
                    <a:pt x="4698" y="6125"/>
                  </a:lnTo>
                  <a:lnTo>
                    <a:pt x="4698" y="6140"/>
                  </a:lnTo>
                  <a:lnTo>
                    <a:pt x="4696" y="6168"/>
                  </a:lnTo>
                  <a:lnTo>
                    <a:pt x="4694" y="6193"/>
                  </a:lnTo>
                  <a:lnTo>
                    <a:pt x="4692" y="6210"/>
                  </a:lnTo>
                  <a:lnTo>
                    <a:pt x="4692" y="6215"/>
                  </a:lnTo>
                  <a:lnTo>
                    <a:pt x="4693" y="6216"/>
                  </a:lnTo>
                  <a:lnTo>
                    <a:pt x="4694" y="6216"/>
                  </a:lnTo>
                  <a:lnTo>
                    <a:pt x="4694" y="6216"/>
                  </a:lnTo>
                  <a:lnTo>
                    <a:pt x="4697" y="6215"/>
                  </a:lnTo>
                  <a:lnTo>
                    <a:pt x="4702" y="6212"/>
                  </a:lnTo>
                  <a:lnTo>
                    <a:pt x="4708" y="6207"/>
                  </a:lnTo>
                  <a:lnTo>
                    <a:pt x="4714" y="6200"/>
                  </a:lnTo>
                  <a:lnTo>
                    <a:pt x="4721" y="6191"/>
                  </a:lnTo>
                  <a:lnTo>
                    <a:pt x="4729" y="6181"/>
                  </a:lnTo>
                  <a:lnTo>
                    <a:pt x="4736" y="6167"/>
                  </a:lnTo>
                  <a:lnTo>
                    <a:pt x="4743" y="6154"/>
                  </a:lnTo>
                  <a:lnTo>
                    <a:pt x="4751" y="6139"/>
                  </a:lnTo>
                  <a:lnTo>
                    <a:pt x="4758" y="6121"/>
                  </a:lnTo>
                  <a:lnTo>
                    <a:pt x="4763" y="6104"/>
                  </a:lnTo>
                  <a:lnTo>
                    <a:pt x="4768" y="6084"/>
                  </a:lnTo>
                  <a:lnTo>
                    <a:pt x="4771" y="6064"/>
                  </a:lnTo>
                  <a:lnTo>
                    <a:pt x="4773" y="6044"/>
                  </a:lnTo>
                  <a:lnTo>
                    <a:pt x="4772" y="6022"/>
                  </a:lnTo>
                  <a:lnTo>
                    <a:pt x="4770" y="6000"/>
                  </a:lnTo>
                  <a:lnTo>
                    <a:pt x="4770" y="6000"/>
                  </a:lnTo>
                  <a:lnTo>
                    <a:pt x="4778" y="5992"/>
                  </a:lnTo>
                  <a:lnTo>
                    <a:pt x="4798" y="5975"/>
                  </a:lnTo>
                  <a:lnTo>
                    <a:pt x="4809" y="5964"/>
                  </a:lnTo>
                  <a:lnTo>
                    <a:pt x="4819" y="5952"/>
                  </a:lnTo>
                  <a:lnTo>
                    <a:pt x="4827" y="5938"/>
                  </a:lnTo>
                  <a:lnTo>
                    <a:pt x="4830" y="5932"/>
                  </a:lnTo>
                  <a:lnTo>
                    <a:pt x="4832" y="5926"/>
                  </a:lnTo>
                  <a:lnTo>
                    <a:pt x="4832" y="5926"/>
                  </a:lnTo>
                  <a:lnTo>
                    <a:pt x="4834" y="5917"/>
                  </a:lnTo>
                  <a:lnTo>
                    <a:pt x="4835" y="5908"/>
                  </a:lnTo>
                  <a:lnTo>
                    <a:pt x="4836" y="5899"/>
                  </a:lnTo>
                  <a:lnTo>
                    <a:pt x="4835" y="5892"/>
                  </a:lnTo>
                  <a:lnTo>
                    <a:pt x="4834" y="5886"/>
                  </a:lnTo>
                  <a:lnTo>
                    <a:pt x="4832" y="5880"/>
                  </a:lnTo>
                  <a:lnTo>
                    <a:pt x="4830" y="5875"/>
                  </a:lnTo>
                  <a:lnTo>
                    <a:pt x="4827" y="5870"/>
                  </a:lnTo>
                  <a:lnTo>
                    <a:pt x="4819" y="5861"/>
                  </a:lnTo>
                  <a:lnTo>
                    <a:pt x="4810" y="5851"/>
                  </a:lnTo>
                  <a:lnTo>
                    <a:pt x="4800" y="5842"/>
                  </a:lnTo>
                  <a:lnTo>
                    <a:pt x="4789" y="5831"/>
                  </a:lnTo>
                  <a:lnTo>
                    <a:pt x="4778" y="5818"/>
                  </a:lnTo>
                  <a:lnTo>
                    <a:pt x="4772" y="5810"/>
                  </a:lnTo>
                  <a:lnTo>
                    <a:pt x="4767" y="5801"/>
                  </a:lnTo>
                  <a:lnTo>
                    <a:pt x="4762" y="5792"/>
                  </a:lnTo>
                  <a:lnTo>
                    <a:pt x="4757" y="5782"/>
                  </a:lnTo>
                  <a:lnTo>
                    <a:pt x="4753" y="5770"/>
                  </a:lnTo>
                  <a:lnTo>
                    <a:pt x="4749" y="5757"/>
                  </a:lnTo>
                  <a:lnTo>
                    <a:pt x="4744" y="5743"/>
                  </a:lnTo>
                  <a:lnTo>
                    <a:pt x="4741" y="5727"/>
                  </a:lnTo>
                  <a:lnTo>
                    <a:pt x="4738" y="5710"/>
                  </a:lnTo>
                  <a:lnTo>
                    <a:pt x="4736" y="5691"/>
                  </a:lnTo>
                  <a:lnTo>
                    <a:pt x="4735" y="5670"/>
                  </a:lnTo>
                  <a:lnTo>
                    <a:pt x="4734" y="5648"/>
                  </a:lnTo>
                  <a:lnTo>
                    <a:pt x="4734" y="5623"/>
                  </a:lnTo>
                  <a:lnTo>
                    <a:pt x="4735" y="5597"/>
                  </a:lnTo>
                  <a:lnTo>
                    <a:pt x="4735" y="5597"/>
                  </a:lnTo>
                  <a:lnTo>
                    <a:pt x="4735" y="5579"/>
                  </a:lnTo>
                  <a:lnTo>
                    <a:pt x="4734" y="5573"/>
                  </a:lnTo>
                  <a:lnTo>
                    <a:pt x="4733" y="5568"/>
                  </a:lnTo>
                  <a:lnTo>
                    <a:pt x="4731" y="5563"/>
                  </a:lnTo>
                  <a:lnTo>
                    <a:pt x="4729" y="5559"/>
                  </a:lnTo>
                  <a:lnTo>
                    <a:pt x="4727" y="5556"/>
                  </a:lnTo>
                  <a:lnTo>
                    <a:pt x="4724" y="5553"/>
                  </a:lnTo>
                  <a:lnTo>
                    <a:pt x="4716" y="5547"/>
                  </a:lnTo>
                  <a:lnTo>
                    <a:pt x="4706" y="5540"/>
                  </a:lnTo>
                  <a:lnTo>
                    <a:pt x="4693" y="5530"/>
                  </a:lnTo>
                  <a:lnTo>
                    <a:pt x="4679" y="5518"/>
                  </a:lnTo>
                  <a:lnTo>
                    <a:pt x="4679" y="5518"/>
                  </a:lnTo>
                  <a:lnTo>
                    <a:pt x="4671" y="5508"/>
                  </a:lnTo>
                  <a:lnTo>
                    <a:pt x="4664" y="5498"/>
                  </a:lnTo>
                  <a:lnTo>
                    <a:pt x="4659" y="5487"/>
                  </a:lnTo>
                  <a:lnTo>
                    <a:pt x="4655" y="5477"/>
                  </a:lnTo>
                  <a:lnTo>
                    <a:pt x="4654" y="5469"/>
                  </a:lnTo>
                  <a:lnTo>
                    <a:pt x="4654" y="5466"/>
                  </a:lnTo>
                  <a:lnTo>
                    <a:pt x="4654" y="5464"/>
                  </a:lnTo>
                  <a:lnTo>
                    <a:pt x="4657" y="5462"/>
                  </a:lnTo>
                  <a:lnTo>
                    <a:pt x="4659" y="5461"/>
                  </a:lnTo>
                  <a:lnTo>
                    <a:pt x="4661" y="5461"/>
                  </a:lnTo>
                  <a:lnTo>
                    <a:pt x="4665" y="5462"/>
                  </a:lnTo>
                  <a:lnTo>
                    <a:pt x="4665" y="5462"/>
                  </a:lnTo>
                  <a:lnTo>
                    <a:pt x="4679" y="5468"/>
                  </a:lnTo>
                  <a:lnTo>
                    <a:pt x="4693" y="5472"/>
                  </a:lnTo>
                  <a:lnTo>
                    <a:pt x="4708" y="5475"/>
                  </a:lnTo>
                  <a:lnTo>
                    <a:pt x="4723" y="5476"/>
                  </a:lnTo>
                  <a:lnTo>
                    <a:pt x="4737" y="5477"/>
                  </a:lnTo>
                  <a:lnTo>
                    <a:pt x="4752" y="5478"/>
                  </a:lnTo>
                  <a:lnTo>
                    <a:pt x="4765" y="5477"/>
                  </a:lnTo>
                  <a:lnTo>
                    <a:pt x="4778" y="5476"/>
                  </a:lnTo>
                  <a:lnTo>
                    <a:pt x="4802" y="5473"/>
                  </a:lnTo>
                  <a:lnTo>
                    <a:pt x="4819" y="5469"/>
                  </a:lnTo>
                  <a:lnTo>
                    <a:pt x="4835" y="5465"/>
                  </a:lnTo>
                  <a:lnTo>
                    <a:pt x="4835" y="5465"/>
                  </a:lnTo>
                  <a:lnTo>
                    <a:pt x="4844" y="5369"/>
                  </a:lnTo>
                  <a:lnTo>
                    <a:pt x="4849" y="5294"/>
                  </a:lnTo>
                  <a:lnTo>
                    <a:pt x="4851" y="5239"/>
                  </a:lnTo>
                  <a:lnTo>
                    <a:pt x="4851" y="5201"/>
                  </a:lnTo>
                  <a:lnTo>
                    <a:pt x="4849" y="5176"/>
                  </a:lnTo>
                  <a:lnTo>
                    <a:pt x="4847" y="5161"/>
                  </a:lnTo>
                  <a:lnTo>
                    <a:pt x="4845" y="5155"/>
                  </a:lnTo>
                  <a:lnTo>
                    <a:pt x="4844" y="5153"/>
                  </a:lnTo>
                  <a:lnTo>
                    <a:pt x="4844" y="5153"/>
                  </a:lnTo>
                  <a:lnTo>
                    <a:pt x="4825" y="5154"/>
                  </a:lnTo>
                  <a:lnTo>
                    <a:pt x="4808" y="5153"/>
                  </a:lnTo>
                  <a:lnTo>
                    <a:pt x="4791" y="5152"/>
                  </a:lnTo>
                  <a:lnTo>
                    <a:pt x="4776" y="5151"/>
                  </a:lnTo>
                  <a:lnTo>
                    <a:pt x="4763" y="5149"/>
                  </a:lnTo>
                  <a:lnTo>
                    <a:pt x="4750" y="5146"/>
                  </a:lnTo>
                  <a:lnTo>
                    <a:pt x="4737" y="5143"/>
                  </a:lnTo>
                  <a:lnTo>
                    <a:pt x="4726" y="5139"/>
                  </a:lnTo>
                  <a:lnTo>
                    <a:pt x="4716" y="5135"/>
                  </a:lnTo>
                  <a:lnTo>
                    <a:pt x="4707" y="5131"/>
                  </a:lnTo>
                  <a:lnTo>
                    <a:pt x="4698" y="5125"/>
                  </a:lnTo>
                  <a:lnTo>
                    <a:pt x="4690" y="5120"/>
                  </a:lnTo>
                  <a:lnTo>
                    <a:pt x="4683" y="5114"/>
                  </a:lnTo>
                  <a:lnTo>
                    <a:pt x="4676" y="5109"/>
                  </a:lnTo>
                  <a:lnTo>
                    <a:pt x="4665" y="5096"/>
                  </a:lnTo>
                  <a:lnTo>
                    <a:pt x="4665" y="5096"/>
                  </a:lnTo>
                  <a:lnTo>
                    <a:pt x="4677" y="5099"/>
                  </a:lnTo>
                  <a:lnTo>
                    <a:pt x="4690" y="5101"/>
                  </a:lnTo>
                  <a:lnTo>
                    <a:pt x="4717" y="5103"/>
                  </a:lnTo>
                  <a:lnTo>
                    <a:pt x="4742" y="5103"/>
                  </a:lnTo>
                  <a:lnTo>
                    <a:pt x="4768" y="5101"/>
                  </a:lnTo>
                  <a:lnTo>
                    <a:pt x="4790" y="5097"/>
                  </a:lnTo>
                  <a:lnTo>
                    <a:pt x="4812" y="5091"/>
                  </a:lnTo>
                  <a:lnTo>
                    <a:pt x="4821" y="5088"/>
                  </a:lnTo>
                  <a:lnTo>
                    <a:pt x="4829" y="5084"/>
                  </a:lnTo>
                  <a:lnTo>
                    <a:pt x="4838" y="5078"/>
                  </a:lnTo>
                  <a:lnTo>
                    <a:pt x="4844" y="5074"/>
                  </a:lnTo>
                  <a:lnTo>
                    <a:pt x="4844" y="5074"/>
                  </a:lnTo>
                  <a:lnTo>
                    <a:pt x="4843" y="5026"/>
                  </a:lnTo>
                  <a:lnTo>
                    <a:pt x="4841" y="4978"/>
                  </a:lnTo>
                  <a:lnTo>
                    <a:pt x="4838" y="4923"/>
                  </a:lnTo>
                  <a:lnTo>
                    <a:pt x="4833" y="4868"/>
                  </a:lnTo>
                  <a:lnTo>
                    <a:pt x="4831" y="4843"/>
                  </a:lnTo>
                  <a:lnTo>
                    <a:pt x="4828" y="4821"/>
                  </a:lnTo>
                  <a:lnTo>
                    <a:pt x="4825" y="4802"/>
                  </a:lnTo>
                  <a:lnTo>
                    <a:pt x="4822" y="4788"/>
                  </a:lnTo>
                  <a:lnTo>
                    <a:pt x="4820" y="4783"/>
                  </a:lnTo>
                  <a:lnTo>
                    <a:pt x="4818" y="4780"/>
                  </a:lnTo>
                  <a:lnTo>
                    <a:pt x="4816" y="4778"/>
                  </a:lnTo>
                  <a:lnTo>
                    <a:pt x="4814" y="4778"/>
                  </a:lnTo>
                  <a:lnTo>
                    <a:pt x="4814" y="4778"/>
                  </a:lnTo>
                  <a:lnTo>
                    <a:pt x="4786" y="4785"/>
                  </a:lnTo>
                  <a:lnTo>
                    <a:pt x="4760" y="4790"/>
                  </a:lnTo>
                  <a:lnTo>
                    <a:pt x="4746" y="4791"/>
                  </a:lnTo>
                  <a:lnTo>
                    <a:pt x="4734" y="4792"/>
                  </a:lnTo>
                  <a:lnTo>
                    <a:pt x="4722" y="4792"/>
                  </a:lnTo>
                  <a:lnTo>
                    <a:pt x="4711" y="4791"/>
                  </a:lnTo>
                  <a:lnTo>
                    <a:pt x="4698" y="4789"/>
                  </a:lnTo>
                  <a:lnTo>
                    <a:pt x="4687" y="4787"/>
                  </a:lnTo>
                  <a:lnTo>
                    <a:pt x="4675" y="4784"/>
                  </a:lnTo>
                  <a:lnTo>
                    <a:pt x="4664" y="4780"/>
                  </a:lnTo>
                  <a:lnTo>
                    <a:pt x="4652" y="4775"/>
                  </a:lnTo>
                  <a:lnTo>
                    <a:pt x="4640" y="4770"/>
                  </a:lnTo>
                  <a:lnTo>
                    <a:pt x="4629" y="4762"/>
                  </a:lnTo>
                  <a:lnTo>
                    <a:pt x="4618" y="4755"/>
                  </a:lnTo>
                  <a:lnTo>
                    <a:pt x="4618" y="4755"/>
                  </a:lnTo>
                  <a:lnTo>
                    <a:pt x="4613" y="4752"/>
                  </a:lnTo>
                  <a:lnTo>
                    <a:pt x="4608" y="4748"/>
                  </a:lnTo>
                  <a:lnTo>
                    <a:pt x="4602" y="4740"/>
                  </a:lnTo>
                  <a:lnTo>
                    <a:pt x="4597" y="4731"/>
                  </a:lnTo>
                  <a:lnTo>
                    <a:pt x="4594" y="4721"/>
                  </a:lnTo>
                  <a:lnTo>
                    <a:pt x="4592" y="4709"/>
                  </a:lnTo>
                  <a:lnTo>
                    <a:pt x="4591" y="4699"/>
                  </a:lnTo>
                  <a:lnTo>
                    <a:pt x="4590" y="4677"/>
                  </a:lnTo>
                  <a:lnTo>
                    <a:pt x="4589" y="4655"/>
                  </a:lnTo>
                  <a:lnTo>
                    <a:pt x="4587" y="4646"/>
                  </a:lnTo>
                  <a:lnTo>
                    <a:pt x="4585" y="4638"/>
                  </a:lnTo>
                  <a:lnTo>
                    <a:pt x="4581" y="4631"/>
                  </a:lnTo>
                  <a:lnTo>
                    <a:pt x="4575" y="4624"/>
                  </a:lnTo>
                  <a:lnTo>
                    <a:pt x="4571" y="4621"/>
                  </a:lnTo>
                  <a:lnTo>
                    <a:pt x="4567" y="4619"/>
                  </a:lnTo>
                  <a:lnTo>
                    <a:pt x="4561" y="4618"/>
                  </a:lnTo>
                  <a:lnTo>
                    <a:pt x="4556" y="4617"/>
                  </a:lnTo>
                  <a:lnTo>
                    <a:pt x="4556" y="4617"/>
                  </a:lnTo>
                  <a:lnTo>
                    <a:pt x="4534" y="4610"/>
                  </a:lnTo>
                  <a:lnTo>
                    <a:pt x="4511" y="4603"/>
                  </a:lnTo>
                  <a:lnTo>
                    <a:pt x="4489" y="4595"/>
                  </a:lnTo>
                  <a:lnTo>
                    <a:pt x="4468" y="4585"/>
                  </a:lnTo>
                  <a:lnTo>
                    <a:pt x="4448" y="4575"/>
                  </a:lnTo>
                  <a:lnTo>
                    <a:pt x="4428" y="4564"/>
                  </a:lnTo>
                  <a:lnTo>
                    <a:pt x="4410" y="4554"/>
                  </a:lnTo>
                  <a:lnTo>
                    <a:pt x="4394" y="4543"/>
                  </a:lnTo>
                  <a:lnTo>
                    <a:pt x="4377" y="4531"/>
                  </a:lnTo>
                  <a:lnTo>
                    <a:pt x="4363" y="4521"/>
                  </a:lnTo>
                  <a:lnTo>
                    <a:pt x="4337" y="4501"/>
                  </a:lnTo>
                  <a:lnTo>
                    <a:pt x="4318" y="4482"/>
                  </a:lnTo>
                  <a:lnTo>
                    <a:pt x="4306" y="4467"/>
                  </a:lnTo>
                  <a:lnTo>
                    <a:pt x="4306" y="4467"/>
                  </a:lnTo>
                  <a:lnTo>
                    <a:pt x="4297" y="4455"/>
                  </a:lnTo>
                  <a:lnTo>
                    <a:pt x="4288" y="4442"/>
                  </a:lnTo>
                  <a:lnTo>
                    <a:pt x="4282" y="4431"/>
                  </a:lnTo>
                  <a:lnTo>
                    <a:pt x="4277" y="4420"/>
                  </a:lnTo>
                  <a:lnTo>
                    <a:pt x="4273" y="4410"/>
                  </a:lnTo>
                  <a:lnTo>
                    <a:pt x="4270" y="4401"/>
                  </a:lnTo>
                  <a:lnTo>
                    <a:pt x="4266" y="4384"/>
                  </a:lnTo>
                  <a:lnTo>
                    <a:pt x="4265" y="4371"/>
                  </a:lnTo>
                  <a:lnTo>
                    <a:pt x="4265" y="4361"/>
                  </a:lnTo>
                  <a:lnTo>
                    <a:pt x="4266" y="4352"/>
                  </a:lnTo>
                  <a:lnTo>
                    <a:pt x="4266" y="4352"/>
                  </a:lnTo>
                  <a:lnTo>
                    <a:pt x="4284" y="4362"/>
                  </a:lnTo>
                  <a:lnTo>
                    <a:pt x="4302" y="4368"/>
                  </a:lnTo>
                  <a:lnTo>
                    <a:pt x="4321" y="4373"/>
                  </a:lnTo>
                  <a:lnTo>
                    <a:pt x="4340" y="4376"/>
                  </a:lnTo>
                  <a:lnTo>
                    <a:pt x="4358" y="4378"/>
                  </a:lnTo>
                  <a:lnTo>
                    <a:pt x="4377" y="4377"/>
                  </a:lnTo>
                  <a:lnTo>
                    <a:pt x="4396" y="4374"/>
                  </a:lnTo>
                  <a:lnTo>
                    <a:pt x="4414" y="4370"/>
                  </a:lnTo>
                  <a:lnTo>
                    <a:pt x="4434" y="4130"/>
                  </a:lnTo>
                  <a:lnTo>
                    <a:pt x="4434" y="4130"/>
                  </a:lnTo>
                  <a:lnTo>
                    <a:pt x="4425" y="4129"/>
                  </a:lnTo>
                  <a:lnTo>
                    <a:pt x="4405" y="4126"/>
                  </a:lnTo>
                  <a:lnTo>
                    <a:pt x="4392" y="4123"/>
                  </a:lnTo>
                  <a:lnTo>
                    <a:pt x="4377" y="4119"/>
                  </a:lnTo>
                  <a:lnTo>
                    <a:pt x="4362" y="4115"/>
                  </a:lnTo>
                  <a:lnTo>
                    <a:pt x="4348" y="4109"/>
                  </a:lnTo>
                  <a:lnTo>
                    <a:pt x="4348" y="4109"/>
                  </a:lnTo>
                  <a:lnTo>
                    <a:pt x="4339" y="4105"/>
                  </a:lnTo>
                  <a:lnTo>
                    <a:pt x="4331" y="4100"/>
                  </a:lnTo>
                  <a:lnTo>
                    <a:pt x="4323" y="4094"/>
                  </a:lnTo>
                  <a:lnTo>
                    <a:pt x="4316" y="4088"/>
                  </a:lnTo>
                  <a:lnTo>
                    <a:pt x="4302" y="4074"/>
                  </a:lnTo>
                  <a:lnTo>
                    <a:pt x="4289" y="4061"/>
                  </a:lnTo>
                  <a:lnTo>
                    <a:pt x="4280" y="4048"/>
                  </a:lnTo>
                  <a:lnTo>
                    <a:pt x="4273" y="4038"/>
                  </a:lnTo>
                  <a:lnTo>
                    <a:pt x="4267" y="4028"/>
                  </a:lnTo>
                  <a:lnTo>
                    <a:pt x="4267" y="4028"/>
                  </a:lnTo>
                  <a:lnTo>
                    <a:pt x="4274" y="4031"/>
                  </a:lnTo>
                  <a:lnTo>
                    <a:pt x="4293" y="4039"/>
                  </a:lnTo>
                  <a:lnTo>
                    <a:pt x="4321" y="4047"/>
                  </a:lnTo>
                  <a:lnTo>
                    <a:pt x="4339" y="4051"/>
                  </a:lnTo>
                  <a:lnTo>
                    <a:pt x="4356" y="4054"/>
                  </a:lnTo>
                  <a:lnTo>
                    <a:pt x="4356" y="4054"/>
                  </a:lnTo>
                  <a:lnTo>
                    <a:pt x="4375" y="4056"/>
                  </a:lnTo>
                  <a:lnTo>
                    <a:pt x="4392" y="4057"/>
                  </a:lnTo>
                  <a:lnTo>
                    <a:pt x="4407" y="4055"/>
                  </a:lnTo>
                  <a:lnTo>
                    <a:pt x="4419" y="4053"/>
                  </a:lnTo>
                  <a:lnTo>
                    <a:pt x="4430" y="4051"/>
                  </a:lnTo>
                  <a:lnTo>
                    <a:pt x="4438" y="4049"/>
                  </a:lnTo>
                  <a:lnTo>
                    <a:pt x="4444" y="4046"/>
                  </a:lnTo>
                  <a:lnTo>
                    <a:pt x="4477" y="3775"/>
                  </a:lnTo>
                  <a:lnTo>
                    <a:pt x="4477" y="3775"/>
                  </a:lnTo>
                  <a:lnTo>
                    <a:pt x="4451" y="3776"/>
                  </a:lnTo>
                  <a:lnTo>
                    <a:pt x="4427" y="3775"/>
                  </a:lnTo>
                  <a:lnTo>
                    <a:pt x="4408" y="3773"/>
                  </a:lnTo>
                  <a:lnTo>
                    <a:pt x="4392" y="3768"/>
                  </a:lnTo>
                  <a:lnTo>
                    <a:pt x="4377" y="3762"/>
                  </a:lnTo>
                  <a:lnTo>
                    <a:pt x="4365" y="3755"/>
                  </a:lnTo>
                  <a:lnTo>
                    <a:pt x="4356" y="3747"/>
                  </a:lnTo>
                  <a:lnTo>
                    <a:pt x="4348" y="3739"/>
                  </a:lnTo>
                  <a:lnTo>
                    <a:pt x="4343" y="3731"/>
                  </a:lnTo>
                  <a:lnTo>
                    <a:pt x="4337" y="3722"/>
                  </a:lnTo>
                  <a:lnTo>
                    <a:pt x="4335" y="3713"/>
                  </a:lnTo>
                  <a:lnTo>
                    <a:pt x="4333" y="3705"/>
                  </a:lnTo>
                  <a:lnTo>
                    <a:pt x="4332" y="3697"/>
                  </a:lnTo>
                  <a:lnTo>
                    <a:pt x="4331" y="3691"/>
                  </a:lnTo>
                  <a:lnTo>
                    <a:pt x="4332" y="3682"/>
                  </a:lnTo>
                  <a:lnTo>
                    <a:pt x="4332" y="3682"/>
                  </a:lnTo>
                  <a:lnTo>
                    <a:pt x="4357" y="3677"/>
                  </a:lnTo>
                  <a:lnTo>
                    <a:pt x="4381" y="3671"/>
                  </a:lnTo>
                  <a:lnTo>
                    <a:pt x="4405" y="3663"/>
                  </a:lnTo>
                  <a:lnTo>
                    <a:pt x="4428" y="3656"/>
                  </a:lnTo>
                  <a:lnTo>
                    <a:pt x="4451" y="3647"/>
                  </a:lnTo>
                  <a:lnTo>
                    <a:pt x="4473" y="3637"/>
                  </a:lnTo>
                  <a:lnTo>
                    <a:pt x="4495" y="3626"/>
                  </a:lnTo>
                  <a:lnTo>
                    <a:pt x="4515" y="3613"/>
                  </a:lnTo>
                  <a:lnTo>
                    <a:pt x="4536" y="3601"/>
                  </a:lnTo>
                  <a:lnTo>
                    <a:pt x="4555" y="3588"/>
                  </a:lnTo>
                  <a:lnTo>
                    <a:pt x="4574" y="3573"/>
                  </a:lnTo>
                  <a:lnTo>
                    <a:pt x="4592" y="3558"/>
                  </a:lnTo>
                  <a:lnTo>
                    <a:pt x="4609" y="3543"/>
                  </a:lnTo>
                  <a:lnTo>
                    <a:pt x="4627" y="3526"/>
                  </a:lnTo>
                  <a:lnTo>
                    <a:pt x="4642" y="3510"/>
                  </a:lnTo>
                  <a:lnTo>
                    <a:pt x="4659" y="3493"/>
                  </a:lnTo>
                  <a:lnTo>
                    <a:pt x="4673" y="3474"/>
                  </a:lnTo>
                  <a:lnTo>
                    <a:pt x="4688" y="3456"/>
                  </a:lnTo>
                  <a:lnTo>
                    <a:pt x="4702" y="3437"/>
                  </a:lnTo>
                  <a:lnTo>
                    <a:pt x="4715" y="3418"/>
                  </a:lnTo>
                  <a:lnTo>
                    <a:pt x="4727" y="3399"/>
                  </a:lnTo>
                  <a:lnTo>
                    <a:pt x="4738" y="3379"/>
                  </a:lnTo>
                  <a:lnTo>
                    <a:pt x="4750" y="3360"/>
                  </a:lnTo>
                  <a:lnTo>
                    <a:pt x="4760" y="3339"/>
                  </a:lnTo>
                  <a:lnTo>
                    <a:pt x="4770" y="3319"/>
                  </a:lnTo>
                  <a:lnTo>
                    <a:pt x="4779" y="3298"/>
                  </a:lnTo>
                  <a:lnTo>
                    <a:pt x="4787" y="3278"/>
                  </a:lnTo>
                  <a:lnTo>
                    <a:pt x="4796" y="3257"/>
                  </a:lnTo>
                  <a:lnTo>
                    <a:pt x="4803" y="3237"/>
                  </a:lnTo>
                  <a:lnTo>
                    <a:pt x="4809" y="3217"/>
                  </a:lnTo>
                  <a:lnTo>
                    <a:pt x="4815" y="3196"/>
                  </a:lnTo>
                  <a:lnTo>
                    <a:pt x="4820" y="3177"/>
                  </a:lnTo>
                  <a:lnTo>
                    <a:pt x="4820" y="3177"/>
                  </a:lnTo>
                  <a:lnTo>
                    <a:pt x="4831" y="3183"/>
                  </a:lnTo>
                  <a:lnTo>
                    <a:pt x="4847" y="3189"/>
                  </a:lnTo>
                  <a:lnTo>
                    <a:pt x="4864" y="3195"/>
                  </a:lnTo>
                  <a:lnTo>
                    <a:pt x="4882" y="3200"/>
                  </a:lnTo>
                  <a:lnTo>
                    <a:pt x="4903" y="3203"/>
                  </a:lnTo>
                  <a:lnTo>
                    <a:pt x="4913" y="3204"/>
                  </a:lnTo>
                  <a:lnTo>
                    <a:pt x="4923" y="3205"/>
                  </a:lnTo>
                  <a:lnTo>
                    <a:pt x="4935" y="3204"/>
                  </a:lnTo>
                  <a:lnTo>
                    <a:pt x="4945" y="3203"/>
                  </a:lnTo>
                  <a:lnTo>
                    <a:pt x="4955" y="3201"/>
                  </a:lnTo>
                  <a:lnTo>
                    <a:pt x="4965" y="3198"/>
                  </a:lnTo>
                  <a:lnTo>
                    <a:pt x="4965" y="3198"/>
                  </a:lnTo>
                  <a:lnTo>
                    <a:pt x="4967" y="3170"/>
                  </a:lnTo>
                  <a:lnTo>
                    <a:pt x="4970" y="3103"/>
                  </a:lnTo>
                  <a:lnTo>
                    <a:pt x="4972" y="3067"/>
                  </a:lnTo>
                  <a:lnTo>
                    <a:pt x="4973" y="3033"/>
                  </a:lnTo>
                  <a:lnTo>
                    <a:pt x="4972" y="3005"/>
                  </a:lnTo>
                  <a:lnTo>
                    <a:pt x="4972" y="2995"/>
                  </a:lnTo>
                  <a:lnTo>
                    <a:pt x="4970" y="2989"/>
                  </a:lnTo>
                  <a:lnTo>
                    <a:pt x="4970" y="2989"/>
                  </a:lnTo>
                  <a:lnTo>
                    <a:pt x="4955" y="2987"/>
                  </a:lnTo>
                  <a:lnTo>
                    <a:pt x="4938" y="2984"/>
                  </a:lnTo>
                  <a:lnTo>
                    <a:pt x="4919" y="2979"/>
                  </a:lnTo>
                  <a:lnTo>
                    <a:pt x="4911" y="2976"/>
                  </a:lnTo>
                  <a:lnTo>
                    <a:pt x="4902" y="2973"/>
                  </a:lnTo>
                  <a:lnTo>
                    <a:pt x="4893" y="2968"/>
                  </a:lnTo>
                  <a:lnTo>
                    <a:pt x="4885" y="2964"/>
                  </a:lnTo>
                  <a:lnTo>
                    <a:pt x="4876" y="2958"/>
                  </a:lnTo>
                  <a:lnTo>
                    <a:pt x="4868" y="2951"/>
                  </a:lnTo>
                  <a:lnTo>
                    <a:pt x="4861" y="2944"/>
                  </a:lnTo>
                  <a:lnTo>
                    <a:pt x="4854" y="2935"/>
                  </a:lnTo>
                  <a:lnTo>
                    <a:pt x="4848" y="2926"/>
                  </a:lnTo>
                  <a:lnTo>
                    <a:pt x="4842" y="29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4" name="Freeform 30"/>
            <p:cNvSpPr>
              <a:spLocks/>
            </p:cNvSpPr>
            <p:nvPr userDrawn="1"/>
          </p:nvSpPr>
          <p:spPr bwMode="auto">
            <a:xfrm>
              <a:off x="882651" y="1427163"/>
              <a:ext cx="371475" cy="98425"/>
            </a:xfrm>
            <a:custGeom>
              <a:avLst/>
              <a:gdLst>
                <a:gd name="T0" fmla="*/ 87 w 2807"/>
                <a:gd name="T1" fmla="*/ 343 h 743"/>
                <a:gd name="T2" fmla="*/ 203 w 2807"/>
                <a:gd name="T3" fmla="*/ 417 h 743"/>
                <a:gd name="T4" fmla="*/ 319 w 2807"/>
                <a:gd name="T5" fmla="*/ 479 h 743"/>
                <a:gd name="T6" fmla="*/ 430 w 2807"/>
                <a:gd name="T7" fmla="*/ 529 h 743"/>
                <a:gd name="T8" fmla="*/ 603 w 2807"/>
                <a:gd name="T9" fmla="*/ 595 h 743"/>
                <a:gd name="T10" fmla="*/ 724 w 2807"/>
                <a:gd name="T11" fmla="*/ 633 h 743"/>
                <a:gd name="T12" fmla="*/ 857 w 2807"/>
                <a:gd name="T13" fmla="*/ 666 h 743"/>
                <a:gd name="T14" fmla="*/ 1001 w 2807"/>
                <a:gd name="T15" fmla="*/ 696 h 743"/>
                <a:gd name="T16" fmla="*/ 1157 w 2807"/>
                <a:gd name="T17" fmla="*/ 719 h 743"/>
                <a:gd name="T18" fmla="*/ 1324 w 2807"/>
                <a:gd name="T19" fmla="*/ 736 h 743"/>
                <a:gd name="T20" fmla="*/ 1502 w 2807"/>
                <a:gd name="T21" fmla="*/ 743 h 743"/>
                <a:gd name="T22" fmla="*/ 1689 w 2807"/>
                <a:gd name="T23" fmla="*/ 738 h 743"/>
                <a:gd name="T24" fmla="*/ 1819 w 2807"/>
                <a:gd name="T25" fmla="*/ 729 h 743"/>
                <a:gd name="T26" fmla="*/ 1999 w 2807"/>
                <a:gd name="T27" fmla="*/ 706 h 743"/>
                <a:gd name="T28" fmla="*/ 2159 w 2807"/>
                <a:gd name="T29" fmla="*/ 678 h 743"/>
                <a:gd name="T30" fmla="*/ 2302 w 2807"/>
                <a:gd name="T31" fmla="*/ 643 h 743"/>
                <a:gd name="T32" fmla="*/ 2426 w 2807"/>
                <a:gd name="T33" fmla="*/ 605 h 743"/>
                <a:gd name="T34" fmla="*/ 2533 w 2807"/>
                <a:gd name="T35" fmla="*/ 566 h 743"/>
                <a:gd name="T36" fmla="*/ 2672 w 2807"/>
                <a:gd name="T37" fmla="*/ 505 h 743"/>
                <a:gd name="T38" fmla="*/ 2773 w 2807"/>
                <a:gd name="T39" fmla="*/ 449 h 743"/>
                <a:gd name="T40" fmla="*/ 2807 w 2807"/>
                <a:gd name="T41" fmla="*/ 426 h 743"/>
                <a:gd name="T42" fmla="*/ 2745 w 2807"/>
                <a:gd name="T43" fmla="*/ 402 h 743"/>
                <a:gd name="T44" fmla="*/ 2688 w 2807"/>
                <a:gd name="T45" fmla="*/ 372 h 743"/>
                <a:gd name="T46" fmla="*/ 2586 w 2807"/>
                <a:gd name="T47" fmla="*/ 303 h 743"/>
                <a:gd name="T48" fmla="*/ 2529 w 2807"/>
                <a:gd name="T49" fmla="*/ 256 h 743"/>
                <a:gd name="T50" fmla="*/ 2518 w 2807"/>
                <a:gd name="T51" fmla="*/ 294 h 743"/>
                <a:gd name="T52" fmla="*/ 2507 w 2807"/>
                <a:gd name="T53" fmla="*/ 381 h 743"/>
                <a:gd name="T54" fmla="*/ 2499 w 2807"/>
                <a:gd name="T55" fmla="*/ 413 h 743"/>
                <a:gd name="T56" fmla="*/ 2443 w 2807"/>
                <a:gd name="T57" fmla="*/ 391 h 743"/>
                <a:gd name="T58" fmla="*/ 2423 w 2807"/>
                <a:gd name="T59" fmla="*/ 381 h 743"/>
                <a:gd name="T60" fmla="*/ 2392 w 2807"/>
                <a:gd name="T61" fmla="*/ 357 h 743"/>
                <a:gd name="T62" fmla="*/ 2361 w 2807"/>
                <a:gd name="T63" fmla="*/ 324 h 743"/>
                <a:gd name="T64" fmla="*/ 2334 w 2807"/>
                <a:gd name="T65" fmla="*/ 283 h 743"/>
                <a:gd name="T66" fmla="*/ 2316 w 2807"/>
                <a:gd name="T67" fmla="*/ 235 h 743"/>
                <a:gd name="T68" fmla="*/ 2310 w 2807"/>
                <a:gd name="T69" fmla="*/ 199 h 743"/>
                <a:gd name="T70" fmla="*/ 2252 w 2807"/>
                <a:gd name="T71" fmla="*/ 195 h 743"/>
                <a:gd name="T72" fmla="*/ 2110 w 2807"/>
                <a:gd name="T73" fmla="*/ 243 h 743"/>
                <a:gd name="T74" fmla="*/ 1984 w 2807"/>
                <a:gd name="T75" fmla="*/ 277 h 743"/>
                <a:gd name="T76" fmla="*/ 1843 w 2807"/>
                <a:gd name="T77" fmla="*/ 303 h 743"/>
                <a:gd name="T78" fmla="*/ 1697 w 2807"/>
                <a:gd name="T79" fmla="*/ 319 h 743"/>
                <a:gd name="T80" fmla="*/ 1558 w 2807"/>
                <a:gd name="T81" fmla="*/ 322 h 743"/>
                <a:gd name="T82" fmla="*/ 1293 w 2807"/>
                <a:gd name="T83" fmla="*/ 312 h 743"/>
                <a:gd name="T84" fmla="*/ 1030 w 2807"/>
                <a:gd name="T85" fmla="*/ 282 h 743"/>
                <a:gd name="T86" fmla="*/ 855 w 2807"/>
                <a:gd name="T87" fmla="*/ 251 h 743"/>
                <a:gd name="T88" fmla="*/ 725 w 2807"/>
                <a:gd name="T89" fmla="*/ 221 h 743"/>
                <a:gd name="T90" fmla="*/ 594 w 2807"/>
                <a:gd name="T91" fmla="*/ 185 h 743"/>
                <a:gd name="T92" fmla="*/ 465 w 2807"/>
                <a:gd name="T93" fmla="*/ 143 h 743"/>
                <a:gd name="T94" fmla="*/ 336 w 2807"/>
                <a:gd name="T95" fmla="*/ 94 h 743"/>
                <a:gd name="T96" fmla="*/ 251 w 2807"/>
                <a:gd name="T97" fmla="*/ 58 h 743"/>
                <a:gd name="T98" fmla="*/ 122 w 2807"/>
                <a:gd name="T99" fmla="*/ 0 h 743"/>
                <a:gd name="T100" fmla="*/ 119 w 2807"/>
                <a:gd name="T101" fmla="*/ 19 h 743"/>
                <a:gd name="T102" fmla="*/ 121 w 2807"/>
                <a:gd name="T103" fmla="*/ 51 h 743"/>
                <a:gd name="T104" fmla="*/ 136 w 2807"/>
                <a:gd name="T105" fmla="*/ 96 h 743"/>
                <a:gd name="T106" fmla="*/ 171 w 2807"/>
                <a:gd name="T107" fmla="*/ 156 h 743"/>
                <a:gd name="T108" fmla="*/ 207 w 2807"/>
                <a:gd name="T109" fmla="*/ 204 h 743"/>
                <a:gd name="T110" fmla="*/ 151 w 2807"/>
                <a:gd name="T111" fmla="*/ 199 h 743"/>
                <a:gd name="T112" fmla="*/ 98 w 2807"/>
                <a:gd name="T113" fmla="*/ 204 h 743"/>
                <a:gd name="T114" fmla="*/ 69 w 2807"/>
                <a:gd name="T115" fmla="*/ 215 h 743"/>
                <a:gd name="T116" fmla="*/ 32 w 2807"/>
                <a:gd name="T117" fmla="*/ 244 h 743"/>
                <a:gd name="T118" fmla="*/ 7 w 2807"/>
                <a:gd name="T119" fmla="*/ 272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07" h="743">
                  <a:moveTo>
                    <a:pt x="0" y="284"/>
                  </a:moveTo>
                  <a:lnTo>
                    <a:pt x="0" y="284"/>
                  </a:lnTo>
                  <a:lnTo>
                    <a:pt x="87" y="343"/>
                  </a:lnTo>
                  <a:lnTo>
                    <a:pt x="127" y="369"/>
                  </a:lnTo>
                  <a:lnTo>
                    <a:pt x="166" y="394"/>
                  </a:lnTo>
                  <a:lnTo>
                    <a:pt x="203" y="417"/>
                  </a:lnTo>
                  <a:lnTo>
                    <a:pt x="241" y="438"/>
                  </a:lnTo>
                  <a:lnTo>
                    <a:pt x="280" y="460"/>
                  </a:lnTo>
                  <a:lnTo>
                    <a:pt x="319" y="479"/>
                  </a:lnTo>
                  <a:lnTo>
                    <a:pt x="319" y="479"/>
                  </a:lnTo>
                  <a:lnTo>
                    <a:pt x="372" y="504"/>
                  </a:lnTo>
                  <a:lnTo>
                    <a:pt x="430" y="529"/>
                  </a:lnTo>
                  <a:lnTo>
                    <a:pt x="495" y="556"/>
                  </a:lnTo>
                  <a:lnTo>
                    <a:pt x="565" y="581"/>
                  </a:lnTo>
                  <a:lnTo>
                    <a:pt x="603" y="595"/>
                  </a:lnTo>
                  <a:lnTo>
                    <a:pt x="642" y="607"/>
                  </a:lnTo>
                  <a:lnTo>
                    <a:pt x="682" y="620"/>
                  </a:lnTo>
                  <a:lnTo>
                    <a:pt x="724" y="633"/>
                  </a:lnTo>
                  <a:lnTo>
                    <a:pt x="767" y="644"/>
                  </a:lnTo>
                  <a:lnTo>
                    <a:pt x="811" y="655"/>
                  </a:lnTo>
                  <a:lnTo>
                    <a:pt x="857" y="666"/>
                  </a:lnTo>
                  <a:lnTo>
                    <a:pt x="903" y="677"/>
                  </a:lnTo>
                  <a:lnTo>
                    <a:pt x="952" y="687"/>
                  </a:lnTo>
                  <a:lnTo>
                    <a:pt x="1001" y="696"/>
                  </a:lnTo>
                  <a:lnTo>
                    <a:pt x="1052" y="705"/>
                  </a:lnTo>
                  <a:lnTo>
                    <a:pt x="1104" y="713"/>
                  </a:lnTo>
                  <a:lnTo>
                    <a:pt x="1157" y="719"/>
                  </a:lnTo>
                  <a:lnTo>
                    <a:pt x="1212" y="727"/>
                  </a:lnTo>
                  <a:lnTo>
                    <a:pt x="1267" y="732"/>
                  </a:lnTo>
                  <a:lnTo>
                    <a:pt x="1324" y="736"/>
                  </a:lnTo>
                  <a:lnTo>
                    <a:pt x="1382" y="739"/>
                  </a:lnTo>
                  <a:lnTo>
                    <a:pt x="1442" y="741"/>
                  </a:lnTo>
                  <a:lnTo>
                    <a:pt x="1502" y="743"/>
                  </a:lnTo>
                  <a:lnTo>
                    <a:pt x="1563" y="742"/>
                  </a:lnTo>
                  <a:lnTo>
                    <a:pt x="1626" y="741"/>
                  </a:lnTo>
                  <a:lnTo>
                    <a:pt x="1689" y="738"/>
                  </a:lnTo>
                  <a:lnTo>
                    <a:pt x="1754" y="734"/>
                  </a:lnTo>
                  <a:lnTo>
                    <a:pt x="1819" y="729"/>
                  </a:lnTo>
                  <a:lnTo>
                    <a:pt x="1819" y="729"/>
                  </a:lnTo>
                  <a:lnTo>
                    <a:pt x="1881" y="723"/>
                  </a:lnTo>
                  <a:lnTo>
                    <a:pt x="1941" y="714"/>
                  </a:lnTo>
                  <a:lnTo>
                    <a:pt x="1999" y="706"/>
                  </a:lnTo>
                  <a:lnTo>
                    <a:pt x="2054" y="697"/>
                  </a:lnTo>
                  <a:lnTo>
                    <a:pt x="2108" y="688"/>
                  </a:lnTo>
                  <a:lnTo>
                    <a:pt x="2159" y="678"/>
                  </a:lnTo>
                  <a:lnTo>
                    <a:pt x="2209" y="666"/>
                  </a:lnTo>
                  <a:lnTo>
                    <a:pt x="2257" y="655"/>
                  </a:lnTo>
                  <a:lnTo>
                    <a:pt x="2302" y="643"/>
                  </a:lnTo>
                  <a:lnTo>
                    <a:pt x="2346" y="631"/>
                  </a:lnTo>
                  <a:lnTo>
                    <a:pt x="2387" y="618"/>
                  </a:lnTo>
                  <a:lnTo>
                    <a:pt x="2426" y="605"/>
                  </a:lnTo>
                  <a:lnTo>
                    <a:pt x="2464" y="593"/>
                  </a:lnTo>
                  <a:lnTo>
                    <a:pt x="2500" y="579"/>
                  </a:lnTo>
                  <a:lnTo>
                    <a:pt x="2533" y="566"/>
                  </a:lnTo>
                  <a:lnTo>
                    <a:pt x="2564" y="554"/>
                  </a:lnTo>
                  <a:lnTo>
                    <a:pt x="2622" y="528"/>
                  </a:lnTo>
                  <a:lnTo>
                    <a:pt x="2672" y="505"/>
                  </a:lnTo>
                  <a:lnTo>
                    <a:pt x="2713" y="483"/>
                  </a:lnTo>
                  <a:lnTo>
                    <a:pt x="2747" y="465"/>
                  </a:lnTo>
                  <a:lnTo>
                    <a:pt x="2773" y="449"/>
                  </a:lnTo>
                  <a:lnTo>
                    <a:pt x="2792" y="436"/>
                  </a:lnTo>
                  <a:lnTo>
                    <a:pt x="2807" y="426"/>
                  </a:lnTo>
                  <a:lnTo>
                    <a:pt x="2807" y="426"/>
                  </a:lnTo>
                  <a:lnTo>
                    <a:pt x="2786" y="419"/>
                  </a:lnTo>
                  <a:lnTo>
                    <a:pt x="2766" y="410"/>
                  </a:lnTo>
                  <a:lnTo>
                    <a:pt x="2745" y="402"/>
                  </a:lnTo>
                  <a:lnTo>
                    <a:pt x="2726" y="391"/>
                  </a:lnTo>
                  <a:lnTo>
                    <a:pt x="2706" y="382"/>
                  </a:lnTo>
                  <a:lnTo>
                    <a:pt x="2688" y="372"/>
                  </a:lnTo>
                  <a:lnTo>
                    <a:pt x="2651" y="349"/>
                  </a:lnTo>
                  <a:lnTo>
                    <a:pt x="2618" y="327"/>
                  </a:lnTo>
                  <a:lnTo>
                    <a:pt x="2586" y="303"/>
                  </a:lnTo>
                  <a:lnTo>
                    <a:pt x="2556" y="280"/>
                  </a:lnTo>
                  <a:lnTo>
                    <a:pt x="2529" y="256"/>
                  </a:lnTo>
                  <a:lnTo>
                    <a:pt x="2529" y="256"/>
                  </a:lnTo>
                  <a:lnTo>
                    <a:pt x="2524" y="266"/>
                  </a:lnTo>
                  <a:lnTo>
                    <a:pt x="2521" y="279"/>
                  </a:lnTo>
                  <a:lnTo>
                    <a:pt x="2518" y="294"/>
                  </a:lnTo>
                  <a:lnTo>
                    <a:pt x="2515" y="312"/>
                  </a:lnTo>
                  <a:lnTo>
                    <a:pt x="2515" y="312"/>
                  </a:lnTo>
                  <a:lnTo>
                    <a:pt x="2507" y="381"/>
                  </a:lnTo>
                  <a:lnTo>
                    <a:pt x="2503" y="414"/>
                  </a:lnTo>
                  <a:lnTo>
                    <a:pt x="2503" y="414"/>
                  </a:lnTo>
                  <a:lnTo>
                    <a:pt x="2499" y="413"/>
                  </a:lnTo>
                  <a:lnTo>
                    <a:pt x="2489" y="410"/>
                  </a:lnTo>
                  <a:lnTo>
                    <a:pt x="2470" y="403"/>
                  </a:lnTo>
                  <a:lnTo>
                    <a:pt x="2443" y="391"/>
                  </a:lnTo>
                  <a:lnTo>
                    <a:pt x="2443" y="391"/>
                  </a:lnTo>
                  <a:lnTo>
                    <a:pt x="2433" y="387"/>
                  </a:lnTo>
                  <a:lnTo>
                    <a:pt x="2423" y="381"/>
                  </a:lnTo>
                  <a:lnTo>
                    <a:pt x="2413" y="374"/>
                  </a:lnTo>
                  <a:lnTo>
                    <a:pt x="2403" y="366"/>
                  </a:lnTo>
                  <a:lnTo>
                    <a:pt x="2392" y="357"/>
                  </a:lnTo>
                  <a:lnTo>
                    <a:pt x="2381" y="347"/>
                  </a:lnTo>
                  <a:lnTo>
                    <a:pt x="2371" y="336"/>
                  </a:lnTo>
                  <a:lnTo>
                    <a:pt x="2361" y="324"/>
                  </a:lnTo>
                  <a:lnTo>
                    <a:pt x="2351" y="312"/>
                  </a:lnTo>
                  <a:lnTo>
                    <a:pt x="2342" y="297"/>
                  </a:lnTo>
                  <a:lnTo>
                    <a:pt x="2334" y="283"/>
                  </a:lnTo>
                  <a:lnTo>
                    <a:pt x="2326" y="268"/>
                  </a:lnTo>
                  <a:lnTo>
                    <a:pt x="2320" y="251"/>
                  </a:lnTo>
                  <a:lnTo>
                    <a:pt x="2316" y="235"/>
                  </a:lnTo>
                  <a:lnTo>
                    <a:pt x="2312" y="216"/>
                  </a:lnTo>
                  <a:lnTo>
                    <a:pt x="2310" y="199"/>
                  </a:lnTo>
                  <a:lnTo>
                    <a:pt x="2310" y="199"/>
                  </a:lnTo>
                  <a:lnTo>
                    <a:pt x="2309" y="174"/>
                  </a:lnTo>
                  <a:lnTo>
                    <a:pt x="2309" y="174"/>
                  </a:lnTo>
                  <a:lnTo>
                    <a:pt x="2252" y="195"/>
                  </a:lnTo>
                  <a:lnTo>
                    <a:pt x="2186" y="218"/>
                  </a:lnTo>
                  <a:lnTo>
                    <a:pt x="2149" y="231"/>
                  </a:lnTo>
                  <a:lnTo>
                    <a:pt x="2110" y="243"/>
                  </a:lnTo>
                  <a:lnTo>
                    <a:pt x="2069" y="254"/>
                  </a:lnTo>
                  <a:lnTo>
                    <a:pt x="2028" y="266"/>
                  </a:lnTo>
                  <a:lnTo>
                    <a:pt x="1984" y="277"/>
                  </a:lnTo>
                  <a:lnTo>
                    <a:pt x="1938" y="286"/>
                  </a:lnTo>
                  <a:lnTo>
                    <a:pt x="1892" y="295"/>
                  </a:lnTo>
                  <a:lnTo>
                    <a:pt x="1843" y="303"/>
                  </a:lnTo>
                  <a:lnTo>
                    <a:pt x="1795" y="311"/>
                  </a:lnTo>
                  <a:lnTo>
                    <a:pt x="1746" y="316"/>
                  </a:lnTo>
                  <a:lnTo>
                    <a:pt x="1697" y="319"/>
                  </a:lnTo>
                  <a:lnTo>
                    <a:pt x="1647" y="321"/>
                  </a:lnTo>
                  <a:lnTo>
                    <a:pt x="1647" y="321"/>
                  </a:lnTo>
                  <a:lnTo>
                    <a:pt x="1558" y="322"/>
                  </a:lnTo>
                  <a:lnTo>
                    <a:pt x="1470" y="321"/>
                  </a:lnTo>
                  <a:lnTo>
                    <a:pt x="1382" y="317"/>
                  </a:lnTo>
                  <a:lnTo>
                    <a:pt x="1293" y="312"/>
                  </a:lnTo>
                  <a:lnTo>
                    <a:pt x="1205" y="304"/>
                  </a:lnTo>
                  <a:lnTo>
                    <a:pt x="1118" y="294"/>
                  </a:lnTo>
                  <a:lnTo>
                    <a:pt x="1030" y="282"/>
                  </a:lnTo>
                  <a:lnTo>
                    <a:pt x="943" y="268"/>
                  </a:lnTo>
                  <a:lnTo>
                    <a:pt x="899" y="259"/>
                  </a:lnTo>
                  <a:lnTo>
                    <a:pt x="855" y="251"/>
                  </a:lnTo>
                  <a:lnTo>
                    <a:pt x="812" y="241"/>
                  </a:lnTo>
                  <a:lnTo>
                    <a:pt x="768" y="231"/>
                  </a:lnTo>
                  <a:lnTo>
                    <a:pt x="725" y="221"/>
                  </a:lnTo>
                  <a:lnTo>
                    <a:pt x="681" y="209"/>
                  </a:lnTo>
                  <a:lnTo>
                    <a:pt x="638" y="197"/>
                  </a:lnTo>
                  <a:lnTo>
                    <a:pt x="594" y="185"/>
                  </a:lnTo>
                  <a:lnTo>
                    <a:pt x="551" y="171"/>
                  </a:lnTo>
                  <a:lnTo>
                    <a:pt x="508" y="157"/>
                  </a:lnTo>
                  <a:lnTo>
                    <a:pt x="465" y="143"/>
                  </a:lnTo>
                  <a:lnTo>
                    <a:pt x="422" y="127"/>
                  </a:lnTo>
                  <a:lnTo>
                    <a:pt x="379" y="111"/>
                  </a:lnTo>
                  <a:lnTo>
                    <a:pt x="336" y="94"/>
                  </a:lnTo>
                  <a:lnTo>
                    <a:pt x="294" y="76"/>
                  </a:lnTo>
                  <a:lnTo>
                    <a:pt x="251" y="58"/>
                  </a:lnTo>
                  <a:lnTo>
                    <a:pt x="251" y="58"/>
                  </a:lnTo>
                  <a:lnTo>
                    <a:pt x="165" y="19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1" y="3"/>
                  </a:lnTo>
                  <a:lnTo>
                    <a:pt x="119" y="12"/>
                  </a:lnTo>
                  <a:lnTo>
                    <a:pt x="119" y="19"/>
                  </a:lnTo>
                  <a:lnTo>
                    <a:pt x="119" y="28"/>
                  </a:lnTo>
                  <a:lnTo>
                    <a:pt x="119" y="39"/>
                  </a:lnTo>
                  <a:lnTo>
                    <a:pt x="121" y="51"/>
                  </a:lnTo>
                  <a:lnTo>
                    <a:pt x="125" y="64"/>
                  </a:lnTo>
                  <a:lnTo>
                    <a:pt x="129" y="79"/>
                  </a:lnTo>
                  <a:lnTo>
                    <a:pt x="136" y="96"/>
                  </a:lnTo>
                  <a:lnTo>
                    <a:pt x="145" y="114"/>
                  </a:lnTo>
                  <a:lnTo>
                    <a:pt x="156" y="135"/>
                  </a:lnTo>
                  <a:lnTo>
                    <a:pt x="171" y="156"/>
                  </a:lnTo>
                  <a:lnTo>
                    <a:pt x="187" y="180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189" y="201"/>
                  </a:lnTo>
                  <a:lnTo>
                    <a:pt x="170" y="199"/>
                  </a:lnTo>
                  <a:lnTo>
                    <a:pt x="151" y="199"/>
                  </a:lnTo>
                  <a:lnTo>
                    <a:pt x="132" y="199"/>
                  </a:lnTo>
                  <a:lnTo>
                    <a:pt x="114" y="201"/>
                  </a:lnTo>
                  <a:lnTo>
                    <a:pt x="98" y="204"/>
                  </a:lnTo>
                  <a:lnTo>
                    <a:pt x="83" y="209"/>
                  </a:lnTo>
                  <a:lnTo>
                    <a:pt x="69" y="215"/>
                  </a:lnTo>
                  <a:lnTo>
                    <a:pt x="69" y="215"/>
                  </a:lnTo>
                  <a:lnTo>
                    <a:pt x="55" y="224"/>
                  </a:lnTo>
                  <a:lnTo>
                    <a:pt x="42" y="234"/>
                  </a:lnTo>
                  <a:lnTo>
                    <a:pt x="32" y="244"/>
                  </a:lnTo>
                  <a:lnTo>
                    <a:pt x="21" y="253"/>
                  </a:lnTo>
                  <a:lnTo>
                    <a:pt x="13" y="262"/>
                  </a:lnTo>
                  <a:lnTo>
                    <a:pt x="7" y="272"/>
                  </a:lnTo>
                  <a:lnTo>
                    <a:pt x="0" y="28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5" name="Freeform 31"/>
            <p:cNvSpPr>
              <a:spLocks/>
            </p:cNvSpPr>
            <p:nvPr userDrawn="1"/>
          </p:nvSpPr>
          <p:spPr bwMode="auto">
            <a:xfrm>
              <a:off x="800101" y="1114426"/>
              <a:ext cx="377825" cy="271463"/>
            </a:xfrm>
            <a:custGeom>
              <a:avLst/>
              <a:gdLst>
                <a:gd name="T0" fmla="*/ 2491 w 2863"/>
                <a:gd name="T1" fmla="*/ 103 h 2054"/>
                <a:gd name="T2" fmla="*/ 2575 w 2863"/>
                <a:gd name="T3" fmla="*/ 23 h 2054"/>
                <a:gd name="T4" fmla="*/ 2196 w 2863"/>
                <a:gd name="T5" fmla="*/ 132 h 2054"/>
                <a:gd name="T6" fmla="*/ 1671 w 2863"/>
                <a:gd name="T7" fmla="*/ 429 h 2054"/>
                <a:gd name="T8" fmla="*/ 1528 w 2863"/>
                <a:gd name="T9" fmla="*/ 462 h 2054"/>
                <a:gd name="T10" fmla="*/ 1416 w 2863"/>
                <a:gd name="T11" fmla="*/ 568 h 2054"/>
                <a:gd name="T12" fmla="*/ 1409 w 2863"/>
                <a:gd name="T13" fmla="*/ 634 h 2054"/>
                <a:gd name="T14" fmla="*/ 1479 w 2863"/>
                <a:gd name="T15" fmla="*/ 748 h 2054"/>
                <a:gd name="T16" fmla="*/ 1586 w 2863"/>
                <a:gd name="T17" fmla="*/ 787 h 2054"/>
                <a:gd name="T18" fmla="*/ 1476 w 2863"/>
                <a:gd name="T19" fmla="*/ 974 h 2054"/>
                <a:gd name="T20" fmla="*/ 1133 w 2863"/>
                <a:gd name="T21" fmla="*/ 1199 h 2054"/>
                <a:gd name="T22" fmla="*/ 799 w 2863"/>
                <a:gd name="T23" fmla="*/ 1254 h 2054"/>
                <a:gd name="T24" fmla="*/ 634 w 2863"/>
                <a:gd name="T25" fmla="*/ 1102 h 2054"/>
                <a:gd name="T26" fmla="*/ 539 w 2863"/>
                <a:gd name="T27" fmla="*/ 1015 h 2054"/>
                <a:gd name="T28" fmla="*/ 406 w 2863"/>
                <a:gd name="T29" fmla="*/ 1023 h 2054"/>
                <a:gd name="T30" fmla="*/ 231 w 2863"/>
                <a:gd name="T31" fmla="*/ 1090 h 2054"/>
                <a:gd name="T32" fmla="*/ 382 w 2863"/>
                <a:gd name="T33" fmla="*/ 1121 h 2054"/>
                <a:gd name="T34" fmla="*/ 351 w 2863"/>
                <a:gd name="T35" fmla="*/ 1168 h 2054"/>
                <a:gd name="T36" fmla="*/ 418 w 2863"/>
                <a:gd name="T37" fmla="*/ 1270 h 2054"/>
                <a:gd name="T38" fmla="*/ 608 w 2863"/>
                <a:gd name="T39" fmla="*/ 1387 h 2054"/>
                <a:gd name="T40" fmla="*/ 314 w 2863"/>
                <a:gd name="T41" fmla="*/ 1296 h 2054"/>
                <a:gd name="T42" fmla="*/ 234 w 2863"/>
                <a:gd name="T43" fmla="*/ 1324 h 2054"/>
                <a:gd name="T44" fmla="*/ 77 w 2863"/>
                <a:gd name="T45" fmla="*/ 1367 h 2054"/>
                <a:gd name="T46" fmla="*/ 0 w 2863"/>
                <a:gd name="T47" fmla="*/ 1480 h 2054"/>
                <a:gd name="T48" fmla="*/ 63 w 2863"/>
                <a:gd name="T49" fmla="*/ 1501 h 2054"/>
                <a:gd name="T50" fmla="*/ 166 w 2863"/>
                <a:gd name="T51" fmla="*/ 1461 h 2054"/>
                <a:gd name="T52" fmla="*/ 187 w 2863"/>
                <a:gd name="T53" fmla="*/ 1573 h 2054"/>
                <a:gd name="T54" fmla="*/ 354 w 2863"/>
                <a:gd name="T55" fmla="*/ 1597 h 2054"/>
                <a:gd name="T56" fmla="*/ 616 w 2863"/>
                <a:gd name="T57" fmla="*/ 1588 h 2054"/>
                <a:gd name="T58" fmla="*/ 382 w 2863"/>
                <a:gd name="T59" fmla="*/ 1636 h 2054"/>
                <a:gd name="T60" fmla="*/ 295 w 2863"/>
                <a:gd name="T61" fmla="*/ 1696 h 2054"/>
                <a:gd name="T62" fmla="*/ 254 w 2863"/>
                <a:gd name="T63" fmla="*/ 1795 h 2054"/>
                <a:gd name="T64" fmla="*/ 239 w 2863"/>
                <a:gd name="T65" fmla="*/ 1953 h 2054"/>
                <a:gd name="T66" fmla="*/ 335 w 2863"/>
                <a:gd name="T67" fmla="*/ 2045 h 2054"/>
                <a:gd name="T68" fmla="*/ 341 w 2863"/>
                <a:gd name="T69" fmla="*/ 1906 h 2054"/>
                <a:gd name="T70" fmla="*/ 417 w 2863"/>
                <a:gd name="T71" fmla="*/ 1946 h 2054"/>
                <a:gd name="T72" fmla="*/ 509 w 2863"/>
                <a:gd name="T73" fmla="*/ 1935 h 2054"/>
                <a:gd name="T74" fmla="*/ 732 w 2863"/>
                <a:gd name="T75" fmla="*/ 1733 h 2054"/>
                <a:gd name="T76" fmla="*/ 874 w 2863"/>
                <a:gd name="T77" fmla="*/ 1691 h 2054"/>
                <a:gd name="T78" fmla="*/ 870 w 2863"/>
                <a:gd name="T79" fmla="*/ 1786 h 2054"/>
                <a:gd name="T80" fmla="*/ 945 w 2863"/>
                <a:gd name="T81" fmla="*/ 1834 h 2054"/>
                <a:gd name="T82" fmla="*/ 875 w 2863"/>
                <a:gd name="T83" fmla="*/ 1948 h 2054"/>
                <a:gd name="T84" fmla="*/ 1004 w 2863"/>
                <a:gd name="T85" fmla="*/ 1919 h 2054"/>
                <a:gd name="T86" fmla="*/ 1100 w 2863"/>
                <a:gd name="T87" fmla="*/ 1787 h 2054"/>
                <a:gd name="T88" fmla="*/ 1159 w 2863"/>
                <a:gd name="T89" fmla="*/ 1734 h 2054"/>
                <a:gd name="T90" fmla="*/ 1183 w 2863"/>
                <a:gd name="T91" fmla="*/ 1628 h 2054"/>
                <a:gd name="T92" fmla="*/ 1338 w 2863"/>
                <a:gd name="T93" fmla="*/ 1564 h 2054"/>
                <a:gd name="T94" fmla="*/ 1370 w 2863"/>
                <a:gd name="T95" fmla="*/ 1465 h 2054"/>
                <a:gd name="T96" fmla="*/ 1461 w 2863"/>
                <a:gd name="T97" fmla="*/ 1462 h 2054"/>
                <a:gd name="T98" fmla="*/ 1684 w 2863"/>
                <a:gd name="T99" fmla="*/ 1556 h 2054"/>
                <a:gd name="T100" fmla="*/ 1888 w 2863"/>
                <a:gd name="T101" fmla="*/ 1440 h 2054"/>
                <a:gd name="T102" fmla="*/ 1799 w 2863"/>
                <a:gd name="T103" fmla="*/ 1308 h 2054"/>
                <a:gd name="T104" fmla="*/ 1857 w 2863"/>
                <a:gd name="T105" fmla="*/ 1327 h 2054"/>
                <a:gd name="T106" fmla="*/ 2183 w 2863"/>
                <a:gd name="T107" fmla="*/ 1273 h 2054"/>
                <a:gd name="T108" fmla="*/ 2142 w 2863"/>
                <a:gd name="T109" fmla="*/ 1164 h 2054"/>
                <a:gd name="T110" fmla="*/ 2112 w 2863"/>
                <a:gd name="T111" fmla="*/ 1069 h 2054"/>
                <a:gd name="T112" fmla="*/ 2121 w 2863"/>
                <a:gd name="T113" fmla="*/ 977 h 2054"/>
                <a:gd name="T114" fmla="*/ 2085 w 2863"/>
                <a:gd name="T115" fmla="*/ 807 h 2054"/>
                <a:gd name="T116" fmla="*/ 2859 w 2863"/>
                <a:gd name="T117" fmla="*/ 408 h 2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63" h="2054">
                  <a:moveTo>
                    <a:pt x="2759" y="252"/>
                  </a:moveTo>
                  <a:lnTo>
                    <a:pt x="2759" y="252"/>
                  </a:lnTo>
                  <a:lnTo>
                    <a:pt x="2742" y="239"/>
                  </a:lnTo>
                  <a:lnTo>
                    <a:pt x="2725" y="227"/>
                  </a:lnTo>
                  <a:lnTo>
                    <a:pt x="2708" y="214"/>
                  </a:lnTo>
                  <a:lnTo>
                    <a:pt x="2690" y="203"/>
                  </a:lnTo>
                  <a:lnTo>
                    <a:pt x="2655" y="184"/>
                  </a:lnTo>
                  <a:lnTo>
                    <a:pt x="2621" y="165"/>
                  </a:lnTo>
                  <a:lnTo>
                    <a:pt x="2586" y="148"/>
                  </a:lnTo>
                  <a:lnTo>
                    <a:pt x="2553" y="133"/>
                  </a:lnTo>
                  <a:lnTo>
                    <a:pt x="2522" y="118"/>
                  </a:lnTo>
                  <a:lnTo>
                    <a:pt x="2491" y="103"/>
                  </a:lnTo>
                  <a:lnTo>
                    <a:pt x="2491" y="103"/>
                  </a:lnTo>
                  <a:lnTo>
                    <a:pt x="2507" y="93"/>
                  </a:lnTo>
                  <a:lnTo>
                    <a:pt x="2523" y="82"/>
                  </a:lnTo>
                  <a:lnTo>
                    <a:pt x="2540" y="68"/>
                  </a:lnTo>
                  <a:lnTo>
                    <a:pt x="2556" y="54"/>
                  </a:lnTo>
                  <a:lnTo>
                    <a:pt x="2570" y="41"/>
                  </a:lnTo>
                  <a:lnTo>
                    <a:pt x="2574" y="35"/>
                  </a:lnTo>
                  <a:lnTo>
                    <a:pt x="2577" y="30"/>
                  </a:lnTo>
                  <a:lnTo>
                    <a:pt x="2577" y="26"/>
                  </a:lnTo>
                  <a:lnTo>
                    <a:pt x="2577" y="24"/>
                  </a:lnTo>
                  <a:lnTo>
                    <a:pt x="2575" y="23"/>
                  </a:lnTo>
                  <a:lnTo>
                    <a:pt x="2575" y="23"/>
                  </a:lnTo>
                  <a:lnTo>
                    <a:pt x="2562" y="16"/>
                  </a:lnTo>
                  <a:lnTo>
                    <a:pt x="2550" y="10"/>
                  </a:lnTo>
                  <a:lnTo>
                    <a:pt x="2538" y="6"/>
                  </a:lnTo>
                  <a:lnTo>
                    <a:pt x="2527" y="4"/>
                  </a:lnTo>
                  <a:lnTo>
                    <a:pt x="2508" y="1"/>
                  </a:lnTo>
                  <a:lnTo>
                    <a:pt x="2501" y="0"/>
                  </a:lnTo>
                  <a:lnTo>
                    <a:pt x="2501" y="0"/>
                  </a:lnTo>
                  <a:lnTo>
                    <a:pt x="2440" y="24"/>
                  </a:lnTo>
                  <a:lnTo>
                    <a:pt x="2377" y="50"/>
                  </a:lnTo>
                  <a:lnTo>
                    <a:pt x="2317" y="76"/>
                  </a:lnTo>
                  <a:lnTo>
                    <a:pt x="2256" y="103"/>
                  </a:lnTo>
                  <a:lnTo>
                    <a:pt x="2196" y="132"/>
                  </a:lnTo>
                  <a:lnTo>
                    <a:pt x="2138" y="160"/>
                  </a:lnTo>
                  <a:lnTo>
                    <a:pt x="2081" y="189"/>
                  </a:lnTo>
                  <a:lnTo>
                    <a:pt x="2026" y="219"/>
                  </a:lnTo>
                  <a:lnTo>
                    <a:pt x="1972" y="247"/>
                  </a:lnTo>
                  <a:lnTo>
                    <a:pt x="1921" y="276"/>
                  </a:lnTo>
                  <a:lnTo>
                    <a:pt x="1872" y="303"/>
                  </a:lnTo>
                  <a:lnTo>
                    <a:pt x="1825" y="331"/>
                  </a:lnTo>
                  <a:lnTo>
                    <a:pt x="1782" y="358"/>
                  </a:lnTo>
                  <a:lnTo>
                    <a:pt x="1741" y="383"/>
                  </a:lnTo>
                  <a:lnTo>
                    <a:pt x="1705" y="407"/>
                  </a:lnTo>
                  <a:lnTo>
                    <a:pt x="1671" y="429"/>
                  </a:lnTo>
                  <a:lnTo>
                    <a:pt x="1671" y="429"/>
                  </a:lnTo>
                  <a:lnTo>
                    <a:pt x="1666" y="432"/>
                  </a:lnTo>
                  <a:lnTo>
                    <a:pt x="1666" y="432"/>
                  </a:lnTo>
                  <a:lnTo>
                    <a:pt x="1654" y="439"/>
                  </a:lnTo>
                  <a:lnTo>
                    <a:pt x="1643" y="446"/>
                  </a:lnTo>
                  <a:lnTo>
                    <a:pt x="1632" y="451"/>
                  </a:lnTo>
                  <a:lnTo>
                    <a:pt x="1620" y="455"/>
                  </a:lnTo>
                  <a:lnTo>
                    <a:pt x="1608" y="458"/>
                  </a:lnTo>
                  <a:lnTo>
                    <a:pt x="1597" y="461"/>
                  </a:lnTo>
                  <a:lnTo>
                    <a:pt x="1585" y="462"/>
                  </a:lnTo>
                  <a:lnTo>
                    <a:pt x="1574" y="463"/>
                  </a:lnTo>
                  <a:lnTo>
                    <a:pt x="1550" y="464"/>
                  </a:lnTo>
                  <a:lnTo>
                    <a:pt x="1528" y="462"/>
                  </a:lnTo>
                  <a:lnTo>
                    <a:pt x="1505" y="459"/>
                  </a:lnTo>
                  <a:lnTo>
                    <a:pt x="1485" y="454"/>
                  </a:lnTo>
                  <a:lnTo>
                    <a:pt x="1465" y="449"/>
                  </a:lnTo>
                  <a:lnTo>
                    <a:pt x="1448" y="442"/>
                  </a:lnTo>
                  <a:lnTo>
                    <a:pt x="1433" y="436"/>
                  </a:lnTo>
                  <a:lnTo>
                    <a:pt x="1418" y="430"/>
                  </a:lnTo>
                  <a:lnTo>
                    <a:pt x="1399" y="420"/>
                  </a:lnTo>
                  <a:lnTo>
                    <a:pt x="1393" y="416"/>
                  </a:lnTo>
                  <a:lnTo>
                    <a:pt x="1372" y="544"/>
                  </a:lnTo>
                  <a:lnTo>
                    <a:pt x="1372" y="544"/>
                  </a:lnTo>
                  <a:lnTo>
                    <a:pt x="1395" y="557"/>
                  </a:lnTo>
                  <a:lnTo>
                    <a:pt x="1416" y="568"/>
                  </a:lnTo>
                  <a:lnTo>
                    <a:pt x="1437" y="577"/>
                  </a:lnTo>
                  <a:lnTo>
                    <a:pt x="1454" y="586"/>
                  </a:lnTo>
                  <a:lnTo>
                    <a:pt x="1470" y="592"/>
                  </a:lnTo>
                  <a:lnTo>
                    <a:pt x="1486" y="596"/>
                  </a:lnTo>
                  <a:lnTo>
                    <a:pt x="1499" y="600"/>
                  </a:lnTo>
                  <a:lnTo>
                    <a:pt x="1510" y="602"/>
                  </a:lnTo>
                  <a:lnTo>
                    <a:pt x="1510" y="602"/>
                  </a:lnTo>
                  <a:lnTo>
                    <a:pt x="1491" y="606"/>
                  </a:lnTo>
                  <a:lnTo>
                    <a:pt x="1470" y="611"/>
                  </a:lnTo>
                  <a:lnTo>
                    <a:pt x="1450" y="617"/>
                  </a:lnTo>
                  <a:lnTo>
                    <a:pt x="1428" y="625"/>
                  </a:lnTo>
                  <a:lnTo>
                    <a:pt x="1409" y="634"/>
                  </a:lnTo>
                  <a:lnTo>
                    <a:pt x="1391" y="645"/>
                  </a:lnTo>
                  <a:lnTo>
                    <a:pt x="1381" y="650"/>
                  </a:lnTo>
                  <a:lnTo>
                    <a:pt x="1373" y="656"/>
                  </a:lnTo>
                  <a:lnTo>
                    <a:pt x="1366" y="663"/>
                  </a:lnTo>
                  <a:lnTo>
                    <a:pt x="1360" y="670"/>
                  </a:lnTo>
                  <a:lnTo>
                    <a:pt x="1404" y="788"/>
                  </a:lnTo>
                  <a:lnTo>
                    <a:pt x="1404" y="788"/>
                  </a:lnTo>
                  <a:lnTo>
                    <a:pt x="1416" y="779"/>
                  </a:lnTo>
                  <a:lnTo>
                    <a:pt x="1432" y="770"/>
                  </a:lnTo>
                  <a:lnTo>
                    <a:pt x="1453" y="758"/>
                  </a:lnTo>
                  <a:lnTo>
                    <a:pt x="1465" y="753"/>
                  </a:lnTo>
                  <a:lnTo>
                    <a:pt x="1479" y="748"/>
                  </a:lnTo>
                  <a:lnTo>
                    <a:pt x="1494" y="743"/>
                  </a:lnTo>
                  <a:lnTo>
                    <a:pt x="1509" y="738"/>
                  </a:lnTo>
                  <a:lnTo>
                    <a:pt x="1527" y="734"/>
                  </a:lnTo>
                  <a:lnTo>
                    <a:pt x="1545" y="731"/>
                  </a:lnTo>
                  <a:lnTo>
                    <a:pt x="1564" y="729"/>
                  </a:lnTo>
                  <a:lnTo>
                    <a:pt x="1585" y="728"/>
                  </a:lnTo>
                  <a:lnTo>
                    <a:pt x="1585" y="728"/>
                  </a:lnTo>
                  <a:lnTo>
                    <a:pt x="1588" y="744"/>
                  </a:lnTo>
                  <a:lnTo>
                    <a:pt x="1588" y="744"/>
                  </a:lnTo>
                  <a:lnTo>
                    <a:pt x="1588" y="758"/>
                  </a:lnTo>
                  <a:lnTo>
                    <a:pt x="1588" y="773"/>
                  </a:lnTo>
                  <a:lnTo>
                    <a:pt x="1586" y="787"/>
                  </a:lnTo>
                  <a:lnTo>
                    <a:pt x="1583" y="802"/>
                  </a:lnTo>
                  <a:lnTo>
                    <a:pt x="1578" y="818"/>
                  </a:lnTo>
                  <a:lnTo>
                    <a:pt x="1573" y="833"/>
                  </a:lnTo>
                  <a:lnTo>
                    <a:pt x="1565" y="848"/>
                  </a:lnTo>
                  <a:lnTo>
                    <a:pt x="1557" y="864"/>
                  </a:lnTo>
                  <a:lnTo>
                    <a:pt x="1549" y="880"/>
                  </a:lnTo>
                  <a:lnTo>
                    <a:pt x="1539" y="895"/>
                  </a:lnTo>
                  <a:lnTo>
                    <a:pt x="1528" y="912"/>
                  </a:lnTo>
                  <a:lnTo>
                    <a:pt x="1516" y="927"/>
                  </a:lnTo>
                  <a:lnTo>
                    <a:pt x="1503" y="943"/>
                  </a:lnTo>
                  <a:lnTo>
                    <a:pt x="1490" y="959"/>
                  </a:lnTo>
                  <a:lnTo>
                    <a:pt x="1476" y="974"/>
                  </a:lnTo>
                  <a:lnTo>
                    <a:pt x="1461" y="989"/>
                  </a:lnTo>
                  <a:lnTo>
                    <a:pt x="1429" y="1020"/>
                  </a:lnTo>
                  <a:lnTo>
                    <a:pt x="1396" y="1049"/>
                  </a:lnTo>
                  <a:lnTo>
                    <a:pt x="1360" y="1076"/>
                  </a:lnTo>
                  <a:lnTo>
                    <a:pt x="1323" y="1102"/>
                  </a:lnTo>
                  <a:lnTo>
                    <a:pt x="1285" y="1126"/>
                  </a:lnTo>
                  <a:lnTo>
                    <a:pt x="1247" y="1148"/>
                  </a:lnTo>
                  <a:lnTo>
                    <a:pt x="1209" y="1167"/>
                  </a:lnTo>
                  <a:lnTo>
                    <a:pt x="1189" y="1177"/>
                  </a:lnTo>
                  <a:lnTo>
                    <a:pt x="1171" y="1185"/>
                  </a:lnTo>
                  <a:lnTo>
                    <a:pt x="1171" y="1185"/>
                  </a:lnTo>
                  <a:lnTo>
                    <a:pt x="1133" y="1199"/>
                  </a:lnTo>
                  <a:lnTo>
                    <a:pt x="1095" y="1211"/>
                  </a:lnTo>
                  <a:lnTo>
                    <a:pt x="1060" y="1223"/>
                  </a:lnTo>
                  <a:lnTo>
                    <a:pt x="1026" y="1232"/>
                  </a:lnTo>
                  <a:lnTo>
                    <a:pt x="993" y="1240"/>
                  </a:lnTo>
                  <a:lnTo>
                    <a:pt x="962" y="1246"/>
                  </a:lnTo>
                  <a:lnTo>
                    <a:pt x="933" y="1250"/>
                  </a:lnTo>
                  <a:lnTo>
                    <a:pt x="905" y="1254"/>
                  </a:lnTo>
                  <a:lnTo>
                    <a:pt x="879" y="1256"/>
                  </a:lnTo>
                  <a:lnTo>
                    <a:pt x="856" y="1257"/>
                  </a:lnTo>
                  <a:lnTo>
                    <a:pt x="834" y="1257"/>
                  </a:lnTo>
                  <a:lnTo>
                    <a:pt x="815" y="1256"/>
                  </a:lnTo>
                  <a:lnTo>
                    <a:pt x="799" y="1254"/>
                  </a:lnTo>
                  <a:lnTo>
                    <a:pt x="785" y="1251"/>
                  </a:lnTo>
                  <a:lnTo>
                    <a:pt x="774" y="1247"/>
                  </a:lnTo>
                  <a:lnTo>
                    <a:pt x="765" y="1243"/>
                  </a:lnTo>
                  <a:lnTo>
                    <a:pt x="765" y="1243"/>
                  </a:lnTo>
                  <a:lnTo>
                    <a:pt x="741" y="1227"/>
                  </a:lnTo>
                  <a:lnTo>
                    <a:pt x="720" y="1209"/>
                  </a:lnTo>
                  <a:lnTo>
                    <a:pt x="701" y="1191"/>
                  </a:lnTo>
                  <a:lnTo>
                    <a:pt x="685" y="1172"/>
                  </a:lnTo>
                  <a:lnTo>
                    <a:pt x="670" y="1155"/>
                  </a:lnTo>
                  <a:lnTo>
                    <a:pt x="656" y="1137"/>
                  </a:lnTo>
                  <a:lnTo>
                    <a:pt x="645" y="1119"/>
                  </a:lnTo>
                  <a:lnTo>
                    <a:pt x="634" y="1102"/>
                  </a:lnTo>
                  <a:lnTo>
                    <a:pt x="615" y="1071"/>
                  </a:lnTo>
                  <a:lnTo>
                    <a:pt x="605" y="1057"/>
                  </a:lnTo>
                  <a:lnTo>
                    <a:pt x="596" y="1045"/>
                  </a:lnTo>
                  <a:lnTo>
                    <a:pt x="587" y="1033"/>
                  </a:lnTo>
                  <a:lnTo>
                    <a:pt x="577" y="1025"/>
                  </a:lnTo>
                  <a:lnTo>
                    <a:pt x="565" y="1018"/>
                  </a:lnTo>
                  <a:lnTo>
                    <a:pt x="559" y="1015"/>
                  </a:lnTo>
                  <a:lnTo>
                    <a:pt x="553" y="1013"/>
                  </a:lnTo>
                  <a:lnTo>
                    <a:pt x="553" y="1013"/>
                  </a:lnTo>
                  <a:lnTo>
                    <a:pt x="549" y="1013"/>
                  </a:lnTo>
                  <a:lnTo>
                    <a:pt x="546" y="1013"/>
                  </a:lnTo>
                  <a:lnTo>
                    <a:pt x="539" y="1015"/>
                  </a:lnTo>
                  <a:lnTo>
                    <a:pt x="532" y="1018"/>
                  </a:lnTo>
                  <a:lnTo>
                    <a:pt x="524" y="1022"/>
                  </a:lnTo>
                  <a:lnTo>
                    <a:pt x="516" y="1026"/>
                  </a:lnTo>
                  <a:lnTo>
                    <a:pt x="507" y="1029"/>
                  </a:lnTo>
                  <a:lnTo>
                    <a:pt x="499" y="1031"/>
                  </a:lnTo>
                  <a:lnTo>
                    <a:pt x="494" y="1031"/>
                  </a:lnTo>
                  <a:lnTo>
                    <a:pt x="489" y="1031"/>
                  </a:lnTo>
                  <a:lnTo>
                    <a:pt x="489" y="1031"/>
                  </a:lnTo>
                  <a:lnTo>
                    <a:pt x="468" y="1028"/>
                  </a:lnTo>
                  <a:lnTo>
                    <a:pt x="448" y="1025"/>
                  </a:lnTo>
                  <a:lnTo>
                    <a:pt x="427" y="1024"/>
                  </a:lnTo>
                  <a:lnTo>
                    <a:pt x="406" y="1023"/>
                  </a:lnTo>
                  <a:lnTo>
                    <a:pt x="386" y="1023"/>
                  </a:lnTo>
                  <a:lnTo>
                    <a:pt x="366" y="1025"/>
                  </a:lnTo>
                  <a:lnTo>
                    <a:pt x="347" y="1027"/>
                  </a:lnTo>
                  <a:lnTo>
                    <a:pt x="327" y="1031"/>
                  </a:lnTo>
                  <a:lnTo>
                    <a:pt x="309" y="1035"/>
                  </a:lnTo>
                  <a:lnTo>
                    <a:pt x="292" y="1043"/>
                  </a:lnTo>
                  <a:lnTo>
                    <a:pt x="276" y="1050"/>
                  </a:lnTo>
                  <a:lnTo>
                    <a:pt x="262" y="1059"/>
                  </a:lnTo>
                  <a:lnTo>
                    <a:pt x="248" y="1070"/>
                  </a:lnTo>
                  <a:lnTo>
                    <a:pt x="242" y="1076"/>
                  </a:lnTo>
                  <a:lnTo>
                    <a:pt x="236" y="1082"/>
                  </a:lnTo>
                  <a:lnTo>
                    <a:pt x="231" y="1090"/>
                  </a:lnTo>
                  <a:lnTo>
                    <a:pt x="227" y="1098"/>
                  </a:lnTo>
                  <a:lnTo>
                    <a:pt x="223" y="1105"/>
                  </a:lnTo>
                  <a:lnTo>
                    <a:pt x="219" y="1114"/>
                  </a:lnTo>
                  <a:lnTo>
                    <a:pt x="219" y="1114"/>
                  </a:lnTo>
                  <a:lnTo>
                    <a:pt x="257" y="1112"/>
                  </a:lnTo>
                  <a:lnTo>
                    <a:pt x="292" y="1111"/>
                  </a:lnTo>
                  <a:lnTo>
                    <a:pt x="312" y="1111"/>
                  </a:lnTo>
                  <a:lnTo>
                    <a:pt x="331" y="1112"/>
                  </a:lnTo>
                  <a:lnTo>
                    <a:pt x="349" y="1113"/>
                  </a:lnTo>
                  <a:lnTo>
                    <a:pt x="364" y="1116"/>
                  </a:lnTo>
                  <a:lnTo>
                    <a:pt x="377" y="1119"/>
                  </a:lnTo>
                  <a:lnTo>
                    <a:pt x="382" y="1121"/>
                  </a:lnTo>
                  <a:lnTo>
                    <a:pt x="387" y="1123"/>
                  </a:lnTo>
                  <a:lnTo>
                    <a:pt x="389" y="1126"/>
                  </a:lnTo>
                  <a:lnTo>
                    <a:pt x="391" y="1130"/>
                  </a:lnTo>
                  <a:lnTo>
                    <a:pt x="391" y="1133"/>
                  </a:lnTo>
                  <a:lnTo>
                    <a:pt x="389" y="1137"/>
                  </a:lnTo>
                  <a:lnTo>
                    <a:pt x="386" y="1141"/>
                  </a:lnTo>
                  <a:lnTo>
                    <a:pt x="381" y="1146"/>
                  </a:lnTo>
                  <a:lnTo>
                    <a:pt x="374" y="1151"/>
                  </a:lnTo>
                  <a:lnTo>
                    <a:pt x="366" y="1156"/>
                  </a:lnTo>
                  <a:lnTo>
                    <a:pt x="366" y="1156"/>
                  </a:lnTo>
                  <a:lnTo>
                    <a:pt x="357" y="1162"/>
                  </a:lnTo>
                  <a:lnTo>
                    <a:pt x="351" y="1168"/>
                  </a:lnTo>
                  <a:lnTo>
                    <a:pt x="346" y="1175"/>
                  </a:lnTo>
                  <a:lnTo>
                    <a:pt x="344" y="1182"/>
                  </a:lnTo>
                  <a:lnTo>
                    <a:pt x="343" y="1189"/>
                  </a:lnTo>
                  <a:lnTo>
                    <a:pt x="344" y="1195"/>
                  </a:lnTo>
                  <a:lnTo>
                    <a:pt x="346" y="1202"/>
                  </a:lnTo>
                  <a:lnTo>
                    <a:pt x="349" y="1209"/>
                  </a:lnTo>
                  <a:lnTo>
                    <a:pt x="354" y="1217"/>
                  </a:lnTo>
                  <a:lnTo>
                    <a:pt x="360" y="1225"/>
                  </a:lnTo>
                  <a:lnTo>
                    <a:pt x="368" y="1232"/>
                  </a:lnTo>
                  <a:lnTo>
                    <a:pt x="376" y="1239"/>
                  </a:lnTo>
                  <a:lnTo>
                    <a:pt x="396" y="1254"/>
                  </a:lnTo>
                  <a:lnTo>
                    <a:pt x="418" y="1270"/>
                  </a:lnTo>
                  <a:lnTo>
                    <a:pt x="442" y="1285"/>
                  </a:lnTo>
                  <a:lnTo>
                    <a:pt x="467" y="1299"/>
                  </a:lnTo>
                  <a:lnTo>
                    <a:pt x="519" y="1327"/>
                  </a:lnTo>
                  <a:lnTo>
                    <a:pt x="565" y="1350"/>
                  </a:lnTo>
                  <a:lnTo>
                    <a:pt x="585" y="1361"/>
                  </a:lnTo>
                  <a:lnTo>
                    <a:pt x="601" y="1370"/>
                  </a:lnTo>
                  <a:lnTo>
                    <a:pt x="601" y="1370"/>
                  </a:lnTo>
                  <a:lnTo>
                    <a:pt x="608" y="1375"/>
                  </a:lnTo>
                  <a:lnTo>
                    <a:pt x="611" y="1379"/>
                  </a:lnTo>
                  <a:lnTo>
                    <a:pt x="613" y="1382"/>
                  </a:lnTo>
                  <a:lnTo>
                    <a:pt x="611" y="1385"/>
                  </a:lnTo>
                  <a:lnTo>
                    <a:pt x="608" y="1387"/>
                  </a:lnTo>
                  <a:lnTo>
                    <a:pt x="604" y="1389"/>
                  </a:lnTo>
                  <a:lnTo>
                    <a:pt x="598" y="1390"/>
                  </a:lnTo>
                  <a:lnTo>
                    <a:pt x="598" y="1390"/>
                  </a:lnTo>
                  <a:lnTo>
                    <a:pt x="588" y="1390"/>
                  </a:lnTo>
                  <a:lnTo>
                    <a:pt x="576" y="1388"/>
                  </a:lnTo>
                  <a:lnTo>
                    <a:pt x="561" y="1385"/>
                  </a:lnTo>
                  <a:lnTo>
                    <a:pt x="545" y="1380"/>
                  </a:lnTo>
                  <a:lnTo>
                    <a:pt x="509" y="1369"/>
                  </a:lnTo>
                  <a:lnTo>
                    <a:pt x="469" y="1354"/>
                  </a:lnTo>
                  <a:lnTo>
                    <a:pt x="387" y="1323"/>
                  </a:lnTo>
                  <a:lnTo>
                    <a:pt x="349" y="1307"/>
                  </a:lnTo>
                  <a:lnTo>
                    <a:pt x="314" y="1296"/>
                  </a:lnTo>
                  <a:lnTo>
                    <a:pt x="314" y="1296"/>
                  </a:lnTo>
                  <a:lnTo>
                    <a:pt x="303" y="1293"/>
                  </a:lnTo>
                  <a:lnTo>
                    <a:pt x="292" y="1291"/>
                  </a:lnTo>
                  <a:lnTo>
                    <a:pt x="283" y="1291"/>
                  </a:lnTo>
                  <a:lnTo>
                    <a:pt x="275" y="1292"/>
                  </a:lnTo>
                  <a:lnTo>
                    <a:pt x="268" y="1294"/>
                  </a:lnTo>
                  <a:lnTo>
                    <a:pt x="262" y="1297"/>
                  </a:lnTo>
                  <a:lnTo>
                    <a:pt x="257" y="1300"/>
                  </a:lnTo>
                  <a:lnTo>
                    <a:pt x="253" y="1303"/>
                  </a:lnTo>
                  <a:lnTo>
                    <a:pt x="244" y="1312"/>
                  </a:lnTo>
                  <a:lnTo>
                    <a:pt x="238" y="1319"/>
                  </a:lnTo>
                  <a:lnTo>
                    <a:pt x="234" y="1324"/>
                  </a:lnTo>
                  <a:lnTo>
                    <a:pt x="231" y="1325"/>
                  </a:lnTo>
                  <a:lnTo>
                    <a:pt x="229" y="1326"/>
                  </a:lnTo>
                  <a:lnTo>
                    <a:pt x="229" y="1326"/>
                  </a:lnTo>
                  <a:lnTo>
                    <a:pt x="220" y="1325"/>
                  </a:lnTo>
                  <a:lnTo>
                    <a:pt x="210" y="1324"/>
                  </a:lnTo>
                  <a:lnTo>
                    <a:pt x="198" y="1325"/>
                  </a:lnTo>
                  <a:lnTo>
                    <a:pt x="188" y="1325"/>
                  </a:lnTo>
                  <a:lnTo>
                    <a:pt x="166" y="1329"/>
                  </a:lnTo>
                  <a:lnTo>
                    <a:pt x="143" y="1335"/>
                  </a:lnTo>
                  <a:lnTo>
                    <a:pt x="121" y="1343"/>
                  </a:lnTo>
                  <a:lnTo>
                    <a:pt x="98" y="1353"/>
                  </a:lnTo>
                  <a:lnTo>
                    <a:pt x="77" y="1367"/>
                  </a:lnTo>
                  <a:lnTo>
                    <a:pt x="66" y="1374"/>
                  </a:lnTo>
                  <a:lnTo>
                    <a:pt x="57" y="1381"/>
                  </a:lnTo>
                  <a:lnTo>
                    <a:pt x="48" y="1389"/>
                  </a:lnTo>
                  <a:lnTo>
                    <a:pt x="40" y="1397"/>
                  </a:lnTo>
                  <a:lnTo>
                    <a:pt x="32" y="1407"/>
                  </a:lnTo>
                  <a:lnTo>
                    <a:pt x="25" y="1416"/>
                  </a:lnTo>
                  <a:lnTo>
                    <a:pt x="18" y="1426"/>
                  </a:lnTo>
                  <a:lnTo>
                    <a:pt x="12" y="1435"/>
                  </a:lnTo>
                  <a:lnTo>
                    <a:pt x="8" y="1446"/>
                  </a:lnTo>
                  <a:lnTo>
                    <a:pt x="4" y="1458"/>
                  </a:lnTo>
                  <a:lnTo>
                    <a:pt x="2" y="1469"/>
                  </a:lnTo>
                  <a:lnTo>
                    <a:pt x="0" y="1480"/>
                  </a:lnTo>
                  <a:lnTo>
                    <a:pt x="0" y="1492"/>
                  </a:lnTo>
                  <a:lnTo>
                    <a:pt x="0" y="1505"/>
                  </a:lnTo>
                  <a:lnTo>
                    <a:pt x="3" y="1518"/>
                  </a:lnTo>
                  <a:lnTo>
                    <a:pt x="6" y="1530"/>
                  </a:lnTo>
                  <a:lnTo>
                    <a:pt x="11" y="1544"/>
                  </a:lnTo>
                  <a:lnTo>
                    <a:pt x="17" y="1558"/>
                  </a:lnTo>
                  <a:lnTo>
                    <a:pt x="17" y="1558"/>
                  </a:lnTo>
                  <a:lnTo>
                    <a:pt x="20" y="1553"/>
                  </a:lnTo>
                  <a:lnTo>
                    <a:pt x="30" y="1540"/>
                  </a:lnTo>
                  <a:lnTo>
                    <a:pt x="45" y="1521"/>
                  </a:lnTo>
                  <a:lnTo>
                    <a:pt x="53" y="1511"/>
                  </a:lnTo>
                  <a:lnTo>
                    <a:pt x="63" y="1501"/>
                  </a:lnTo>
                  <a:lnTo>
                    <a:pt x="75" y="1490"/>
                  </a:lnTo>
                  <a:lnTo>
                    <a:pt x="86" y="1481"/>
                  </a:lnTo>
                  <a:lnTo>
                    <a:pt x="98" y="1473"/>
                  </a:lnTo>
                  <a:lnTo>
                    <a:pt x="111" y="1466"/>
                  </a:lnTo>
                  <a:lnTo>
                    <a:pt x="125" y="1461"/>
                  </a:lnTo>
                  <a:lnTo>
                    <a:pt x="131" y="1459"/>
                  </a:lnTo>
                  <a:lnTo>
                    <a:pt x="138" y="1458"/>
                  </a:lnTo>
                  <a:lnTo>
                    <a:pt x="145" y="1458"/>
                  </a:lnTo>
                  <a:lnTo>
                    <a:pt x="151" y="1458"/>
                  </a:lnTo>
                  <a:lnTo>
                    <a:pt x="159" y="1459"/>
                  </a:lnTo>
                  <a:lnTo>
                    <a:pt x="166" y="1461"/>
                  </a:lnTo>
                  <a:lnTo>
                    <a:pt x="166" y="1461"/>
                  </a:lnTo>
                  <a:lnTo>
                    <a:pt x="171" y="1463"/>
                  </a:lnTo>
                  <a:lnTo>
                    <a:pt x="174" y="1467"/>
                  </a:lnTo>
                  <a:lnTo>
                    <a:pt x="175" y="1473"/>
                  </a:lnTo>
                  <a:lnTo>
                    <a:pt x="176" y="1479"/>
                  </a:lnTo>
                  <a:lnTo>
                    <a:pt x="176" y="1496"/>
                  </a:lnTo>
                  <a:lnTo>
                    <a:pt x="174" y="1514"/>
                  </a:lnTo>
                  <a:lnTo>
                    <a:pt x="174" y="1524"/>
                  </a:lnTo>
                  <a:lnTo>
                    <a:pt x="174" y="1534"/>
                  </a:lnTo>
                  <a:lnTo>
                    <a:pt x="176" y="1545"/>
                  </a:lnTo>
                  <a:lnTo>
                    <a:pt x="178" y="1554"/>
                  </a:lnTo>
                  <a:lnTo>
                    <a:pt x="182" y="1564"/>
                  </a:lnTo>
                  <a:lnTo>
                    <a:pt x="187" y="1573"/>
                  </a:lnTo>
                  <a:lnTo>
                    <a:pt x="195" y="1581"/>
                  </a:lnTo>
                  <a:lnTo>
                    <a:pt x="205" y="1589"/>
                  </a:lnTo>
                  <a:lnTo>
                    <a:pt x="205" y="1589"/>
                  </a:lnTo>
                  <a:lnTo>
                    <a:pt x="213" y="1593"/>
                  </a:lnTo>
                  <a:lnTo>
                    <a:pt x="221" y="1596"/>
                  </a:lnTo>
                  <a:lnTo>
                    <a:pt x="231" y="1599"/>
                  </a:lnTo>
                  <a:lnTo>
                    <a:pt x="242" y="1600"/>
                  </a:lnTo>
                  <a:lnTo>
                    <a:pt x="254" y="1602"/>
                  </a:lnTo>
                  <a:lnTo>
                    <a:pt x="267" y="1602"/>
                  </a:lnTo>
                  <a:lnTo>
                    <a:pt x="293" y="1602"/>
                  </a:lnTo>
                  <a:lnTo>
                    <a:pt x="323" y="1600"/>
                  </a:lnTo>
                  <a:lnTo>
                    <a:pt x="354" y="1597"/>
                  </a:lnTo>
                  <a:lnTo>
                    <a:pt x="418" y="1589"/>
                  </a:lnTo>
                  <a:lnTo>
                    <a:pt x="481" y="1580"/>
                  </a:lnTo>
                  <a:lnTo>
                    <a:pt x="510" y="1576"/>
                  </a:lnTo>
                  <a:lnTo>
                    <a:pt x="538" y="1574"/>
                  </a:lnTo>
                  <a:lnTo>
                    <a:pt x="562" y="1573"/>
                  </a:lnTo>
                  <a:lnTo>
                    <a:pt x="583" y="1574"/>
                  </a:lnTo>
                  <a:lnTo>
                    <a:pt x="592" y="1575"/>
                  </a:lnTo>
                  <a:lnTo>
                    <a:pt x="600" y="1577"/>
                  </a:lnTo>
                  <a:lnTo>
                    <a:pt x="607" y="1580"/>
                  </a:lnTo>
                  <a:lnTo>
                    <a:pt x="613" y="1585"/>
                  </a:lnTo>
                  <a:lnTo>
                    <a:pt x="613" y="1585"/>
                  </a:lnTo>
                  <a:lnTo>
                    <a:pt x="616" y="1588"/>
                  </a:lnTo>
                  <a:lnTo>
                    <a:pt x="617" y="1591"/>
                  </a:lnTo>
                  <a:lnTo>
                    <a:pt x="616" y="1593"/>
                  </a:lnTo>
                  <a:lnTo>
                    <a:pt x="611" y="1596"/>
                  </a:lnTo>
                  <a:lnTo>
                    <a:pt x="607" y="1598"/>
                  </a:lnTo>
                  <a:lnTo>
                    <a:pt x="600" y="1601"/>
                  </a:lnTo>
                  <a:lnTo>
                    <a:pt x="583" y="1605"/>
                  </a:lnTo>
                  <a:lnTo>
                    <a:pt x="560" y="1609"/>
                  </a:lnTo>
                  <a:lnTo>
                    <a:pt x="535" y="1612"/>
                  </a:lnTo>
                  <a:lnTo>
                    <a:pt x="474" y="1620"/>
                  </a:lnTo>
                  <a:lnTo>
                    <a:pt x="443" y="1624"/>
                  </a:lnTo>
                  <a:lnTo>
                    <a:pt x="412" y="1629"/>
                  </a:lnTo>
                  <a:lnTo>
                    <a:pt x="382" y="1636"/>
                  </a:lnTo>
                  <a:lnTo>
                    <a:pt x="356" y="1642"/>
                  </a:lnTo>
                  <a:lnTo>
                    <a:pt x="344" y="1646"/>
                  </a:lnTo>
                  <a:lnTo>
                    <a:pt x="332" y="1650"/>
                  </a:lnTo>
                  <a:lnTo>
                    <a:pt x="322" y="1654"/>
                  </a:lnTo>
                  <a:lnTo>
                    <a:pt x="314" y="1659"/>
                  </a:lnTo>
                  <a:lnTo>
                    <a:pt x="307" y="1664"/>
                  </a:lnTo>
                  <a:lnTo>
                    <a:pt x="302" y="1669"/>
                  </a:lnTo>
                  <a:lnTo>
                    <a:pt x="298" y="1676"/>
                  </a:lnTo>
                  <a:lnTo>
                    <a:pt x="296" y="1682"/>
                  </a:lnTo>
                  <a:lnTo>
                    <a:pt x="296" y="1682"/>
                  </a:lnTo>
                  <a:lnTo>
                    <a:pt x="295" y="1687"/>
                  </a:lnTo>
                  <a:lnTo>
                    <a:pt x="295" y="1696"/>
                  </a:lnTo>
                  <a:lnTo>
                    <a:pt x="296" y="1707"/>
                  </a:lnTo>
                  <a:lnTo>
                    <a:pt x="298" y="1713"/>
                  </a:lnTo>
                  <a:lnTo>
                    <a:pt x="300" y="1718"/>
                  </a:lnTo>
                  <a:lnTo>
                    <a:pt x="300" y="1718"/>
                  </a:lnTo>
                  <a:lnTo>
                    <a:pt x="301" y="1725"/>
                  </a:lnTo>
                  <a:lnTo>
                    <a:pt x="301" y="1731"/>
                  </a:lnTo>
                  <a:lnTo>
                    <a:pt x="298" y="1737"/>
                  </a:lnTo>
                  <a:lnTo>
                    <a:pt x="293" y="1743"/>
                  </a:lnTo>
                  <a:lnTo>
                    <a:pt x="283" y="1757"/>
                  </a:lnTo>
                  <a:lnTo>
                    <a:pt x="269" y="1775"/>
                  </a:lnTo>
                  <a:lnTo>
                    <a:pt x="261" y="1785"/>
                  </a:lnTo>
                  <a:lnTo>
                    <a:pt x="254" y="1795"/>
                  </a:lnTo>
                  <a:lnTo>
                    <a:pt x="246" y="1807"/>
                  </a:lnTo>
                  <a:lnTo>
                    <a:pt x="240" y="1820"/>
                  </a:lnTo>
                  <a:lnTo>
                    <a:pt x="234" y="1834"/>
                  </a:lnTo>
                  <a:lnTo>
                    <a:pt x="230" y="1849"/>
                  </a:lnTo>
                  <a:lnTo>
                    <a:pt x="226" y="1866"/>
                  </a:lnTo>
                  <a:lnTo>
                    <a:pt x="225" y="1884"/>
                  </a:lnTo>
                  <a:lnTo>
                    <a:pt x="225" y="1884"/>
                  </a:lnTo>
                  <a:lnTo>
                    <a:pt x="225" y="1893"/>
                  </a:lnTo>
                  <a:lnTo>
                    <a:pt x="225" y="1902"/>
                  </a:lnTo>
                  <a:lnTo>
                    <a:pt x="228" y="1920"/>
                  </a:lnTo>
                  <a:lnTo>
                    <a:pt x="233" y="1937"/>
                  </a:lnTo>
                  <a:lnTo>
                    <a:pt x="239" y="1953"/>
                  </a:lnTo>
                  <a:lnTo>
                    <a:pt x="247" y="1968"/>
                  </a:lnTo>
                  <a:lnTo>
                    <a:pt x="257" y="1982"/>
                  </a:lnTo>
                  <a:lnTo>
                    <a:pt x="267" y="1995"/>
                  </a:lnTo>
                  <a:lnTo>
                    <a:pt x="277" y="2007"/>
                  </a:lnTo>
                  <a:lnTo>
                    <a:pt x="287" y="2017"/>
                  </a:lnTo>
                  <a:lnTo>
                    <a:pt x="298" y="2026"/>
                  </a:lnTo>
                  <a:lnTo>
                    <a:pt x="315" y="2042"/>
                  </a:lnTo>
                  <a:lnTo>
                    <a:pt x="327" y="2050"/>
                  </a:lnTo>
                  <a:lnTo>
                    <a:pt x="332" y="2054"/>
                  </a:lnTo>
                  <a:lnTo>
                    <a:pt x="332" y="2054"/>
                  </a:lnTo>
                  <a:lnTo>
                    <a:pt x="334" y="2050"/>
                  </a:lnTo>
                  <a:lnTo>
                    <a:pt x="335" y="2045"/>
                  </a:lnTo>
                  <a:lnTo>
                    <a:pt x="335" y="2036"/>
                  </a:lnTo>
                  <a:lnTo>
                    <a:pt x="334" y="2027"/>
                  </a:lnTo>
                  <a:lnTo>
                    <a:pt x="331" y="2006"/>
                  </a:lnTo>
                  <a:lnTo>
                    <a:pt x="328" y="1980"/>
                  </a:lnTo>
                  <a:lnTo>
                    <a:pt x="327" y="1968"/>
                  </a:lnTo>
                  <a:lnTo>
                    <a:pt x="326" y="1955"/>
                  </a:lnTo>
                  <a:lnTo>
                    <a:pt x="326" y="1943"/>
                  </a:lnTo>
                  <a:lnTo>
                    <a:pt x="328" y="1932"/>
                  </a:lnTo>
                  <a:lnTo>
                    <a:pt x="330" y="1922"/>
                  </a:lnTo>
                  <a:lnTo>
                    <a:pt x="334" y="1913"/>
                  </a:lnTo>
                  <a:lnTo>
                    <a:pt x="337" y="1910"/>
                  </a:lnTo>
                  <a:lnTo>
                    <a:pt x="341" y="1906"/>
                  </a:lnTo>
                  <a:lnTo>
                    <a:pt x="344" y="1904"/>
                  </a:lnTo>
                  <a:lnTo>
                    <a:pt x="348" y="1901"/>
                  </a:lnTo>
                  <a:lnTo>
                    <a:pt x="348" y="1901"/>
                  </a:lnTo>
                  <a:lnTo>
                    <a:pt x="353" y="1900"/>
                  </a:lnTo>
                  <a:lnTo>
                    <a:pt x="357" y="1900"/>
                  </a:lnTo>
                  <a:lnTo>
                    <a:pt x="362" y="1901"/>
                  </a:lnTo>
                  <a:lnTo>
                    <a:pt x="366" y="1905"/>
                  </a:lnTo>
                  <a:lnTo>
                    <a:pt x="375" y="1912"/>
                  </a:lnTo>
                  <a:lnTo>
                    <a:pt x="386" y="1921"/>
                  </a:lnTo>
                  <a:lnTo>
                    <a:pt x="397" y="1932"/>
                  </a:lnTo>
                  <a:lnTo>
                    <a:pt x="410" y="1941"/>
                  </a:lnTo>
                  <a:lnTo>
                    <a:pt x="417" y="1946"/>
                  </a:lnTo>
                  <a:lnTo>
                    <a:pt x="424" y="1950"/>
                  </a:lnTo>
                  <a:lnTo>
                    <a:pt x="434" y="1953"/>
                  </a:lnTo>
                  <a:lnTo>
                    <a:pt x="442" y="1955"/>
                  </a:lnTo>
                  <a:lnTo>
                    <a:pt x="442" y="1955"/>
                  </a:lnTo>
                  <a:lnTo>
                    <a:pt x="451" y="1955"/>
                  </a:lnTo>
                  <a:lnTo>
                    <a:pt x="460" y="1955"/>
                  </a:lnTo>
                  <a:lnTo>
                    <a:pt x="468" y="1954"/>
                  </a:lnTo>
                  <a:lnTo>
                    <a:pt x="478" y="1952"/>
                  </a:lnTo>
                  <a:lnTo>
                    <a:pt x="486" y="1948"/>
                  </a:lnTo>
                  <a:lnTo>
                    <a:pt x="494" y="1944"/>
                  </a:lnTo>
                  <a:lnTo>
                    <a:pt x="501" y="1940"/>
                  </a:lnTo>
                  <a:lnTo>
                    <a:pt x="509" y="1935"/>
                  </a:lnTo>
                  <a:lnTo>
                    <a:pt x="525" y="1923"/>
                  </a:lnTo>
                  <a:lnTo>
                    <a:pt x="539" y="1909"/>
                  </a:lnTo>
                  <a:lnTo>
                    <a:pt x="554" y="1892"/>
                  </a:lnTo>
                  <a:lnTo>
                    <a:pt x="571" y="1875"/>
                  </a:lnTo>
                  <a:lnTo>
                    <a:pt x="604" y="1836"/>
                  </a:lnTo>
                  <a:lnTo>
                    <a:pt x="624" y="1817"/>
                  </a:lnTo>
                  <a:lnTo>
                    <a:pt x="644" y="1797"/>
                  </a:lnTo>
                  <a:lnTo>
                    <a:pt x="667" y="1777"/>
                  </a:lnTo>
                  <a:lnTo>
                    <a:pt x="691" y="1758"/>
                  </a:lnTo>
                  <a:lnTo>
                    <a:pt x="705" y="1749"/>
                  </a:lnTo>
                  <a:lnTo>
                    <a:pt x="718" y="1741"/>
                  </a:lnTo>
                  <a:lnTo>
                    <a:pt x="732" y="1733"/>
                  </a:lnTo>
                  <a:lnTo>
                    <a:pt x="747" y="1725"/>
                  </a:lnTo>
                  <a:lnTo>
                    <a:pt x="747" y="1725"/>
                  </a:lnTo>
                  <a:lnTo>
                    <a:pt x="787" y="1706"/>
                  </a:lnTo>
                  <a:lnTo>
                    <a:pt x="819" y="1694"/>
                  </a:lnTo>
                  <a:lnTo>
                    <a:pt x="831" y="1689"/>
                  </a:lnTo>
                  <a:lnTo>
                    <a:pt x="843" y="1686"/>
                  </a:lnTo>
                  <a:lnTo>
                    <a:pt x="852" y="1685"/>
                  </a:lnTo>
                  <a:lnTo>
                    <a:pt x="859" y="1684"/>
                  </a:lnTo>
                  <a:lnTo>
                    <a:pt x="865" y="1684"/>
                  </a:lnTo>
                  <a:lnTo>
                    <a:pt x="869" y="1686"/>
                  </a:lnTo>
                  <a:lnTo>
                    <a:pt x="872" y="1688"/>
                  </a:lnTo>
                  <a:lnTo>
                    <a:pt x="874" y="1691"/>
                  </a:lnTo>
                  <a:lnTo>
                    <a:pt x="876" y="1694"/>
                  </a:lnTo>
                  <a:lnTo>
                    <a:pt x="876" y="1698"/>
                  </a:lnTo>
                  <a:lnTo>
                    <a:pt x="875" y="1708"/>
                  </a:lnTo>
                  <a:lnTo>
                    <a:pt x="872" y="1720"/>
                  </a:lnTo>
                  <a:lnTo>
                    <a:pt x="868" y="1734"/>
                  </a:lnTo>
                  <a:lnTo>
                    <a:pt x="865" y="1747"/>
                  </a:lnTo>
                  <a:lnTo>
                    <a:pt x="863" y="1759"/>
                  </a:lnTo>
                  <a:lnTo>
                    <a:pt x="863" y="1765"/>
                  </a:lnTo>
                  <a:lnTo>
                    <a:pt x="863" y="1772"/>
                  </a:lnTo>
                  <a:lnTo>
                    <a:pt x="865" y="1777"/>
                  </a:lnTo>
                  <a:lnTo>
                    <a:pt x="867" y="1782"/>
                  </a:lnTo>
                  <a:lnTo>
                    <a:pt x="870" y="1786"/>
                  </a:lnTo>
                  <a:lnTo>
                    <a:pt x="875" y="1790"/>
                  </a:lnTo>
                  <a:lnTo>
                    <a:pt x="881" y="1793"/>
                  </a:lnTo>
                  <a:lnTo>
                    <a:pt x="889" y="1795"/>
                  </a:lnTo>
                  <a:lnTo>
                    <a:pt x="889" y="1795"/>
                  </a:lnTo>
                  <a:lnTo>
                    <a:pt x="901" y="1799"/>
                  </a:lnTo>
                  <a:lnTo>
                    <a:pt x="912" y="1802"/>
                  </a:lnTo>
                  <a:lnTo>
                    <a:pt x="921" y="1807"/>
                  </a:lnTo>
                  <a:lnTo>
                    <a:pt x="928" y="1811"/>
                  </a:lnTo>
                  <a:lnTo>
                    <a:pt x="935" y="1817"/>
                  </a:lnTo>
                  <a:lnTo>
                    <a:pt x="940" y="1822"/>
                  </a:lnTo>
                  <a:lnTo>
                    <a:pt x="943" y="1828"/>
                  </a:lnTo>
                  <a:lnTo>
                    <a:pt x="945" y="1834"/>
                  </a:lnTo>
                  <a:lnTo>
                    <a:pt x="947" y="1840"/>
                  </a:lnTo>
                  <a:lnTo>
                    <a:pt x="947" y="1846"/>
                  </a:lnTo>
                  <a:lnTo>
                    <a:pt x="946" y="1853"/>
                  </a:lnTo>
                  <a:lnTo>
                    <a:pt x="945" y="1860"/>
                  </a:lnTo>
                  <a:lnTo>
                    <a:pt x="943" y="1867"/>
                  </a:lnTo>
                  <a:lnTo>
                    <a:pt x="940" y="1874"/>
                  </a:lnTo>
                  <a:lnTo>
                    <a:pt x="932" y="1887"/>
                  </a:lnTo>
                  <a:lnTo>
                    <a:pt x="922" y="1900"/>
                  </a:lnTo>
                  <a:lnTo>
                    <a:pt x="912" y="1913"/>
                  </a:lnTo>
                  <a:lnTo>
                    <a:pt x="902" y="1924"/>
                  </a:lnTo>
                  <a:lnTo>
                    <a:pt x="892" y="1934"/>
                  </a:lnTo>
                  <a:lnTo>
                    <a:pt x="875" y="1948"/>
                  </a:lnTo>
                  <a:lnTo>
                    <a:pt x="869" y="1955"/>
                  </a:lnTo>
                  <a:lnTo>
                    <a:pt x="869" y="1955"/>
                  </a:lnTo>
                  <a:lnTo>
                    <a:pt x="877" y="1959"/>
                  </a:lnTo>
                  <a:lnTo>
                    <a:pt x="888" y="1961"/>
                  </a:lnTo>
                  <a:lnTo>
                    <a:pt x="899" y="1962"/>
                  </a:lnTo>
                  <a:lnTo>
                    <a:pt x="912" y="1961"/>
                  </a:lnTo>
                  <a:lnTo>
                    <a:pt x="926" y="1958"/>
                  </a:lnTo>
                  <a:lnTo>
                    <a:pt x="941" y="1954"/>
                  </a:lnTo>
                  <a:lnTo>
                    <a:pt x="957" y="1947"/>
                  </a:lnTo>
                  <a:lnTo>
                    <a:pt x="972" y="1939"/>
                  </a:lnTo>
                  <a:lnTo>
                    <a:pt x="989" y="1930"/>
                  </a:lnTo>
                  <a:lnTo>
                    <a:pt x="1004" y="1919"/>
                  </a:lnTo>
                  <a:lnTo>
                    <a:pt x="1019" y="1906"/>
                  </a:lnTo>
                  <a:lnTo>
                    <a:pt x="1035" y="1891"/>
                  </a:lnTo>
                  <a:lnTo>
                    <a:pt x="1048" y="1874"/>
                  </a:lnTo>
                  <a:lnTo>
                    <a:pt x="1061" y="1855"/>
                  </a:lnTo>
                  <a:lnTo>
                    <a:pt x="1073" y="1835"/>
                  </a:lnTo>
                  <a:lnTo>
                    <a:pt x="1083" y="1814"/>
                  </a:lnTo>
                  <a:lnTo>
                    <a:pt x="1083" y="1814"/>
                  </a:lnTo>
                  <a:lnTo>
                    <a:pt x="1086" y="1805"/>
                  </a:lnTo>
                  <a:lnTo>
                    <a:pt x="1089" y="1799"/>
                  </a:lnTo>
                  <a:lnTo>
                    <a:pt x="1092" y="1794"/>
                  </a:lnTo>
                  <a:lnTo>
                    <a:pt x="1096" y="1790"/>
                  </a:lnTo>
                  <a:lnTo>
                    <a:pt x="1100" y="1787"/>
                  </a:lnTo>
                  <a:lnTo>
                    <a:pt x="1103" y="1784"/>
                  </a:lnTo>
                  <a:lnTo>
                    <a:pt x="1111" y="1781"/>
                  </a:lnTo>
                  <a:lnTo>
                    <a:pt x="1120" y="1778"/>
                  </a:lnTo>
                  <a:lnTo>
                    <a:pt x="1129" y="1774"/>
                  </a:lnTo>
                  <a:lnTo>
                    <a:pt x="1138" y="1768"/>
                  </a:lnTo>
                  <a:lnTo>
                    <a:pt x="1143" y="1763"/>
                  </a:lnTo>
                  <a:lnTo>
                    <a:pt x="1148" y="1758"/>
                  </a:lnTo>
                  <a:lnTo>
                    <a:pt x="1148" y="1758"/>
                  </a:lnTo>
                  <a:lnTo>
                    <a:pt x="1151" y="1752"/>
                  </a:lnTo>
                  <a:lnTo>
                    <a:pt x="1154" y="1746"/>
                  </a:lnTo>
                  <a:lnTo>
                    <a:pt x="1158" y="1740"/>
                  </a:lnTo>
                  <a:lnTo>
                    <a:pt x="1159" y="1734"/>
                  </a:lnTo>
                  <a:lnTo>
                    <a:pt x="1160" y="1719"/>
                  </a:lnTo>
                  <a:lnTo>
                    <a:pt x="1160" y="1705"/>
                  </a:lnTo>
                  <a:lnTo>
                    <a:pt x="1160" y="1690"/>
                  </a:lnTo>
                  <a:lnTo>
                    <a:pt x="1160" y="1676"/>
                  </a:lnTo>
                  <a:lnTo>
                    <a:pt x="1162" y="1661"/>
                  </a:lnTo>
                  <a:lnTo>
                    <a:pt x="1164" y="1655"/>
                  </a:lnTo>
                  <a:lnTo>
                    <a:pt x="1166" y="1649"/>
                  </a:lnTo>
                  <a:lnTo>
                    <a:pt x="1166" y="1649"/>
                  </a:lnTo>
                  <a:lnTo>
                    <a:pt x="1170" y="1643"/>
                  </a:lnTo>
                  <a:lnTo>
                    <a:pt x="1174" y="1638"/>
                  </a:lnTo>
                  <a:lnTo>
                    <a:pt x="1178" y="1633"/>
                  </a:lnTo>
                  <a:lnTo>
                    <a:pt x="1183" y="1628"/>
                  </a:lnTo>
                  <a:lnTo>
                    <a:pt x="1195" y="1620"/>
                  </a:lnTo>
                  <a:lnTo>
                    <a:pt x="1209" y="1614"/>
                  </a:lnTo>
                  <a:lnTo>
                    <a:pt x="1223" y="1609"/>
                  </a:lnTo>
                  <a:lnTo>
                    <a:pt x="1237" y="1605"/>
                  </a:lnTo>
                  <a:lnTo>
                    <a:pt x="1268" y="1597"/>
                  </a:lnTo>
                  <a:lnTo>
                    <a:pt x="1298" y="1591"/>
                  </a:lnTo>
                  <a:lnTo>
                    <a:pt x="1310" y="1587"/>
                  </a:lnTo>
                  <a:lnTo>
                    <a:pt x="1321" y="1581"/>
                  </a:lnTo>
                  <a:lnTo>
                    <a:pt x="1329" y="1575"/>
                  </a:lnTo>
                  <a:lnTo>
                    <a:pt x="1333" y="1572"/>
                  </a:lnTo>
                  <a:lnTo>
                    <a:pt x="1335" y="1568"/>
                  </a:lnTo>
                  <a:lnTo>
                    <a:pt x="1338" y="1564"/>
                  </a:lnTo>
                  <a:lnTo>
                    <a:pt x="1340" y="1559"/>
                  </a:lnTo>
                  <a:lnTo>
                    <a:pt x="1340" y="1554"/>
                  </a:lnTo>
                  <a:lnTo>
                    <a:pt x="1340" y="1549"/>
                  </a:lnTo>
                  <a:lnTo>
                    <a:pt x="1340" y="1549"/>
                  </a:lnTo>
                  <a:lnTo>
                    <a:pt x="1338" y="1534"/>
                  </a:lnTo>
                  <a:lnTo>
                    <a:pt x="1338" y="1521"/>
                  </a:lnTo>
                  <a:lnTo>
                    <a:pt x="1341" y="1509"/>
                  </a:lnTo>
                  <a:lnTo>
                    <a:pt x="1345" y="1499"/>
                  </a:lnTo>
                  <a:lnTo>
                    <a:pt x="1350" y="1488"/>
                  </a:lnTo>
                  <a:lnTo>
                    <a:pt x="1355" y="1480"/>
                  </a:lnTo>
                  <a:lnTo>
                    <a:pt x="1362" y="1472"/>
                  </a:lnTo>
                  <a:lnTo>
                    <a:pt x="1370" y="1465"/>
                  </a:lnTo>
                  <a:lnTo>
                    <a:pt x="1378" y="1459"/>
                  </a:lnTo>
                  <a:lnTo>
                    <a:pt x="1388" y="1453"/>
                  </a:lnTo>
                  <a:lnTo>
                    <a:pt x="1406" y="1443"/>
                  </a:lnTo>
                  <a:lnTo>
                    <a:pt x="1424" y="1435"/>
                  </a:lnTo>
                  <a:lnTo>
                    <a:pt x="1441" y="1428"/>
                  </a:lnTo>
                  <a:lnTo>
                    <a:pt x="1441" y="1428"/>
                  </a:lnTo>
                  <a:lnTo>
                    <a:pt x="1443" y="1428"/>
                  </a:lnTo>
                  <a:lnTo>
                    <a:pt x="1444" y="1429"/>
                  </a:lnTo>
                  <a:lnTo>
                    <a:pt x="1447" y="1431"/>
                  </a:lnTo>
                  <a:lnTo>
                    <a:pt x="1449" y="1436"/>
                  </a:lnTo>
                  <a:lnTo>
                    <a:pt x="1453" y="1443"/>
                  </a:lnTo>
                  <a:lnTo>
                    <a:pt x="1461" y="1462"/>
                  </a:lnTo>
                  <a:lnTo>
                    <a:pt x="1467" y="1473"/>
                  </a:lnTo>
                  <a:lnTo>
                    <a:pt x="1474" y="1485"/>
                  </a:lnTo>
                  <a:lnTo>
                    <a:pt x="1484" y="1498"/>
                  </a:lnTo>
                  <a:lnTo>
                    <a:pt x="1494" y="1511"/>
                  </a:lnTo>
                  <a:lnTo>
                    <a:pt x="1506" y="1525"/>
                  </a:lnTo>
                  <a:lnTo>
                    <a:pt x="1522" y="1539"/>
                  </a:lnTo>
                  <a:lnTo>
                    <a:pt x="1539" y="1552"/>
                  </a:lnTo>
                  <a:lnTo>
                    <a:pt x="1559" y="1564"/>
                  </a:lnTo>
                  <a:lnTo>
                    <a:pt x="1583" y="1576"/>
                  </a:lnTo>
                  <a:lnTo>
                    <a:pt x="1609" y="1587"/>
                  </a:lnTo>
                  <a:lnTo>
                    <a:pt x="1609" y="1587"/>
                  </a:lnTo>
                  <a:lnTo>
                    <a:pt x="1684" y="1556"/>
                  </a:lnTo>
                  <a:lnTo>
                    <a:pt x="1730" y="1534"/>
                  </a:lnTo>
                  <a:lnTo>
                    <a:pt x="1757" y="1521"/>
                  </a:lnTo>
                  <a:lnTo>
                    <a:pt x="1786" y="1506"/>
                  </a:lnTo>
                  <a:lnTo>
                    <a:pt x="1786" y="1506"/>
                  </a:lnTo>
                  <a:lnTo>
                    <a:pt x="1818" y="1489"/>
                  </a:lnTo>
                  <a:lnTo>
                    <a:pt x="1848" y="1472"/>
                  </a:lnTo>
                  <a:lnTo>
                    <a:pt x="1860" y="1464"/>
                  </a:lnTo>
                  <a:lnTo>
                    <a:pt x="1871" y="1457"/>
                  </a:lnTo>
                  <a:lnTo>
                    <a:pt x="1881" y="1449"/>
                  </a:lnTo>
                  <a:lnTo>
                    <a:pt x="1889" y="1442"/>
                  </a:lnTo>
                  <a:lnTo>
                    <a:pt x="1889" y="1442"/>
                  </a:lnTo>
                  <a:lnTo>
                    <a:pt x="1888" y="1440"/>
                  </a:lnTo>
                  <a:lnTo>
                    <a:pt x="1887" y="1438"/>
                  </a:lnTo>
                  <a:lnTo>
                    <a:pt x="1879" y="1431"/>
                  </a:lnTo>
                  <a:lnTo>
                    <a:pt x="1868" y="1420"/>
                  </a:lnTo>
                  <a:lnTo>
                    <a:pt x="1855" y="1406"/>
                  </a:lnTo>
                  <a:lnTo>
                    <a:pt x="1840" y="1388"/>
                  </a:lnTo>
                  <a:lnTo>
                    <a:pt x="1825" y="1369"/>
                  </a:lnTo>
                  <a:lnTo>
                    <a:pt x="1818" y="1358"/>
                  </a:lnTo>
                  <a:lnTo>
                    <a:pt x="1812" y="1345"/>
                  </a:lnTo>
                  <a:lnTo>
                    <a:pt x="1807" y="1334"/>
                  </a:lnTo>
                  <a:lnTo>
                    <a:pt x="1802" y="1321"/>
                  </a:lnTo>
                  <a:lnTo>
                    <a:pt x="1802" y="1321"/>
                  </a:lnTo>
                  <a:lnTo>
                    <a:pt x="1799" y="1308"/>
                  </a:lnTo>
                  <a:lnTo>
                    <a:pt x="1796" y="1297"/>
                  </a:lnTo>
                  <a:lnTo>
                    <a:pt x="1794" y="1288"/>
                  </a:lnTo>
                  <a:lnTo>
                    <a:pt x="1794" y="1279"/>
                  </a:lnTo>
                  <a:lnTo>
                    <a:pt x="1794" y="1272"/>
                  </a:lnTo>
                  <a:lnTo>
                    <a:pt x="1794" y="1267"/>
                  </a:lnTo>
                  <a:lnTo>
                    <a:pt x="1795" y="1263"/>
                  </a:lnTo>
                  <a:lnTo>
                    <a:pt x="1796" y="1261"/>
                  </a:lnTo>
                  <a:lnTo>
                    <a:pt x="1796" y="1261"/>
                  </a:lnTo>
                  <a:lnTo>
                    <a:pt x="1809" y="1278"/>
                  </a:lnTo>
                  <a:lnTo>
                    <a:pt x="1824" y="1295"/>
                  </a:lnTo>
                  <a:lnTo>
                    <a:pt x="1845" y="1316"/>
                  </a:lnTo>
                  <a:lnTo>
                    <a:pt x="1857" y="1327"/>
                  </a:lnTo>
                  <a:lnTo>
                    <a:pt x="1869" y="1338"/>
                  </a:lnTo>
                  <a:lnTo>
                    <a:pt x="1883" y="1349"/>
                  </a:lnTo>
                  <a:lnTo>
                    <a:pt x="1899" y="1361"/>
                  </a:lnTo>
                  <a:lnTo>
                    <a:pt x="1915" y="1372"/>
                  </a:lnTo>
                  <a:lnTo>
                    <a:pt x="1932" y="1381"/>
                  </a:lnTo>
                  <a:lnTo>
                    <a:pt x="1949" y="1390"/>
                  </a:lnTo>
                  <a:lnTo>
                    <a:pt x="1967" y="1398"/>
                  </a:lnTo>
                  <a:lnTo>
                    <a:pt x="1967" y="1398"/>
                  </a:lnTo>
                  <a:lnTo>
                    <a:pt x="2021" y="1370"/>
                  </a:lnTo>
                  <a:lnTo>
                    <a:pt x="2075" y="1340"/>
                  </a:lnTo>
                  <a:lnTo>
                    <a:pt x="2129" y="1307"/>
                  </a:lnTo>
                  <a:lnTo>
                    <a:pt x="2183" y="1273"/>
                  </a:lnTo>
                  <a:lnTo>
                    <a:pt x="2183" y="1273"/>
                  </a:lnTo>
                  <a:lnTo>
                    <a:pt x="2218" y="1249"/>
                  </a:lnTo>
                  <a:lnTo>
                    <a:pt x="2218" y="1249"/>
                  </a:lnTo>
                  <a:lnTo>
                    <a:pt x="2219" y="1248"/>
                  </a:lnTo>
                  <a:lnTo>
                    <a:pt x="2219" y="1248"/>
                  </a:lnTo>
                  <a:lnTo>
                    <a:pt x="2220" y="1246"/>
                  </a:lnTo>
                  <a:lnTo>
                    <a:pt x="2219" y="1244"/>
                  </a:lnTo>
                  <a:lnTo>
                    <a:pt x="2215" y="1237"/>
                  </a:lnTo>
                  <a:lnTo>
                    <a:pt x="2207" y="1228"/>
                  </a:lnTo>
                  <a:lnTo>
                    <a:pt x="2196" y="1217"/>
                  </a:lnTo>
                  <a:lnTo>
                    <a:pt x="2171" y="1193"/>
                  </a:lnTo>
                  <a:lnTo>
                    <a:pt x="2142" y="1164"/>
                  </a:lnTo>
                  <a:lnTo>
                    <a:pt x="2129" y="1150"/>
                  </a:lnTo>
                  <a:lnTo>
                    <a:pt x="2118" y="1136"/>
                  </a:lnTo>
                  <a:lnTo>
                    <a:pt x="2108" y="1121"/>
                  </a:lnTo>
                  <a:lnTo>
                    <a:pt x="2104" y="1114"/>
                  </a:lnTo>
                  <a:lnTo>
                    <a:pt x="2101" y="1108"/>
                  </a:lnTo>
                  <a:lnTo>
                    <a:pt x="2100" y="1101"/>
                  </a:lnTo>
                  <a:lnTo>
                    <a:pt x="2099" y="1095"/>
                  </a:lnTo>
                  <a:lnTo>
                    <a:pt x="2099" y="1089"/>
                  </a:lnTo>
                  <a:lnTo>
                    <a:pt x="2100" y="1084"/>
                  </a:lnTo>
                  <a:lnTo>
                    <a:pt x="2102" y="1078"/>
                  </a:lnTo>
                  <a:lnTo>
                    <a:pt x="2106" y="1073"/>
                  </a:lnTo>
                  <a:lnTo>
                    <a:pt x="2112" y="1069"/>
                  </a:lnTo>
                  <a:lnTo>
                    <a:pt x="2119" y="1065"/>
                  </a:lnTo>
                  <a:lnTo>
                    <a:pt x="2119" y="1065"/>
                  </a:lnTo>
                  <a:lnTo>
                    <a:pt x="2125" y="1061"/>
                  </a:lnTo>
                  <a:lnTo>
                    <a:pt x="2130" y="1056"/>
                  </a:lnTo>
                  <a:lnTo>
                    <a:pt x="2133" y="1051"/>
                  </a:lnTo>
                  <a:lnTo>
                    <a:pt x="2135" y="1045"/>
                  </a:lnTo>
                  <a:lnTo>
                    <a:pt x="2136" y="1039"/>
                  </a:lnTo>
                  <a:lnTo>
                    <a:pt x="2136" y="1030"/>
                  </a:lnTo>
                  <a:lnTo>
                    <a:pt x="2136" y="1023"/>
                  </a:lnTo>
                  <a:lnTo>
                    <a:pt x="2134" y="1014"/>
                  </a:lnTo>
                  <a:lnTo>
                    <a:pt x="2129" y="997"/>
                  </a:lnTo>
                  <a:lnTo>
                    <a:pt x="2121" y="977"/>
                  </a:lnTo>
                  <a:lnTo>
                    <a:pt x="2102" y="935"/>
                  </a:lnTo>
                  <a:lnTo>
                    <a:pt x="2093" y="914"/>
                  </a:lnTo>
                  <a:lnTo>
                    <a:pt x="2085" y="893"/>
                  </a:lnTo>
                  <a:lnTo>
                    <a:pt x="2078" y="873"/>
                  </a:lnTo>
                  <a:lnTo>
                    <a:pt x="2076" y="863"/>
                  </a:lnTo>
                  <a:lnTo>
                    <a:pt x="2074" y="853"/>
                  </a:lnTo>
                  <a:lnTo>
                    <a:pt x="2074" y="844"/>
                  </a:lnTo>
                  <a:lnTo>
                    <a:pt x="2074" y="836"/>
                  </a:lnTo>
                  <a:lnTo>
                    <a:pt x="2075" y="828"/>
                  </a:lnTo>
                  <a:lnTo>
                    <a:pt x="2077" y="821"/>
                  </a:lnTo>
                  <a:lnTo>
                    <a:pt x="2080" y="814"/>
                  </a:lnTo>
                  <a:lnTo>
                    <a:pt x="2085" y="807"/>
                  </a:lnTo>
                  <a:lnTo>
                    <a:pt x="2091" y="801"/>
                  </a:lnTo>
                  <a:lnTo>
                    <a:pt x="2099" y="797"/>
                  </a:lnTo>
                  <a:lnTo>
                    <a:pt x="2099" y="797"/>
                  </a:lnTo>
                  <a:lnTo>
                    <a:pt x="2200" y="744"/>
                  </a:lnTo>
                  <a:lnTo>
                    <a:pt x="2306" y="693"/>
                  </a:lnTo>
                  <a:lnTo>
                    <a:pt x="2410" y="642"/>
                  </a:lnTo>
                  <a:lnTo>
                    <a:pt x="2513" y="592"/>
                  </a:lnTo>
                  <a:lnTo>
                    <a:pt x="2705" y="501"/>
                  </a:lnTo>
                  <a:lnTo>
                    <a:pt x="2788" y="461"/>
                  </a:lnTo>
                  <a:lnTo>
                    <a:pt x="2863" y="424"/>
                  </a:lnTo>
                  <a:lnTo>
                    <a:pt x="2863" y="424"/>
                  </a:lnTo>
                  <a:lnTo>
                    <a:pt x="2859" y="408"/>
                  </a:lnTo>
                  <a:lnTo>
                    <a:pt x="2853" y="389"/>
                  </a:lnTo>
                  <a:lnTo>
                    <a:pt x="2843" y="366"/>
                  </a:lnTo>
                  <a:lnTo>
                    <a:pt x="2836" y="354"/>
                  </a:lnTo>
                  <a:lnTo>
                    <a:pt x="2829" y="339"/>
                  </a:lnTo>
                  <a:lnTo>
                    <a:pt x="2821" y="325"/>
                  </a:lnTo>
                  <a:lnTo>
                    <a:pt x="2812" y="311"/>
                  </a:lnTo>
                  <a:lnTo>
                    <a:pt x="2801" y="296"/>
                  </a:lnTo>
                  <a:lnTo>
                    <a:pt x="2788" y="281"/>
                  </a:lnTo>
                  <a:lnTo>
                    <a:pt x="2774" y="267"/>
                  </a:lnTo>
                  <a:lnTo>
                    <a:pt x="2759" y="25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6" name="Freeform 32"/>
            <p:cNvSpPr>
              <a:spLocks/>
            </p:cNvSpPr>
            <p:nvPr userDrawn="1"/>
          </p:nvSpPr>
          <p:spPr bwMode="auto">
            <a:xfrm>
              <a:off x="746126" y="1357313"/>
              <a:ext cx="161925" cy="153988"/>
            </a:xfrm>
            <a:custGeom>
              <a:avLst/>
              <a:gdLst>
                <a:gd name="T0" fmla="*/ 2 w 1226"/>
                <a:gd name="T1" fmla="*/ 386 h 1168"/>
                <a:gd name="T2" fmla="*/ 22 w 1226"/>
                <a:gd name="T3" fmla="*/ 434 h 1168"/>
                <a:gd name="T4" fmla="*/ 61 w 1226"/>
                <a:gd name="T5" fmla="*/ 466 h 1168"/>
                <a:gd name="T6" fmla="*/ 120 w 1226"/>
                <a:gd name="T7" fmla="*/ 479 h 1168"/>
                <a:gd name="T8" fmla="*/ 142 w 1226"/>
                <a:gd name="T9" fmla="*/ 469 h 1168"/>
                <a:gd name="T10" fmla="*/ 160 w 1226"/>
                <a:gd name="T11" fmla="*/ 436 h 1168"/>
                <a:gd name="T12" fmla="*/ 164 w 1226"/>
                <a:gd name="T13" fmla="*/ 370 h 1168"/>
                <a:gd name="T14" fmla="*/ 174 w 1226"/>
                <a:gd name="T15" fmla="*/ 344 h 1168"/>
                <a:gd name="T16" fmla="*/ 198 w 1226"/>
                <a:gd name="T17" fmla="*/ 331 h 1168"/>
                <a:gd name="T18" fmla="*/ 223 w 1226"/>
                <a:gd name="T19" fmla="*/ 318 h 1168"/>
                <a:gd name="T20" fmla="*/ 427 w 1226"/>
                <a:gd name="T21" fmla="*/ 416 h 1168"/>
                <a:gd name="T22" fmla="*/ 628 w 1226"/>
                <a:gd name="T23" fmla="*/ 534 h 1168"/>
                <a:gd name="T24" fmla="*/ 876 w 1226"/>
                <a:gd name="T25" fmla="*/ 703 h 1168"/>
                <a:gd name="T26" fmla="*/ 868 w 1226"/>
                <a:gd name="T27" fmla="*/ 783 h 1168"/>
                <a:gd name="T28" fmla="*/ 779 w 1226"/>
                <a:gd name="T29" fmla="*/ 957 h 1168"/>
                <a:gd name="T30" fmla="*/ 753 w 1226"/>
                <a:gd name="T31" fmla="*/ 1040 h 1168"/>
                <a:gd name="T32" fmla="*/ 754 w 1226"/>
                <a:gd name="T33" fmla="*/ 1090 h 1168"/>
                <a:gd name="T34" fmla="*/ 771 w 1226"/>
                <a:gd name="T35" fmla="*/ 1130 h 1168"/>
                <a:gd name="T36" fmla="*/ 801 w 1226"/>
                <a:gd name="T37" fmla="*/ 1157 h 1168"/>
                <a:gd name="T38" fmla="*/ 842 w 1226"/>
                <a:gd name="T39" fmla="*/ 1168 h 1168"/>
                <a:gd name="T40" fmla="*/ 880 w 1226"/>
                <a:gd name="T41" fmla="*/ 1163 h 1168"/>
                <a:gd name="T42" fmla="*/ 919 w 1226"/>
                <a:gd name="T43" fmla="*/ 1140 h 1168"/>
                <a:gd name="T44" fmla="*/ 944 w 1226"/>
                <a:gd name="T45" fmla="*/ 1107 h 1168"/>
                <a:gd name="T46" fmla="*/ 952 w 1226"/>
                <a:gd name="T47" fmla="*/ 1060 h 1168"/>
                <a:gd name="T48" fmla="*/ 930 w 1226"/>
                <a:gd name="T49" fmla="*/ 1010 h 1168"/>
                <a:gd name="T50" fmla="*/ 885 w 1226"/>
                <a:gd name="T51" fmla="*/ 989 h 1168"/>
                <a:gd name="T52" fmla="*/ 919 w 1226"/>
                <a:gd name="T53" fmla="*/ 879 h 1168"/>
                <a:gd name="T54" fmla="*/ 954 w 1226"/>
                <a:gd name="T55" fmla="*/ 807 h 1168"/>
                <a:gd name="T56" fmla="*/ 1024 w 1226"/>
                <a:gd name="T57" fmla="*/ 715 h 1168"/>
                <a:gd name="T58" fmla="*/ 1095 w 1226"/>
                <a:gd name="T59" fmla="*/ 673 h 1168"/>
                <a:gd name="T60" fmla="*/ 1125 w 1226"/>
                <a:gd name="T61" fmla="*/ 670 h 1168"/>
                <a:gd name="T62" fmla="*/ 1099 w 1226"/>
                <a:gd name="T63" fmla="*/ 633 h 1168"/>
                <a:gd name="T64" fmla="*/ 1083 w 1226"/>
                <a:gd name="T65" fmla="*/ 543 h 1168"/>
                <a:gd name="T66" fmla="*/ 1096 w 1226"/>
                <a:gd name="T67" fmla="*/ 477 h 1168"/>
                <a:gd name="T68" fmla="*/ 1132 w 1226"/>
                <a:gd name="T69" fmla="*/ 395 h 1168"/>
                <a:gd name="T70" fmla="*/ 1195 w 1226"/>
                <a:gd name="T71" fmla="*/ 258 h 1168"/>
                <a:gd name="T72" fmla="*/ 1225 w 1226"/>
                <a:gd name="T73" fmla="*/ 141 h 1168"/>
                <a:gd name="T74" fmla="*/ 1217 w 1226"/>
                <a:gd name="T75" fmla="*/ 95 h 1168"/>
                <a:gd name="T76" fmla="*/ 1187 w 1226"/>
                <a:gd name="T77" fmla="*/ 55 h 1168"/>
                <a:gd name="T78" fmla="*/ 1144 w 1226"/>
                <a:gd name="T79" fmla="*/ 34 h 1168"/>
                <a:gd name="T80" fmla="*/ 1104 w 1226"/>
                <a:gd name="T81" fmla="*/ 35 h 1168"/>
                <a:gd name="T82" fmla="*/ 1061 w 1226"/>
                <a:gd name="T83" fmla="*/ 57 h 1168"/>
                <a:gd name="T84" fmla="*/ 1033 w 1226"/>
                <a:gd name="T85" fmla="*/ 94 h 1168"/>
                <a:gd name="T86" fmla="*/ 1025 w 1226"/>
                <a:gd name="T87" fmla="*/ 139 h 1168"/>
                <a:gd name="T88" fmla="*/ 1048 w 1226"/>
                <a:gd name="T89" fmla="*/ 205 h 1168"/>
                <a:gd name="T90" fmla="*/ 1095 w 1226"/>
                <a:gd name="T91" fmla="*/ 230 h 1168"/>
                <a:gd name="T92" fmla="*/ 1107 w 1226"/>
                <a:gd name="T93" fmla="*/ 240 h 1168"/>
                <a:gd name="T94" fmla="*/ 1044 w 1226"/>
                <a:gd name="T95" fmla="*/ 390 h 1168"/>
                <a:gd name="T96" fmla="*/ 975 w 1226"/>
                <a:gd name="T97" fmla="*/ 431 h 1168"/>
                <a:gd name="T98" fmla="*/ 717 w 1226"/>
                <a:gd name="T99" fmla="*/ 289 h 1168"/>
                <a:gd name="T100" fmla="*/ 529 w 1226"/>
                <a:gd name="T101" fmla="*/ 205 h 1168"/>
                <a:gd name="T102" fmla="*/ 317 w 1226"/>
                <a:gd name="T103" fmla="*/ 140 h 1168"/>
                <a:gd name="T104" fmla="*/ 378 w 1226"/>
                <a:gd name="T105" fmla="*/ 31 h 1168"/>
                <a:gd name="T106" fmla="*/ 389 w 1226"/>
                <a:gd name="T107" fmla="*/ 0 h 1168"/>
                <a:gd name="T108" fmla="*/ 367 w 1226"/>
                <a:gd name="T109" fmla="*/ 10 h 1168"/>
                <a:gd name="T110" fmla="*/ 285 w 1226"/>
                <a:gd name="T111" fmla="*/ 57 h 1168"/>
                <a:gd name="T112" fmla="*/ 211 w 1226"/>
                <a:gd name="T113" fmla="*/ 85 h 1168"/>
                <a:gd name="T114" fmla="*/ 147 w 1226"/>
                <a:gd name="T115" fmla="*/ 85 h 1168"/>
                <a:gd name="T116" fmla="*/ 114 w 1226"/>
                <a:gd name="T117" fmla="*/ 85 h 1168"/>
                <a:gd name="T118" fmla="*/ 87 w 1226"/>
                <a:gd name="T119" fmla="*/ 134 h 1168"/>
                <a:gd name="T120" fmla="*/ 42 w 1226"/>
                <a:gd name="T121" fmla="*/ 261 h 1168"/>
                <a:gd name="T122" fmla="*/ 6 w 1226"/>
                <a:gd name="T123" fmla="*/ 327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6" h="1168">
                  <a:moveTo>
                    <a:pt x="1" y="345"/>
                  </a:moveTo>
                  <a:lnTo>
                    <a:pt x="1" y="345"/>
                  </a:lnTo>
                  <a:lnTo>
                    <a:pt x="0" y="359"/>
                  </a:lnTo>
                  <a:lnTo>
                    <a:pt x="0" y="370"/>
                  </a:lnTo>
                  <a:lnTo>
                    <a:pt x="2" y="386"/>
                  </a:lnTo>
                  <a:lnTo>
                    <a:pt x="5" y="401"/>
                  </a:lnTo>
                  <a:lnTo>
                    <a:pt x="8" y="409"/>
                  </a:lnTo>
                  <a:lnTo>
                    <a:pt x="11" y="417"/>
                  </a:lnTo>
                  <a:lnTo>
                    <a:pt x="16" y="425"/>
                  </a:lnTo>
                  <a:lnTo>
                    <a:pt x="22" y="434"/>
                  </a:lnTo>
                  <a:lnTo>
                    <a:pt x="28" y="442"/>
                  </a:lnTo>
                  <a:lnTo>
                    <a:pt x="36" y="449"/>
                  </a:lnTo>
                  <a:lnTo>
                    <a:pt x="36" y="449"/>
                  </a:lnTo>
                  <a:lnTo>
                    <a:pt x="48" y="458"/>
                  </a:lnTo>
                  <a:lnTo>
                    <a:pt x="61" y="466"/>
                  </a:lnTo>
                  <a:lnTo>
                    <a:pt x="76" y="473"/>
                  </a:lnTo>
                  <a:lnTo>
                    <a:pt x="91" y="478"/>
                  </a:lnTo>
                  <a:lnTo>
                    <a:pt x="105" y="480"/>
                  </a:lnTo>
                  <a:lnTo>
                    <a:pt x="113" y="480"/>
                  </a:lnTo>
                  <a:lnTo>
                    <a:pt x="120" y="479"/>
                  </a:lnTo>
                  <a:lnTo>
                    <a:pt x="126" y="478"/>
                  </a:lnTo>
                  <a:lnTo>
                    <a:pt x="132" y="476"/>
                  </a:lnTo>
                  <a:lnTo>
                    <a:pt x="137" y="473"/>
                  </a:lnTo>
                  <a:lnTo>
                    <a:pt x="142" y="469"/>
                  </a:lnTo>
                  <a:lnTo>
                    <a:pt x="142" y="469"/>
                  </a:lnTo>
                  <a:lnTo>
                    <a:pt x="147" y="464"/>
                  </a:lnTo>
                  <a:lnTo>
                    <a:pt x="152" y="457"/>
                  </a:lnTo>
                  <a:lnTo>
                    <a:pt x="155" y="451"/>
                  </a:lnTo>
                  <a:lnTo>
                    <a:pt x="158" y="444"/>
                  </a:lnTo>
                  <a:lnTo>
                    <a:pt x="160" y="436"/>
                  </a:lnTo>
                  <a:lnTo>
                    <a:pt x="161" y="428"/>
                  </a:lnTo>
                  <a:lnTo>
                    <a:pt x="162" y="411"/>
                  </a:lnTo>
                  <a:lnTo>
                    <a:pt x="162" y="395"/>
                  </a:lnTo>
                  <a:lnTo>
                    <a:pt x="163" y="378"/>
                  </a:lnTo>
                  <a:lnTo>
                    <a:pt x="164" y="370"/>
                  </a:lnTo>
                  <a:lnTo>
                    <a:pt x="166" y="362"/>
                  </a:lnTo>
                  <a:lnTo>
                    <a:pt x="168" y="355"/>
                  </a:lnTo>
                  <a:lnTo>
                    <a:pt x="172" y="347"/>
                  </a:lnTo>
                  <a:lnTo>
                    <a:pt x="172" y="347"/>
                  </a:lnTo>
                  <a:lnTo>
                    <a:pt x="174" y="344"/>
                  </a:lnTo>
                  <a:lnTo>
                    <a:pt x="178" y="341"/>
                  </a:lnTo>
                  <a:lnTo>
                    <a:pt x="187" y="335"/>
                  </a:lnTo>
                  <a:lnTo>
                    <a:pt x="195" y="332"/>
                  </a:lnTo>
                  <a:lnTo>
                    <a:pt x="198" y="331"/>
                  </a:lnTo>
                  <a:lnTo>
                    <a:pt x="198" y="331"/>
                  </a:lnTo>
                  <a:lnTo>
                    <a:pt x="205" y="329"/>
                  </a:lnTo>
                  <a:lnTo>
                    <a:pt x="211" y="326"/>
                  </a:lnTo>
                  <a:lnTo>
                    <a:pt x="217" y="323"/>
                  </a:lnTo>
                  <a:lnTo>
                    <a:pt x="223" y="318"/>
                  </a:lnTo>
                  <a:lnTo>
                    <a:pt x="223" y="318"/>
                  </a:lnTo>
                  <a:lnTo>
                    <a:pt x="264" y="337"/>
                  </a:lnTo>
                  <a:lnTo>
                    <a:pt x="305" y="355"/>
                  </a:lnTo>
                  <a:lnTo>
                    <a:pt x="347" y="374"/>
                  </a:lnTo>
                  <a:lnTo>
                    <a:pt x="388" y="395"/>
                  </a:lnTo>
                  <a:lnTo>
                    <a:pt x="427" y="416"/>
                  </a:lnTo>
                  <a:lnTo>
                    <a:pt x="468" y="439"/>
                  </a:lnTo>
                  <a:lnTo>
                    <a:pt x="509" y="461"/>
                  </a:lnTo>
                  <a:lnTo>
                    <a:pt x="549" y="485"/>
                  </a:lnTo>
                  <a:lnTo>
                    <a:pt x="589" y="509"/>
                  </a:lnTo>
                  <a:lnTo>
                    <a:pt x="628" y="534"/>
                  </a:lnTo>
                  <a:lnTo>
                    <a:pt x="706" y="584"/>
                  </a:lnTo>
                  <a:lnTo>
                    <a:pt x="782" y="636"/>
                  </a:lnTo>
                  <a:lnTo>
                    <a:pt x="857" y="689"/>
                  </a:lnTo>
                  <a:lnTo>
                    <a:pt x="857" y="689"/>
                  </a:lnTo>
                  <a:lnTo>
                    <a:pt x="876" y="703"/>
                  </a:lnTo>
                  <a:lnTo>
                    <a:pt x="894" y="714"/>
                  </a:lnTo>
                  <a:lnTo>
                    <a:pt x="894" y="714"/>
                  </a:lnTo>
                  <a:lnTo>
                    <a:pt x="887" y="736"/>
                  </a:lnTo>
                  <a:lnTo>
                    <a:pt x="878" y="759"/>
                  </a:lnTo>
                  <a:lnTo>
                    <a:pt x="868" y="783"/>
                  </a:lnTo>
                  <a:lnTo>
                    <a:pt x="856" y="809"/>
                  </a:lnTo>
                  <a:lnTo>
                    <a:pt x="856" y="809"/>
                  </a:lnTo>
                  <a:lnTo>
                    <a:pt x="816" y="885"/>
                  </a:lnTo>
                  <a:lnTo>
                    <a:pt x="797" y="921"/>
                  </a:lnTo>
                  <a:lnTo>
                    <a:pt x="779" y="957"/>
                  </a:lnTo>
                  <a:lnTo>
                    <a:pt x="772" y="975"/>
                  </a:lnTo>
                  <a:lnTo>
                    <a:pt x="766" y="992"/>
                  </a:lnTo>
                  <a:lnTo>
                    <a:pt x="760" y="1008"/>
                  </a:lnTo>
                  <a:lnTo>
                    <a:pt x="756" y="1025"/>
                  </a:lnTo>
                  <a:lnTo>
                    <a:pt x="753" y="1040"/>
                  </a:lnTo>
                  <a:lnTo>
                    <a:pt x="751" y="1054"/>
                  </a:lnTo>
                  <a:lnTo>
                    <a:pt x="751" y="1069"/>
                  </a:lnTo>
                  <a:lnTo>
                    <a:pt x="752" y="1081"/>
                  </a:lnTo>
                  <a:lnTo>
                    <a:pt x="752" y="1081"/>
                  </a:lnTo>
                  <a:lnTo>
                    <a:pt x="754" y="1090"/>
                  </a:lnTo>
                  <a:lnTo>
                    <a:pt x="756" y="1099"/>
                  </a:lnTo>
                  <a:lnTo>
                    <a:pt x="759" y="1107"/>
                  </a:lnTo>
                  <a:lnTo>
                    <a:pt x="762" y="1116"/>
                  </a:lnTo>
                  <a:lnTo>
                    <a:pt x="766" y="1123"/>
                  </a:lnTo>
                  <a:lnTo>
                    <a:pt x="771" y="1130"/>
                  </a:lnTo>
                  <a:lnTo>
                    <a:pt x="776" y="1136"/>
                  </a:lnTo>
                  <a:lnTo>
                    <a:pt x="781" y="1142"/>
                  </a:lnTo>
                  <a:lnTo>
                    <a:pt x="787" y="1147"/>
                  </a:lnTo>
                  <a:lnTo>
                    <a:pt x="794" y="1152"/>
                  </a:lnTo>
                  <a:lnTo>
                    <a:pt x="801" y="1157"/>
                  </a:lnTo>
                  <a:lnTo>
                    <a:pt x="808" y="1160"/>
                  </a:lnTo>
                  <a:lnTo>
                    <a:pt x="816" y="1163"/>
                  </a:lnTo>
                  <a:lnTo>
                    <a:pt x="824" y="1165"/>
                  </a:lnTo>
                  <a:lnTo>
                    <a:pt x="833" y="1167"/>
                  </a:lnTo>
                  <a:lnTo>
                    <a:pt x="842" y="1168"/>
                  </a:lnTo>
                  <a:lnTo>
                    <a:pt x="842" y="1168"/>
                  </a:lnTo>
                  <a:lnTo>
                    <a:pt x="852" y="1168"/>
                  </a:lnTo>
                  <a:lnTo>
                    <a:pt x="862" y="1167"/>
                  </a:lnTo>
                  <a:lnTo>
                    <a:pt x="871" y="1165"/>
                  </a:lnTo>
                  <a:lnTo>
                    <a:pt x="880" y="1163"/>
                  </a:lnTo>
                  <a:lnTo>
                    <a:pt x="889" y="1160"/>
                  </a:lnTo>
                  <a:lnTo>
                    <a:pt x="897" y="1155"/>
                  </a:lnTo>
                  <a:lnTo>
                    <a:pt x="905" y="1151"/>
                  </a:lnTo>
                  <a:lnTo>
                    <a:pt x="912" y="1146"/>
                  </a:lnTo>
                  <a:lnTo>
                    <a:pt x="919" y="1140"/>
                  </a:lnTo>
                  <a:lnTo>
                    <a:pt x="925" y="1135"/>
                  </a:lnTo>
                  <a:lnTo>
                    <a:pt x="931" y="1129"/>
                  </a:lnTo>
                  <a:lnTo>
                    <a:pt x="936" y="1122"/>
                  </a:lnTo>
                  <a:lnTo>
                    <a:pt x="940" y="1115"/>
                  </a:lnTo>
                  <a:lnTo>
                    <a:pt x="944" y="1107"/>
                  </a:lnTo>
                  <a:lnTo>
                    <a:pt x="947" y="1100"/>
                  </a:lnTo>
                  <a:lnTo>
                    <a:pt x="949" y="1092"/>
                  </a:lnTo>
                  <a:lnTo>
                    <a:pt x="949" y="1092"/>
                  </a:lnTo>
                  <a:lnTo>
                    <a:pt x="951" y="1076"/>
                  </a:lnTo>
                  <a:lnTo>
                    <a:pt x="952" y="1060"/>
                  </a:lnTo>
                  <a:lnTo>
                    <a:pt x="950" y="1048"/>
                  </a:lnTo>
                  <a:lnTo>
                    <a:pt x="947" y="1036"/>
                  </a:lnTo>
                  <a:lnTo>
                    <a:pt x="942" y="1027"/>
                  </a:lnTo>
                  <a:lnTo>
                    <a:pt x="937" y="1017"/>
                  </a:lnTo>
                  <a:lnTo>
                    <a:pt x="930" y="1010"/>
                  </a:lnTo>
                  <a:lnTo>
                    <a:pt x="922" y="1005"/>
                  </a:lnTo>
                  <a:lnTo>
                    <a:pt x="915" y="1000"/>
                  </a:lnTo>
                  <a:lnTo>
                    <a:pt x="908" y="996"/>
                  </a:lnTo>
                  <a:lnTo>
                    <a:pt x="894" y="991"/>
                  </a:lnTo>
                  <a:lnTo>
                    <a:pt x="885" y="989"/>
                  </a:lnTo>
                  <a:lnTo>
                    <a:pt x="880" y="989"/>
                  </a:lnTo>
                  <a:lnTo>
                    <a:pt x="880" y="989"/>
                  </a:lnTo>
                  <a:lnTo>
                    <a:pt x="896" y="944"/>
                  </a:lnTo>
                  <a:lnTo>
                    <a:pt x="908" y="908"/>
                  </a:lnTo>
                  <a:lnTo>
                    <a:pt x="919" y="879"/>
                  </a:lnTo>
                  <a:lnTo>
                    <a:pt x="919" y="879"/>
                  </a:lnTo>
                  <a:lnTo>
                    <a:pt x="927" y="859"/>
                  </a:lnTo>
                  <a:lnTo>
                    <a:pt x="937" y="841"/>
                  </a:lnTo>
                  <a:lnTo>
                    <a:pt x="945" y="823"/>
                  </a:lnTo>
                  <a:lnTo>
                    <a:pt x="954" y="807"/>
                  </a:lnTo>
                  <a:lnTo>
                    <a:pt x="962" y="792"/>
                  </a:lnTo>
                  <a:lnTo>
                    <a:pt x="971" y="777"/>
                  </a:lnTo>
                  <a:lnTo>
                    <a:pt x="989" y="753"/>
                  </a:lnTo>
                  <a:lnTo>
                    <a:pt x="1006" y="732"/>
                  </a:lnTo>
                  <a:lnTo>
                    <a:pt x="1024" y="715"/>
                  </a:lnTo>
                  <a:lnTo>
                    <a:pt x="1040" y="702"/>
                  </a:lnTo>
                  <a:lnTo>
                    <a:pt x="1055" y="690"/>
                  </a:lnTo>
                  <a:lnTo>
                    <a:pt x="1070" y="683"/>
                  </a:lnTo>
                  <a:lnTo>
                    <a:pt x="1083" y="677"/>
                  </a:lnTo>
                  <a:lnTo>
                    <a:pt x="1095" y="673"/>
                  </a:lnTo>
                  <a:lnTo>
                    <a:pt x="1105" y="671"/>
                  </a:lnTo>
                  <a:lnTo>
                    <a:pt x="1114" y="670"/>
                  </a:lnTo>
                  <a:lnTo>
                    <a:pt x="1120" y="670"/>
                  </a:lnTo>
                  <a:lnTo>
                    <a:pt x="1125" y="670"/>
                  </a:lnTo>
                  <a:lnTo>
                    <a:pt x="1125" y="670"/>
                  </a:lnTo>
                  <a:lnTo>
                    <a:pt x="1121" y="666"/>
                  </a:lnTo>
                  <a:lnTo>
                    <a:pt x="1116" y="661"/>
                  </a:lnTo>
                  <a:lnTo>
                    <a:pt x="1111" y="653"/>
                  </a:lnTo>
                  <a:lnTo>
                    <a:pt x="1104" y="644"/>
                  </a:lnTo>
                  <a:lnTo>
                    <a:pt x="1099" y="633"/>
                  </a:lnTo>
                  <a:lnTo>
                    <a:pt x="1093" y="620"/>
                  </a:lnTo>
                  <a:lnTo>
                    <a:pt x="1088" y="603"/>
                  </a:lnTo>
                  <a:lnTo>
                    <a:pt x="1085" y="586"/>
                  </a:lnTo>
                  <a:lnTo>
                    <a:pt x="1083" y="566"/>
                  </a:lnTo>
                  <a:lnTo>
                    <a:pt x="1083" y="543"/>
                  </a:lnTo>
                  <a:lnTo>
                    <a:pt x="1084" y="531"/>
                  </a:lnTo>
                  <a:lnTo>
                    <a:pt x="1086" y="519"/>
                  </a:lnTo>
                  <a:lnTo>
                    <a:pt x="1088" y="505"/>
                  </a:lnTo>
                  <a:lnTo>
                    <a:pt x="1092" y="491"/>
                  </a:lnTo>
                  <a:lnTo>
                    <a:pt x="1096" y="477"/>
                  </a:lnTo>
                  <a:lnTo>
                    <a:pt x="1101" y="461"/>
                  </a:lnTo>
                  <a:lnTo>
                    <a:pt x="1107" y="446"/>
                  </a:lnTo>
                  <a:lnTo>
                    <a:pt x="1115" y="430"/>
                  </a:lnTo>
                  <a:lnTo>
                    <a:pt x="1123" y="412"/>
                  </a:lnTo>
                  <a:lnTo>
                    <a:pt x="1132" y="395"/>
                  </a:lnTo>
                  <a:lnTo>
                    <a:pt x="1132" y="395"/>
                  </a:lnTo>
                  <a:lnTo>
                    <a:pt x="1152" y="358"/>
                  </a:lnTo>
                  <a:lnTo>
                    <a:pt x="1169" y="322"/>
                  </a:lnTo>
                  <a:lnTo>
                    <a:pt x="1184" y="289"/>
                  </a:lnTo>
                  <a:lnTo>
                    <a:pt x="1195" y="258"/>
                  </a:lnTo>
                  <a:lnTo>
                    <a:pt x="1206" y="227"/>
                  </a:lnTo>
                  <a:lnTo>
                    <a:pt x="1214" y="197"/>
                  </a:lnTo>
                  <a:lnTo>
                    <a:pt x="1220" y="169"/>
                  </a:lnTo>
                  <a:lnTo>
                    <a:pt x="1225" y="141"/>
                  </a:lnTo>
                  <a:lnTo>
                    <a:pt x="1225" y="141"/>
                  </a:lnTo>
                  <a:lnTo>
                    <a:pt x="1226" y="132"/>
                  </a:lnTo>
                  <a:lnTo>
                    <a:pt x="1225" y="123"/>
                  </a:lnTo>
                  <a:lnTo>
                    <a:pt x="1224" y="114"/>
                  </a:lnTo>
                  <a:lnTo>
                    <a:pt x="1221" y="104"/>
                  </a:lnTo>
                  <a:lnTo>
                    <a:pt x="1217" y="95"/>
                  </a:lnTo>
                  <a:lnTo>
                    <a:pt x="1213" y="87"/>
                  </a:lnTo>
                  <a:lnTo>
                    <a:pt x="1208" y="78"/>
                  </a:lnTo>
                  <a:lnTo>
                    <a:pt x="1202" y="70"/>
                  </a:lnTo>
                  <a:lnTo>
                    <a:pt x="1194" y="63"/>
                  </a:lnTo>
                  <a:lnTo>
                    <a:pt x="1187" y="55"/>
                  </a:lnTo>
                  <a:lnTo>
                    <a:pt x="1179" y="49"/>
                  </a:lnTo>
                  <a:lnTo>
                    <a:pt x="1171" y="44"/>
                  </a:lnTo>
                  <a:lnTo>
                    <a:pt x="1163" y="39"/>
                  </a:lnTo>
                  <a:lnTo>
                    <a:pt x="1153" y="36"/>
                  </a:lnTo>
                  <a:lnTo>
                    <a:pt x="1144" y="34"/>
                  </a:lnTo>
                  <a:lnTo>
                    <a:pt x="1134" y="32"/>
                  </a:lnTo>
                  <a:lnTo>
                    <a:pt x="1134" y="32"/>
                  </a:lnTo>
                  <a:lnTo>
                    <a:pt x="1124" y="32"/>
                  </a:lnTo>
                  <a:lnTo>
                    <a:pt x="1115" y="33"/>
                  </a:lnTo>
                  <a:lnTo>
                    <a:pt x="1104" y="35"/>
                  </a:lnTo>
                  <a:lnTo>
                    <a:pt x="1095" y="38"/>
                  </a:lnTo>
                  <a:lnTo>
                    <a:pt x="1086" y="42"/>
                  </a:lnTo>
                  <a:lnTo>
                    <a:pt x="1078" y="46"/>
                  </a:lnTo>
                  <a:lnTo>
                    <a:pt x="1070" y="52"/>
                  </a:lnTo>
                  <a:lnTo>
                    <a:pt x="1061" y="57"/>
                  </a:lnTo>
                  <a:lnTo>
                    <a:pt x="1054" y="65"/>
                  </a:lnTo>
                  <a:lnTo>
                    <a:pt x="1048" y="71"/>
                  </a:lnTo>
                  <a:lnTo>
                    <a:pt x="1042" y="78"/>
                  </a:lnTo>
                  <a:lnTo>
                    <a:pt x="1037" y="86"/>
                  </a:lnTo>
                  <a:lnTo>
                    <a:pt x="1033" y="94"/>
                  </a:lnTo>
                  <a:lnTo>
                    <a:pt x="1029" y="102"/>
                  </a:lnTo>
                  <a:lnTo>
                    <a:pt x="1027" y="111"/>
                  </a:lnTo>
                  <a:lnTo>
                    <a:pt x="1026" y="119"/>
                  </a:lnTo>
                  <a:lnTo>
                    <a:pt x="1026" y="119"/>
                  </a:lnTo>
                  <a:lnTo>
                    <a:pt x="1025" y="139"/>
                  </a:lnTo>
                  <a:lnTo>
                    <a:pt x="1026" y="158"/>
                  </a:lnTo>
                  <a:lnTo>
                    <a:pt x="1030" y="173"/>
                  </a:lnTo>
                  <a:lnTo>
                    <a:pt x="1035" y="185"/>
                  </a:lnTo>
                  <a:lnTo>
                    <a:pt x="1041" y="195"/>
                  </a:lnTo>
                  <a:lnTo>
                    <a:pt x="1048" y="205"/>
                  </a:lnTo>
                  <a:lnTo>
                    <a:pt x="1056" y="212"/>
                  </a:lnTo>
                  <a:lnTo>
                    <a:pt x="1065" y="217"/>
                  </a:lnTo>
                  <a:lnTo>
                    <a:pt x="1073" y="221"/>
                  </a:lnTo>
                  <a:lnTo>
                    <a:pt x="1081" y="225"/>
                  </a:lnTo>
                  <a:lnTo>
                    <a:pt x="1095" y="230"/>
                  </a:lnTo>
                  <a:lnTo>
                    <a:pt x="1101" y="232"/>
                  </a:lnTo>
                  <a:lnTo>
                    <a:pt x="1104" y="234"/>
                  </a:lnTo>
                  <a:lnTo>
                    <a:pt x="1107" y="237"/>
                  </a:lnTo>
                  <a:lnTo>
                    <a:pt x="1107" y="240"/>
                  </a:lnTo>
                  <a:lnTo>
                    <a:pt x="1107" y="240"/>
                  </a:lnTo>
                  <a:lnTo>
                    <a:pt x="1096" y="276"/>
                  </a:lnTo>
                  <a:lnTo>
                    <a:pt x="1084" y="309"/>
                  </a:lnTo>
                  <a:lnTo>
                    <a:pt x="1071" y="339"/>
                  </a:lnTo>
                  <a:lnTo>
                    <a:pt x="1057" y="365"/>
                  </a:lnTo>
                  <a:lnTo>
                    <a:pt x="1044" y="390"/>
                  </a:lnTo>
                  <a:lnTo>
                    <a:pt x="1031" y="411"/>
                  </a:lnTo>
                  <a:lnTo>
                    <a:pt x="1016" y="431"/>
                  </a:lnTo>
                  <a:lnTo>
                    <a:pt x="1002" y="447"/>
                  </a:lnTo>
                  <a:lnTo>
                    <a:pt x="1002" y="447"/>
                  </a:lnTo>
                  <a:lnTo>
                    <a:pt x="975" y="431"/>
                  </a:lnTo>
                  <a:lnTo>
                    <a:pt x="942" y="411"/>
                  </a:lnTo>
                  <a:lnTo>
                    <a:pt x="942" y="411"/>
                  </a:lnTo>
                  <a:lnTo>
                    <a:pt x="865" y="369"/>
                  </a:lnTo>
                  <a:lnTo>
                    <a:pt x="790" y="328"/>
                  </a:lnTo>
                  <a:lnTo>
                    <a:pt x="717" y="289"/>
                  </a:lnTo>
                  <a:lnTo>
                    <a:pt x="680" y="271"/>
                  </a:lnTo>
                  <a:lnTo>
                    <a:pt x="643" y="254"/>
                  </a:lnTo>
                  <a:lnTo>
                    <a:pt x="606" y="236"/>
                  </a:lnTo>
                  <a:lnTo>
                    <a:pt x="568" y="221"/>
                  </a:lnTo>
                  <a:lnTo>
                    <a:pt x="529" y="205"/>
                  </a:lnTo>
                  <a:lnTo>
                    <a:pt x="489" y="190"/>
                  </a:lnTo>
                  <a:lnTo>
                    <a:pt x="448" y="176"/>
                  </a:lnTo>
                  <a:lnTo>
                    <a:pt x="406" y="164"/>
                  </a:lnTo>
                  <a:lnTo>
                    <a:pt x="362" y="151"/>
                  </a:lnTo>
                  <a:lnTo>
                    <a:pt x="317" y="140"/>
                  </a:lnTo>
                  <a:lnTo>
                    <a:pt x="317" y="140"/>
                  </a:lnTo>
                  <a:lnTo>
                    <a:pt x="334" y="107"/>
                  </a:lnTo>
                  <a:lnTo>
                    <a:pt x="334" y="107"/>
                  </a:lnTo>
                  <a:lnTo>
                    <a:pt x="360" y="63"/>
                  </a:lnTo>
                  <a:lnTo>
                    <a:pt x="378" y="31"/>
                  </a:lnTo>
                  <a:lnTo>
                    <a:pt x="385" y="20"/>
                  </a:lnTo>
                  <a:lnTo>
                    <a:pt x="389" y="10"/>
                  </a:lnTo>
                  <a:lnTo>
                    <a:pt x="391" y="4"/>
                  </a:lnTo>
                  <a:lnTo>
                    <a:pt x="390" y="2"/>
                  </a:lnTo>
                  <a:lnTo>
                    <a:pt x="389" y="0"/>
                  </a:lnTo>
                  <a:lnTo>
                    <a:pt x="389" y="0"/>
                  </a:lnTo>
                  <a:lnTo>
                    <a:pt x="388" y="0"/>
                  </a:lnTo>
                  <a:lnTo>
                    <a:pt x="387" y="0"/>
                  </a:lnTo>
                  <a:lnTo>
                    <a:pt x="381" y="1"/>
                  </a:lnTo>
                  <a:lnTo>
                    <a:pt x="367" y="10"/>
                  </a:lnTo>
                  <a:lnTo>
                    <a:pt x="343" y="26"/>
                  </a:lnTo>
                  <a:lnTo>
                    <a:pt x="326" y="35"/>
                  </a:lnTo>
                  <a:lnTo>
                    <a:pt x="307" y="46"/>
                  </a:lnTo>
                  <a:lnTo>
                    <a:pt x="307" y="46"/>
                  </a:lnTo>
                  <a:lnTo>
                    <a:pt x="285" y="57"/>
                  </a:lnTo>
                  <a:lnTo>
                    <a:pt x="267" y="67"/>
                  </a:lnTo>
                  <a:lnTo>
                    <a:pt x="252" y="73"/>
                  </a:lnTo>
                  <a:lnTo>
                    <a:pt x="237" y="78"/>
                  </a:lnTo>
                  <a:lnTo>
                    <a:pt x="224" y="82"/>
                  </a:lnTo>
                  <a:lnTo>
                    <a:pt x="211" y="85"/>
                  </a:lnTo>
                  <a:lnTo>
                    <a:pt x="183" y="89"/>
                  </a:lnTo>
                  <a:lnTo>
                    <a:pt x="183" y="89"/>
                  </a:lnTo>
                  <a:lnTo>
                    <a:pt x="174" y="89"/>
                  </a:lnTo>
                  <a:lnTo>
                    <a:pt x="165" y="88"/>
                  </a:lnTo>
                  <a:lnTo>
                    <a:pt x="147" y="85"/>
                  </a:lnTo>
                  <a:lnTo>
                    <a:pt x="132" y="81"/>
                  </a:lnTo>
                  <a:lnTo>
                    <a:pt x="125" y="81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14" y="85"/>
                  </a:lnTo>
                  <a:lnTo>
                    <a:pt x="107" y="91"/>
                  </a:lnTo>
                  <a:lnTo>
                    <a:pt x="102" y="98"/>
                  </a:lnTo>
                  <a:lnTo>
                    <a:pt x="97" y="107"/>
                  </a:lnTo>
                  <a:lnTo>
                    <a:pt x="92" y="120"/>
                  </a:lnTo>
                  <a:lnTo>
                    <a:pt x="87" y="134"/>
                  </a:lnTo>
                  <a:lnTo>
                    <a:pt x="74" y="171"/>
                  </a:lnTo>
                  <a:lnTo>
                    <a:pt x="74" y="171"/>
                  </a:lnTo>
                  <a:lnTo>
                    <a:pt x="49" y="242"/>
                  </a:lnTo>
                  <a:lnTo>
                    <a:pt x="42" y="261"/>
                  </a:lnTo>
                  <a:lnTo>
                    <a:pt x="42" y="261"/>
                  </a:lnTo>
                  <a:lnTo>
                    <a:pt x="34" y="279"/>
                  </a:lnTo>
                  <a:lnTo>
                    <a:pt x="27" y="293"/>
                  </a:lnTo>
                  <a:lnTo>
                    <a:pt x="14" y="312"/>
                  </a:lnTo>
                  <a:lnTo>
                    <a:pt x="10" y="320"/>
                  </a:lnTo>
                  <a:lnTo>
                    <a:pt x="6" y="327"/>
                  </a:lnTo>
                  <a:lnTo>
                    <a:pt x="3" y="335"/>
                  </a:lnTo>
                  <a:lnTo>
                    <a:pt x="1" y="34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7" name="Freeform 33"/>
            <p:cNvSpPr>
              <a:spLocks/>
            </p:cNvSpPr>
            <p:nvPr userDrawn="1"/>
          </p:nvSpPr>
          <p:spPr bwMode="auto">
            <a:xfrm>
              <a:off x="741363" y="709613"/>
              <a:ext cx="39688" cy="46038"/>
            </a:xfrm>
            <a:custGeom>
              <a:avLst/>
              <a:gdLst>
                <a:gd name="T0" fmla="*/ 103 w 296"/>
                <a:gd name="T1" fmla="*/ 350 h 350"/>
                <a:gd name="T2" fmla="*/ 103 w 296"/>
                <a:gd name="T3" fmla="*/ 350 h 350"/>
                <a:gd name="T4" fmla="*/ 132 w 296"/>
                <a:gd name="T5" fmla="*/ 349 h 350"/>
                <a:gd name="T6" fmla="*/ 164 w 296"/>
                <a:gd name="T7" fmla="*/ 346 h 350"/>
                <a:gd name="T8" fmla="*/ 196 w 296"/>
                <a:gd name="T9" fmla="*/ 343 h 350"/>
                <a:gd name="T10" fmla="*/ 226 w 296"/>
                <a:gd name="T11" fmla="*/ 339 h 350"/>
                <a:gd name="T12" fmla="*/ 276 w 296"/>
                <a:gd name="T13" fmla="*/ 333 h 350"/>
                <a:gd name="T14" fmla="*/ 296 w 296"/>
                <a:gd name="T15" fmla="*/ 329 h 350"/>
                <a:gd name="T16" fmla="*/ 293 w 296"/>
                <a:gd name="T17" fmla="*/ 25 h 350"/>
                <a:gd name="T18" fmla="*/ 293 w 296"/>
                <a:gd name="T19" fmla="*/ 25 h 350"/>
                <a:gd name="T20" fmla="*/ 244 w 296"/>
                <a:gd name="T21" fmla="*/ 18 h 350"/>
                <a:gd name="T22" fmla="*/ 142 w 296"/>
                <a:gd name="T23" fmla="*/ 2 h 350"/>
                <a:gd name="T24" fmla="*/ 142 w 296"/>
                <a:gd name="T25" fmla="*/ 2 h 350"/>
                <a:gd name="T26" fmla="*/ 129 w 296"/>
                <a:gd name="T27" fmla="*/ 1 h 350"/>
                <a:gd name="T28" fmla="*/ 117 w 296"/>
                <a:gd name="T29" fmla="*/ 0 h 350"/>
                <a:gd name="T30" fmla="*/ 105 w 296"/>
                <a:gd name="T31" fmla="*/ 0 h 350"/>
                <a:gd name="T32" fmla="*/ 94 w 296"/>
                <a:gd name="T33" fmla="*/ 1 h 350"/>
                <a:gd name="T34" fmla="*/ 84 w 296"/>
                <a:gd name="T35" fmla="*/ 3 h 350"/>
                <a:gd name="T36" fmla="*/ 75 w 296"/>
                <a:gd name="T37" fmla="*/ 6 h 350"/>
                <a:gd name="T38" fmla="*/ 66 w 296"/>
                <a:gd name="T39" fmla="*/ 9 h 350"/>
                <a:gd name="T40" fmla="*/ 59 w 296"/>
                <a:gd name="T41" fmla="*/ 13 h 350"/>
                <a:gd name="T42" fmla="*/ 51 w 296"/>
                <a:gd name="T43" fmla="*/ 17 h 350"/>
                <a:gd name="T44" fmla="*/ 44 w 296"/>
                <a:gd name="T45" fmla="*/ 22 h 350"/>
                <a:gd name="T46" fmla="*/ 38 w 296"/>
                <a:gd name="T47" fmla="*/ 27 h 350"/>
                <a:gd name="T48" fmla="*/ 33 w 296"/>
                <a:gd name="T49" fmla="*/ 32 h 350"/>
                <a:gd name="T50" fmla="*/ 24 w 296"/>
                <a:gd name="T51" fmla="*/ 45 h 350"/>
                <a:gd name="T52" fmla="*/ 17 w 296"/>
                <a:gd name="T53" fmla="*/ 57 h 350"/>
                <a:gd name="T54" fmla="*/ 11 w 296"/>
                <a:gd name="T55" fmla="*/ 70 h 350"/>
                <a:gd name="T56" fmla="*/ 6 w 296"/>
                <a:gd name="T57" fmla="*/ 83 h 350"/>
                <a:gd name="T58" fmla="*/ 3 w 296"/>
                <a:gd name="T59" fmla="*/ 96 h 350"/>
                <a:gd name="T60" fmla="*/ 1 w 296"/>
                <a:gd name="T61" fmla="*/ 106 h 350"/>
                <a:gd name="T62" fmla="*/ 0 w 296"/>
                <a:gd name="T63" fmla="*/ 123 h 350"/>
                <a:gd name="T64" fmla="*/ 0 w 296"/>
                <a:gd name="T65" fmla="*/ 129 h 350"/>
                <a:gd name="T66" fmla="*/ 4 w 296"/>
                <a:gd name="T67" fmla="*/ 213 h 350"/>
                <a:gd name="T68" fmla="*/ 4 w 296"/>
                <a:gd name="T69" fmla="*/ 213 h 350"/>
                <a:gd name="T70" fmla="*/ 4 w 296"/>
                <a:gd name="T71" fmla="*/ 219 h 350"/>
                <a:gd name="T72" fmla="*/ 6 w 296"/>
                <a:gd name="T73" fmla="*/ 235 h 350"/>
                <a:gd name="T74" fmla="*/ 11 w 296"/>
                <a:gd name="T75" fmla="*/ 256 h 350"/>
                <a:gd name="T76" fmla="*/ 15 w 296"/>
                <a:gd name="T77" fmla="*/ 268 h 350"/>
                <a:gd name="T78" fmla="*/ 19 w 296"/>
                <a:gd name="T79" fmla="*/ 282 h 350"/>
                <a:gd name="T80" fmla="*/ 24 w 296"/>
                <a:gd name="T81" fmla="*/ 294 h 350"/>
                <a:gd name="T82" fmla="*/ 31 w 296"/>
                <a:gd name="T83" fmla="*/ 306 h 350"/>
                <a:gd name="T84" fmla="*/ 39 w 296"/>
                <a:gd name="T85" fmla="*/ 319 h 350"/>
                <a:gd name="T86" fmla="*/ 48 w 296"/>
                <a:gd name="T87" fmla="*/ 329 h 350"/>
                <a:gd name="T88" fmla="*/ 53 w 296"/>
                <a:gd name="T89" fmla="*/ 333 h 350"/>
                <a:gd name="T90" fmla="*/ 60 w 296"/>
                <a:gd name="T91" fmla="*/ 337 h 350"/>
                <a:gd name="T92" fmla="*/ 66 w 296"/>
                <a:gd name="T93" fmla="*/ 341 h 350"/>
                <a:gd name="T94" fmla="*/ 72 w 296"/>
                <a:gd name="T95" fmla="*/ 344 h 350"/>
                <a:gd name="T96" fmla="*/ 79 w 296"/>
                <a:gd name="T97" fmla="*/ 346 h 350"/>
                <a:gd name="T98" fmla="*/ 86 w 296"/>
                <a:gd name="T99" fmla="*/ 348 h 350"/>
                <a:gd name="T100" fmla="*/ 94 w 296"/>
                <a:gd name="T101" fmla="*/ 349 h 350"/>
                <a:gd name="T102" fmla="*/ 103 w 296"/>
                <a:gd name="T103" fmla="*/ 35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96" h="350">
                  <a:moveTo>
                    <a:pt x="103" y="350"/>
                  </a:moveTo>
                  <a:lnTo>
                    <a:pt x="103" y="350"/>
                  </a:lnTo>
                  <a:lnTo>
                    <a:pt x="132" y="349"/>
                  </a:lnTo>
                  <a:lnTo>
                    <a:pt x="164" y="346"/>
                  </a:lnTo>
                  <a:lnTo>
                    <a:pt x="196" y="343"/>
                  </a:lnTo>
                  <a:lnTo>
                    <a:pt x="226" y="339"/>
                  </a:lnTo>
                  <a:lnTo>
                    <a:pt x="276" y="333"/>
                  </a:lnTo>
                  <a:lnTo>
                    <a:pt x="296" y="329"/>
                  </a:lnTo>
                  <a:lnTo>
                    <a:pt x="293" y="25"/>
                  </a:lnTo>
                  <a:lnTo>
                    <a:pt x="293" y="25"/>
                  </a:lnTo>
                  <a:lnTo>
                    <a:pt x="244" y="18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29" y="1"/>
                  </a:lnTo>
                  <a:lnTo>
                    <a:pt x="117" y="0"/>
                  </a:lnTo>
                  <a:lnTo>
                    <a:pt x="105" y="0"/>
                  </a:lnTo>
                  <a:lnTo>
                    <a:pt x="94" y="1"/>
                  </a:lnTo>
                  <a:lnTo>
                    <a:pt x="84" y="3"/>
                  </a:lnTo>
                  <a:lnTo>
                    <a:pt x="75" y="6"/>
                  </a:lnTo>
                  <a:lnTo>
                    <a:pt x="66" y="9"/>
                  </a:lnTo>
                  <a:lnTo>
                    <a:pt x="59" y="13"/>
                  </a:lnTo>
                  <a:lnTo>
                    <a:pt x="51" y="17"/>
                  </a:lnTo>
                  <a:lnTo>
                    <a:pt x="44" y="22"/>
                  </a:lnTo>
                  <a:lnTo>
                    <a:pt x="38" y="27"/>
                  </a:lnTo>
                  <a:lnTo>
                    <a:pt x="33" y="32"/>
                  </a:lnTo>
                  <a:lnTo>
                    <a:pt x="24" y="45"/>
                  </a:lnTo>
                  <a:lnTo>
                    <a:pt x="17" y="57"/>
                  </a:lnTo>
                  <a:lnTo>
                    <a:pt x="11" y="70"/>
                  </a:lnTo>
                  <a:lnTo>
                    <a:pt x="6" y="83"/>
                  </a:lnTo>
                  <a:lnTo>
                    <a:pt x="3" y="96"/>
                  </a:lnTo>
                  <a:lnTo>
                    <a:pt x="1" y="106"/>
                  </a:lnTo>
                  <a:lnTo>
                    <a:pt x="0" y="123"/>
                  </a:lnTo>
                  <a:lnTo>
                    <a:pt x="0" y="129"/>
                  </a:lnTo>
                  <a:lnTo>
                    <a:pt x="4" y="213"/>
                  </a:lnTo>
                  <a:lnTo>
                    <a:pt x="4" y="213"/>
                  </a:lnTo>
                  <a:lnTo>
                    <a:pt x="4" y="219"/>
                  </a:lnTo>
                  <a:lnTo>
                    <a:pt x="6" y="235"/>
                  </a:lnTo>
                  <a:lnTo>
                    <a:pt x="11" y="256"/>
                  </a:lnTo>
                  <a:lnTo>
                    <a:pt x="15" y="268"/>
                  </a:lnTo>
                  <a:lnTo>
                    <a:pt x="19" y="282"/>
                  </a:lnTo>
                  <a:lnTo>
                    <a:pt x="24" y="294"/>
                  </a:lnTo>
                  <a:lnTo>
                    <a:pt x="31" y="306"/>
                  </a:lnTo>
                  <a:lnTo>
                    <a:pt x="39" y="319"/>
                  </a:lnTo>
                  <a:lnTo>
                    <a:pt x="48" y="329"/>
                  </a:lnTo>
                  <a:lnTo>
                    <a:pt x="53" y="333"/>
                  </a:lnTo>
                  <a:lnTo>
                    <a:pt x="60" y="337"/>
                  </a:lnTo>
                  <a:lnTo>
                    <a:pt x="66" y="341"/>
                  </a:lnTo>
                  <a:lnTo>
                    <a:pt x="72" y="344"/>
                  </a:lnTo>
                  <a:lnTo>
                    <a:pt x="79" y="346"/>
                  </a:lnTo>
                  <a:lnTo>
                    <a:pt x="86" y="348"/>
                  </a:lnTo>
                  <a:lnTo>
                    <a:pt x="94" y="349"/>
                  </a:lnTo>
                  <a:lnTo>
                    <a:pt x="103" y="3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8" name="Freeform 34"/>
            <p:cNvSpPr>
              <a:spLocks/>
            </p:cNvSpPr>
            <p:nvPr userDrawn="1"/>
          </p:nvSpPr>
          <p:spPr bwMode="auto">
            <a:xfrm>
              <a:off x="788988" y="698501"/>
              <a:ext cx="60325" cy="57150"/>
            </a:xfrm>
            <a:custGeom>
              <a:avLst/>
              <a:gdLst>
                <a:gd name="T0" fmla="*/ 450 w 450"/>
                <a:gd name="T1" fmla="*/ 290 h 425"/>
                <a:gd name="T2" fmla="*/ 450 w 450"/>
                <a:gd name="T3" fmla="*/ 225 h 425"/>
                <a:gd name="T4" fmla="*/ 449 w 450"/>
                <a:gd name="T5" fmla="*/ 54 h 425"/>
                <a:gd name="T6" fmla="*/ 444 w 450"/>
                <a:gd name="T7" fmla="*/ 20 h 425"/>
                <a:gd name="T8" fmla="*/ 436 w 450"/>
                <a:gd name="T9" fmla="*/ 3 h 425"/>
                <a:gd name="T10" fmla="*/ 429 w 450"/>
                <a:gd name="T11" fmla="*/ 0 h 425"/>
                <a:gd name="T12" fmla="*/ 367 w 450"/>
                <a:gd name="T13" fmla="*/ 2 h 425"/>
                <a:gd name="T14" fmla="*/ 362 w 450"/>
                <a:gd name="T15" fmla="*/ 14 h 425"/>
                <a:gd name="T16" fmla="*/ 347 w 450"/>
                <a:gd name="T17" fmla="*/ 59 h 425"/>
                <a:gd name="T18" fmla="*/ 325 w 450"/>
                <a:gd name="T19" fmla="*/ 2 h 425"/>
                <a:gd name="T20" fmla="*/ 261 w 450"/>
                <a:gd name="T21" fmla="*/ 2 h 425"/>
                <a:gd name="T22" fmla="*/ 242 w 450"/>
                <a:gd name="T23" fmla="*/ 16 h 425"/>
                <a:gd name="T24" fmla="*/ 224 w 450"/>
                <a:gd name="T25" fmla="*/ 64 h 425"/>
                <a:gd name="T26" fmla="*/ 192 w 450"/>
                <a:gd name="T27" fmla="*/ 4 h 425"/>
                <a:gd name="T28" fmla="*/ 135 w 450"/>
                <a:gd name="T29" fmla="*/ 6 h 425"/>
                <a:gd name="T30" fmla="*/ 127 w 450"/>
                <a:gd name="T31" fmla="*/ 11 h 425"/>
                <a:gd name="T32" fmla="*/ 110 w 450"/>
                <a:gd name="T33" fmla="*/ 53 h 425"/>
                <a:gd name="T34" fmla="*/ 86 w 450"/>
                <a:gd name="T35" fmla="*/ 6 h 425"/>
                <a:gd name="T36" fmla="*/ 38 w 450"/>
                <a:gd name="T37" fmla="*/ 6 h 425"/>
                <a:gd name="T38" fmla="*/ 25 w 450"/>
                <a:gd name="T39" fmla="*/ 10 h 425"/>
                <a:gd name="T40" fmla="*/ 10 w 450"/>
                <a:gd name="T41" fmla="*/ 28 h 425"/>
                <a:gd name="T42" fmla="*/ 1 w 450"/>
                <a:gd name="T43" fmla="*/ 55 h 425"/>
                <a:gd name="T44" fmla="*/ 1 w 450"/>
                <a:gd name="T45" fmla="*/ 141 h 425"/>
                <a:gd name="T46" fmla="*/ 5 w 450"/>
                <a:gd name="T47" fmla="*/ 324 h 425"/>
                <a:gd name="T48" fmla="*/ 27 w 450"/>
                <a:gd name="T49" fmla="*/ 401 h 425"/>
                <a:gd name="T50" fmla="*/ 54 w 450"/>
                <a:gd name="T51" fmla="*/ 396 h 425"/>
                <a:gd name="T52" fmla="*/ 74 w 450"/>
                <a:gd name="T53" fmla="*/ 384 h 425"/>
                <a:gd name="T54" fmla="*/ 83 w 450"/>
                <a:gd name="T55" fmla="*/ 374 h 425"/>
                <a:gd name="T56" fmla="*/ 100 w 450"/>
                <a:gd name="T57" fmla="*/ 341 h 425"/>
                <a:gd name="T58" fmla="*/ 105 w 450"/>
                <a:gd name="T59" fmla="*/ 317 h 425"/>
                <a:gd name="T60" fmla="*/ 105 w 450"/>
                <a:gd name="T61" fmla="*/ 367 h 425"/>
                <a:gd name="T62" fmla="*/ 108 w 450"/>
                <a:gd name="T63" fmla="*/ 420 h 425"/>
                <a:gd name="T64" fmla="*/ 116 w 450"/>
                <a:gd name="T65" fmla="*/ 424 h 425"/>
                <a:gd name="T66" fmla="*/ 150 w 450"/>
                <a:gd name="T67" fmla="*/ 423 h 425"/>
                <a:gd name="T68" fmla="*/ 176 w 450"/>
                <a:gd name="T69" fmla="*/ 412 h 425"/>
                <a:gd name="T70" fmla="*/ 189 w 450"/>
                <a:gd name="T71" fmla="*/ 402 h 425"/>
                <a:gd name="T72" fmla="*/ 209 w 450"/>
                <a:gd name="T73" fmla="*/ 368 h 425"/>
                <a:gd name="T74" fmla="*/ 224 w 450"/>
                <a:gd name="T75" fmla="*/ 317 h 425"/>
                <a:gd name="T76" fmla="*/ 225 w 450"/>
                <a:gd name="T77" fmla="*/ 381 h 425"/>
                <a:gd name="T78" fmla="*/ 229 w 450"/>
                <a:gd name="T79" fmla="*/ 419 h 425"/>
                <a:gd name="T80" fmla="*/ 237 w 450"/>
                <a:gd name="T81" fmla="*/ 421 h 425"/>
                <a:gd name="T82" fmla="*/ 266 w 450"/>
                <a:gd name="T83" fmla="*/ 418 h 425"/>
                <a:gd name="T84" fmla="*/ 300 w 450"/>
                <a:gd name="T85" fmla="*/ 405 h 425"/>
                <a:gd name="T86" fmla="*/ 309 w 450"/>
                <a:gd name="T87" fmla="*/ 397 h 425"/>
                <a:gd name="T88" fmla="*/ 331 w 450"/>
                <a:gd name="T89" fmla="*/ 367 h 425"/>
                <a:gd name="T90" fmla="*/ 342 w 450"/>
                <a:gd name="T91" fmla="*/ 334 h 425"/>
                <a:gd name="T92" fmla="*/ 345 w 450"/>
                <a:gd name="T93" fmla="*/ 346 h 425"/>
                <a:gd name="T94" fmla="*/ 348 w 450"/>
                <a:gd name="T95" fmla="*/ 391 h 425"/>
                <a:gd name="T96" fmla="*/ 379 w 450"/>
                <a:gd name="T97" fmla="*/ 386 h 425"/>
                <a:gd name="T98" fmla="*/ 404 w 450"/>
                <a:gd name="T99" fmla="*/ 375 h 425"/>
                <a:gd name="T100" fmla="*/ 425 w 450"/>
                <a:gd name="T101" fmla="*/ 360 h 425"/>
                <a:gd name="T102" fmla="*/ 439 w 450"/>
                <a:gd name="T103" fmla="*/ 342 h 425"/>
                <a:gd name="T104" fmla="*/ 448 w 450"/>
                <a:gd name="T105" fmla="*/ 311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50" h="425">
                  <a:moveTo>
                    <a:pt x="448" y="311"/>
                  </a:moveTo>
                  <a:lnTo>
                    <a:pt x="448" y="311"/>
                  </a:lnTo>
                  <a:lnTo>
                    <a:pt x="450" y="290"/>
                  </a:lnTo>
                  <a:lnTo>
                    <a:pt x="450" y="268"/>
                  </a:lnTo>
                  <a:lnTo>
                    <a:pt x="450" y="225"/>
                  </a:lnTo>
                  <a:lnTo>
                    <a:pt x="450" y="225"/>
                  </a:lnTo>
                  <a:lnTo>
                    <a:pt x="449" y="64"/>
                  </a:lnTo>
                  <a:lnTo>
                    <a:pt x="449" y="64"/>
                  </a:lnTo>
                  <a:lnTo>
                    <a:pt x="449" y="54"/>
                  </a:lnTo>
                  <a:lnTo>
                    <a:pt x="448" y="44"/>
                  </a:lnTo>
                  <a:lnTo>
                    <a:pt x="447" y="33"/>
                  </a:lnTo>
                  <a:lnTo>
                    <a:pt x="444" y="20"/>
                  </a:lnTo>
                  <a:lnTo>
                    <a:pt x="441" y="10"/>
                  </a:lnTo>
                  <a:lnTo>
                    <a:pt x="439" y="6"/>
                  </a:lnTo>
                  <a:lnTo>
                    <a:pt x="436" y="3"/>
                  </a:lnTo>
                  <a:lnTo>
                    <a:pt x="433" y="1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396" y="0"/>
                  </a:lnTo>
                  <a:lnTo>
                    <a:pt x="378" y="1"/>
                  </a:lnTo>
                  <a:lnTo>
                    <a:pt x="367" y="2"/>
                  </a:lnTo>
                  <a:lnTo>
                    <a:pt x="367" y="2"/>
                  </a:lnTo>
                  <a:lnTo>
                    <a:pt x="364" y="7"/>
                  </a:lnTo>
                  <a:lnTo>
                    <a:pt x="362" y="14"/>
                  </a:lnTo>
                  <a:lnTo>
                    <a:pt x="356" y="33"/>
                  </a:lnTo>
                  <a:lnTo>
                    <a:pt x="350" y="52"/>
                  </a:lnTo>
                  <a:lnTo>
                    <a:pt x="347" y="59"/>
                  </a:lnTo>
                  <a:lnTo>
                    <a:pt x="345" y="64"/>
                  </a:lnTo>
                  <a:lnTo>
                    <a:pt x="325" y="2"/>
                  </a:lnTo>
                  <a:lnTo>
                    <a:pt x="325" y="2"/>
                  </a:lnTo>
                  <a:lnTo>
                    <a:pt x="309" y="1"/>
                  </a:lnTo>
                  <a:lnTo>
                    <a:pt x="286" y="1"/>
                  </a:lnTo>
                  <a:lnTo>
                    <a:pt x="261" y="2"/>
                  </a:lnTo>
                  <a:lnTo>
                    <a:pt x="247" y="4"/>
                  </a:lnTo>
                  <a:lnTo>
                    <a:pt x="247" y="4"/>
                  </a:lnTo>
                  <a:lnTo>
                    <a:pt x="242" y="16"/>
                  </a:lnTo>
                  <a:lnTo>
                    <a:pt x="236" y="34"/>
                  </a:lnTo>
                  <a:lnTo>
                    <a:pt x="229" y="52"/>
                  </a:lnTo>
                  <a:lnTo>
                    <a:pt x="224" y="64"/>
                  </a:lnTo>
                  <a:lnTo>
                    <a:pt x="205" y="5"/>
                  </a:lnTo>
                  <a:lnTo>
                    <a:pt x="205" y="5"/>
                  </a:lnTo>
                  <a:lnTo>
                    <a:pt x="192" y="4"/>
                  </a:lnTo>
                  <a:lnTo>
                    <a:pt x="168" y="4"/>
                  </a:lnTo>
                  <a:lnTo>
                    <a:pt x="144" y="5"/>
                  </a:lnTo>
                  <a:lnTo>
                    <a:pt x="135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27" y="11"/>
                  </a:lnTo>
                  <a:lnTo>
                    <a:pt x="124" y="18"/>
                  </a:lnTo>
                  <a:lnTo>
                    <a:pt x="117" y="36"/>
                  </a:lnTo>
                  <a:lnTo>
                    <a:pt x="110" y="53"/>
                  </a:lnTo>
                  <a:lnTo>
                    <a:pt x="105" y="64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6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3" y="7"/>
                  </a:lnTo>
                  <a:lnTo>
                    <a:pt x="29" y="8"/>
                  </a:lnTo>
                  <a:lnTo>
                    <a:pt x="25" y="10"/>
                  </a:lnTo>
                  <a:lnTo>
                    <a:pt x="21" y="12"/>
                  </a:lnTo>
                  <a:lnTo>
                    <a:pt x="15" y="19"/>
                  </a:lnTo>
                  <a:lnTo>
                    <a:pt x="10" y="28"/>
                  </a:lnTo>
                  <a:lnTo>
                    <a:pt x="5" y="36"/>
                  </a:lnTo>
                  <a:lnTo>
                    <a:pt x="2" y="46"/>
                  </a:lnTo>
                  <a:lnTo>
                    <a:pt x="1" y="55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1" y="141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5" y="324"/>
                  </a:lnTo>
                  <a:lnTo>
                    <a:pt x="8" y="402"/>
                  </a:lnTo>
                  <a:lnTo>
                    <a:pt x="8" y="402"/>
                  </a:lnTo>
                  <a:lnTo>
                    <a:pt x="27" y="401"/>
                  </a:lnTo>
                  <a:lnTo>
                    <a:pt x="37" y="399"/>
                  </a:lnTo>
                  <a:lnTo>
                    <a:pt x="45" y="398"/>
                  </a:lnTo>
                  <a:lnTo>
                    <a:pt x="54" y="396"/>
                  </a:lnTo>
                  <a:lnTo>
                    <a:pt x="62" y="393"/>
                  </a:lnTo>
                  <a:lnTo>
                    <a:pt x="68" y="388"/>
                  </a:lnTo>
                  <a:lnTo>
                    <a:pt x="74" y="384"/>
                  </a:lnTo>
                  <a:lnTo>
                    <a:pt x="74" y="384"/>
                  </a:lnTo>
                  <a:lnTo>
                    <a:pt x="79" y="379"/>
                  </a:lnTo>
                  <a:lnTo>
                    <a:pt x="83" y="374"/>
                  </a:lnTo>
                  <a:lnTo>
                    <a:pt x="90" y="363"/>
                  </a:lnTo>
                  <a:lnTo>
                    <a:pt x="95" y="352"/>
                  </a:lnTo>
                  <a:lnTo>
                    <a:pt x="100" y="341"/>
                  </a:lnTo>
                  <a:lnTo>
                    <a:pt x="103" y="331"/>
                  </a:lnTo>
                  <a:lnTo>
                    <a:pt x="104" y="324"/>
                  </a:lnTo>
                  <a:lnTo>
                    <a:pt x="105" y="317"/>
                  </a:lnTo>
                  <a:lnTo>
                    <a:pt x="105" y="317"/>
                  </a:lnTo>
                  <a:lnTo>
                    <a:pt x="105" y="337"/>
                  </a:lnTo>
                  <a:lnTo>
                    <a:pt x="105" y="367"/>
                  </a:lnTo>
                  <a:lnTo>
                    <a:pt x="106" y="397"/>
                  </a:lnTo>
                  <a:lnTo>
                    <a:pt x="108" y="420"/>
                  </a:lnTo>
                  <a:lnTo>
                    <a:pt x="108" y="420"/>
                  </a:lnTo>
                  <a:lnTo>
                    <a:pt x="108" y="421"/>
                  </a:lnTo>
                  <a:lnTo>
                    <a:pt x="110" y="422"/>
                  </a:lnTo>
                  <a:lnTo>
                    <a:pt x="116" y="424"/>
                  </a:lnTo>
                  <a:lnTo>
                    <a:pt x="125" y="425"/>
                  </a:lnTo>
                  <a:lnTo>
                    <a:pt x="136" y="425"/>
                  </a:lnTo>
                  <a:lnTo>
                    <a:pt x="150" y="423"/>
                  </a:lnTo>
                  <a:lnTo>
                    <a:pt x="163" y="418"/>
                  </a:lnTo>
                  <a:lnTo>
                    <a:pt x="169" y="415"/>
                  </a:lnTo>
                  <a:lnTo>
                    <a:pt x="176" y="412"/>
                  </a:lnTo>
                  <a:lnTo>
                    <a:pt x="182" y="407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97" y="392"/>
                  </a:lnTo>
                  <a:lnTo>
                    <a:pt x="204" y="380"/>
                  </a:lnTo>
                  <a:lnTo>
                    <a:pt x="209" y="368"/>
                  </a:lnTo>
                  <a:lnTo>
                    <a:pt x="213" y="356"/>
                  </a:lnTo>
                  <a:lnTo>
                    <a:pt x="220" y="333"/>
                  </a:lnTo>
                  <a:lnTo>
                    <a:pt x="224" y="317"/>
                  </a:lnTo>
                  <a:lnTo>
                    <a:pt x="224" y="317"/>
                  </a:lnTo>
                  <a:lnTo>
                    <a:pt x="224" y="348"/>
                  </a:lnTo>
                  <a:lnTo>
                    <a:pt x="225" y="381"/>
                  </a:lnTo>
                  <a:lnTo>
                    <a:pt x="227" y="408"/>
                  </a:lnTo>
                  <a:lnTo>
                    <a:pt x="228" y="417"/>
                  </a:lnTo>
                  <a:lnTo>
                    <a:pt x="229" y="419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7" y="421"/>
                  </a:lnTo>
                  <a:lnTo>
                    <a:pt x="245" y="421"/>
                  </a:lnTo>
                  <a:lnTo>
                    <a:pt x="255" y="420"/>
                  </a:lnTo>
                  <a:lnTo>
                    <a:pt x="266" y="418"/>
                  </a:lnTo>
                  <a:lnTo>
                    <a:pt x="277" y="415"/>
                  </a:lnTo>
                  <a:lnTo>
                    <a:pt x="289" y="411"/>
                  </a:lnTo>
                  <a:lnTo>
                    <a:pt x="300" y="405"/>
                  </a:lnTo>
                  <a:lnTo>
                    <a:pt x="305" y="401"/>
                  </a:lnTo>
                  <a:lnTo>
                    <a:pt x="309" y="397"/>
                  </a:lnTo>
                  <a:lnTo>
                    <a:pt x="309" y="397"/>
                  </a:lnTo>
                  <a:lnTo>
                    <a:pt x="317" y="387"/>
                  </a:lnTo>
                  <a:lnTo>
                    <a:pt x="325" y="377"/>
                  </a:lnTo>
                  <a:lnTo>
                    <a:pt x="331" y="367"/>
                  </a:lnTo>
                  <a:lnTo>
                    <a:pt x="336" y="356"/>
                  </a:lnTo>
                  <a:lnTo>
                    <a:pt x="339" y="345"/>
                  </a:lnTo>
                  <a:lnTo>
                    <a:pt x="342" y="334"/>
                  </a:lnTo>
                  <a:lnTo>
                    <a:pt x="345" y="317"/>
                  </a:lnTo>
                  <a:lnTo>
                    <a:pt x="345" y="317"/>
                  </a:lnTo>
                  <a:lnTo>
                    <a:pt x="345" y="346"/>
                  </a:lnTo>
                  <a:lnTo>
                    <a:pt x="346" y="370"/>
                  </a:lnTo>
                  <a:lnTo>
                    <a:pt x="348" y="391"/>
                  </a:lnTo>
                  <a:lnTo>
                    <a:pt x="348" y="391"/>
                  </a:lnTo>
                  <a:lnTo>
                    <a:pt x="362" y="390"/>
                  </a:lnTo>
                  <a:lnTo>
                    <a:pt x="371" y="388"/>
                  </a:lnTo>
                  <a:lnTo>
                    <a:pt x="379" y="386"/>
                  </a:lnTo>
                  <a:lnTo>
                    <a:pt x="379" y="386"/>
                  </a:lnTo>
                  <a:lnTo>
                    <a:pt x="393" y="380"/>
                  </a:lnTo>
                  <a:lnTo>
                    <a:pt x="404" y="375"/>
                  </a:lnTo>
                  <a:lnTo>
                    <a:pt x="415" y="368"/>
                  </a:lnTo>
                  <a:lnTo>
                    <a:pt x="415" y="368"/>
                  </a:lnTo>
                  <a:lnTo>
                    <a:pt x="425" y="360"/>
                  </a:lnTo>
                  <a:lnTo>
                    <a:pt x="430" y="355"/>
                  </a:lnTo>
                  <a:lnTo>
                    <a:pt x="435" y="349"/>
                  </a:lnTo>
                  <a:lnTo>
                    <a:pt x="439" y="342"/>
                  </a:lnTo>
                  <a:lnTo>
                    <a:pt x="443" y="333"/>
                  </a:lnTo>
                  <a:lnTo>
                    <a:pt x="446" y="323"/>
                  </a:lnTo>
                  <a:lnTo>
                    <a:pt x="448" y="31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9" name="Freeform 35"/>
            <p:cNvSpPr>
              <a:spLocks/>
            </p:cNvSpPr>
            <p:nvPr userDrawn="1"/>
          </p:nvSpPr>
          <p:spPr bwMode="auto">
            <a:xfrm>
              <a:off x="796926" y="701676"/>
              <a:ext cx="73025" cy="80963"/>
            </a:xfrm>
            <a:custGeom>
              <a:avLst/>
              <a:gdLst>
                <a:gd name="T0" fmla="*/ 554 w 554"/>
                <a:gd name="T1" fmla="*/ 356 h 620"/>
                <a:gd name="T2" fmla="*/ 549 w 554"/>
                <a:gd name="T3" fmla="*/ 350 h 620"/>
                <a:gd name="T4" fmla="*/ 535 w 554"/>
                <a:gd name="T5" fmla="*/ 331 h 620"/>
                <a:gd name="T6" fmla="*/ 525 w 554"/>
                <a:gd name="T7" fmla="*/ 306 h 620"/>
                <a:gd name="T8" fmla="*/ 520 w 554"/>
                <a:gd name="T9" fmla="*/ 285 h 620"/>
                <a:gd name="T10" fmla="*/ 516 w 554"/>
                <a:gd name="T11" fmla="*/ 258 h 620"/>
                <a:gd name="T12" fmla="*/ 515 w 554"/>
                <a:gd name="T13" fmla="*/ 243 h 620"/>
                <a:gd name="T14" fmla="*/ 516 w 554"/>
                <a:gd name="T15" fmla="*/ 222 h 620"/>
                <a:gd name="T16" fmla="*/ 520 w 554"/>
                <a:gd name="T17" fmla="*/ 202 h 620"/>
                <a:gd name="T18" fmla="*/ 532 w 554"/>
                <a:gd name="T19" fmla="*/ 167 h 620"/>
                <a:gd name="T20" fmla="*/ 546 w 554"/>
                <a:gd name="T21" fmla="*/ 142 h 620"/>
                <a:gd name="T22" fmla="*/ 551 w 554"/>
                <a:gd name="T23" fmla="*/ 43 h 620"/>
                <a:gd name="T24" fmla="*/ 542 w 554"/>
                <a:gd name="T25" fmla="*/ 36 h 620"/>
                <a:gd name="T26" fmla="*/ 504 w 554"/>
                <a:gd name="T27" fmla="*/ 13 h 620"/>
                <a:gd name="T28" fmla="*/ 482 w 554"/>
                <a:gd name="T29" fmla="*/ 2 h 620"/>
                <a:gd name="T30" fmla="*/ 470 w 554"/>
                <a:gd name="T31" fmla="*/ 0 h 620"/>
                <a:gd name="T32" fmla="*/ 465 w 554"/>
                <a:gd name="T33" fmla="*/ 327 h 620"/>
                <a:gd name="T34" fmla="*/ 465 w 554"/>
                <a:gd name="T35" fmla="*/ 339 h 620"/>
                <a:gd name="T36" fmla="*/ 458 w 554"/>
                <a:gd name="T37" fmla="*/ 360 h 620"/>
                <a:gd name="T38" fmla="*/ 444 w 554"/>
                <a:gd name="T39" fmla="*/ 382 h 620"/>
                <a:gd name="T40" fmla="*/ 426 w 554"/>
                <a:gd name="T41" fmla="*/ 402 h 620"/>
                <a:gd name="T42" fmla="*/ 405 w 554"/>
                <a:gd name="T43" fmla="*/ 421 h 620"/>
                <a:gd name="T44" fmla="*/ 380 w 554"/>
                <a:gd name="T45" fmla="*/ 437 h 620"/>
                <a:gd name="T46" fmla="*/ 353 w 554"/>
                <a:gd name="T47" fmla="*/ 449 h 620"/>
                <a:gd name="T48" fmla="*/ 327 w 554"/>
                <a:gd name="T49" fmla="*/ 458 h 620"/>
                <a:gd name="T50" fmla="*/ 314 w 554"/>
                <a:gd name="T51" fmla="*/ 461 h 620"/>
                <a:gd name="T52" fmla="*/ 255 w 554"/>
                <a:gd name="T53" fmla="*/ 471 h 620"/>
                <a:gd name="T54" fmla="*/ 199 w 554"/>
                <a:gd name="T55" fmla="*/ 477 h 620"/>
                <a:gd name="T56" fmla="*/ 98 w 554"/>
                <a:gd name="T57" fmla="*/ 482 h 620"/>
                <a:gd name="T58" fmla="*/ 27 w 554"/>
                <a:gd name="T59" fmla="*/ 482 h 620"/>
                <a:gd name="T60" fmla="*/ 0 w 554"/>
                <a:gd name="T61" fmla="*/ 481 h 620"/>
                <a:gd name="T62" fmla="*/ 4 w 554"/>
                <a:gd name="T63" fmla="*/ 508 h 620"/>
                <a:gd name="T64" fmla="*/ 13 w 554"/>
                <a:gd name="T65" fmla="*/ 550 h 620"/>
                <a:gd name="T66" fmla="*/ 18 w 554"/>
                <a:gd name="T67" fmla="*/ 566 h 620"/>
                <a:gd name="T68" fmla="*/ 29 w 554"/>
                <a:gd name="T69" fmla="*/ 586 h 620"/>
                <a:gd name="T70" fmla="*/ 44 w 554"/>
                <a:gd name="T71" fmla="*/ 604 h 620"/>
                <a:gd name="T72" fmla="*/ 62 w 554"/>
                <a:gd name="T73" fmla="*/ 620 h 620"/>
                <a:gd name="T74" fmla="*/ 554 w 554"/>
                <a:gd name="T75" fmla="*/ 45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4" h="620">
                  <a:moveTo>
                    <a:pt x="554" y="450"/>
                  </a:moveTo>
                  <a:lnTo>
                    <a:pt x="554" y="356"/>
                  </a:lnTo>
                  <a:lnTo>
                    <a:pt x="554" y="356"/>
                  </a:lnTo>
                  <a:lnTo>
                    <a:pt x="549" y="350"/>
                  </a:lnTo>
                  <a:lnTo>
                    <a:pt x="543" y="342"/>
                  </a:lnTo>
                  <a:lnTo>
                    <a:pt x="535" y="331"/>
                  </a:lnTo>
                  <a:lnTo>
                    <a:pt x="528" y="315"/>
                  </a:lnTo>
                  <a:lnTo>
                    <a:pt x="525" y="306"/>
                  </a:lnTo>
                  <a:lnTo>
                    <a:pt x="522" y="296"/>
                  </a:lnTo>
                  <a:lnTo>
                    <a:pt x="520" y="285"/>
                  </a:lnTo>
                  <a:lnTo>
                    <a:pt x="517" y="271"/>
                  </a:lnTo>
                  <a:lnTo>
                    <a:pt x="516" y="258"/>
                  </a:lnTo>
                  <a:lnTo>
                    <a:pt x="515" y="243"/>
                  </a:lnTo>
                  <a:lnTo>
                    <a:pt x="515" y="243"/>
                  </a:lnTo>
                  <a:lnTo>
                    <a:pt x="515" y="232"/>
                  </a:lnTo>
                  <a:lnTo>
                    <a:pt x="516" y="222"/>
                  </a:lnTo>
                  <a:lnTo>
                    <a:pt x="517" y="212"/>
                  </a:lnTo>
                  <a:lnTo>
                    <a:pt x="520" y="202"/>
                  </a:lnTo>
                  <a:lnTo>
                    <a:pt x="526" y="183"/>
                  </a:lnTo>
                  <a:lnTo>
                    <a:pt x="532" y="167"/>
                  </a:lnTo>
                  <a:lnTo>
                    <a:pt x="540" y="154"/>
                  </a:lnTo>
                  <a:lnTo>
                    <a:pt x="546" y="142"/>
                  </a:lnTo>
                  <a:lnTo>
                    <a:pt x="552" y="133"/>
                  </a:lnTo>
                  <a:lnTo>
                    <a:pt x="551" y="43"/>
                  </a:lnTo>
                  <a:lnTo>
                    <a:pt x="551" y="43"/>
                  </a:lnTo>
                  <a:lnTo>
                    <a:pt x="542" y="36"/>
                  </a:lnTo>
                  <a:lnTo>
                    <a:pt x="518" y="21"/>
                  </a:lnTo>
                  <a:lnTo>
                    <a:pt x="504" y="13"/>
                  </a:lnTo>
                  <a:lnTo>
                    <a:pt x="489" y="5"/>
                  </a:lnTo>
                  <a:lnTo>
                    <a:pt x="482" y="2"/>
                  </a:lnTo>
                  <a:lnTo>
                    <a:pt x="476" y="1"/>
                  </a:lnTo>
                  <a:lnTo>
                    <a:pt x="470" y="0"/>
                  </a:lnTo>
                  <a:lnTo>
                    <a:pt x="464" y="0"/>
                  </a:lnTo>
                  <a:lnTo>
                    <a:pt x="465" y="327"/>
                  </a:lnTo>
                  <a:lnTo>
                    <a:pt x="465" y="327"/>
                  </a:lnTo>
                  <a:lnTo>
                    <a:pt x="465" y="339"/>
                  </a:lnTo>
                  <a:lnTo>
                    <a:pt x="462" y="349"/>
                  </a:lnTo>
                  <a:lnTo>
                    <a:pt x="458" y="360"/>
                  </a:lnTo>
                  <a:lnTo>
                    <a:pt x="452" y="370"/>
                  </a:lnTo>
                  <a:lnTo>
                    <a:pt x="444" y="382"/>
                  </a:lnTo>
                  <a:lnTo>
                    <a:pt x="436" y="392"/>
                  </a:lnTo>
                  <a:lnTo>
                    <a:pt x="426" y="402"/>
                  </a:lnTo>
                  <a:lnTo>
                    <a:pt x="416" y="411"/>
                  </a:lnTo>
                  <a:lnTo>
                    <a:pt x="405" y="421"/>
                  </a:lnTo>
                  <a:lnTo>
                    <a:pt x="392" y="429"/>
                  </a:lnTo>
                  <a:lnTo>
                    <a:pt x="380" y="437"/>
                  </a:lnTo>
                  <a:lnTo>
                    <a:pt x="367" y="443"/>
                  </a:lnTo>
                  <a:lnTo>
                    <a:pt x="353" y="449"/>
                  </a:lnTo>
                  <a:lnTo>
                    <a:pt x="340" y="454"/>
                  </a:lnTo>
                  <a:lnTo>
                    <a:pt x="327" y="458"/>
                  </a:lnTo>
                  <a:lnTo>
                    <a:pt x="314" y="461"/>
                  </a:lnTo>
                  <a:lnTo>
                    <a:pt x="314" y="461"/>
                  </a:lnTo>
                  <a:lnTo>
                    <a:pt x="284" y="467"/>
                  </a:lnTo>
                  <a:lnTo>
                    <a:pt x="255" y="471"/>
                  </a:lnTo>
                  <a:lnTo>
                    <a:pt x="227" y="474"/>
                  </a:lnTo>
                  <a:lnTo>
                    <a:pt x="199" y="477"/>
                  </a:lnTo>
                  <a:lnTo>
                    <a:pt x="146" y="480"/>
                  </a:lnTo>
                  <a:lnTo>
                    <a:pt x="98" y="482"/>
                  </a:lnTo>
                  <a:lnTo>
                    <a:pt x="58" y="482"/>
                  </a:lnTo>
                  <a:lnTo>
                    <a:pt x="27" y="482"/>
                  </a:lnTo>
                  <a:lnTo>
                    <a:pt x="0" y="481"/>
                  </a:lnTo>
                  <a:lnTo>
                    <a:pt x="0" y="481"/>
                  </a:lnTo>
                  <a:lnTo>
                    <a:pt x="1" y="488"/>
                  </a:lnTo>
                  <a:lnTo>
                    <a:pt x="4" y="508"/>
                  </a:lnTo>
                  <a:lnTo>
                    <a:pt x="10" y="535"/>
                  </a:lnTo>
                  <a:lnTo>
                    <a:pt x="13" y="550"/>
                  </a:lnTo>
                  <a:lnTo>
                    <a:pt x="18" y="566"/>
                  </a:lnTo>
                  <a:lnTo>
                    <a:pt x="18" y="566"/>
                  </a:lnTo>
                  <a:lnTo>
                    <a:pt x="23" y="576"/>
                  </a:lnTo>
                  <a:lnTo>
                    <a:pt x="29" y="586"/>
                  </a:lnTo>
                  <a:lnTo>
                    <a:pt x="36" y="595"/>
                  </a:lnTo>
                  <a:lnTo>
                    <a:pt x="44" y="604"/>
                  </a:lnTo>
                  <a:lnTo>
                    <a:pt x="57" y="616"/>
                  </a:lnTo>
                  <a:lnTo>
                    <a:pt x="62" y="620"/>
                  </a:lnTo>
                  <a:lnTo>
                    <a:pt x="451" y="620"/>
                  </a:lnTo>
                  <a:lnTo>
                    <a:pt x="554" y="45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0" name="Freeform 36"/>
            <p:cNvSpPr>
              <a:spLocks/>
            </p:cNvSpPr>
            <p:nvPr userDrawn="1"/>
          </p:nvSpPr>
          <p:spPr bwMode="auto">
            <a:xfrm>
              <a:off x="803276" y="793751"/>
              <a:ext cx="57150" cy="17463"/>
            </a:xfrm>
            <a:custGeom>
              <a:avLst/>
              <a:gdLst>
                <a:gd name="T0" fmla="*/ 20 w 435"/>
                <a:gd name="T1" fmla="*/ 142 h 142"/>
                <a:gd name="T2" fmla="*/ 411 w 435"/>
                <a:gd name="T3" fmla="*/ 142 h 142"/>
                <a:gd name="T4" fmla="*/ 411 w 435"/>
                <a:gd name="T5" fmla="*/ 142 h 142"/>
                <a:gd name="T6" fmla="*/ 422 w 435"/>
                <a:gd name="T7" fmla="*/ 109 h 142"/>
                <a:gd name="T8" fmla="*/ 430 w 435"/>
                <a:gd name="T9" fmla="*/ 83 h 142"/>
                <a:gd name="T10" fmla="*/ 433 w 435"/>
                <a:gd name="T11" fmla="*/ 72 h 142"/>
                <a:gd name="T12" fmla="*/ 435 w 435"/>
                <a:gd name="T13" fmla="*/ 63 h 142"/>
                <a:gd name="T14" fmla="*/ 417 w 435"/>
                <a:gd name="T15" fmla="*/ 0 h 142"/>
                <a:gd name="T16" fmla="*/ 22 w 435"/>
                <a:gd name="T17" fmla="*/ 0 h 142"/>
                <a:gd name="T18" fmla="*/ 0 w 435"/>
                <a:gd name="T19" fmla="*/ 65 h 142"/>
                <a:gd name="T20" fmla="*/ 20 w 435"/>
                <a:gd name="T21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5" h="142">
                  <a:moveTo>
                    <a:pt x="20" y="142"/>
                  </a:moveTo>
                  <a:lnTo>
                    <a:pt x="411" y="142"/>
                  </a:lnTo>
                  <a:lnTo>
                    <a:pt x="411" y="142"/>
                  </a:lnTo>
                  <a:lnTo>
                    <a:pt x="422" y="109"/>
                  </a:lnTo>
                  <a:lnTo>
                    <a:pt x="430" y="83"/>
                  </a:lnTo>
                  <a:lnTo>
                    <a:pt x="433" y="72"/>
                  </a:lnTo>
                  <a:lnTo>
                    <a:pt x="435" y="63"/>
                  </a:lnTo>
                  <a:lnTo>
                    <a:pt x="417" y="0"/>
                  </a:lnTo>
                  <a:lnTo>
                    <a:pt x="22" y="0"/>
                  </a:lnTo>
                  <a:lnTo>
                    <a:pt x="0" y="65"/>
                  </a:lnTo>
                  <a:lnTo>
                    <a:pt x="20" y="1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1" name="Freeform 37"/>
            <p:cNvSpPr>
              <a:spLocks/>
            </p:cNvSpPr>
            <p:nvPr userDrawn="1"/>
          </p:nvSpPr>
          <p:spPr bwMode="auto">
            <a:xfrm>
              <a:off x="806451" y="822326"/>
              <a:ext cx="57150" cy="66675"/>
            </a:xfrm>
            <a:custGeom>
              <a:avLst/>
              <a:gdLst>
                <a:gd name="T0" fmla="*/ 384 w 436"/>
                <a:gd name="T1" fmla="*/ 0 h 514"/>
                <a:gd name="T2" fmla="*/ 2 w 436"/>
                <a:gd name="T3" fmla="*/ 0 h 514"/>
                <a:gd name="T4" fmla="*/ 0 w 436"/>
                <a:gd name="T5" fmla="*/ 505 h 514"/>
                <a:gd name="T6" fmla="*/ 331 w 436"/>
                <a:gd name="T7" fmla="*/ 514 h 514"/>
                <a:gd name="T8" fmla="*/ 436 w 436"/>
                <a:gd name="T9" fmla="*/ 431 h 514"/>
                <a:gd name="T10" fmla="*/ 384 w 436"/>
                <a:gd name="T11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6" h="514">
                  <a:moveTo>
                    <a:pt x="384" y="0"/>
                  </a:moveTo>
                  <a:lnTo>
                    <a:pt x="2" y="0"/>
                  </a:lnTo>
                  <a:lnTo>
                    <a:pt x="0" y="505"/>
                  </a:lnTo>
                  <a:lnTo>
                    <a:pt x="331" y="514"/>
                  </a:lnTo>
                  <a:lnTo>
                    <a:pt x="436" y="431"/>
                  </a:lnTo>
                  <a:lnTo>
                    <a:pt x="38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2" name="Freeform 38"/>
            <p:cNvSpPr>
              <a:spLocks/>
            </p:cNvSpPr>
            <p:nvPr userDrawn="1"/>
          </p:nvSpPr>
          <p:spPr bwMode="auto">
            <a:xfrm>
              <a:off x="803276" y="887413"/>
              <a:ext cx="77788" cy="68263"/>
            </a:xfrm>
            <a:custGeom>
              <a:avLst/>
              <a:gdLst>
                <a:gd name="T0" fmla="*/ 586 w 586"/>
                <a:gd name="T1" fmla="*/ 139 h 523"/>
                <a:gd name="T2" fmla="*/ 586 w 586"/>
                <a:gd name="T3" fmla="*/ 139 h 523"/>
                <a:gd name="T4" fmla="*/ 552 w 586"/>
                <a:gd name="T5" fmla="*/ 115 h 523"/>
                <a:gd name="T6" fmla="*/ 527 w 586"/>
                <a:gd name="T7" fmla="*/ 97 h 523"/>
                <a:gd name="T8" fmla="*/ 519 w 586"/>
                <a:gd name="T9" fmla="*/ 90 h 523"/>
                <a:gd name="T10" fmla="*/ 514 w 586"/>
                <a:gd name="T11" fmla="*/ 85 h 523"/>
                <a:gd name="T12" fmla="*/ 514 w 586"/>
                <a:gd name="T13" fmla="*/ 85 h 523"/>
                <a:gd name="T14" fmla="*/ 512 w 586"/>
                <a:gd name="T15" fmla="*/ 79 h 523"/>
                <a:gd name="T16" fmla="*/ 510 w 586"/>
                <a:gd name="T17" fmla="*/ 69 h 523"/>
                <a:gd name="T18" fmla="*/ 506 w 586"/>
                <a:gd name="T19" fmla="*/ 40 h 523"/>
                <a:gd name="T20" fmla="*/ 503 w 586"/>
                <a:gd name="T21" fmla="*/ 0 h 523"/>
                <a:gd name="T22" fmla="*/ 381 w 586"/>
                <a:gd name="T23" fmla="*/ 98 h 523"/>
                <a:gd name="T24" fmla="*/ 8 w 586"/>
                <a:gd name="T25" fmla="*/ 97 h 523"/>
                <a:gd name="T26" fmla="*/ 8 w 586"/>
                <a:gd name="T27" fmla="*/ 97 h 523"/>
                <a:gd name="T28" fmla="*/ 8 w 586"/>
                <a:gd name="T29" fmla="*/ 98 h 523"/>
                <a:gd name="T30" fmla="*/ 7 w 586"/>
                <a:gd name="T31" fmla="*/ 100 h 523"/>
                <a:gd name="T32" fmla="*/ 5 w 586"/>
                <a:gd name="T33" fmla="*/ 108 h 523"/>
                <a:gd name="T34" fmla="*/ 3 w 586"/>
                <a:gd name="T35" fmla="*/ 139 h 523"/>
                <a:gd name="T36" fmla="*/ 2 w 586"/>
                <a:gd name="T37" fmla="*/ 183 h 523"/>
                <a:gd name="T38" fmla="*/ 1 w 586"/>
                <a:gd name="T39" fmla="*/ 233 h 523"/>
                <a:gd name="T40" fmla="*/ 0 w 586"/>
                <a:gd name="T41" fmla="*/ 327 h 523"/>
                <a:gd name="T42" fmla="*/ 0 w 586"/>
                <a:gd name="T43" fmla="*/ 369 h 523"/>
                <a:gd name="T44" fmla="*/ 0 w 586"/>
                <a:gd name="T45" fmla="*/ 369 h 523"/>
                <a:gd name="T46" fmla="*/ 29 w 586"/>
                <a:gd name="T47" fmla="*/ 395 h 523"/>
                <a:gd name="T48" fmla="*/ 95 w 586"/>
                <a:gd name="T49" fmla="*/ 448 h 523"/>
                <a:gd name="T50" fmla="*/ 131 w 586"/>
                <a:gd name="T51" fmla="*/ 477 h 523"/>
                <a:gd name="T52" fmla="*/ 162 w 586"/>
                <a:gd name="T53" fmla="*/ 501 h 523"/>
                <a:gd name="T54" fmla="*/ 186 w 586"/>
                <a:gd name="T55" fmla="*/ 517 h 523"/>
                <a:gd name="T56" fmla="*/ 193 w 586"/>
                <a:gd name="T57" fmla="*/ 522 h 523"/>
                <a:gd name="T58" fmla="*/ 195 w 586"/>
                <a:gd name="T59" fmla="*/ 523 h 523"/>
                <a:gd name="T60" fmla="*/ 197 w 586"/>
                <a:gd name="T61" fmla="*/ 523 h 523"/>
                <a:gd name="T62" fmla="*/ 448 w 586"/>
                <a:gd name="T63" fmla="*/ 206 h 523"/>
                <a:gd name="T64" fmla="*/ 586 w 586"/>
                <a:gd name="T65" fmla="*/ 139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86" h="523">
                  <a:moveTo>
                    <a:pt x="586" y="139"/>
                  </a:moveTo>
                  <a:lnTo>
                    <a:pt x="586" y="139"/>
                  </a:lnTo>
                  <a:lnTo>
                    <a:pt x="552" y="115"/>
                  </a:lnTo>
                  <a:lnTo>
                    <a:pt x="527" y="97"/>
                  </a:lnTo>
                  <a:lnTo>
                    <a:pt x="519" y="90"/>
                  </a:lnTo>
                  <a:lnTo>
                    <a:pt x="514" y="85"/>
                  </a:lnTo>
                  <a:lnTo>
                    <a:pt x="514" y="85"/>
                  </a:lnTo>
                  <a:lnTo>
                    <a:pt x="512" y="79"/>
                  </a:lnTo>
                  <a:lnTo>
                    <a:pt x="510" y="69"/>
                  </a:lnTo>
                  <a:lnTo>
                    <a:pt x="506" y="40"/>
                  </a:lnTo>
                  <a:lnTo>
                    <a:pt x="503" y="0"/>
                  </a:lnTo>
                  <a:lnTo>
                    <a:pt x="381" y="98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8" y="98"/>
                  </a:lnTo>
                  <a:lnTo>
                    <a:pt x="7" y="100"/>
                  </a:lnTo>
                  <a:lnTo>
                    <a:pt x="5" y="108"/>
                  </a:lnTo>
                  <a:lnTo>
                    <a:pt x="3" y="139"/>
                  </a:lnTo>
                  <a:lnTo>
                    <a:pt x="2" y="183"/>
                  </a:lnTo>
                  <a:lnTo>
                    <a:pt x="1" y="233"/>
                  </a:lnTo>
                  <a:lnTo>
                    <a:pt x="0" y="327"/>
                  </a:lnTo>
                  <a:lnTo>
                    <a:pt x="0" y="369"/>
                  </a:lnTo>
                  <a:lnTo>
                    <a:pt x="0" y="369"/>
                  </a:lnTo>
                  <a:lnTo>
                    <a:pt x="29" y="395"/>
                  </a:lnTo>
                  <a:lnTo>
                    <a:pt x="95" y="448"/>
                  </a:lnTo>
                  <a:lnTo>
                    <a:pt x="131" y="477"/>
                  </a:lnTo>
                  <a:lnTo>
                    <a:pt x="162" y="501"/>
                  </a:lnTo>
                  <a:lnTo>
                    <a:pt x="186" y="517"/>
                  </a:lnTo>
                  <a:lnTo>
                    <a:pt x="193" y="522"/>
                  </a:lnTo>
                  <a:lnTo>
                    <a:pt x="195" y="523"/>
                  </a:lnTo>
                  <a:lnTo>
                    <a:pt x="197" y="523"/>
                  </a:lnTo>
                  <a:lnTo>
                    <a:pt x="448" y="206"/>
                  </a:lnTo>
                  <a:lnTo>
                    <a:pt x="586" y="13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3" name="Freeform 39"/>
            <p:cNvSpPr>
              <a:spLocks/>
            </p:cNvSpPr>
            <p:nvPr userDrawn="1"/>
          </p:nvSpPr>
          <p:spPr bwMode="auto">
            <a:xfrm>
              <a:off x="839788" y="912813"/>
              <a:ext cx="115888" cy="66675"/>
            </a:xfrm>
            <a:custGeom>
              <a:avLst/>
              <a:gdLst>
                <a:gd name="T0" fmla="*/ 226 w 879"/>
                <a:gd name="T1" fmla="*/ 65 h 509"/>
                <a:gd name="T2" fmla="*/ 0 w 879"/>
                <a:gd name="T3" fmla="*/ 355 h 509"/>
                <a:gd name="T4" fmla="*/ 369 w 879"/>
                <a:gd name="T5" fmla="*/ 509 h 509"/>
                <a:gd name="T6" fmla="*/ 369 w 879"/>
                <a:gd name="T7" fmla="*/ 509 h 509"/>
                <a:gd name="T8" fmla="*/ 409 w 879"/>
                <a:gd name="T9" fmla="*/ 487 h 509"/>
                <a:gd name="T10" fmla="*/ 452 w 879"/>
                <a:gd name="T11" fmla="*/ 464 h 509"/>
                <a:gd name="T12" fmla="*/ 495 w 879"/>
                <a:gd name="T13" fmla="*/ 439 h 509"/>
                <a:gd name="T14" fmla="*/ 538 w 879"/>
                <a:gd name="T15" fmla="*/ 413 h 509"/>
                <a:gd name="T16" fmla="*/ 623 w 879"/>
                <a:gd name="T17" fmla="*/ 361 h 509"/>
                <a:gd name="T18" fmla="*/ 703 w 879"/>
                <a:gd name="T19" fmla="*/ 311 h 509"/>
                <a:gd name="T20" fmla="*/ 773 w 879"/>
                <a:gd name="T21" fmla="*/ 266 h 509"/>
                <a:gd name="T22" fmla="*/ 829 w 879"/>
                <a:gd name="T23" fmla="*/ 229 h 509"/>
                <a:gd name="T24" fmla="*/ 879 w 879"/>
                <a:gd name="T25" fmla="*/ 196 h 509"/>
                <a:gd name="T26" fmla="*/ 359 w 879"/>
                <a:gd name="T27" fmla="*/ 0 h 509"/>
                <a:gd name="T28" fmla="*/ 226 w 879"/>
                <a:gd name="T29" fmla="*/ 65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79" h="509">
                  <a:moveTo>
                    <a:pt x="226" y="65"/>
                  </a:moveTo>
                  <a:lnTo>
                    <a:pt x="0" y="355"/>
                  </a:lnTo>
                  <a:lnTo>
                    <a:pt x="369" y="509"/>
                  </a:lnTo>
                  <a:lnTo>
                    <a:pt x="369" y="509"/>
                  </a:lnTo>
                  <a:lnTo>
                    <a:pt x="409" y="487"/>
                  </a:lnTo>
                  <a:lnTo>
                    <a:pt x="452" y="464"/>
                  </a:lnTo>
                  <a:lnTo>
                    <a:pt x="495" y="439"/>
                  </a:lnTo>
                  <a:lnTo>
                    <a:pt x="538" y="413"/>
                  </a:lnTo>
                  <a:lnTo>
                    <a:pt x="623" y="361"/>
                  </a:lnTo>
                  <a:lnTo>
                    <a:pt x="703" y="311"/>
                  </a:lnTo>
                  <a:lnTo>
                    <a:pt x="773" y="266"/>
                  </a:lnTo>
                  <a:lnTo>
                    <a:pt x="829" y="229"/>
                  </a:lnTo>
                  <a:lnTo>
                    <a:pt x="879" y="196"/>
                  </a:lnTo>
                  <a:lnTo>
                    <a:pt x="359" y="0"/>
                  </a:lnTo>
                  <a:lnTo>
                    <a:pt x="226" y="6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4" name="Freeform 40"/>
            <p:cNvSpPr>
              <a:spLocks/>
            </p:cNvSpPr>
            <p:nvPr userDrawn="1"/>
          </p:nvSpPr>
          <p:spPr bwMode="auto">
            <a:xfrm>
              <a:off x="874713" y="668338"/>
              <a:ext cx="26988" cy="123825"/>
            </a:xfrm>
            <a:custGeom>
              <a:avLst/>
              <a:gdLst>
                <a:gd name="T0" fmla="*/ 170 w 211"/>
                <a:gd name="T1" fmla="*/ 388 h 928"/>
                <a:gd name="T2" fmla="*/ 169 w 211"/>
                <a:gd name="T3" fmla="*/ 133 h 928"/>
                <a:gd name="T4" fmla="*/ 171 w 211"/>
                <a:gd name="T5" fmla="*/ 84 h 928"/>
                <a:gd name="T6" fmla="*/ 172 w 211"/>
                <a:gd name="T7" fmla="*/ 79 h 928"/>
                <a:gd name="T8" fmla="*/ 182 w 211"/>
                <a:gd name="T9" fmla="*/ 64 h 928"/>
                <a:gd name="T10" fmla="*/ 188 w 211"/>
                <a:gd name="T11" fmla="*/ 53 h 928"/>
                <a:gd name="T12" fmla="*/ 192 w 211"/>
                <a:gd name="T13" fmla="*/ 36 h 928"/>
                <a:gd name="T14" fmla="*/ 191 w 211"/>
                <a:gd name="T15" fmla="*/ 18 h 928"/>
                <a:gd name="T16" fmla="*/ 188 w 211"/>
                <a:gd name="T17" fmla="*/ 0 h 928"/>
                <a:gd name="T18" fmla="*/ 6 w 211"/>
                <a:gd name="T19" fmla="*/ 0 h 928"/>
                <a:gd name="T20" fmla="*/ 4 w 211"/>
                <a:gd name="T21" fmla="*/ 8 h 928"/>
                <a:gd name="T22" fmla="*/ 5 w 211"/>
                <a:gd name="T23" fmla="*/ 33 h 928"/>
                <a:gd name="T24" fmla="*/ 7 w 211"/>
                <a:gd name="T25" fmla="*/ 43 h 928"/>
                <a:gd name="T26" fmla="*/ 17 w 211"/>
                <a:gd name="T27" fmla="*/ 65 h 928"/>
                <a:gd name="T28" fmla="*/ 28 w 211"/>
                <a:gd name="T29" fmla="*/ 80 h 928"/>
                <a:gd name="T30" fmla="*/ 33 w 211"/>
                <a:gd name="T31" fmla="*/ 388 h 928"/>
                <a:gd name="T32" fmla="*/ 29 w 211"/>
                <a:gd name="T33" fmla="*/ 395 h 928"/>
                <a:gd name="T34" fmla="*/ 19 w 211"/>
                <a:gd name="T35" fmla="*/ 412 h 928"/>
                <a:gd name="T36" fmla="*/ 9 w 211"/>
                <a:gd name="T37" fmla="*/ 443 h 928"/>
                <a:gd name="T38" fmla="*/ 0 w 211"/>
                <a:gd name="T39" fmla="*/ 487 h 928"/>
                <a:gd name="T40" fmla="*/ 0 w 211"/>
                <a:gd name="T41" fmla="*/ 498 h 928"/>
                <a:gd name="T42" fmla="*/ 1 w 211"/>
                <a:gd name="T43" fmla="*/ 518 h 928"/>
                <a:gd name="T44" fmla="*/ 10 w 211"/>
                <a:gd name="T45" fmla="*/ 546 h 928"/>
                <a:gd name="T46" fmla="*/ 23 w 211"/>
                <a:gd name="T47" fmla="*/ 576 h 928"/>
                <a:gd name="T48" fmla="*/ 35 w 211"/>
                <a:gd name="T49" fmla="*/ 594 h 928"/>
                <a:gd name="T50" fmla="*/ 31 w 211"/>
                <a:gd name="T51" fmla="*/ 850 h 928"/>
                <a:gd name="T52" fmla="*/ 23 w 211"/>
                <a:gd name="T53" fmla="*/ 859 h 928"/>
                <a:gd name="T54" fmla="*/ 18 w 211"/>
                <a:gd name="T55" fmla="*/ 871 h 928"/>
                <a:gd name="T56" fmla="*/ 14 w 211"/>
                <a:gd name="T57" fmla="*/ 888 h 928"/>
                <a:gd name="T58" fmla="*/ 14 w 211"/>
                <a:gd name="T59" fmla="*/ 898 h 928"/>
                <a:gd name="T60" fmla="*/ 15 w 211"/>
                <a:gd name="T61" fmla="*/ 919 h 928"/>
                <a:gd name="T62" fmla="*/ 18 w 211"/>
                <a:gd name="T63" fmla="*/ 928 h 928"/>
                <a:gd name="T64" fmla="*/ 188 w 211"/>
                <a:gd name="T65" fmla="*/ 928 h 928"/>
                <a:gd name="T66" fmla="*/ 191 w 211"/>
                <a:gd name="T67" fmla="*/ 906 h 928"/>
                <a:gd name="T68" fmla="*/ 190 w 211"/>
                <a:gd name="T69" fmla="*/ 881 h 928"/>
                <a:gd name="T70" fmla="*/ 188 w 211"/>
                <a:gd name="T71" fmla="*/ 873 h 928"/>
                <a:gd name="T72" fmla="*/ 179 w 211"/>
                <a:gd name="T73" fmla="*/ 857 h 928"/>
                <a:gd name="T74" fmla="*/ 169 w 211"/>
                <a:gd name="T75" fmla="*/ 846 h 928"/>
                <a:gd name="T76" fmla="*/ 168 w 211"/>
                <a:gd name="T77" fmla="*/ 594 h 928"/>
                <a:gd name="T78" fmla="*/ 190 w 211"/>
                <a:gd name="T79" fmla="*/ 561 h 928"/>
                <a:gd name="T80" fmla="*/ 202 w 211"/>
                <a:gd name="T81" fmla="*/ 537 h 928"/>
                <a:gd name="T82" fmla="*/ 210 w 211"/>
                <a:gd name="T83" fmla="*/ 507 h 928"/>
                <a:gd name="T84" fmla="*/ 211 w 211"/>
                <a:gd name="T85" fmla="*/ 491 h 928"/>
                <a:gd name="T86" fmla="*/ 211 w 211"/>
                <a:gd name="T87" fmla="*/ 482 h 928"/>
                <a:gd name="T88" fmla="*/ 206 w 211"/>
                <a:gd name="T89" fmla="*/ 458 h 928"/>
                <a:gd name="T90" fmla="*/ 195 w 211"/>
                <a:gd name="T91" fmla="*/ 428 h 928"/>
                <a:gd name="T92" fmla="*/ 181 w 211"/>
                <a:gd name="T93" fmla="*/ 405 h 9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1" h="928">
                  <a:moveTo>
                    <a:pt x="170" y="388"/>
                  </a:moveTo>
                  <a:lnTo>
                    <a:pt x="170" y="388"/>
                  </a:lnTo>
                  <a:lnTo>
                    <a:pt x="169" y="238"/>
                  </a:lnTo>
                  <a:lnTo>
                    <a:pt x="169" y="133"/>
                  </a:lnTo>
                  <a:lnTo>
                    <a:pt x="170" y="96"/>
                  </a:lnTo>
                  <a:lnTo>
                    <a:pt x="171" y="84"/>
                  </a:lnTo>
                  <a:lnTo>
                    <a:pt x="172" y="79"/>
                  </a:lnTo>
                  <a:lnTo>
                    <a:pt x="172" y="79"/>
                  </a:lnTo>
                  <a:lnTo>
                    <a:pt x="177" y="71"/>
                  </a:lnTo>
                  <a:lnTo>
                    <a:pt x="182" y="64"/>
                  </a:lnTo>
                  <a:lnTo>
                    <a:pt x="188" y="53"/>
                  </a:lnTo>
                  <a:lnTo>
                    <a:pt x="188" y="53"/>
                  </a:lnTo>
                  <a:lnTo>
                    <a:pt x="191" y="45"/>
                  </a:lnTo>
                  <a:lnTo>
                    <a:pt x="192" y="36"/>
                  </a:lnTo>
                  <a:lnTo>
                    <a:pt x="192" y="28"/>
                  </a:lnTo>
                  <a:lnTo>
                    <a:pt x="191" y="18"/>
                  </a:lnTo>
                  <a:lnTo>
                    <a:pt x="189" y="5"/>
                  </a:lnTo>
                  <a:lnTo>
                    <a:pt x="18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4"/>
                  </a:lnTo>
                  <a:lnTo>
                    <a:pt x="4" y="8"/>
                  </a:lnTo>
                  <a:lnTo>
                    <a:pt x="4" y="20"/>
                  </a:lnTo>
                  <a:lnTo>
                    <a:pt x="5" y="3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11" y="54"/>
                  </a:lnTo>
                  <a:lnTo>
                    <a:pt x="17" y="65"/>
                  </a:lnTo>
                  <a:lnTo>
                    <a:pt x="24" y="76"/>
                  </a:lnTo>
                  <a:lnTo>
                    <a:pt x="28" y="80"/>
                  </a:lnTo>
                  <a:lnTo>
                    <a:pt x="33" y="83"/>
                  </a:lnTo>
                  <a:lnTo>
                    <a:pt x="33" y="388"/>
                  </a:lnTo>
                  <a:lnTo>
                    <a:pt x="33" y="388"/>
                  </a:lnTo>
                  <a:lnTo>
                    <a:pt x="29" y="395"/>
                  </a:lnTo>
                  <a:lnTo>
                    <a:pt x="24" y="402"/>
                  </a:lnTo>
                  <a:lnTo>
                    <a:pt x="19" y="412"/>
                  </a:lnTo>
                  <a:lnTo>
                    <a:pt x="14" y="426"/>
                  </a:lnTo>
                  <a:lnTo>
                    <a:pt x="9" y="443"/>
                  </a:lnTo>
                  <a:lnTo>
                    <a:pt x="4" y="463"/>
                  </a:lnTo>
                  <a:lnTo>
                    <a:pt x="0" y="487"/>
                  </a:lnTo>
                  <a:lnTo>
                    <a:pt x="0" y="487"/>
                  </a:lnTo>
                  <a:lnTo>
                    <a:pt x="0" y="498"/>
                  </a:lnTo>
                  <a:lnTo>
                    <a:pt x="0" y="508"/>
                  </a:lnTo>
                  <a:lnTo>
                    <a:pt x="1" y="518"/>
                  </a:lnTo>
                  <a:lnTo>
                    <a:pt x="4" y="529"/>
                  </a:lnTo>
                  <a:lnTo>
                    <a:pt x="10" y="546"/>
                  </a:lnTo>
                  <a:lnTo>
                    <a:pt x="16" y="562"/>
                  </a:lnTo>
                  <a:lnTo>
                    <a:pt x="23" y="576"/>
                  </a:lnTo>
                  <a:lnTo>
                    <a:pt x="29" y="585"/>
                  </a:lnTo>
                  <a:lnTo>
                    <a:pt x="35" y="594"/>
                  </a:lnTo>
                  <a:lnTo>
                    <a:pt x="31" y="850"/>
                  </a:lnTo>
                  <a:lnTo>
                    <a:pt x="31" y="850"/>
                  </a:lnTo>
                  <a:lnTo>
                    <a:pt x="29" y="852"/>
                  </a:lnTo>
                  <a:lnTo>
                    <a:pt x="23" y="859"/>
                  </a:lnTo>
                  <a:lnTo>
                    <a:pt x="20" y="864"/>
                  </a:lnTo>
                  <a:lnTo>
                    <a:pt x="18" y="871"/>
                  </a:lnTo>
                  <a:lnTo>
                    <a:pt x="15" y="879"/>
                  </a:lnTo>
                  <a:lnTo>
                    <a:pt x="14" y="888"/>
                  </a:lnTo>
                  <a:lnTo>
                    <a:pt x="14" y="888"/>
                  </a:lnTo>
                  <a:lnTo>
                    <a:pt x="14" y="898"/>
                  </a:lnTo>
                  <a:lnTo>
                    <a:pt x="14" y="906"/>
                  </a:lnTo>
                  <a:lnTo>
                    <a:pt x="15" y="919"/>
                  </a:lnTo>
                  <a:lnTo>
                    <a:pt x="17" y="926"/>
                  </a:lnTo>
                  <a:lnTo>
                    <a:pt x="18" y="928"/>
                  </a:lnTo>
                  <a:lnTo>
                    <a:pt x="188" y="928"/>
                  </a:lnTo>
                  <a:lnTo>
                    <a:pt x="188" y="928"/>
                  </a:lnTo>
                  <a:lnTo>
                    <a:pt x="190" y="920"/>
                  </a:lnTo>
                  <a:lnTo>
                    <a:pt x="191" y="906"/>
                  </a:lnTo>
                  <a:lnTo>
                    <a:pt x="190" y="889"/>
                  </a:lnTo>
                  <a:lnTo>
                    <a:pt x="190" y="881"/>
                  </a:lnTo>
                  <a:lnTo>
                    <a:pt x="188" y="873"/>
                  </a:lnTo>
                  <a:lnTo>
                    <a:pt x="188" y="873"/>
                  </a:lnTo>
                  <a:lnTo>
                    <a:pt x="185" y="864"/>
                  </a:lnTo>
                  <a:lnTo>
                    <a:pt x="179" y="857"/>
                  </a:lnTo>
                  <a:lnTo>
                    <a:pt x="174" y="851"/>
                  </a:lnTo>
                  <a:lnTo>
                    <a:pt x="169" y="846"/>
                  </a:lnTo>
                  <a:lnTo>
                    <a:pt x="168" y="594"/>
                  </a:lnTo>
                  <a:lnTo>
                    <a:pt x="168" y="594"/>
                  </a:lnTo>
                  <a:lnTo>
                    <a:pt x="181" y="573"/>
                  </a:lnTo>
                  <a:lnTo>
                    <a:pt x="190" y="561"/>
                  </a:lnTo>
                  <a:lnTo>
                    <a:pt x="196" y="550"/>
                  </a:lnTo>
                  <a:lnTo>
                    <a:pt x="202" y="537"/>
                  </a:lnTo>
                  <a:lnTo>
                    <a:pt x="207" y="522"/>
                  </a:lnTo>
                  <a:lnTo>
                    <a:pt x="210" y="507"/>
                  </a:lnTo>
                  <a:lnTo>
                    <a:pt x="211" y="499"/>
                  </a:lnTo>
                  <a:lnTo>
                    <a:pt x="211" y="491"/>
                  </a:lnTo>
                  <a:lnTo>
                    <a:pt x="211" y="491"/>
                  </a:lnTo>
                  <a:lnTo>
                    <a:pt x="211" y="482"/>
                  </a:lnTo>
                  <a:lnTo>
                    <a:pt x="210" y="473"/>
                  </a:lnTo>
                  <a:lnTo>
                    <a:pt x="206" y="458"/>
                  </a:lnTo>
                  <a:lnTo>
                    <a:pt x="201" y="443"/>
                  </a:lnTo>
                  <a:lnTo>
                    <a:pt x="195" y="428"/>
                  </a:lnTo>
                  <a:lnTo>
                    <a:pt x="189" y="416"/>
                  </a:lnTo>
                  <a:lnTo>
                    <a:pt x="181" y="405"/>
                  </a:lnTo>
                  <a:lnTo>
                    <a:pt x="170" y="38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5" name="Freeform 41"/>
            <p:cNvSpPr>
              <a:spLocks/>
            </p:cNvSpPr>
            <p:nvPr userDrawn="1"/>
          </p:nvSpPr>
          <p:spPr bwMode="auto">
            <a:xfrm>
              <a:off x="903288" y="704851"/>
              <a:ext cx="80963" cy="58738"/>
            </a:xfrm>
            <a:custGeom>
              <a:avLst/>
              <a:gdLst>
                <a:gd name="T0" fmla="*/ 617 w 617"/>
                <a:gd name="T1" fmla="*/ 73 h 442"/>
                <a:gd name="T2" fmla="*/ 433 w 617"/>
                <a:gd name="T3" fmla="*/ 70 h 442"/>
                <a:gd name="T4" fmla="*/ 202 w 617"/>
                <a:gd name="T5" fmla="*/ 68 h 442"/>
                <a:gd name="T6" fmla="*/ 195 w 617"/>
                <a:gd name="T7" fmla="*/ 67 h 442"/>
                <a:gd name="T8" fmla="*/ 174 w 617"/>
                <a:gd name="T9" fmla="*/ 61 h 442"/>
                <a:gd name="T10" fmla="*/ 137 w 617"/>
                <a:gd name="T11" fmla="*/ 44 h 442"/>
                <a:gd name="T12" fmla="*/ 84 w 617"/>
                <a:gd name="T13" fmla="*/ 16 h 442"/>
                <a:gd name="T14" fmla="*/ 53 w 617"/>
                <a:gd name="T15" fmla="*/ 2 h 442"/>
                <a:gd name="T16" fmla="*/ 40 w 617"/>
                <a:gd name="T17" fmla="*/ 0 h 442"/>
                <a:gd name="T18" fmla="*/ 37 w 617"/>
                <a:gd name="T19" fmla="*/ 2 h 442"/>
                <a:gd name="T20" fmla="*/ 22 w 617"/>
                <a:gd name="T21" fmla="*/ 38 h 442"/>
                <a:gd name="T22" fmla="*/ 1 w 617"/>
                <a:gd name="T23" fmla="*/ 91 h 442"/>
                <a:gd name="T24" fmla="*/ 19 w 617"/>
                <a:gd name="T25" fmla="*/ 113 h 442"/>
                <a:gd name="T26" fmla="*/ 38 w 617"/>
                <a:gd name="T27" fmla="*/ 147 h 442"/>
                <a:gd name="T28" fmla="*/ 47 w 617"/>
                <a:gd name="T29" fmla="*/ 169 h 442"/>
                <a:gd name="T30" fmla="*/ 52 w 617"/>
                <a:gd name="T31" fmla="*/ 191 h 442"/>
                <a:gd name="T32" fmla="*/ 55 w 617"/>
                <a:gd name="T33" fmla="*/ 216 h 442"/>
                <a:gd name="T34" fmla="*/ 53 w 617"/>
                <a:gd name="T35" fmla="*/ 235 h 442"/>
                <a:gd name="T36" fmla="*/ 48 w 617"/>
                <a:gd name="T37" fmla="*/ 265 h 442"/>
                <a:gd name="T38" fmla="*/ 42 w 617"/>
                <a:gd name="T39" fmla="*/ 283 h 442"/>
                <a:gd name="T40" fmla="*/ 32 w 617"/>
                <a:gd name="T41" fmla="*/ 304 h 442"/>
                <a:gd name="T42" fmla="*/ 19 w 617"/>
                <a:gd name="T43" fmla="*/ 324 h 442"/>
                <a:gd name="T44" fmla="*/ 0 w 617"/>
                <a:gd name="T45" fmla="*/ 345 h 442"/>
                <a:gd name="T46" fmla="*/ 23 w 617"/>
                <a:gd name="T47" fmla="*/ 391 h 442"/>
                <a:gd name="T48" fmla="*/ 47 w 617"/>
                <a:gd name="T49" fmla="*/ 435 h 442"/>
                <a:gd name="T50" fmla="*/ 52 w 617"/>
                <a:gd name="T51" fmla="*/ 442 h 442"/>
                <a:gd name="T52" fmla="*/ 84 w 617"/>
                <a:gd name="T53" fmla="*/ 423 h 442"/>
                <a:gd name="T54" fmla="*/ 129 w 617"/>
                <a:gd name="T55" fmla="*/ 400 h 442"/>
                <a:gd name="T56" fmla="*/ 183 w 617"/>
                <a:gd name="T57" fmla="*/ 378 h 442"/>
                <a:gd name="T58" fmla="*/ 211 w 617"/>
                <a:gd name="T59" fmla="*/ 371 h 442"/>
                <a:gd name="T60" fmla="*/ 224 w 617"/>
                <a:gd name="T61" fmla="*/ 369 h 442"/>
                <a:gd name="T62" fmla="*/ 330 w 617"/>
                <a:gd name="T63" fmla="*/ 363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17" h="442">
                  <a:moveTo>
                    <a:pt x="330" y="363"/>
                  </a:moveTo>
                  <a:lnTo>
                    <a:pt x="617" y="73"/>
                  </a:lnTo>
                  <a:lnTo>
                    <a:pt x="617" y="73"/>
                  </a:lnTo>
                  <a:lnTo>
                    <a:pt x="433" y="70"/>
                  </a:lnTo>
                  <a:lnTo>
                    <a:pt x="324" y="69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195" y="67"/>
                  </a:lnTo>
                  <a:lnTo>
                    <a:pt x="185" y="65"/>
                  </a:lnTo>
                  <a:lnTo>
                    <a:pt x="174" y="61"/>
                  </a:lnTo>
                  <a:lnTo>
                    <a:pt x="163" y="56"/>
                  </a:lnTo>
                  <a:lnTo>
                    <a:pt x="137" y="44"/>
                  </a:lnTo>
                  <a:lnTo>
                    <a:pt x="110" y="30"/>
                  </a:lnTo>
                  <a:lnTo>
                    <a:pt x="84" y="16"/>
                  </a:lnTo>
                  <a:lnTo>
                    <a:pt x="63" y="6"/>
                  </a:lnTo>
                  <a:lnTo>
                    <a:pt x="53" y="2"/>
                  </a:lnTo>
                  <a:lnTo>
                    <a:pt x="45" y="1"/>
                  </a:lnTo>
                  <a:lnTo>
                    <a:pt x="40" y="0"/>
                  </a:lnTo>
                  <a:lnTo>
                    <a:pt x="38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22" y="38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10" y="101"/>
                  </a:lnTo>
                  <a:lnTo>
                    <a:pt x="19" y="113"/>
                  </a:lnTo>
                  <a:lnTo>
                    <a:pt x="29" y="129"/>
                  </a:lnTo>
                  <a:lnTo>
                    <a:pt x="38" y="147"/>
                  </a:lnTo>
                  <a:lnTo>
                    <a:pt x="43" y="157"/>
                  </a:lnTo>
                  <a:lnTo>
                    <a:pt x="47" y="169"/>
                  </a:lnTo>
                  <a:lnTo>
                    <a:pt x="50" y="180"/>
                  </a:lnTo>
                  <a:lnTo>
                    <a:pt x="52" y="191"/>
                  </a:lnTo>
                  <a:lnTo>
                    <a:pt x="55" y="203"/>
                  </a:lnTo>
                  <a:lnTo>
                    <a:pt x="55" y="216"/>
                  </a:lnTo>
                  <a:lnTo>
                    <a:pt x="55" y="216"/>
                  </a:lnTo>
                  <a:lnTo>
                    <a:pt x="53" y="235"/>
                  </a:lnTo>
                  <a:lnTo>
                    <a:pt x="51" y="248"/>
                  </a:lnTo>
                  <a:lnTo>
                    <a:pt x="48" y="265"/>
                  </a:lnTo>
                  <a:lnTo>
                    <a:pt x="45" y="274"/>
                  </a:lnTo>
                  <a:lnTo>
                    <a:pt x="42" y="283"/>
                  </a:lnTo>
                  <a:lnTo>
                    <a:pt x="38" y="293"/>
                  </a:lnTo>
                  <a:lnTo>
                    <a:pt x="32" y="304"/>
                  </a:lnTo>
                  <a:lnTo>
                    <a:pt x="26" y="313"/>
                  </a:lnTo>
                  <a:lnTo>
                    <a:pt x="19" y="324"/>
                  </a:lnTo>
                  <a:lnTo>
                    <a:pt x="11" y="334"/>
                  </a:lnTo>
                  <a:lnTo>
                    <a:pt x="0" y="345"/>
                  </a:lnTo>
                  <a:lnTo>
                    <a:pt x="0" y="345"/>
                  </a:lnTo>
                  <a:lnTo>
                    <a:pt x="23" y="391"/>
                  </a:lnTo>
                  <a:lnTo>
                    <a:pt x="40" y="423"/>
                  </a:lnTo>
                  <a:lnTo>
                    <a:pt x="47" y="435"/>
                  </a:lnTo>
                  <a:lnTo>
                    <a:pt x="52" y="442"/>
                  </a:lnTo>
                  <a:lnTo>
                    <a:pt x="52" y="442"/>
                  </a:lnTo>
                  <a:lnTo>
                    <a:pt x="67" y="433"/>
                  </a:lnTo>
                  <a:lnTo>
                    <a:pt x="84" y="423"/>
                  </a:lnTo>
                  <a:lnTo>
                    <a:pt x="105" y="412"/>
                  </a:lnTo>
                  <a:lnTo>
                    <a:pt x="129" y="400"/>
                  </a:lnTo>
                  <a:lnTo>
                    <a:pt x="156" y="388"/>
                  </a:lnTo>
                  <a:lnTo>
                    <a:pt x="183" y="378"/>
                  </a:lnTo>
                  <a:lnTo>
                    <a:pt x="198" y="374"/>
                  </a:lnTo>
                  <a:lnTo>
                    <a:pt x="211" y="371"/>
                  </a:lnTo>
                  <a:lnTo>
                    <a:pt x="211" y="371"/>
                  </a:lnTo>
                  <a:lnTo>
                    <a:pt x="224" y="369"/>
                  </a:lnTo>
                  <a:lnTo>
                    <a:pt x="248" y="367"/>
                  </a:lnTo>
                  <a:lnTo>
                    <a:pt x="330" y="36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6" name="Freeform 42"/>
            <p:cNvSpPr>
              <a:spLocks/>
            </p:cNvSpPr>
            <p:nvPr userDrawn="1"/>
          </p:nvSpPr>
          <p:spPr bwMode="auto">
            <a:xfrm>
              <a:off x="1004888" y="627063"/>
              <a:ext cx="158750" cy="127000"/>
            </a:xfrm>
            <a:custGeom>
              <a:avLst/>
              <a:gdLst>
                <a:gd name="T0" fmla="*/ 1179 w 1207"/>
                <a:gd name="T1" fmla="*/ 480 h 962"/>
                <a:gd name="T2" fmla="*/ 1115 w 1207"/>
                <a:gd name="T3" fmla="*/ 496 h 962"/>
                <a:gd name="T4" fmla="*/ 1079 w 1207"/>
                <a:gd name="T5" fmla="*/ 532 h 962"/>
                <a:gd name="T6" fmla="*/ 1057 w 1207"/>
                <a:gd name="T7" fmla="*/ 600 h 962"/>
                <a:gd name="T8" fmla="*/ 1046 w 1207"/>
                <a:gd name="T9" fmla="*/ 585 h 962"/>
                <a:gd name="T10" fmla="*/ 1007 w 1207"/>
                <a:gd name="T11" fmla="*/ 556 h 962"/>
                <a:gd name="T12" fmla="*/ 935 w 1207"/>
                <a:gd name="T13" fmla="*/ 562 h 962"/>
                <a:gd name="T14" fmla="*/ 930 w 1207"/>
                <a:gd name="T15" fmla="*/ 613 h 962"/>
                <a:gd name="T16" fmla="*/ 935 w 1207"/>
                <a:gd name="T17" fmla="*/ 696 h 962"/>
                <a:gd name="T18" fmla="*/ 890 w 1207"/>
                <a:gd name="T19" fmla="*/ 725 h 962"/>
                <a:gd name="T20" fmla="*/ 842 w 1207"/>
                <a:gd name="T21" fmla="*/ 709 h 962"/>
                <a:gd name="T22" fmla="*/ 816 w 1207"/>
                <a:gd name="T23" fmla="*/ 658 h 962"/>
                <a:gd name="T24" fmla="*/ 805 w 1207"/>
                <a:gd name="T25" fmla="*/ 643 h 962"/>
                <a:gd name="T26" fmla="*/ 749 w 1207"/>
                <a:gd name="T27" fmla="*/ 659 h 962"/>
                <a:gd name="T28" fmla="*/ 701 w 1207"/>
                <a:gd name="T29" fmla="*/ 634 h 962"/>
                <a:gd name="T30" fmla="*/ 694 w 1207"/>
                <a:gd name="T31" fmla="*/ 581 h 962"/>
                <a:gd name="T32" fmla="*/ 754 w 1207"/>
                <a:gd name="T33" fmla="*/ 540 h 962"/>
                <a:gd name="T34" fmla="*/ 824 w 1207"/>
                <a:gd name="T35" fmla="*/ 520 h 962"/>
                <a:gd name="T36" fmla="*/ 805 w 1207"/>
                <a:gd name="T37" fmla="*/ 460 h 962"/>
                <a:gd name="T38" fmla="*/ 764 w 1207"/>
                <a:gd name="T39" fmla="*/ 421 h 962"/>
                <a:gd name="T40" fmla="*/ 698 w 1207"/>
                <a:gd name="T41" fmla="*/ 414 h 962"/>
                <a:gd name="T42" fmla="*/ 672 w 1207"/>
                <a:gd name="T43" fmla="*/ 415 h 962"/>
                <a:gd name="T44" fmla="*/ 712 w 1207"/>
                <a:gd name="T45" fmla="*/ 360 h 962"/>
                <a:gd name="T46" fmla="*/ 709 w 1207"/>
                <a:gd name="T47" fmla="*/ 285 h 962"/>
                <a:gd name="T48" fmla="*/ 668 w 1207"/>
                <a:gd name="T49" fmla="*/ 214 h 962"/>
                <a:gd name="T50" fmla="*/ 606 w 1207"/>
                <a:gd name="T51" fmla="*/ 224 h 962"/>
                <a:gd name="T52" fmla="*/ 535 w 1207"/>
                <a:gd name="T53" fmla="*/ 272 h 962"/>
                <a:gd name="T54" fmla="*/ 516 w 1207"/>
                <a:gd name="T55" fmla="*/ 334 h 962"/>
                <a:gd name="T56" fmla="*/ 508 w 1207"/>
                <a:gd name="T57" fmla="*/ 341 h 962"/>
                <a:gd name="T58" fmla="*/ 458 w 1207"/>
                <a:gd name="T59" fmla="*/ 287 h 962"/>
                <a:gd name="T60" fmla="*/ 404 w 1207"/>
                <a:gd name="T61" fmla="*/ 278 h 962"/>
                <a:gd name="T62" fmla="*/ 345 w 1207"/>
                <a:gd name="T63" fmla="*/ 300 h 962"/>
                <a:gd name="T64" fmla="*/ 362 w 1207"/>
                <a:gd name="T65" fmla="*/ 357 h 962"/>
                <a:gd name="T66" fmla="*/ 382 w 1207"/>
                <a:gd name="T67" fmla="*/ 432 h 962"/>
                <a:gd name="T68" fmla="*/ 347 w 1207"/>
                <a:gd name="T69" fmla="*/ 472 h 962"/>
                <a:gd name="T70" fmla="*/ 292 w 1207"/>
                <a:gd name="T71" fmla="*/ 462 h 962"/>
                <a:gd name="T72" fmla="*/ 262 w 1207"/>
                <a:gd name="T73" fmla="*/ 417 h 962"/>
                <a:gd name="T74" fmla="*/ 249 w 1207"/>
                <a:gd name="T75" fmla="*/ 398 h 962"/>
                <a:gd name="T76" fmla="*/ 194 w 1207"/>
                <a:gd name="T77" fmla="*/ 421 h 962"/>
                <a:gd name="T78" fmla="*/ 147 w 1207"/>
                <a:gd name="T79" fmla="*/ 404 h 962"/>
                <a:gd name="T80" fmla="*/ 128 w 1207"/>
                <a:gd name="T81" fmla="*/ 354 h 962"/>
                <a:gd name="T82" fmla="*/ 178 w 1207"/>
                <a:gd name="T83" fmla="*/ 300 h 962"/>
                <a:gd name="T84" fmla="*/ 233 w 1207"/>
                <a:gd name="T85" fmla="*/ 262 h 962"/>
                <a:gd name="T86" fmla="*/ 195 w 1207"/>
                <a:gd name="T87" fmla="*/ 203 h 962"/>
                <a:gd name="T88" fmla="*/ 145 w 1207"/>
                <a:gd name="T89" fmla="*/ 185 h 962"/>
                <a:gd name="T90" fmla="*/ 115 w 1207"/>
                <a:gd name="T91" fmla="*/ 191 h 962"/>
                <a:gd name="T92" fmla="*/ 153 w 1207"/>
                <a:gd name="T93" fmla="*/ 136 h 962"/>
                <a:gd name="T94" fmla="*/ 157 w 1207"/>
                <a:gd name="T95" fmla="*/ 76 h 962"/>
                <a:gd name="T96" fmla="*/ 134 w 1207"/>
                <a:gd name="T97" fmla="*/ 28 h 962"/>
                <a:gd name="T98" fmla="*/ 269 w 1207"/>
                <a:gd name="T99" fmla="*/ 712 h 962"/>
                <a:gd name="T100" fmla="*/ 354 w 1207"/>
                <a:gd name="T101" fmla="*/ 656 h 962"/>
                <a:gd name="T102" fmla="*/ 437 w 1207"/>
                <a:gd name="T103" fmla="*/ 636 h 962"/>
                <a:gd name="T104" fmla="*/ 517 w 1207"/>
                <a:gd name="T105" fmla="*/ 643 h 962"/>
                <a:gd name="T106" fmla="*/ 610 w 1207"/>
                <a:gd name="T107" fmla="*/ 683 h 962"/>
                <a:gd name="T108" fmla="*/ 658 w 1207"/>
                <a:gd name="T109" fmla="*/ 735 h 962"/>
                <a:gd name="T110" fmla="*/ 673 w 1207"/>
                <a:gd name="T111" fmla="*/ 793 h 962"/>
                <a:gd name="T112" fmla="*/ 646 w 1207"/>
                <a:gd name="T113" fmla="*/ 877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07" h="962">
                  <a:moveTo>
                    <a:pt x="841" y="962"/>
                  </a:moveTo>
                  <a:lnTo>
                    <a:pt x="1207" y="484"/>
                  </a:lnTo>
                  <a:lnTo>
                    <a:pt x="1207" y="484"/>
                  </a:lnTo>
                  <a:lnTo>
                    <a:pt x="1200" y="482"/>
                  </a:lnTo>
                  <a:lnTo>
                    <a:pt x="1190" y="481"/>
                  </a:lnTo>
                  <a:lnTo>
                    <a:pt x="1179" y="480"/>
                  </a:lnTo>
                  <a:lnTo>
                    <a:pt x="1166" y="480"/>
                  </a:lnTo>
                  <a:lnTo>
                    <a:pt x="1149" y="483"/>
                  </a:lnTo>
                  <a:lnTo>
                    <a:pt x="1141" y="485"/>
                  </a:lnTo>
                  <a:lnTo>
                    <a:pt x="1133" y="488"/>
                  </a:lnTo>
                  <a:lnTo>
                    <a:pt x="1124" y="492"/>
                  </a:lnTo>
                  <a:lnTo>
                    <a:pt x="1115" y="496"/>
                  </a:lnTo>
                  <a:lnTo>
                    <a:pt x="1115" y="496"/>
                  </a:lnTo>
                  <a:lnTo>
                    <a:pt x="1106" y="502"/>
                  </a:lnTo>
                  <a:lnTo>
                    <a:pt x="1097" y="508"/>
                  </a:lnTo>
                  <a:lnTo>
                    <a:pt x="1090" y="515"/>
                  </a:lnTo>
                  <a:lnTo>
                    <a:pt x="1084" y="523"/>
                  </a:lnTo>
                  <a:lnTo>
                    <a:pt x="1079" y="532"/>
                  </a:lnTo>
                  <a:lnTo>
                    <a:pt x="1074" y="540"/>
                  </a:lnTo>
                  <a:lnTo>
                    <a:pt x="1070" y="548"/>
                  </a:lnTo>
                  <a:lnTo>
                    <a:pt x="1067" y="557"/>
                  </a:lnTo>
                  <a:lnTo>
                    <a:pt x="1062" y="574"/>
                  </a:lnTo>
                  <a:lnTo>
                    <a:pt x="1058" y="589"/>
                  </a:lnTo>
                  <a:lnTo>
                    <a:pt x="1057" y="600"/>
                  </a:lnTo>
                  <a:lnTo>
                    <a:pt x="1058" y="605"/>
                  </a:lnTo>
                  <a:lnTo>
                    <a:pt x="1059" y="608"/>
                  </a:lnTo>
                  <a:lnTo>
                    <a:pt x="1059" y="608"/>
                  </a:lnTo>
                  <a:lnTo>
                    <a:pt x="1055" y="599"/>
                  </a:lnTo>
                  <a:lnTo>
                    <a:pt x="1051" y="592"/>
                  </a:lnTo>
                  <a:lnTo>
                    <a:pt x="1046" y="585"/>
                  </a:lnTo>
                  <a:lnTo>
                    <a:pt x="1041" y="579"/>
                  </a:lnTo>
                  <a:lnTo>
                    <a:pt x="1036" y="574"/>
                  </a:lnTo>
                  <a:lnTo>
                    <a:pt x="1031" y="568"/>
                  </a:lnTo>
                  <a:lnTo>
                    <a:pt x="1025" y="564"/>
                  </a:lnTo>
                  <a:lnTo>
                    <a:pt x="1020" y="561"/>
                  </a:lnTo>
                  <a:lnTo>
                    <a:pt x="1007" y="556"/>
                  </a:lnTo>
                  <a:lnTo>
                    <a:pt x="994" y="554"/>
                  </a:lnTo>
                  <a:lnTo>
                    <a:pt x="982" y="553"/>
                  </a:lnTo>
                  <a:lnTo>
                    <a:pt x="970" y="554"/>
                  </a:lnTo>
                  <a:lnTo>
                    <a:pt x="957" y="556"/>
                  </a:lnTo>
                  <a:lnTo>
                    <a:pt x="946" y="558"/>
                  </a:lnTo>
                  <a:lnTo>
                    <a:pt x="935" y="562"/>
                  </a:lnTo>
                  <a:lnTo>
                    <a:pt x="927" y="565"/>
                  </a:lnTo>
                  <a:lnTo>
                    <a:pt x="913" y="572"/>
                  </a:lnTo>
                  <a:lnTo>
                    <a:pt x="908" y="574"/>
                  </a:lnTo>
                  <a:lnTo>
                    <a:pt x="908" y="574"/>
                  </a:lnTo>
                  <a:lnTo>
                    <a:pt x="920" y="594"/>
                  </a:lnTo>
                  <a:lnTo>
                    <a:pt x="930" y="613"/>
                  </a:lnTo>
                  <a:lnTo>
                    <a:pt x="936" y="632"/>
                  </a:lnTo>
                  <a:lnTo>
                    <a:pt x="940" y="647"/>
                  </a:lnTo>
                  <a:lnTo>
                    <a:pt x="941" y="663"/>
                  </a:lnTo>
                  <a:lnTo>
                    <a:pt x="941" y="675"/>
                  </a:lnTo>
                  <a:lnTo>
                    <a:pt x="939" y="687"/>
                  </a:lnTo>
                  <a:lnTo>
                    <a:pt x="935" y="696"/>
                  </a:lnTo>
                  <a:lnTo>
                    <a:pt x="930" y="705"/>
                  </a:lnTo>
                  <a:lnTo>
                    <a:pt x="924" y="712"/>
                  </a:lnTo>
                  <a:lnTo>
                    <a:pt x="915" y="718"/>
                  </a:lnTo>
                  <a:lnTo>
                    <a:pt x="907" y="722"/>
                  </a:lnTo>
                  <a:lnTo>
                    <a:pt x="899" y="724"/>
                  </a:lnTo>
                  <a:lnTo>
                    <a:pt x="890" y="725"/>
                  </a:lnTo>
                  <a:lnTo>
                    <a:pt x="881" y="725"/>
                  </a:lnTo>
                  <a:lnTo>
                    <a:pt x="871" y="724"/>
                  </a:lnTo>
                  <a:lnTo>
                    <a:pt x="871" y="724"/>
                  </a:lnTo>
                  <a:lnTo>
                    <a:pt x="859" y="720"/>
                  </a:lnTo>
                  <a:lnTo>
                    <a:pt x="850" y="715"/>
                  </a:lnTo>
                  <a:lnTo>
                    <a:pt x="842" y="709"/>
                  </a:lnTo>
                  <a:lnTo>
                    <a:pt x="835" y="702"/>
                  </a:lnTo>
                  <a:lnTo>
                    <a:pt x="829" y="695"/>
                  </a:lnTo>
                  <a:lnTo>
                    <a:pt x="825" y="688"/>
                  </a:lnTo>
                  <a:lnTo>
                    <a:pt x="821" y="680"/>
                  </a:lnTo>
                  <a:lnTo>
                    <a:pt x="819" y="673"/>
                  </a:lnTo>
                  <a:lnTo>
                    <a:pt x="816" y="658"/>
                  </a:lnTo>
                  <a:lnTo>
                    <a:pt x="816" y="646"/>
                  </a:lnTo>
                  <a:lnTo>
                    <a:pt x="816" y="638"/>
                  </a:lnTo>
                  <a:lnTo>
                    <a:pt x="816" y="635"/>
                  </a:lnTo>
                  <a:lnTo>
                    <a:pt x="816" y="635"/>
                  </a:lnTo>
                  <a:lnTo>
                    <a:pt x="813" y="637"/>
                  </a:lnTo>
                  <a:lnTo>
                    <a:pt x="805" y="643"/>
                  </a:lnTo>
                  <a:lnTo>
                    <a:pt x="793" y="650"/>
                  </a:lnTo>
                  <a:lnTo>
                    <a:pt x="785" y="653"/>
                  </a:lnTo>
                  <a:lnTo>
                    <a:pt x="777" y="656"/>
                  </a:lnTo>
                  <a:lnTo>
                    <a:pt x="768" y="658"/>
                  </a:lnTo>
                  <a:lnTo>
                    <a:pt x="759" y="659"/>
                  </a:lnTo>
                  <a:lnTo>
                    <a:pt x="749" y="659"/>
                  </a:lnTo>
                  <a:lnTo>
                    <a:pt x="739" y="658"/>
                  </a:lnTo>
                  <a:lnTo>
                    <a:pt x="729" y="655"/>
                  </a:lnTo>
                  <a:lnTo>
                    <a:pt x="720" y="650"/>
                  </a:lnTo>
                  <a:lnTo>
                    <a:pt x="710" y="643"/>
                  </a:lnTo>
                  <a:lnTo>
                    <a:pt x="701" y="634"/>
                  </a:lnTo>
                  <a:lnTo>
                    <a:pt x="701" y="634"/>
                  </a:lnTo>
                  <a:lnTo>
                    <a:pt x="694" y="625"/>
                  </a:lnTo>
                  <a:lnTo>
                    <a:pt x="690" y="616"/>
                  </a:lnTo>
                  <a:lnTo>
                    <a:pt x="688" y="607"/>
                  </a:lnTo>
                  <a:lnTo>
                    <a:pt x="689" y="598"/>
                  </a:lnTo>
                  <a:lnTo>
                    <a:pt x="690" y="589"/>
                  </a:lnTo>
                  <a:lnTo>
                    <a:pt x="694" y="581"/>
                  </a:lnTo>
                  <a:lnTo>
                    <a:pt x="701" y="572"/>
                  </a:lnTo>
                  <a:lnTo>
                    <a:pt x="708" y="564"/>
                  </a:lnTo>
                  <a:lnTo>
                    <a:pt x="717" y="557"/>
                  </a:lnTo>
                  <a:lnTo>
                    <a:pt x="727" y="550"/>
                  </a:lnTo>
                  <a:lnTo>
                    <a:pt x="740" y="544"/>
                  </a:lnTo>
                  <a:lnTo>
                    <a:pt x="754" y="540"/>
                  </a:lnTo>
                  <a:lnTo>
                    <a:pt x="769" y="536"/>
                  </a:lnTo>
                  <a:lnTo>
                    <a:pt x="786" y="533"/>
                  </a:lnTo>
                  <a:lnTo>
                    <a:pt x="804" y="532"/>
                  </a:lnTo>
                  <a:lnTo>
                    <a:pt x="823" y="531"/>
                  </a:lnTo>
                  <a:lnTo>
                    <a:pt x="823" y="531"/>
                  </a:lnTo>
                  <a:lnTo>
                    <a:pt x="824" y="520"/>
                  </a:lnTo>
                  <a:lnTo>
                    <a:pt x="823" y="509"/>
                  </a:lnTo>
                  <a:lnTo>
                    <a:pt x="820" y="494"/>
                  </a:lnTo>
                  <a:lnTo>
                    <a:pt x="817" y="486"/>
                  </a:lnTo>
                  <a:lnTo>
                    <a:pt x="814" y="477"/>
                  </a:lnTo>
                  <a:lnTo>
                    <a:pt x="810" y="469"/>
                  </a:lnTo>
                  <a:lnTo>
                    <a:pt x="805" y="460"/>
                  </a:lnTo>
                  <a:lnTo>
                    <a:pt x="799" y="451"/>
                  </a:lnTo>
                  <a:lnTo>
                    <a:pt x="792" y="443"/>
                  </a:lnTo>
                  <a:lnTo>
                    <a:pt x="782" y="435"/>
                  </a:lnTo>
                  <a:lnTo>
                    <a:pt x="772" y="426"/>
                  </a:lnTo>
                  <a:lnTo>
                    <a:pt x="772" y="426"/>
                  </a:lnTo>
                  <a:lnTo>
                    <a:pt x="764" y="421"/>
                  </a:lnTo>
                  <a:lnTo>
                    <a:pt x="755" y="417"/>
                  </a:lnTo>
                  <a:lnTo>
                    <a:pt x="745" y="415"/>
                  </a:lnTo>
                  <a:lnTo>
                    <a:pt x="735" y="413"/>
                  </a:lnTo>
                  <a:lnTo>
                    <a:pt x="725" y="412"/>
                  </a:lnTo>
                  <a:lnTo>
                    <a:pt x="716" y="412"/>
                  </a:lnTo>
                  <a:lnTo>
                    <a:pt x="698" y="414"/>
                  </a:lnTo>
                  <a:lnTo>
                    <a:pt x="681" y="418"/>
                  </a:lnTo>
                  <a:lnTo>
                    <a:pt x="668" y="421"/>
                  </a:lnTo>
                  <a:lnTo>
                    <a:pt x="657" y="425"/>
                  </a:lnTo>
                  <a:lnTo>
                    <a:pt x="657" y="425"/>
                  </a:lnTo>
                  <a:lnTo>
                    <a:pt x="664" y="421"/>
                  </a:lnTo>
                  <a:lnTo>
                    <a:pt x="672" y="415"/>
                  </a:lnTo>
                  <a:lnTo>
                    <a:pt x="681" y="408"/>
                  </a:lnTo>
                  <a:lnTo>
                    <a:pt x="691" y="397"/>
                  </a:lnTo>
                  <a:lnTo>
                    <a:pt x="701" y="384"/>
                  </a:lnTo>
                  <a:lnTo>
                    <a:pt x="705" y="376"/>
                  </a:lnTo>
                  <a:lnTo>
                    <a:pt x="709" y="369"/>
                  </a:lnTo>
                  <a:lnTo>
                    <a:pt x="712" y="360"/>
                  </a:lnTo>
                  <a:lnTo>
                    <a:pt x="714" y="351"/>
                  </a:lnTo>
                  <a:lnTo>
                    <a:pt x="714" y="351"/>
                  </a:lnTo>
                  <a:lnTo>
                    <a:pt x="716" y="336"/>
                  </a:lnTo>
                  <a:lnTo>
                    <a:pt x="715" y="320"/>
                  </a:lnTo>
                  <a:lnTo>
                    <a:pt x="713" y="303"/>
                  </a:lnTo>
                  <a:lnTo>
                    <a:pt x="709" y="285"/>
                  </a:lnTo>
                  <a:lnTo>
                    <a:pt x="702" y="267"/>
                  </a:lnTo>
                  <a:lnTo>
                    <a:pt x="693" y="249"/>
                  </a:lnTo>
                  <a:lnTo>
                    <a:pt x="682" y="232"/>
                  </a:lnTo>
                  <a:lnTo>
                    <a:pt x="676" y="223"/>
                  </a:lnTo>
                  <a:lnTo>
                    <a:pt x="669" y="216"/>
                  </a:lnTo>
                  <a:lnTo>
                    <a:pt x="668" y="214"/>
                  </a:lnTo>
                  <a:lnTo>
                    <a:pt x="665" y="214"/>
                  </a:lnTo>
                  <a:lnTo>
                    <a:pt x="665" y="214"/>
                  </a:lnTo>
                  <a:lnTo>
                    <a:pt x="655" y="214"/>
                  </a:lnTo>
                  <a:lnTo>
                    <a:pt x="644" y="215"/>
                  </a:lnTo>
                  <a:lnTo>
                    <a:pt x="624" y="219"/>
                  </a:lnTo>
                  <a:lnTo>
                    <a:pt x="606" y="224"/>
                  </a:lnTo>
                  <a:lnTo>
                    <a:pt x="587" y="232"/>
                  </a:lnTo>
                  <a:lnTo>
                    <a:pt x="572" y="240"/>
                  </a:lnTo>
                  <a:lnTo>
                    <a:pt x="557" y="250"/>
                  </a:lnTo>
                  <a:lnTo>
                    <a:pt x="545" y="261"/>
                  </a:lnTo>
                  <a:lnTo>
                    <a:pt x="535" y="272"/>
                  </a:lnTo>
                  <a:lnTo>
                    <a:pt x="535" y="272"/>
                  </a:lnTo>
                  <a:lnTo>
                    <a:pt x="530" y="280"/>
                  </a:lnTo>
                  <a:lnTo>
                    <a:pt x="526" y="288"/>
                  </a:lnTo>
                  <a:lnTo>
                    <a:pt x="523" y="297"/>
                  </a:lnTo>
                  <a:lnTo>
                    <a:pt x="520" y="305"/>
                  </a:lnTo>
                  <a:lnTo>
                    <a:pt x="517" y="320"/>
                  </a:lnTo>
                  <a:lnTo>
                    <a:pt x="516" y="334"/>
                  </a:lnTo>
                  <a:lnTo>
                    <a:pt x="516" y="347"/>
                  </a:lnTo>
                  <a:lnTo>
                    <a:pt x="517" y="357"/>
                  </a:lnTo>
                  <a:lnTo>
                    <a:pt x="519" y="365"/>
                  </a:lnTo>
                  <a:lnTo>
                    <a:pt x="519" y="365"/>
                  </a:lnTo>
                  <a:lnTo>
                    <a:pt x="513" y="354"/>
                  </a:lnTo>
                  <a:lnTo>
                    <a:pt x="508" y="341"/>
                  </a:lnTo>
                  <a:lnTo>
                    <a:pt x="499" y="327"/>
                  </a:lnTo>
                  <a:lnTo>
                    <a:pt x="488" y="313"/>
                  </a:lnTo>
                  <a:lnTo>
                    <a:pt x="482" y="306"/>
                  </a:lnTo>
                  <a:lnTo>
                    <a:pt x="475" y="299"/>
                  </a:lnTo>
                  <a:lnTo>
                    <a:pt x="467" y="292"/>
                  </a:lnTo>
                  <a:lnTo>
                    <a:pt x="458" y="287"/>
                  </a:lnTo>
                  <a:lnTo>
                    <a:pt x="450" y="283"/>
                  </a:lnTo>
                  <a:lnTo>
                    <a:pt x="440" y="281"/>
                  </a:lnTo>
                  <a:lnTo>
                    <a:pt x="440" y="281"/>
                  </a:lnTo>
                  <a:lnTo>
                    <a:pt x="428" y="278"/>
                  </a:lnTo>
                  <a:lnTo>
                    <a:pt x="415" y="278"/>
                  </a:lnTo>
                  <a:lnTo>
                    <a:pt x="404" y="278"/>
                  </a:lnTo>
                  <a:lnTo>
                    <a:pt x="393" y="279"/>
                  </a:lnTo>
                  <a:lnTo>
                    <a:pt x="384" y="281"/>
                  </a:lnTo>
                  <a:lnTo>
                    <a:pt x="374" y="284"/>
                  </a:lnTo>
                  <a:lnTo>
                    <a:pt x="365" y="287"/>
                  </a:lnTo>
                  <a:lnTo>
                    <a:pt x="358" y="291"/>
                  </a:lnTo>
                  <a:lnTo>
                    <a:pt x="345" y="300"/>
                  </a:lnTo>
                  <a:lnTo>
                    <a:pt x="336" y="307"/>
                  </a:lnTo>
                  <a:lnTo>
                    <a:pt x="328" y="314"/>
                  </a:lnTo>
                  <a:lnTo>
                    <a:pt x="328" y="314"/>
                  </a:lnTo>
                  <a:lnTo>
                    <a:pt x="342" y="328"/>
                  </a:lnTo>
                  <a:lnTo>
                    <a:pt x="353" y="343"/>
                  </a:lnTo>
                  <a:lnTo>
                    <a:pt x="362" y="357"/>
                  </a:lnTo>
                  <a:lnTo>
                    <a:pt x="369" y="371"/>
                  </a:lnTo>
                  <a:lnTo>
                    <a:pt x="375" y="384"/>
                  </a:lnTo>
                  <a:lnTo>
                    <a:pt x="380" y="398"/>
                  </a:lnTo>
                  <a:lnTo>
                    <a:pt x="382" y="410"/>
                  </a:lnTo>
                  <a:lnTo>
                    <a:pt x="383" y="421"/>
                  </a:lnTo>
                  <a:lnTo>
                    <a:pt x="382" y="432"/>
                  </a:lnTo>
                  <a:lnTo>
                    <a:pt x="380" y="442"/>
                  </a:lnTo>
                  <a:lnTo>
                    <a:pt x="375" y="451"/>
                  </a:lnTo>
                  <a:lnTo>
                    <a:pt x="370" y="458"/>
                  </a:lnTo>
                  <a:lnTo>
                    <a:pt x="363" y="464"/>
                  </a:lnTo>
                  <a:lnTo>
                    <a:pt x="356" y="469"/>
                  </a:lnTo>
                  <a:lnTo>
                    <a:pt x="347" y="472"/>
                  </a:lnTo>
                  <a:lnTo>
                    <a:pt x="337" y="473"/>
                  </a:lnTo>
                  <a:lnTo>
                    <a:pt x="337" y="473"/>
                  </a:lnTo>
                  <a:lnTo>
                    <a:pt x="322" y="473"/>
                  </a:lnTo>
                  <a:lnTo>
                    <a:pt x="311" y="471"/>
                  </a:lnTo>
                  <a:lnTo>
                    <a:pt x="301" y="467"/>
                  </a:lnTo>
                  <a:lnTo>
                    <a:pt x="292" y="462"/>
                  </a:lnTo>
                  <a:lnTo>
                    <a:pt x="283" y="456"/>
                  </a:lnTo>
                  <a:lnTo>
                    <a:pt x="277" y="449"/>
                  </a:lnTo>
                  <a:lnTo>
                    <a:pt x="272" y="441"/>
                  </a:lnTo>
                  <a:lnTo>
                    <a:pt x="268" y="432"/>
                  </a:lnTo>
                  <a:lnTo>
                    <a:pt x="264" y="424"/>
                  </a:lnTo>
                  <a:lnTo>
                    <a:pt x="262" y="417"/>
                  </a:lnTo>
                  <a:lnTo>
                    <a:pt x="259" y="403"/>
                  </a:lnTo>
                  <a:lnTo>
                    <a:pt x="257" y="393"/>
                  </a:lnTo>
                  <a:lnTo>
                    <a:pt x="257" y="390"/>
                  </a:lnTo>
                  <a:lnTo>
                    <a:pt x="257" y="390"/>
                  </a:lnTo>
                  <a:lnTo>
                    <a:pt x="255" y="392"/>
                  </a:lnTo>
                  <a:lnTo>
                    <a:pt x="249" y="398"/>
                  </a:lnTo>
                  <a:lnTo>
                    <a:pt x="239" y="405"/>
                  </a:lnTo>
                  <a:lnTo>
                    <a:pt x="227" y="413"/>
                  </a:lnTo>
                  <a:lnTo>
                    <a:pt x="220" y="416"/>
                  </a:lnTo>
                  <a:lnTo>
                    <a:pt x="212" y="419"/>
                  </a:lnTo>
                  <a:lnTo>
                    <a:pt x="204" y="420"/>
                  </a:lnTo>
                  <a:lnTo>
                    <a:pt x="194" y="421"/>
                  </a:lnTo>
                  <a:lnTo>
                    <a:pt x="185" y="421"/>
                  </a:lnTo>
                  <a:lnTo>
                    <a:pt x="175" y="419"/>
                  </a:lnTo>
                  <a:lnTo>
                    <a:pt x="165" y="415"/>
                  </a:lnTo>
                  <a:lnTo>
                    <a:pt x="155" y="409"/>
                  </a:lnTo>
                  <a:lnTo>
                    <a:pt x="155" y="409"/>
                  </a:lnTo>
                  <a:lnTo>
                    <a:pt x="147" y="404"/>
                  </a:lnTo>
                  <a:lnTo>
                    <a:pt x="140" y="397"/>
                  </a:lnTo>
                  <a:lnTo>
                    <a:pt x="135" y="390"/>
                  </a:lnTo>
                  <a:lnTo>
                    <a:pt x="131" y="381"/>
                  </a:lnTo>
                  <a:lnTo>
                    <a:pt x="129" y="372"/>
                  </a:lnTo>
                  <a:lnTo>
                    <a:pt x="128" y="363"/>
                  </a:lnTo>
                  <a:lnTo>
                    <a:pt x="128" y="354"/>
                  </a:lnTo>
                  <a:lnTo>
                    <a:pt x="131" y="345"/>
                  </a:lnTo>
                  <a:lnTo>
                    <a:pt x="136" y="334"/>
                  </a:lnTo>
                  <a:lnTo>
                    <a:pt x="142" y="325"/>
                  </a:lnTo>
                  <a:lnTo>
                    <a:pt x="153" y="316"/>
                  </a:lnTo>
                  <a:lnTo>
                    <a:pt x="164" y="308"/>
                  </a:lnTo>
                  <a:lnTo>
                    <a:pt x="178" y="300"/>
                  </a:lnTo>
                  <a:lnTo>
                    <a:pt x="195" y="292"/>
                  </a:lnTo>
                  <a:lnTo>
                    <a:pt x="216" y="286"/>
                  </a:lnTo>
                  <a:lnTo>
                    <a:pt x="239" y="280"/>
                  </a:lnTo>
                  <a:lnTo>
                    <a:pt x="239" y="280"/>
                  </a:lnTo>
                  <a:lnTo>
                    <a:pt x="238" y="275"/>
                  </a:lnTo>
                  <a:lnTo>
                    <a:pt x="233" y="262"/>
                  </a:lnTo>
                  <a:lnTo>
                    <a:pt x="230" y="253"/>
                  </a:lnTo>
                  <a:lnTo>
                    <a:pt x="225" y="242"/>
                  </a:lnTo>
                  <a:lnTo>
                    <a:pt x="220" y="232"/>
                  </a:lnTo>
                  <a:lnTo>
                    <a:pt x="213" y="222"/>
                  </a:lnTo>
                  <a:lnTo>
                    <a:pt x="205" y="213"/>
                  </a:lnTo>
                  <a:lnTo>
                    <a:pt x="195" y="203"/>
                  </a:lnTo>
                  <a:lnTo>
                    <a:pt x="185" y="196"/>
                  </a:lnTo>
                  <a:lnTo>
                    <a:pt x="173" y="190"/>
                  </a:lnTo>
                  <a:lnTo>
                    <a:pt x="167" y="188"/>
                  </a:lnTo>
                  <a:lnTo>
                    <a:pt x="161" y="187"/>
                  </a:lnTo>
                  <a:lnTo>
                    <a:pt x="154" y="186"/>
                  </a:lnTo>
                  <a:lnTo>
                    <a:pt x="145" y="185"/>
                  </a:lnTo>
                  <a:lnTo>
                    <a:pt x="138" y="186"/>
                  </a:lnTo>
                  <a:lnTo>
                    <a:pt x="129" y="187"/>
                  </a:lnTo>
                  <a:lnTo>
                    <a:pt x="121" y="190"/>
                  </a:lnTo>
                  <a:lnTo>
                    <a:pt x="112" y="193"/>
                  </a:lnTo>
                  <a:lnTo>
                    <a:pt x="112" y="193"/>
                  </a:lnTo>
                  <a:lnTo>
                    <a:pt x="115" y="191"/>
                  </a:lnTo>
                  <a:lnTo>
                    <a:pt x="119" y="188"/>
                  </a:lnTo>
                  <a:lnTo>
                    <a:pt x="127" y="180"/>
                  </a:lnTo>
                  <a:lnTo>
                    <a:pt x="136" y="168"/>
                  </a:lnTo>
                  <a:lnTo>
                    <a:pt x="144" y="153"/>
                  </a:lnTo>
                  <a:lnTo>
                    <a:pt x="148" y="144"/>
                  </a:lnTo>
                  <a:lnTo>
                    <a:pt x="153" y="136"/>
                  </a:lnTo>
                  <a:lnTo>
                    <a:pt x="156" y="127"/>
                  </a:lnTo>
                  <a:lnTo>
                    <a:pt x="158" y="117"/>
                  </a:lnTo>
                  <a:lnTo>
                    <a:pt x="159" y="106"/>
                  </a:lnTo>
                  <a:lnTo>
                    <a:pt x="160" y="97"/>
                  </a:lnTo>
                  <a:lnTo>
                    <a:pt x="159" y="86"/>
                  </a:lnTo>
                  <a:lnTo>
                    <a:pt x="157" y="76"/>
                  </a:lnTo>
                  <a:lnTo>
                    <a:pt x="157" y="76"/>
                  </a:lnTo>
                  <a:lnTo>
                    <a:pt x="155" y="66"/>
                  </a:lnTo>
                  <a:lnTo>
                    <a:pt x="150" y="57"/>
                  </a:lnTo>
                  <a:lnTo>
                    <a:pt x="147" y="49"/>
                  </a:lnTo>
                  <a:lnTo>
                    <a:pt x="143" y="41"/>
                  </a:lnTo>
                  <a:lnTo>
                    <a:pt x="134" y="28"/>
                  </a:lnTo>
                  <a:lnTo>
                    <a:pt x="125" y="17"/>
                  </a:lnTo>
                  <a:lnTo>
                    <a:pt x="117" y="9"/>
                  </a:lnTo>
                  <a:lnTo>
                    <a:pt x="110" y="4"/>
                  </a:lnTo>
                  <a:lnTo>
                    <a:pt x="103" y="0"/>
                  </a:lnTo>
                  <a:lnTo>
                    <a:pt x="0" y="593"/>
                  </a:lnTo>
                  <a:lnTo>
                    <a:pt x="269" y="712"/>
                  </a:lnTo>
                  <a:lnTo>
                    <a:pt x="269" y="712"/>
                  </a:lnTo>
                  <a:lnTo>
                    <a:pt x="293" y="693"/>
                  </a:lnTo>
                  <a:lnTo>
                    <a:pt x="315" y="677"/>
                  </a:lnTo>
                  <a:lnTo>
                    <a:pt x="336" y="665"/>
                  </a:lnTo>
                  <a:lnTo>
                    <a:pt x="354" y="656"/>
                  </a:lnTo>
                  <a:lnTo>
                    <a:pt x="354" y="656"/>
                  </a:lnTo>
                  <a:lnTo>
                    <a:pt x="367" y="650"/>
                  </a:lnTo>
                  <a:lnTo>
                    <a:pt x="382" y="646"/>
                  </a:lnTo>
                  <a:lnTo>
                    <a:pt x="396" y="642"/>
                  </a:lnTo>
                  <a:lnTo>
                    <a:pt x="409" y="639"/>
                  </a:lnTo>
                  <a:lnTo>
                    <a:pt x="423" y="637"/>
                  </a:lnTo>
                  <a:lnTo>
                    <a:pt x="437" y="636"/>
                  </a:lnTo>
                  <a:lnTo>
                    <a:pt x="450" y="635"/>
                  </a:lnTo>
                  <a:lnTo>
                    <a:pt x="464" y="635"/>
                  </a:lnTo>
                  <a:lnTo>
                    <a:pt x="478" y="636"/>
                  </a:lnTo>
                  <a:lnTo>
                    <a:pt x="491" y="638"/>
                  </a:lnTo>
                  <a:lnTo>
                    <a:pt x="504" y="640"/>
                  </a:lnTo>
                  <a:lnTo>
                    <a:pt x="517" y="643"/>
                  </a:lnTo>
                  <a:lnTo>
                    <a:pt x="542" y="650"/>
                  </a:lnTo>
                  <a:lnTo>
                    <a:pt x="566" y="658"/>
                  </a:lnTo>
                  <a:lnTo>
                    <a:pt x="566" y="658"/>
                  </a:lnTo>
                  <a:lnTo>
                    <a:pt x="582" y="667"/>
                  </a:lnTo>
                  <a:lnTo>
                    <a:pt x="596" y="675"/>
                  </a:lnTo>
                  <a:lnTo>
                    <a:pt x="610" y="683"/>
                  </a:lnTo>
                  <a:lnTo>
                    <a:pt x="621" y="691"/>
                  </a:lnTo>
                  <a:lnTo>
                    <a:pt x="631" y="699"/>
                  </a:lnTo>
                  <a:lnTo>
                    <a:pt x="639" y="709"/>
                  </a:lnTo>
                  <a:lnTo>
                    <a:pt x="646" y="717"/>
                  </a:lnTo>
                  <a:lnTo>
                    <a:pt x="653" y="726"/>
                  </a:lnTo>
                  <a:lnTo>
                    <a:pt x="658" y="735"/>
                  </a:lnTo>
                  <a:lnTo>
                    <a:pt x="662" y="743"/>
                  </a:lnTo>
                  <a:lnTo>
                    <a:pt x="665" y="753"/>
                  </a:lnTo>
                  <a:lnTo>
                    <a:pt x="668" y="761"/>
                  </a:lnTo>
                  <a:lnTo>
                    <a:pt x="671" y="778"/>
                  </a:lnTo>
                  <a:lnTo>
                    <a:pt x="673" y="793"/>
                  </a:lnTo>
                  <a:lnTo>
                    <a:pt x="673" y="793"/>
                  </a:lnTo>
                  <a:lnTo>
                    <a:pt x="672" y="804"/>
                  </a:lnTo>
                  <a:lnTo>
                    <a:pt x="670" y="815"/>
                  </a:lnTo>
                  <a:lnTo>
                    <a:pt x="667" y="827"/>
                  </a:lnTo>
                  <a:lnTo>
                    <a:pt x="663" y="839"/>
                  </a:lnTo>
                  <a:lnTo>
                    <a:pt x="654" y="863"/>
                  </a:lnTo>
                  <a:lnTo>
                    <a:pt x="646" y="877"/>
                  </a:lnTo>
                  <a:lnTo>
                    <a:pt x="841" y="96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7" name="Freeform 43"/>
            <p:cNvSpPr>
              <a:spLocks/>
            </p:cNvSpPr>
            <p:nvPr userDrawn="1"/>
          </p:nvSpPr>
          <p:spPr bwMode="auto">
            <a:xfrm>
              <a:off x="1133476" y="714376"/>
              <a:ext cx="193675" cy="33338"/>
            </a:xfrm>
            <a:custGeom>
              <a:avLst/>
              <a:gdLst>
                <a:gd name="T0" fmla="*/ 1228 w 1463"/>
                <a:gd name="T1" fmla="*/ 227 h 256"/>
                <a:gd name="T2" fmla="*/ 1463 w 1463"/>
                <a:gd name="T3" fmla="*/ 113 h 256"/>
                <a:gd name="T4" fmla="*/ 1225 w 1463"/>
                <a:gd name="T5" fmla="*/ 14 h 256"/>
                <a:gd name="T6" fmla="*/ 1225 w 1463"/>
                <a:gd name="T7" fmla="*/ 14 h 256"/>
                <a:gd name="T8" fmla="*/ 1152 w 1463"/>
                <a:gd name="T9" fmla="*/ 15 h 256"/>
                <a:gd name="T10" fmla="*/ 1060 w 1463"/>
                <a:gd name="T11" fmla="*/ 16 h 256"/>
                <a:gd name="T12" fmla="*/ 949 w 1463"/>
                <a:gd name="T13" fmla="*/ 15 h 256"/>
                <a:gd name="T14" fmla="*/ 824 w 1463"/>
                <a:gd name="T15" fmla="*/ 13 h 256"/>
                <a:gd name="T16" fmla="*/ 531 w 1463"/>
                <a:gd name="T17" fmla="*/ 7 h 256"/>
                <a:gd name="T18" fmla="*/ 197 w 1463"/>
                <a:gd name="T19" fmla="*/ 0 h 256"/>
                <a:gd name="T20" fmla="*/ 0 w 1463"/>
                <a:gd name="T21" fmla="*/ 256 h 256"/>
                <a:gd name="T22" fmla="*/ 0 w 1463"/>
                <a:gd name="T23" fmla="*/ 256 h 256"/>
                <a:gd name="T24" fmla="*/ 734 w 1463"/>
                <a:gd name="T25" fmla="*/ 240 h 256"/>
                <a:gd name="T26" fmla="*/ 1024 w 1463"/>
                <a:gd name="T27" fmla="*/ 234 h 256"/>
                <a:gd name="T28" fmla="*/ 1228 w 1463"/>
                <a:gd name="T29" fmla="*/ 227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63" h="256">
                  <a:moveTo>
                    <a:pt x="1228" y="227"/>
                  </a:moveTo>
                  <a:lnTo>
                    <a:pt x="1463" y="113"/>
                  </a:lnTo>
                  <a:lnTo>
                    <a:pt x="1225" y="14"/>
                  </a:lnTo>
                  <a:lnTo>
                    <a:pt x="1225" y="14"/>
                  </a:lnTo>
                  <a:lnTo>
                    <a:pt x="1152" y="15"/>
                  </a:lnTo>
                  <a:lnTo>
                    <a:pt x="1060" y="16"/>
                  </a:lnTo>
                  <a:lnTo>
                    <a:pt x="949" y="15"/>
                  </a:lnTo>
                  <a:lnTo>
                    <a:pt x="824" y="13"/>
                  </a:lnTo>
                  <a:lnTo>
                    <a:pt x="531" y="7"/>
                  </a:lnTo>
                  <a:lnTo>
                    <a:pt x="197" y="0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734" y="240"/>
                  </a:lnTo>
                  <a:lnTo>
                    <a:pt x="1024" y="234"/>
                  </a:lnTo>
                  <a:lnTo>
                    <a:pt x="1228" y="22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8" name="Freeform 44"/>
            <p:cNvSpPr>
              <a:spLocks/>
            </p:cNvSpPr>
            <p:nvPr userDrawn="1"/>
          </p:nvSpPr>
          <p:spPr bwMode="auto">
            <a:xfrm>
              <a:off x="1195388" y="796926"/>
              <a:ext cx="114300" cy="112713"/>
            </a:xfrm>
            <a:custGeom>
              <a:avLst/>
              <a:gdLst>
                <a:gd name="T0" fmla="*/ 386 w 869"/>
                <a:gd name="T1" fmla="*/ 818 h 851"/>
                <a:gd name="T2" fmla="*/ 235 w 869"/>
                <a:gd name="T3" fmla="*/ 737 h 851"/>
                <a:gd name="T4" fmla="*/ 156 w 869"/>
                <a:gd name="T5" fmla="*/ 685 h 851"/>
                <a:gd name="T6" fmla="*/ 90 w 869"/>
                <a:gd name="T7" fmla="*/ 626 h 851"/>
                <a:gd name="T8" fmla="*/ 37 w 869"/>
                <a:gd name="T9" fmla="*/ 557 h 851"/>
                <a:gd name="T10" fmla="*/ 24 w 869"/>
                <a:gd name="T11" fmla="*/ 531 h 851"/>
                <a:gd name="T12" fmla="*/ 10 w 869"/>
                <a:gd name="T13" fmla="*/ 487 h 851"/>
                <a:gd name="T14" fmla="*/ 2 w 869"/>
                <a:gd name="T15" fmla="*/ 439 h 851"/>
                <a:gd name="T16" fmla="*/ 0 w 869"/>
                <a:gd name="T17" fmla="*/ 389 h 851"/>
                <a:gd name="T18" fmla="*/ 5 w 869"/>
                <a:gd name="T19" fmla="*/ 336 h 851"/>
                <a:gd name="T20" fmla="*/ 15 w 869"/>
                <a:gd name="T21" fmla="*/ 283 h 851"/>
                <a:gd name="T22" fmla="*/ 34 w 869"/>
                <a:gd name="T23" fmla="*/ 231 h 851"/>
                <a:gd name="T24" fmla="*/ 59 w 869"/>
                <a:gd name="T25" fmla="*/ 182 h 851"/>
                <a:gd name="T26" fmla="*/ 93 w 869"/>
                <a:gd name="T27" fmla="*/ 136 h 851"/>
                <a:gd name="T28" fmla="*/ 134 w 869"/>
                <a:gd name="T29" fmla="*/ 94 h 851"/>
                <a:gd name="T30" fmla="*/ 183 w 869"/>
                <a:gd name="T31" fmla="*/ 59 h 851"/>
                <a:gd name="T32" fmla="*/ 198 w 869"/>
                <a:gd name="T33" fmla="*/ 75 h 851"/>
                <a:gd name="T34" fmla="*/ 217 w 869"/>
                <a:gd name="T35" fmla="*/ 106 h 851"/>
                <a:gd name="T36" fmla="*/ 227 w 869"/>
                <a:gd name="T37" fmla="*/ 141 h 851"/>
                <a:gd name="T38" fmla="*/ 247 w 869"/>
                <a:gd name="T39" fmla="*/ 150 h 851"/>
                <a:gd name="T40" fmla="*/ 379 w 869"/>
                <a:gd name="T41" fmla="*/ 144 h 851"/>
                <a:gd name="T42" fmla="*/ 424 w 869"/>
                <a:gd name="T43" fmla="*/ 143 h 851"/>
                <a:gd name="T44" fmla="*/ 424 w 869"/>
                <a:gd name="T45" fmla="*/ 94 h 851"/>
                <a:gd name="T46" fmla="*/ 414 w 869"/>
                <a:gd name="T47" fmla="*/ 37 h 851"/>
                <a:gd name="T48" fmla="*/ 397 w 869"/>
                <a:gd name="T49" fmla="*/ 0 h 851"/>
                <a:gd name="T50" fmla="*/ 431 w 869"/>
                <a:gd name="T51" fmla="*/ 27 h 851"/>
                <a:gd name="T52" fmla="*/ 459 w 869"/>
                <a:gd name="T53" fmla="*/ 55 h 851"/>
                <a:gd name="T54" fmla="*/ 475 w 869"/>
                <a:gd name="T55" fmla="*/ 82 h 851"/>
                <a:gd name="T56" fmla="*/ 487 w 869"/>
                <a:gd name="T57" fmla="*/ 116 h 851"/>
                <a:gd name="T58" fmla="*/ 493 w 869"/>
                <a:gd name="T59" fmla="*/ 143 h 851"/>
                <a:gd name="T60" fmla="*/ 671 w 869"/>
                <a:gd name="T61" fmla="*/ 133 h 851"/>
                <a:gd name="T62" fmla="*/ 662 w 869"/>
                <a:gd name="T63" fmla="*/ 88 h 851"/>
                <a:gd name="T64" fmla="*/ 643 w 869"/>
                <a:gd name="T65" fmla="*/ 50 h 851"/>
                <a:gd name="T66" fmla="*/ 651 w 869"/>
                <a:gd name="T67" fmla="*/ 46 h 851"/>
                <a:gd name="T68" fmla="*/ 699 w 869"/>
                <a:gd name="T69" fmla="*/ 73 h 851"/>
                <a:gd name="T70" fmla="*/ 740 w 869"/>
                <a:gd name="T71" fmla="*/ 104 h 851"/>
                <a:gd name="T72" fmla="*/ 775 w 869"/>
                <a:gd name="T73" fmla="*/ 138 h 851"/>
                <a:gd name="T74" fmla="*/ 803 w 869"/>
                <a:gd name="T75" fmla="*/ 175 h 851"/>
                <a:gd name="T76" fmla="*/ 837 w 869"/>
                <a:gd name="T77" fmla="*/ 238 h 851"/>
                <a:gd name="T78" fmla="*/ 861 w 869"/>
                <a:gd name="T79" fmla="*/ 312 h 851"/>
                <a:gd name="T80" fmla="*/ 869 w 869"/>
                <a:gd name="T81" fmla="*/ 379 h 851"/>
                <a:gd name="T82" fmla="*/ 869 w 869"/>
                <a:gd name="T83" fmla="*/ 423 h 851"/>
                <a:gd name="T84" fmla="*/ 859 w 869"/>
                <a:gd name="T85" fmla="*/ 499 h 851"/>
                <a:gd name="T86" fmla="*/ 834 w 869"/>
                <a:gd name="T87" fmla="*/ 569 h 851"/>
                <a:gd name="T88" fmla="*/ 796 w 869"/>
                <a:gd name="T89" fmla="*/ 631 h 851"/>
                <a:gd name="T90" fmla="*/ 749 w 869"/>
                <a:gd name="T91" fmla="*/ 684 h 851"/>
                <a:gd name="T92" fmla="*/ 693 w 869"/>
                <a:gd name="T93" fmla="*/ 727 h 851"/>
                <a:gd name="T94" fmla="*/ 626 w 869"/>
                <a:gd name="T95" fmla="*/ 766 h 851"/>
                <a:gd name="T96" fmla="*/ 506 w 869"/>
                <a:gd name="T97" fmla="*/ 826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9" h="851">
                  <a:moveTo>
                    <a:pt x="452" y="851"/>
                  </a:moveTo>
                  <a:lnTo>
                    <a:pt x="452" y="851"/>
                  </a:lnTo>
                  <a:lnTo>
                    <a:pt x="386" y="818"/>
                  </a:lnTo>
                  <a:lnTo>
                    <a:pt x="323" y="785"/>
                  </a:lnTo>
                  <a:lnTo>
                    <a:pt x="264" y="754"/>
                  </a:lnTo>
                  <a:lnTo>
                    <a:pt x="235" y="737"/>
                  </a:lnTo>
                  <a:lnTo>
                    <a:pt x="207" y="720"/>
                  </a:lnTo>
                  <a:lnTo>
                    <a:pt x="181" y="703"/>
                  </a:lnTo>
                  <a:lnTo>
                    <a:pt x="156" y="685"/>
                  </a:lnTo>
                  <a:lnTo>
                    <a:pt x="133" y="666"/>
                  </a:lnTo>
                  <a:lnTo>
                    <a:pt x="110" y="646"/>
                  </a:lnTo>
                  <a:lnTo>
                    <a:pt x="90" y="626"/>
                  </a:lnTo>
                  <a:lnTo>
                    <a:pt x="70" y="605"/>
                  </a:lnTo>
                  <a:lnTo>
                    <a:pt x="53" y="581"/>
                  </a:lnTo>
                  <a:lnTo>
                    <a:pt x="37" y="557"/>
                  </a:lnTo>
                  <a:lnTo>
                    <a:pt x="37" y="557"/>
                  </a:lnTo>
                  <a:lnTo>
                    <a:pt x="31" y="544"/>
                  </a:lnTo>
                  <a:lnTo>
                    <a:pt x="24" y="531"/>
                  </a:lnTo>
                  <a:lnTo>
                    <a:pt x="19" y="517"/>
                  </a:lnTo>
                  <a:lnTo>
                    <a:pt x="14" y="502"/>
                  </a:lnTo>
                  <a:lnTo>
                    <a:pt x="10" y="487"/>
                  </a:lnTo>
                  <a:lnTo>
                    <a:pt x="7" y="472"/>
                  </a:lnTo>
                  <a:lnTo>
                    <a:pt x="4" y="455"/>
                  </a:lnTo>
                  <a:lnTo>
                    <a:pt x="2" y="439"/>
                  </a:lnTo>
                  <a:lnTo>
                    <a:pt x="1" y="423"/>
                  </a:lnTo>
                  <a:lnTo>
                    <a:pt x="0" y="405"/>
                  </a:lnTo>
                  <a:lnTo>
                    <a:pt x="0" y="389"/>
                  </a:lnTo>
                  <a:lnTo>
                    <a:pt x="1" y="371"/>
                  </a:lnTo>
                  <a:lnTo>
                    <a:pt x="2" y="353"/>
                  </a:lnTo>
                  <a:lnTo>
                    <a:pt x="5" y="336"/>
                  </a:lnTo>
                  <a:lnTo>
                    <a:pt x="7" y="318"/>
                  </a:lnTo>
                  <a:lnTo>
                    <a:pt x="11" y="301"/>
                  </a:lnTo>
                  <a:lnTo>
                    <a:pt x="15" y="283"/>
                  </a:lnTo>
                  <a:lnTo>
                    <a:pt x="21" y="266"/>
                  </a:lnTo>
                  <a:lnTo>
                    <a:pt x="26" y="249"/>
                  </a:lnTo>
                  <a:lnTo>
                    <a:pt x="34" y="231"/>
                  </a:lnTo>
                  <a:lnTo>
                    <a:pt x="42" y="215"/>
                  </a:lnTo>
                  <a:lnTo>
                    <a:pt x="50" y="199"/>
                  </a:lnTo>
                  <a:lnTo>
                    <a:pt x="59" y="182"/>
                  </a:lnTo>
                  <a:lnTo>
                    <a:pt x="69" y="166"/>
                  </a:lnTo>
                  <a:lnTo>
                    <a:pt x="81" y="151"/>
                  </a:lnTo>
                  <a:lnTo>
                    <a:pt x="93" y="136"/>
                  </a:lnTo>
                  <a:lnTo>
                    <a:pt x="105" y="122"/>
                  </a:lnTo>
                  <a:lnTo>
                    <a:pt x="120" y="108"/>
                  </a:lnTo>
                  <a:lnTo>
                    <a:pt x="134" y="94"/>
                  </a:lnTo>
                  <a:lnTo>
                    <a:pt x="149" y="82"/>
                  </a:lnTo>
                  <a:lnTo>
                    <a:pt x="166" y="70"/>
                  </a:lnTo>
                  <a:lnTo>
                    <a:pt x="183" y="59"/>
                  </a:lnTo>
                  <a:lnTo>
                    <a:pt x="183" y="59"/>
                  </a:lnTo>
                  <a:lnTo>
                    <a:pt x="191" y="67"/>
                  </a:lnTo>
                  <a:lnTo>
                    <a:pt x="198" y="75"/>
                  </a:lnTo>
                  <a:lnTo>
                    <a:pt x="203" y="82"/>
                  </a:lnTo>
                  <a:lnTo>
                    <a:pt x="208" y="90"/>
                  </a:lnTo>
                  <a:lnTo>
                    <a:pt x="217" y="106"/>
                  </a:lnTo>
                  <a:lnTo>
                    <a:pt x="222" y="120"/>
                  </a:lnTo>
                  <a:lnTo>
                    <a:pt x="225" y="132"/>
                  </a:lnTo>
                  <a:lnTo>
                    <a:pt x="227" y="141"/>
                  </a:lnTo>
                  <a:lnTo>
                    <a:pt x="227" y="150"/>
                  </a:lnTo>
                  <a:lnTo>
                    <a:pt x="227" y="150"/>
                  </a:lnTo>
                  <a:lnTo>
                    <a:pt x="247" y="150"/>
                  </a:lnTo>
                  <a:lnTo>
                    <a:pt x="272" y="150"/>
                  </a:lnTo>
                  <a:lnTo>
                    <a:pt x="325" y="146"/>
                  </a:lnTo>
                  <a:lnTo>
                    <a:pt x="379" y="144"/>
                  </a:lnTo>
                  <a:lnTo>
                    <a:pt x="404" y="143"/>
                  </a:lnTo>
                  <a:lnTo>
                    <a:pt x="424" y="143"/>
                  </a:lnTo>
                  <a:lnTo>
                    <a:pt x="424" y="143"/>
                  </a:lnTo>
                  <a:lnTo>
                    <a:pt x="425" y="129"/>
                  </a:lnTo>
                  <a:lnTo>
                    <a:pt x="425" y="112"/>
                  </a:lnTo>
                  <a:lnTo>
                    <a:pt x="424" y="94"/>
                  </a:lnTo>
                  <a:lnTo>
                    <a:pt x="422" y="76"/>
                  </a:lnTo>
                  <a:lnTo>
                    <a:pt x="419" y="56"/>
                  </a:lnTo>
                  <a:lnTo>
                    <a:pt x="414" y="37"/>
                  </a:lnTo>
                  <a:lnTo>
                    <a:pt x="407" y="19"/>
                  </a:lnTo>
                  <a:lnTo>
                    <a:pt x="402" y="9"/>
                  </a:lnTo>
                  <a:lnTo>
                    <a:pt x="397" y="0"/>
                  </a:lnTo>
                  <a:lnTo>
                    <a:pt x="397" y="0"/>
                  </a:lnTo>
                  <a:lnTo>
                    <a:pt x="415" y="14"/>
                  </a:lnTo>
                  <a:lnTo>
                    <a:pt x="431" y="27"/>
                  </a:lnTo>
                  <a:lnTo>
                    <a:pt x="446" y="40"/>
                  </a:lnTo>
                  <a:lnTo>
                    <a:pt x="453" y="47"/>
                  </a:lnTo>
                  <a:lnTo>
                    <a:pt x="459" y="55"/>
                  </a:lnTo>
                  <a:lnTo>
                    <a:pt x="465" y="64"/>
                  </a:lnTo>
                  <a:lnTo>
                    <a:pt x="470" y="73"/>
                  </a:lnTo>
                  <a:lnTo>
                    <a:pt x="475" y="82"/>
                  </a:lnTo>
                  <a:lnTo>
                    <a:pt x="479" y="92"/>
                  </a:lnTo>
                  <a:lnTo>
                    <a:pt x="484" y="104"/>
                  </a:lnTo>
                  <a:lnTo>
                    <a:pt x="487" y="116"/>
                  </a:lnTo>
                  <a:lnTo>
                    <a:pt x="490" y="129"/>
                  </a:lnTo>
                  <a:lnTo>
                    <a:pt x="493" y="143"/>
                  </a:lnTo>
                  <a:lnTo>
                    <a:pt x="493" y="143"/>
                  </a:lnTo>
                  <a:lnTo>
                    <a:pt x="671" y="150"/>
                  </a:lnTo>
                  <a:lnTo>
                    <a:pt x="671" y="150"/>
                  </a:lnTo>
                  <a:lnTo>
                    <a:pt x="671" y="133"/>
                  </a:lnTo>
                  <a:lnTo>
                    <a:pt x="670" y="118"/>
                  </a:lnTo>
                  <a:lnTo>
                    <a:pt x="667" y="103"/>
                  </a:lnTo>
                  <a:lnTo>
                    <a:pt x="662" y="88"/>
                  </a:lnTo>
                  <a:lnTo>
                    <a:pt x="657" y="75"/>
                  </a:lnTo>
                  <a:lnTo>
                    <a:pt x="651" y="62"/>
                  </a:lnTo>
                  <a:lnTo>
                    <a:pt x="643" y="50"/>
                  </a:lnTo>
                  <a:lnTo>
                    <a:pt x="634" y="38"/>
                  </a:lnTo>
                  <a:lnTo>
                    <a:pt x="634" y="38"/>
                  </a:lnTo>
                  <a:lnTo>
                    <a:pt x="651" y="46"/>
                  </a:lnTo>
                  <a:lnTo>
                    <a:pt x="669" y="54"/>
                  </a:lnTo>
                  <a:lnTo>
                    <a:pt x="684" y="64"/>
                  </a:lnTo>
                  <a:lnTo>
                    <a:pt x="699" y="73"/>
                  </a:lnTo>
                  <a:lnTo>
                    <a:pt x="714" y="83"/>
                  </a:lnTo>
                  <a:lnTo>
                    <a:pt x="728" y="93"/>
                  </a:lnTo>
                  <a:lnTo>
                    <a:pt x="740" y="104"/>
                  </a:lnTo>
                  <a:lnTo>
                    <a:pt x="752" y="115"/>
                  </a:lnTo>
                  <a:lnTo>
                    <a:pt x="764" y="126"/>
                  </a:lnTo>
                  <a:lnTo>
                    <a:pt x="775" y="138"/>
                  </a:lnTo>
                  <a:lnTo>
                    <a:pt x="785" y="151"/>
                  </a:lnTo>
                  <a:lnTo>
                    <a:pt x="794" y="163"/>
                  </a:lnTo>
                  <a:lnTo>
                    <a:pt x="803" y="175"/>
                  </a:lnTo>
                  <a:lnTo>
                    <a:pt x="811" y="187"/>
                  </a:lnTo>
                  <a:lnTo>
                    <a:pt x="825" y="213"/>
                  </a:lnTo>
                  <a:lnTo>
                    <a:pt x="837" y="238"/>
                  </a:lnTo>
                  <a:lnTo>
                    <a:pt x="848" y="263"/>
                  </a:lnTo>
                  <a:lnTo>
                    <a:pt x="855" y="289"/>
                  </a:lnTo>
                  <a:lnTo>
                    <a:pt x="861" y="312"/>
                  </a:lnTo>
                  <a:lnTo>
                    <a:pt x="865" y="336"/>
                  </a:lnTo>
                  <a:lnTo>
                    <a:pt x="868" y="358"/>
                  </a:lnTo>
                  <a:lnTo>
                    <a:pt x="869" y="379"/>
                  </a:lnTo>
                  <a:lnTo>
                    <a:pt x="869" y="397"/>
                  </a:lnTo>
                  <a:lnTo>
                    <a:pt x="869" y="397"/>
                  </a:lnTo>
                  <a:lnTo>
                    <a:pt x="869" y="423"/>
                  </a:lnTo>
                  <a:lnTo>
                    <a:pt x="868" y="449"/>
                  </a:lnTo>
                  <a:lnTo>
                    <a:pt x="864" y="474"/>
                  </a:lnTo>
                  <a:lnTo>
                    <a:pt x="859" y="499"/>
                  </a:lnTo>
                  <a:lnTo>
                    <a:pt x="852" y="523"/>
                  </a:lnTo>
                  <a:lnTo>
                    <a:pt x="843" y="546"/>
                  </a:lnTo>
                  <a:lnTo>
                    <a:pt x="834" y="569"/>
                  </a:lnTo>
                  <a:lnTo>
                    <a:pt x="823" y="590"/>
                  </a:lnTo>
                  <a:lnTo>
                    <a:pt x="811" y="612"/>
                  </a:lnTo>
                  <a:lnTo>
                    <a:pt x="796" y="631"/>
                  </a:lnTo>
                  <a:lnTo>
                    <a:pt x="782" y="651"/>
                  </a:lnTo>
                  <a:lnTo>
                    <a:pt x="766" y="668"/>
                  </a:lnTo>
                  <a:lnTo>
                    <a:pt x="749" y="684"/>
                  </a:lnTo>
                  <a:lnTo>
                    <a:pt x="731" y="700"/>
                  </a:lnTo>
                  <a:lnTo>
                    <a:pt x="713" y="714"/>
                  </a:lnTo>
                  <a:lnTo>
                    <a:pt x="693" y="727"/>
                  </a:lnTo>
                  <a:lnTo>
                    <a:pt x="693" y="727"/>
                  </a:lnTo>
                  <a:lnTo>
                    <a:pt x="658" y="748"/>
                  </a:lnTo>
                  <a:lnTo>
                    <a:pt x="626" y="766"/>
                  </a:lnTo>
                  <a:lnTo>
                    <a:pt x="594" y="783"/>
                  </a:lnTo>
                  <a:lnTo>
                    <a:pt x="563" y="799"/>
                  </a:lnTo>
                  <a:lnTo>
                    <a:pt x="506" y="826"/>
                  </a:lnTo>
                  <a:lnTo>
                    <a:pt x="452" y="85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89" name="Freeform 45"/>
            <p:cNvSpPr>
              <a:spLocks/>
            </p:cNvSpPr>
            <p:nvPr userDrawn="1"/>
          </p:nvSpPr>
          <p:spPr bwMode="auto">
            <a:xfrm>
              <a:off x="1228726" y="1074738"/>
              <a:ext cx="1588" cy="0"/>
            </a:xfrm>
            <a:custGeom>
              <a:avLst/>
              <a:gdLst>
                <a:gd name="T0" fmla="*/ 22 w 22"/>
                <a:gd name="T1" fmla="*/ 9 h 9"/>
                <a:gd name="T2" fmla="*/ 22 w 22"/>
                <a:gd name="T3" fmla="*/ 9 h 9"/>
                <a:gd name="T4" fmla="*/ 3 w 22"/>
                <a:gd name="T5" fmla="*/ 2 h 9"/>
                <a:gd name="T6" fmla="*/ 3 w 22"/>
                <a:gd name="T7" fmla="*/ 2 h 9"/>
                <a:gd name="T8" fmla="*/ 0 w 22"/>
                <a:gd name="T9" fmla="*/ 0 h 9"/>
                <a:gd name="T10" fmla="*/ 0 w 22"/>
                <a:gd name="T11" fmla="*/ 0 h 9"/>
                <a:gd name="T12" fmla="*/ 22 w 2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9">
                  <a:moveTo>
                    <a:pt x="22" y="9"/>
                  </a:moveTo>
                  <a:lnTo>
                    <a:pt x="22" y="9"/>
                  </a:lnTo>
                  <a:lnTo>
                    <a:pt x="3" y="2"/>
                  </a:lnTo>
                  <a:lnTo>
                    <a:pt x="3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2" y="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0" name="Freeform 46"/>
            <p:cNvSpPr>
              <a:spLocks/>
            </p:cNvSpPr>
            <p:nvPr userDrawn="1"/>
          </p:nvSpPr>
          <p:spPr bwMode="auto">
            <a:xfrm>
              <a:off x="981076" y="757238"/>
              <a:ext cx="20638" cy="12700"/>
            </a:xfrm>
            <a:custGeom>
              <a:avLst/>
              <a:gdLst>
                <a:gd name="T0" fmla="*/ 166 w 166"/>
                <a:gd name="T1" fmla="*/ 69 h 96"/>
                <a:gd name="T2" fmla="*/ 166 w 166"/>
                <a:gd name="T3" fmla="*/ 69 h 96"/>
                <a:gd name="T4" fmla="*/ 166 w 166"/>
                <a:gd name="T5" fmla="*/ 70 h 96"/>
                <a:gd name="T6" fmla="*/ 165 w 166"/>
                <a:gd name="T7" fmla="*/ 72 h 96"/>
                <a:gd name="T8" fmla="*/ 161 w 166"/>
                <a:gd name="T9" fmla="*/ 74 h 96"/>
                <a:gd name="T10" fmla="*/ 155 w 166"/>
                <a:gd name="T11" fmla="*/ 77 h 96"/>
                <a:gd name="T12" fmla="*/ 145 w 166"/>
                <a:gd name="T13" fmla="*/ 79 h 96"/>
                <a:gd name="T14" fmla="*/ 123 w 166"/>
                <a:gd name="T15" fmla="*/ 85 h 96"/>
                <a:gd name="T16" fmla="*/ 95 w 166"/>
                <a:gd name="T17" fmla="*/ 90 h 96"/>
                <a:gd name="T18" fmla="*/ 68 w 166"/>
                <a:gd name="T19" fmla="*/ 94 h 96"/>
                <a:gd name="T20" fmla="*/ 42 w 166"/>
                <a:gd name="T21" fmla="*/ 96 h 96"/>
                <a:gd name="T22" fmla="*/ 24 w 166"/>
                <a:gd name="T23" fmla="*/ 96 h 96"/>
                <a:gd name="T24" fmla="*/ 17 w 166"/>
                <a:gd name="T25" fmla="*/ 95 h 96"/>
                <a:gd name="T26" fmla="*/ 13 w 166"/>
                <a:gd name="T27" fmla="*/ 94 h 96"/>
                <a:gd name="T28" fmla="*/ 13 w 166"/>
                <a:gd name="T29" fmla="*/ 94 h 96"/>
                <a:gd name="T30" fmla="*/ 10 w 166"/>
                <a:gd name="T31" fmla="*/ 92 h 96"/>
                <a:gd name="T32" fmla="*/ 8 w 166"/>
                <a:gd name="T33" fmla="*/ 88 h 96"/>
                <a:gd name="T34" fmla="*/ 5 w 166"/>
                <a:gd name="T35" fmla="*/ 77 h 96"/>
                <a:gd name="T36" fmla="*/ 2 w 166"/>
                <a:gd name="T37" fmla="*/ 65 h 96"/>
                <a:gd name="T38" fmla="*/ 0 w 166"/>
                <a:gd name="T39" fmla="*/ 51 h 96"/>
                <a:gd name="T40" fmla="*/ 0 w 166"/>
                <a:gd name="T41" fmla="*/ 36 h 96"/>
                <a:gd name="T42" fmla="*/ 0 w 166"/>
                <a:gd name="T43" fmla="*/ 23 h 96"/>
                <a:gd name="T44" fmla="*/ 1 w 166"/>
                <a:gd name="T45" fmla="*/ 13 h 96"/>
                <a:gd name="T46" fmla="*/ 2 w 166"/>
                <a:gd name="T47" fmla="*/ 8 h 96"/>
                <a:gd name="T48" fmla="*/ 4 w 166"/>
                <a:gd name="T49" fmla="*/ 5 h 96"/>
                <a:gd name="T50" fmla="*/ 4 w 166"/>
                <a:gd name="T51" fmla="*/ 5 h 96"/>
                <a:gd name="T52" fmla="*/ 5 w 166"/>
                <a:gd name="T53" fmla="*/ 4 h 96"/>
                <a:gd name="T54" fmla="*/ 7 w 166"/>
                <a:gd name="T55" fmla="*/ 2 h 96"/>
                <a:gd name="T56" fmla="*/ 13 w 166"/>
                <a:gd name="T57" fmla="*/ 1 h 96"/>
                <a:gd name="T58" fmla="*/ 22 w 166"/>
                <a:gd name="T59" fmla="*/ 0 h 96"/>
                <a:gd name="T60" fmla="*/ 32 w 166"/>
                <a:gd name="T61" fmla="*/ 0 h 96"/>
                <a:gd name="T62" fmla="*/ 43 w 166"/>
                <a:gd name="T63" fmla="*/ 1 h 96"/>
                <a:gd name="T64" fmla="*/ 55 w 166"/>
                <a:gd name="T65" fmla="*/ 3 h 96"/>
                <a:gd name="T66" fmla="*/ 69 w 166"/>
                <a:gd name="T67" fmla="*/ 6 h 96"/>
                <a:gd name="T68" fmla="*/ 83 w 166"/>
                <a:gd name="T69" fmla="*/ 10 h 96"/>
                <a:gd name="T70" fmla="*/ 96 w 166"/>
                <a:gd name="T71" fmla="*/ 15 h 96"/>
                <a:gd name="T72" fmla="*/ 110 w 166"/>
                <a:gd name="T73" fmla="*/ 20 h 96"/>
                <a:gd name="T74" fmla="*/ 123 w 166"/>
                <a:gd name="T75" fmla="*/ 27 h 96"/>
                <a:gd name="T76" fmla="*/ 135 w 166"/>
                <a:gd name="T77" fmla="*/ 34 h 96"/>
                <a:gd name="T78" fmla="*/ 145 w 166"/>
                <a:gd name="T79" fmla="*/ 42 h 96"/>
                <a:gd name="T80" fmla="*/ 155 w 166"/>
                <a:gd name="T81" fmla="*/ 51 h 96"/>
                <a:gd name="T82" fmla="*/ 162 w 166"/>
                <a:gd name="T83" fmla="*/ 60 h 96"/>
                <a:gd name="T84" fmla="*/ 164 w 166"/>
                <a:gd name="T85" fmla="*/ 64 h 96"/>
                <a:gd name="T86" fmla="*/ 166 w 166"/>
                <a:gd name="T87" fmla="*/ 69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6" h="96">
                  <a:moveTo>
                    <a:pt x="166" y="69"/>
                  </a:moveTo>
                  <a:lnTo>
                    <a:pt x="166" y="69"/>
                  </a:lnTo>
                  <a:lnTo>
                    <a:pt x="166" y="70"/>
                  </a:lnTo>
                  <a:lnTo>
                    <a:pt x="165" y="72"/>
                  </a:lnTo>
                  <a:lnTo>
                    <a:pt x="161" y="74"/>
                  </a:lnTo>
                  <a:lnTo>
                    <a:pt x="155" y="77"/>
                  </a:lnTo>
                  <a:lnTo>
                    <a:pt x="145" y="79"/>
                  </a:lnTo>
                  <a:lnTo>
                    <a:pt x="123" y="85"/>
                  </a:lnTo>
                  <a:lnTo>
                    <a:pt x="95" y="90"/>
                  </a:lnTo>
                  <a:lnTo>
                    <a:pt x="68" y="94"/>
                  </a:lnTo>
                  <a:lnTo>
                    <a:pt x="42" y="96"/>
                  </a:lnTo>
                  <a:lnTo>
                    <a:pt x="24" y="96"/>
                  </a:lnTo>
                  <a:lnTo>
                    <a:pt x="17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0" y="92"/>
                  </a:lnTo>
                  <a:lnTo>
                    <a:pt x="8" y="88"/>
                  </a:lnTo>
                  <a:lnTo>
                    <a:pt x="5" y="77"/>
                  </a:lnTo>
                  <a:lnTo>
                    <a:pt x="2" y="65"/>
                  </a:lnTo>
                  <a:lnTo>
                    <a:pt x="0" y="51"/>
                  </a:lnTo>
                  <a:lnTo>
                    <a:pt x="0" y="36"/>
                  </a:lnTo>
                  <a:lnTo>
                    <a:pt x="0" y="23"/>
                  </a:lnTo>
                  <a:lnTo>
                    <a:pt x="1" y="13"/>
                  </a:lnTo>
                  <a:lnTo>
                    <a:pt x="2" y="8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4"/>
                  </a:lnTo>
                  <a:lnTo>
                    <a:pt x="7" y="2"/>
                  </a:lnTo>
                  <a:lnTo>
                    <a:pt x="13" y="1"/>
                  </a:lnTo>
                  <a:lnTo>
                    <a:pt x="22" y="0"/>
                  </a:lnTo>
                  <a:lnTo>
                    <a:pt x="32" y="0"/>
                  </a:lnTo>
                  <a:lnTo>
                    <a:pt x="43" y="1"/>
                  </a:lnTo>
                  <a:lnTo>
                    <a:pt x="55" y="3"/>
                  </a:lnTo>
                  <a:lnTo>
                    <a:pt x="69" y="6"/>
                  </a:lnTo>
                  <a:lnTo>
                    <a:pt x="83" y="10"/>
                  </a:lnTo>
                  <a:lnTo>
                    <a:pt x="96" y="15"/>
                  </a:lnTo>
                  <a:lnTo>
                    <a:pt x="110" y="20"/>
                  </a:lnTo>
                  <a:lnTo>
                    <a:pt x="123" y="27"/>
                  </a:lnTo>
                  <a:lnTo>
                    <a:pt x="135" y="34"/>
                  </a:lnTo>
                  <a:lnTo>
                    <a:pt x="145" y="42"/>
                  </a:lnTo>
                  <a:lnTo>
                    <a:pt x="155" y="51"/>
                  </a:lnTo>
                  <a:lnTo>
                    <a:pt x="162" y="60"/>
                  </a:lnTo>
                  <a:lnTo>
                    <a:pt x="164" y="64"/>
                  </a:lnTo>
                  <a:lnTo>
                    <a:pt x="166" y="6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1" name="Freeform 47"/>
            <p:cNvSpPr>
              <a:spLocks/>
            </p:cNvSpPr>
            <p:nvPr userDrawn="1"/>
          </p:nvSpPr>
          <p:spPr bwMode="auto">
            <a:xfrm>
              <a:off x="703263" y="714376"/>
              <a:ext cx="657225" cy="776288"/>
            </a:xfrm>
            <a:custGeom>
              <a:avLst/>
              <a:gdLst>
                <a:gd name="T0" fmla="*/ 4703 w 4973"/>
                <a:gd name="T1" fmla="*/ 1877 h 5865"/>
                <a:gd name="T2" fmla="*/ 4733 w 4973"/>
                <a:gd name="T3" fmla="*/ 1183 h 5865"/>
                <a:gd name="T4" fmla="*/ 4302 w 4973"/>
                <a:gd name="T5" fmla="*/ 476 h 5865"/>
                <a:gd name="T6" fmla="*/ 3581 w 4973"/>
                <a:gd name="T7" fmla="*/ 813 h 5865"/>
                <a:gd name="T8" fmla="*/ 3899 w 4973"/>
                <a:gd name="T9" fmla="*/ 1529 h 5865"/>
                <a:gd name="T10" fmla="*/ 3757 w 4973"/>
                <a:gd name="T11" fmla="*/ 2227 h 5865"/>
                <a:gd name="T12" fmla="*/ 3939 w 4973"/>
                <a:gd name="T13" fmla="*/ 2068 h 5865"/>
                <a:gd name="T14" fmla="*/ 4069 w 4973"/>
                <a:gd name="T15" fmla="*/ 1928 h 5865"/>
                <a:gd name="T16" fmla="*/ 4545 w 4973"/>
                <a:gd name="T17" fmla="*/ 1985 h 5865"/>
                <a:gd name="T18" fmla="*/ 4487 w 4973"/>
                <a:gd name="T19" fmla="*/ 2697 h 5865"/>
                <a:gd name="T20" fmla="*/ 3601 w 4973"/>
                <a:gd name="T21" fmla="*/ 2477 h 5865"/>
                <a:gd name="T22" fmla="*/ 3285 w 4973"/>
                <a:gd name="T23" fmla="*/ 1581 h 5865"/>
                <a:gd name="T24" fmla="*/ 3364 w 4973"/>
                <a:gd name="T25" fmla="*/ 1421 h 5865"/>
                <a:gd name="T26" fmla="*/ 3101 w 4973"/>
                <a:gd name="T27" fmla="*/ 996 h 5865"/>
                <a:gd name="T28" fmla="*/ 3251 w 4973"/>
                <a:gd name="T29" fmla="*/ 599 h 5865"/>
                <a:gd name="T30" fmla="*/ 2863 w 4973"/>
                <a:gd name="T31" fmla="*/ 144 h 5865"/>
                <a:gd name="T32" fmla="*/ 1960 w 4973"/>
                <a:gd name="T33" fmla="*/ 304 h 5865"/>
                <a:gd name="T34" fmla="*/ 1819 w 4973"/>
                <a:gd name="T35" fmla="*/ 748 h 5865"/>
                <a:gd name="T36" fmla="*/ 2202 w 4973"/>
                <a:gd name="T37" fmla="*/ 626 h 5865"/>
                <a:gd name="T38" fmla="*/ 2215 w 4973"/>
                <a:gd name="T39" fmla="*/ 803 h 5865"/>
                <a:gd name="T40" fmla="*/ 1623 w 4973"/>
                <a:gd name="T41" fmla="*/ 851 h 5865"/>
                <a:gd name="T42" fmla="*/ 1602 w 4973"/>
                <a:gd name="T43" fmla="*/ 1055 h 5865"/>
                <a:gd name="T44" fmla="*/ 2246 w 4973"/>
                <a:gd name="T45" fmla="*/ 924 h 5865"/>
                <a:gd name="T46" fmla="*/ 2036 w 4973"/>
                <a:gd name="T47" fmla="*/ 981 h 5865"/>
                <a:gd name="T48" fmla="*/ 1754 w 4973"/>
                <a:gd name="T49" fmla="*/ 1278 h 5865"/>
                <a:gd name="T50" fmla="*/ 2105 w 4973"/>
                <a:gd name="T51" fmla="*/ 1619 h 5865"/>
                <a:gd name="T52" fmla="*/ 863 w 4973"/>
                <a:gd name="T53" fmla="*/ 2239 h 5865"/>
                <a:gd name="T54" fmla="*/ 310 w 4973"/>
                <a:gd name="T55" fmla="*/ 2027 h 5865"/>
                <a:gd name="T56" fmla="*/ 319 w 4973"/>
                <a:gd name="T57" fmla="*/ 2172 h 5865"/>
                <a:gd name="T58" fmla="*/ 380 w 4973"/>
                <a:gd name="T59" fmla="*/ 2295 h 5865"/>
                <a:gd name="T60" fmla="*/ 39 w 4973"/>
                <a:gd name="T61" fmla="*/ 2396 h 5865"/>
                <a:gd name="T62" fmla="*/ 189 w 4973"/>
                <a:gd name="T63" fmla="*/ 2511 h 5865"/>
                <a:gd name="T64" fmla="*/ 322 w 4973"/>
                <a:gd name="T65" fmla="*/ 2588 h 5865"/>
                <a:gd name="T66" fmla="*/ 272 w 4973"/>
                <a:gd name="T67" fmla="*/ 2893 h 5865"/>
                <a:gd name="T68" fmla="*/ 630 w 4973"/>
                <a:gd name="T69" fmla="*/ 2730 h 5865"/>
                <a:gd name="T70" fmla="*/ 811 w 4973"/>
                <a:gd name="T71" fmla="*/ 2843 h 5865"/>
                <a:gd name="T72" fmla="*/ 1024 w 4973"/>
                <a:gd name="T73" fmla="*/ 2773 h 5865"/>
                <a:gd name="T74" fmla="*/ 1290 w 4973"/>
                <a:gd name="T75" fmla="*/ 2556 h 5865"/>
                <a:gd name="T76" fmla="*/ 1713 w 4973"/>
                <a:gd name="T77" fmla="*/ 2519 h 5865"/>
                <a:gd name="T78" fmla="*/ 2306 w 4973"/>
                <a:gd name="T79" fmla="*/ 2641 h 5865"/>
                <a:gd name="T80" fmla="*/ 3357 w 4973"/>
                <a:gd name="T81" fmla="*/ 3092 h 5865"/>
                <a:gd name="T82" fmla="*/ 3742 w 4973"/>
                <a:gd name="T83" fmla="*/ 3928 h 5865"/>
                <a:gd name="T84" fmla="*/ 3685 w 4973"/>
                <a:gd name="T85" fmla="*/ 4224 h 5865"/>
                <a:gd name="T86" fmla="*/ 4224 w 4973"/>
                <a:gd name="T87" fmla="*/ 4337 h 5865"/>
                <a:gd name="T88" fmla="*/ 4264 w 4973"/>
                <a:gd name="T89" fmla="*/ 5017 h 5865"/>
                <a:gd name="T90" fmla="*/ 3761 w 4973"/>
                <a:gd name="T91" fmla="*/ 5058 h 5865"/>
                <a:gd name="T92" fmla="*/ 3894 w 4973"/>
                <a:gd name="T93" fmla="*/ 5210 h 5865"/>
                <a:gd name="T94" fmla="*/ 3894 w 4973"/>
                <a:gd name="T95" fmla="*/ 5294 h 5865"/>
                <a:gd name="T96" fmla="*/ 3751 w 4973"/>
                <a:gd name="T97" fmla="*/ 5644 h 5865"/>
                <a:gd name="T98" fmla="*/ 3926 w 4973"/>
                <a:gd name="T99" fmla="*/ 5586 h 5865"/>
                <a:gd name="T100" fmla="*/ 4212 w 4973"/>
                <a:gd name="T101" fmla="*/ 5447 h 5865"/>
                <a:gd name="T102" fmla="*/ 4257 w 4973"/>
                <a:gd name="T103" fmla="*/ 5812 h 5865"/>
                <a:gd name="T104" fmla="*/ 4352 w 4973"/>
                <a:gd name="T105" fmla="*/ 5675 h 5865"/>
                <a:gd name="T106" fmla="*/ 4557 w 4973"/>
                <a:gd name="T107" fmla="*/ 5328 h 5865"/>
                <a:gd name="T108" fmla="*/ 4736 w 4973"/>
                <a:gd name="T109" fmla="*/ 5505 h 5865"/>
                <a:gd name="T110" fmla="*/ 4753 w 4973"/>
                <a:gd name="T111" fmla="*/ 5108 h 5865"/>
                <a:gd name="T112" fmla="*/ 4693 w 4973"/>
                <a:gd name="T113" fmla="*/ 4810 h 5865"/>
                <a:gd name="T114" fmla="*/ 4677 w 4973"/>
                <a:gd name="T115" fmla="*/ 4437 h 5865"/>
                <a:gd name="T116" fmla="*/ 4640 w 4973"/>
                <a:gd name="T117" fmla="*/ 4108 h 5865"/>
                <a:gd name="T118" fmla="*/ 4297 w 4973"/>
                <a:gd name="T119" fmla="*/ 3793 h 5865"/>
                <a:gd name="T120" fmla="*/ 4267 w 4973"/>
                <a:gd name="T121" fmla="*/ 3366 h 5865"/>
                <a:gd name="T122" fmla="*/ 4428 w 4973"/>
                <a:gd name="T123" fmla="*/ 2994 h 5865"/>
                <a:gd name="T124" fmla="*/ 4923 w 4973"/>
                <a:gd name="T125" fmla="*/ 2543 h 5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3" h="5865">
                  <a:moveTo>
                    <a:pt x="4842" y="2253"/>
                  </a:moveTo>
                  <a:lnTo>
                    <a:pt x="4842" y="2253"/>
                  </a:lnTo>
                  <a:lnTo>
                    <a:pt x="4862" y="2257"/>
                  </a:lnTo>
                  <a:lnTo>
                    <a:pt x="4881" y="2259"/>
                  </a:lnTo>
                  <a:lnTo>
                    <a:pt x="4900" y="2260"/>
                  </a:lnTo>
                  <a:lnTo>
                    <a:pt x="4916" y="2259"/>
                  </a:lnTo>
                  <a:lnTo>
                    <a:pt x="4932" y="2257"/>
                  </a:lnTo>
                  <a:lnTo>
                    <a:pt x="4946" y="2254"/>
                  </a:lnTo>
                  <a:lnTo>
                    <a:pt x="4958" y="2249"/>
                  </a:lnTo>
                  <a:lnTo>
                    <a:pt x="4969" y="2243"/>
                  </a:lnTo>
                  <a:lnTo>
                    <a:pt x="4969" y="2243"/>
                  </a:lnTo>
                  <a:lnTo>
                    <a:pt x="4967" y="2217"/>
                  </a:lnTo>
                  <a:lnTo>
                    <a:pt x="4960" y="2157"/>
                  </a:lnTo>
                  <a:lnTo>
                    <a:pt x="4951" y="2084"/>
                  </a:lnTo>
                  <a:lnTo>
                    <a:pt x="4946" y="2052"/>
                  </a:lnTo>
                  <a:lnTo>
                    <a:pt x="4940" y="2024"/>
                  </a:lnTo>
                  <a:lnTo>
                    <a:pt x="4940" y="2024"/>
                  </a:lnTo>
                  <a:lnTo>
                    <a:pt x="4922" y="2027"/>
                  </a:lnTo>
                  <a:lnTo>
                    <a:pt x="4902" y="2030"/>
                  </a:lnTo>
                  <a:lnTo>
                    <a:pt x="4891" y="2030"/>
                  </a:lnTo>
                  <a:lnTo>
                    <a:pt x="4879" y="2030"/>
                  </a:lnTo>
                  <a:lnTo>
                    <a:pt x="4867" y="2029"/>
                  </a:lnTo>
                  <a:lnTo>
                    <a:pt x="4855" y="2027"/>
                  </a:lnTo>
                  <a:lnTo>
                    <a:pt x="4843" y="2024"/>
                  </a:lnTo>
                  <a:lnTo>
                    <a:pt x="4830" y="2020"/>
                  </a:lnTo>
                  <a:lnTo>
                    <a:pt x="4818" y="2015"/>
                  </a:lnTo>
                  <a:lnTo>
                    <a:pt x="4806" y="2008"/>
                  </a:lnTo>
                  <a:lnTo>
                    <a:pt x="4794" y="1998"/>
                  </a:lnTo>
                  <a:lnTo>
                    <a:pt x="4782" y="1988"/>
                  </a:lnTo>
                  <a:lnTo>
                    <a:pt x="4771" y="1976"/>
                  </a:lnTo>
                  <a:lnTo>
                    <a:pt x="4761" y="1962"/>
                  </a:lnTo>
                  <a:lnTo>
                    <a:pt x="4761" y="1962"/>
                  </a:lnTo>
                  <a:lnTo>
                    <a:pt x="4743" y="1933"/>
                  </a:lnTo>
                  <a:lnTo>
                    <a:pt x="4724" y="1905"/>
                  </a:lnTo>
                  <a:lnTo>
                    <a:pt x="4724" y="1905"/>
                  </a:lnTo>
                  <a:lnTo>
                    <a:pt x="4703" y="1877"/>
                  </a:lnTo>
                  <a:lnTo>
                    <a:pt x="4680" y="1849"/>
                  </a:lnTo>
                  <a:lnTo>
                    <a:pt x="4658" y="1823"/>
                  </a:lnTo>
                  <a:lnTo>
                    <a:pt x="4634" y="1797"/>
                  </a:lnTo>
                  <a:lnTo>
                    <a:pt x="4611" y="1773"/>
                  </a:lnTo>
                  <a:lnTo>
                    <a:pt x="4586" y="1750"/>
                  </a:lnTo>
                  <a:lnTo>
                    <a:pt x="4562" y="1727"/>
                  </a:lnTo>
                  <a:lnTo>
                    <a:pt x="4538" y="1707"/>
                  </a:lnTo>
                  <a:lnTo>
                    <a:pt x="4513" y="1687"/>
                  </a:lnTo>
                  <a:lnTo>
                    <a:pt x="4489" y="1667"/>
                  </a:lnTo>
                  <a:lnTo>
                    <a:pt x="4463" y="1649"/>
                  </a:lnTo>
                  <a:lnTo>
                    <a:pt x="4439" y="1630"/>
                  </a:lnTo>
                  <a:lnTo>
                    <a:pt x="4413" y="1614"/>
                  </a:lnTo>
                  <a:lnTo>
                    <a:pt x="4389" y="1598"/>
                  </a:lnTo>
                  <a:lnTo>
                    <a:pt x="4337" y="1566"/>
                  </a:lnTo>
                  <a:lnTo>
                    <a:pt x="4337" y="1566"/>
                  </a:lnTo>
                  <a:lnTo>
                    <a:pt x="4381" y="1543"/>
                  </a:lnTo>
                  <a:lnTo>
                    <a:pt x="4422" y="1521"/>
                  </a:lnTo>
                  <a:lnTo>
                    <a:pt x="4459" y="1498"/>
                  </a:lnTo>
                  <a:lnTo>
                    <a:pt x="4492" y="1477"/>
                  </a:lnTo>
                  <a:lnTo>
                    <a:pt x="4523" y="1455"/>
                  </a:lnTo>
                  <a:lnTo>
                    <a:pt x="4549" y="1434"/>
                  </a:lnTo>
                  <a:lnTo>
                    <a:pt x="4574" y="1414"/>
                  </a:lnTo>
                  <a:lnTo>
                    <a:pt x="4595" y="1393"/>
                  </a:lnTo>
                  <a:lnTo>
                    <a:pt x="4615" y="1374"/>
                  </a:lnTo>
                  <a:lnTo>
                    <a:pt x="4632" y="1355"/>
                  </a:lnTo>
                  <a:lnTo>
                    <a:pt x="4647" y="1337"/>
                  </a:lnTo>
                  <a:lnTo>
                    <a:pt x="4661" y="1319"/>
                  </a:lnTo>
                  <a:lnTo>
                    <a:pt x="4673" y="1303"/>
                  </a:lnTo>
                  <a:lnTo>
                    <a:pt x="4683" y="1288"/>
                  </a:lnTo>
                  <a:lnTo>
                    <a:pt x="4700" y="1260"/>
                  </a:lnTo>
                  <a:lnTo>
                    <a:pt x="4700" y="1260"/>
                  </a:lnTo>
                  <a:lnTo>
                    <a:pt x="4708" y="1248"/>
                  </a:lnTo>
                  <a:lnTo>
                    <a:pt x="4714" y="1234"/>
                  </a:lnTo>
                  <a:lnTo>
                    <a:pt x="4721" y="1218"/>
                  </a:lnTo>
                  <a:lnTo>
                    <a:pt x="4727" y="1202"/>
                  </a:lnTo>
                  <a:lnTo>
                    <a:pt x="4733" y="1183"/>
                  </a:lnTo>
                  <a:lnTo>
                    <a:pt x="4739" y="1164"/>
                  </a:lnTo>
                  <a:lnTo>
                    <a:pt x="4743" y="1144"/>
                  </a:lnTo>
                  <a:lnTo>
                    <a:pt x="4749" y="1123"/>
                  </a:lnTo>
                  <a:lnTo>
                    <a:pt x="4753" y="1101"/>
                  </a:lnTo>
                  <a:lnTo>
                    <a:pt x="4756" y="1078"/>
                  </a:lnTo>
                  <a:lnTo>
                    <a:pt x="4758" y="1054"/>
                  </a:lnTo>
                  <a:lnTo>
                    <a:pt x="4759" y="1030"/>
                  </a:lnTo>
                  <a:lnTo>
                    <a:pt x="4760" y="1005"/>
                  </a:lnTo>
                  <a:lnTo>
                    <a:pt x="4759" y="980"/>
                  </a:lnTo>
                  <a:lnTo>
                    <a:pt x="4758" y="954"/>
                  </a:lnTo>
                  <a:lnTo>
                    <a:pt x="4755" y="928"/>
                  </a:lnTo>
                  <a:lnTo>
                    <a:pt x="4751" y="902"/>
                  </a:lnTo>
                  <a:lnTo>
                    <a:pt x="4745" y="876"/>
                  </a:lnTo>
                  <a:lnTo>
                    <a:pt x="4738" y="849"/>
                  </a:lnTo>
                  <a:lnTo>
                    <a:pt x="4730" y="824"/>
                  </a:lnTo>
                  <a:lnTo>
                    <a:pt x="4720" y="797"/>
                  </a:lnTo>
                  <a:lnTo>
                    <a:pt x="4709" y="771"/>
                  </a:lnTo>
                  <a:lnTo>
                    <a:pt x="4695" y="746"/>
                  </a:lnTo>
                  <a:lnTo>
                    <a:pt x="4681" y="721"/>
                  </a:lnTo>
                  <a:lnTo>
                    <a:pt x="4665" y="697"/>
                  </a:lnTo>
                  <a:lnTo>
                    <a:pt x="4646" y="672"/>
                  </a:lnTo>
                  <a:lnTo>
                    <a:pt x="4625" y="649"/>
                  </a:lnTo>
                  <a:lnTo>
                    <a:pt x="4602" y="626"/>
                  </a:lnTo>
                  <a:lnTo>
                    <a:pt x="4578" y="605"/>
                  </a:lnTo>
                  <a:lnTo>
                    <a:pt x="4551" y="584"/>
                  </a:lnTo>
                  <a:lnTo>
                    <a:pt x="4522" y="565"/>
                  </a:lnTo>
                  <a:lnTo>
                    <a:pt x="4490" y="545"/>
                  </a:lnTo>
                  <a:lnTo>
                    <a:pt x="4490" y="545"/>
                  </a:lnTo>
                  <a:lnTo>
                    <a:pt x="4466" y="533"/>
                  </a:lnTo>
                  <a:lnTo>
                    <a:pt x="4443" y="522"/>
                  </a:lnTo>
                  <a:lnTo>
                    <a:pt x="4419" y="512"/>
                  </a:lnTo>
                  <a:lnTo>
                    <a:pt x="4396" y="503"/>
                  </a:lnTo>
                  <a:lnTo>
                    <a:pt x="4372" y="494"/>
                  </a:lnTo>
                  <a:lnTo>
                    <a:pt x="4348" y="487"/>
                  </a:lnTo>
                  <a:lnTo>
                    <a:pt x="4325" y="481"/>
                  </a:lnTo>
                  <a:lnTo>
                    <a:pt x="4302" y="476"/>
                  </a:lnTo>
                  <a:lnTo>
                    <a:pt x="4278" y="471"/>
                  </a:lnTo>
                  <a:lnTo>
                    <a:pt x="4256" y="468"/>
                  </a:lnTo>
                  <a:lnTo>
                    <a:pt x="4233" y="465"/>
                  </a:lnTo>
                  <a:lnTo>
                    <a:pt x="4211" y="463"/>
                  </a:lnTo>
                  <a:lnTo>
                    <a:pt x="4188" y="461"/>
                  </a:lnTo>
                  <a:lnTo>
                    <a:pt x="4167" y="461"/>
                  </a:lnTo>
                  <a:lnTo>
                    <a:pt x="4145" y="461"/>
                  </a:lnTo>
                  <a:lnTo>
                    <a:pt x="4124" y="461"/>
                  </a:lnTo>
                  <a:lnTo>
                    <a:pt x="4083" y="464"/>
                  </a:lnTo>
                  <a:lnTo>
                    <a:pt x="4044" y="468"/>
                  </a:lnTo>
                  <a:lnTo>
                    <a:pt x="4007" y="474"/>
                  </a:lnTo>
                  <a:lnTo>
                    <a:pt x="3973" y="482"/>
                  </a:lnTo>
                  <a:lnTo>
                    <a:pt x="3941" y="490"/>
                  </a:lnTo>
                  <a:lnTo>
                    <a:pt x="3912" y="499"/>
                  </a:lnTo>
                  <a:lnTo>
                    <a:pt x="3887" y="510"/>
                  </a:lnTo>
                  <a:lnTo>
                    <a:pt x="3864" y="519"/>
                  </a:lnTo>
                  <a:lnTo>
                    <a:pt x="3864" y="519"/>
                  </a:lnTo>
                  <a:lnTo>
                    <a:pt x="3844" y="529"/>
                  </a:lnTo>
                  <a:lnTo>
                    <a:pt x="3824" y="539"/>
                  </a:lnTo>
                  <a:lnTo>
                    <a:pt x="3806" y="551"/>
                  </a:lnTo>
                  <a:lnTo>
                    <a:pt x="3787" y="562"/>
                  </a:lnTo>
                  <a:lnTo>
                    <a:pt x="3769" y="575"/>
                  </a:lnTo>
                  <a:lnTo>
                    <a:pt x="3752" y="587"/>
                  </a:lnTo>
                  <a:lnTo>
                    <a:pt x="3735" y="602"/>
                  </a:lnTo>
                  <a:lnTo>
                    <a:pt x="3719" y="616"/>
                  </a:lnTo>
                  <a:lnTo>
                    <a:pt x="3703" y="631"/>
                  </a:lnTo>
                  <a:lnTo>
                    <a:pt x="3687" y="647"/>
                  </a:lnTo>
                  <a:lnTo>
                    <a:pt x="3673" y="663"/>
                  </a:lnTo>
                  <a:lnTo>
                    <a:pt x="3659" y="679"/>
                  </a:lnTo>
                  <a:lnTo>
                    <a:pt x="3645" y="697"/>
                  </a:lnTo>
                  <a:lnTo>
                    <a:pt x="3633" y="715"/>
                  </a:lnTo>
                  <a:lnTo>
                    <a:pt x="3621" y="734"/>
                  </a:lnTo>
                  <a:lnTo>
                    <a:pt x="3609" y="753"/>
                  </a:lnTo>
                  <a:lnTo>
                    <a:pt x="3599" y="772"/>
                  </a:lnTo>
                  <a:lnTo>
                    <a:pt x="3589" y="793"/>
                  </a:lnTo>
                  <a:lnTo>
                    <a:pt x="3581" y="813"/>
                  </a:lnTo>
                  <a:lnTo>
                    <a:pt x="3573" y="835"/>
                  </a:lnTo>
                  <a:lnTo>
                    <a:pt x="3565" y="856"/>
                  </a:lnTo>
                  <a:lnTo>
                    <a:pt x="3559" y="879"/>
                  </a:lnTo>
                  <a:lnTo>
                    <a:pt x="3554" y="901"/>
                  </a:lnTo>
                  <a:lnTo>
                    <a:pt x="3550" y="924"/>
                  </a:lnTo>
                  <a:lnTo>
                    <a:pt x="3547" y="947"/>
                  </a:lnTo>
                  <a:lnTo>
                    <a:pt x="3545" y="972"/>
                  </a:lnTo>
                  <a:lnTo>
                    <a:pt x="3544" y="996"/>
                  </a:lnTo>
                  <a:lnTo>
                    <a:pt x="3543" y="1021"/>
                  </a:lnTo>
                  <a:lnTo>
                    <a:pt x="3544" y="1046"/>
                  </a:lnTo>
                  <a:lnTo>
                    <a:pt x="3546" y="1072"/>
                  </a:lnTo>
                  <a:lnTo>
                    <a:pt x="3550" y="1098"/>
                  </a:lnTo>
                  <a:lnTo>
                    <a:pt x="3554" y="1124"/>
                  </a:lnTo>
                  <a:lnTo>
                    <a:pt x="3554" y="1124"/>
                  </a:lnTo>
                  <a:lnTo>
                    <a:pt x="3559" y="1148"/>
                  </a:lnTo>
                  <a:lnTo>
                    <a:pt x="3564" y="1169"/>
                  </a:lnTo>
                  <a:lnTo>
                    <a:pt x="3571" y="1191"/>
                  </a:lnTo>
                  <a:lnTo>
                    <a:pt x="3577" y="1211"/>
                  </a:lnTo>
                  <a:lnTo>
                    <a:pt x="3585" y="1231"/>
                  </a:lnTo>
                  <a:lnTo>
                    <a:pt x="3592" y="1249"/>
                  </a:lnTo>
                  <a:lnTo>
                    <a:pt x="3601" y="1267"/>
                  </a:lnTo>
                  <a:lnTo>
                    <a:pt x="3610" y="1285"/>
                  </a:lnTo>
                  <a:lnTo>
                    <a:pt x="3620" y="1301"/>
                  </a:lnTo>
                  <a:lnTo>
                    <a:pt x="3631" y="1316"/>
                  </a:lnTo>
                  <a:lnTo>
                    <a:pt x="3641" y="1332"/>
                  </a:lnTo>
                  <a:lnTo>
                    <a:pt x="3652" y="1347"/>
                  </a:lnTo>
                  <a:lnTo>
                    <a:pt x="3665" y="1361"/>
                  </a:lnTo>
                  <a:lnTo>
                    <a:pt x="3677" y="1375"/>
                  </a:lnTo>
                  <a:lnTo>
                    <a:pt x="3690" y="1388"/>
                  </a:lnTo>
                  <a:lnTo>
                    <a:pt x="3704" y="1400"/>
                  </a:lnTo>
                  <a:lnTo>
                    <a:pt x="3732" y="1425"/>
                  </a:lnTo>
                  <a:lnTo>
                    <a:pt x="3763" y="1447"/>
                  </a:lnTo>
                  <a:lnTo>
                    <a:pt x="3795" y="1469"/>
                  </a:lnTo>
                  <a:lnTo>
                    <a:pt x="3828" y="1489"/>
                  </a:lnTo>
                  <a:lnTo>
                    <a:pt x="3863" y="1510"/>
                  </a:lnTo>
                  <a:lnTo>
                    <a:pt x="3899" y="1529"/>
                  </a:lnTo>
                  <a:lnTo>
                    <a:pt x="3976" y="1567"/>
                  </a:lnTo>
                  <a:lnTo>
                    <a:pt x="3976" y="1567"/>
                  </a:lnTo>
                  <a:lnTo>
                    <a:pt x="3945" y="1584"/>
                  </a:lnTo>
                  <a:lnTo>
                    <a:pt x="3916" y="1601"/>
                  </a:lnTo>
                  <a:lnTo>
                    <a:pt x="3890" y="1618"/>
                  </a:lnTo>
                  <a:lnTo>
                    <a:pt x="3864" y="1636"/>
                  </a:lnTo>
                  <a:lnTo>
                    <a:pt x="3840" y="1656"/>
                  </a:lnTo>
                  <a:lnTo>
                    <a:pt x="3817" y="1675"/>
                  </a:lnTo>
                  <a:lnTo>
                    <a:pt x="3797" y="1696"/>
                  </a:lnTo>
                  <a:lnTo>
                    <a:pt x="3778" y="1717"/>
                  </a:lnTo>
                  <a:lnTo>
                    <a:pt x="3761" y="1741"/>
                  </a:lnTo>
                  <a:lnTo>
                    <a:pt x="3754" y="1753"/>
                  </a:lnTo>
                  <a:lnTo>
                    <a:pt x="3746" y="1765"/>
                  </a:lnTo>
                  <a:lnTo>
                    <a:pt x="3739" y="1778"/>
                  </a:lnTo>
                  <a:lnTo>
                    <a:pt x="3733" y="1791"/>
                  </a:lnTo>
                  <a:lnTo>
                    <a:pt x="3728" y="1804"/>
                  </a:lnTo>
                  <a:lnTo>
                    <a:pt x="3723" y="1818"/>
                  </a:lnTo>
                  <a:lnTo>
                    <a:pt x="3718" y="1833"/>
                  </a:lnTo>
                  <a:lnTo>
                    <a:pt x="3714" y="1848"/>
                  </a:lnTo>
                  <a:lnTo>
                    <a:pt x="3711" y="1863"/>
                  </a:lnTo>
                  <a:lnTo>
                    <a:pt x="3708" y="1879"/>
                  </a:lnTo>
                  <a:lnTo>
                    <a:pt x="3706" y="1895"/>
                  </a:lnTo>
                  <a:lnTo>
                    <a:pt x="3705" y="1912"/>
                  </a:lnTo>
                  <a:lnTo>
                    <a:pt x="3704" y="1930"/>
                  </a:lnTo>
                  <a:lnTo>
                    <a:pt x="3703" y="1947"/>
                  </a:lnTo>
                  <a:lnTo>
                    <a:pt x="3703" y="1947"/>
                  </a:lnTo>
                  <a:lnTo>
                    <a:pt x="3704" y="1970"/>
                  </a:lnTo>
                  <a:lnTo>
                    <a:pt x="3707" y="1993"/>
                  </a:lnTo>
                  <a:lnTo>
                    <a:pt x="3711" y="2016"/>
                  </a:lnTo>
                  <a:lnTo>
                    <a:pt x="3716" y="2039"/>
                  </a:lnTo>
                  <a:lnTo>
                    <a:pt x="3729" y="2087"/>
                  </a:lnTo>
                  <a:lnTo>
                    <a:pt x="3736" y="2113"/>
                  </a:lnTo>
                  <a:lnTo>
                    <a:pt x="3742" y="2139"/>
                  </a:lnTo>
                  <a:lnTo>
                    <a:pt x="3749" y="2168"/>
                  </a:lnTo>
                  <a:lnTo>
                    <a:pt x="3753" y="2197"/>
                  </a:lnTo>
                  <a:lnTo>
                    <a:pt x="3757" y="2227"/>
                  </a:lnTo>
                  <a:lnTo>
                    <a:pt x="3758" y="2260"/>
                  </a:lnTo>
                  <a:lnTo>
                    <a:pt x="3758" y="2295"/>
                  </a:lnTo>
                  <a:lnTo>
                    <a:pt x="3757" y="2313"/>
                  </a:lnTo>
                  <a:lnTo>
                    <a:pt x="3755" y="2332"/>
                  </a:lnTo>
                  <a:lnTo>
                    <a:pt x="3753" y="2350"/>
                  </a:lnTo>
                  <a:lnTo>
                    <a:pt x="3750" y="2371"/>
                  </a:lnTo>
                  <a:lnTo>
                    <a:pt x="3745" y="2391"/>
                  </a:lnTo>
                  <a:lnTo>
                    <a:pt x="3741" y="2411"/>
                  </a:lnTo>
                  <a:lnTo>
                    <a:pt x="3741" y="2411"/>
                  </a:lnTo>
                  <a:lnTo>
                    <a:pt x="3741" y="2413"/>
                  </a:lnTo>
                  <a:lnTo>
                    <a:pt x="3741" y="2414"/>
                  </a:lnTo>
                  <a:lnTo>
                    <a:pt x="3743" y="2414"/>
                  </a:lnTo>
                  <a:lnTo>
                    <a:pt x="3745" y="2416"/>
                  </a:lnTo>
                  <a:lnTo>
                    <a:pt x="3753" y="2413"/>
                  </a:lnTo>
                  <a:lnTo>
                    <a:pt x="3762" y="2411"/>
                  </a:lnTo>
                  <a:lnTo>
                    <a:pt x="3785" y="2401"/>
                  </a:lnTo>
                  <a:lnTo>
                    <a:pt x="3814" y="2389"/>
                  </a:lnTo>
                  <a:lnTo>
                    <a:pt x="3842" y="2374"/>
                  </a:lnTo>
                  <a:lnTo>
                    <a:pt x="3867" y="2360"/>
                  </a:lnTo>
                  <a:lnTo>
                    <a:pt x="3886" y="2349"/>
                  </a:lnTo>
                  <a:lnTo>
                    <a:pt x="3891" y="2345"/>
                  </a:lnTo>
                  <a:lnTo>
                    <a:pt x="3894" y="2343"/>
                  </a:lnTo>
                  <a:lnTo>
                    <a:pt x="3894" y="2343"/>
                  </a:lnTo>
                  <a:lnTo>
                    <a:pt x="3903" y="2319"/>
                  </a:lnTo>
                  <a:lnTo>
                    <a:pt x="3910" y="2296"/>
                  </a:lnTo>
                  <a:lnTo>
                    <a:pt x="3916" y="2272"/>
                  </a:lnTo>
                  <a:lnTo>
                    <a:pt x="3921" y="2248"/>
                  </a:lnTo>
                  <a:lnTo>
                    <a:pt x="3925" y="2224"/>
                  </a:lnTo>
                  <a:lnTo>
                    <a:pt x="3928" y="2201"/>
                  </a:lnTo>
                  <a:lnTo>
                    <a:pt x="3930" y="2178"/>
                  </a:lnTo>
                  <a:lnTo>
                    <a:pt x="3932" y="2156"/>
                  </a:lnTo>
                  <a:lnTo>
                    <a:pt x="3932" y="2117"/>
                  </a:lnTo>
                  <a:lnTo>
                    <a:pt x="3931" y="2086"/>
                  </a:lnTo>
                  <a:lnTo>
                    <a:pt x="3928" y="2059"/>
                  </a:lnTo>
                  <a:lnTo>
                    <a:pt x="3928" y="2059"/>
                  </a:lnTo>
                  <a:lnTo>
                    <a:pt x="3939" y="2068"/>
                  </a:lnTo>
                  <a:lnTo>
                    <a:pt x="3947" y="2079"/>
                  </a:lnTo>
                  <a:lnTo>
                    <a:pt x="3954" y="2091"/>
                  </a:lnTo>
                  <a:lnTo>
                    <a:pt x="3960" y="2105"/>
                  </a:lnTo>
                  <a:lnTo>
                    <a:pt x="3964" y="2120"/>
                  </a:lnTo>
                  <a:lnTo>
                    <a:pt x="3968" y="2135"/>
                  </a:lnTo>
                  <a:lnTo>
                    <a:pt x="3971" y="2152"/>
                  </a:lnTo>
                  <a:lnTo>
                    <a:pt x="3973" y="2168"/>
                  </a:lnTo>
                  <a:lnTo>
                    <a:pt x="3975" y="2185"/>
                  </a:lnTo>
                  <a:lnTo>
                    <a:pt x="3976" y="2203"/>
                  </a:lnTo>
                  <a:lnTo>
                    <a:pt x="3976" y="2219"/>
                  </a:lnTo>
                  <a:lnTo>
                    <a:pt x="3975" y="2237"/>
                  </a:lnTo>
                  <a:lnTo>
                    <a:pt x="3971" y="2268"/>
                  </a:lnTo>
                  <a:lnTo>
                    <a:pt x="3965" y="2297"/>
                  </a:lnTo>
                  <a:lnTo>
                    <a:pt x="3965" y="2297"/>
                  </a:lnTo>
                  <a:lnTo>
                    <a:pt x="3982" y="2288"/>
                  </a:lnTo>
                  <a:lnTo>
                    <a:pt x="3998" y="2276"/>
                  </a:lnTo>
                  <a:lnTo>
                    <a:pt x="4016" y="2263"/>
                  </a:lnTo>
                  <a:lnTo>
                    <a:pt x="4036" y="2249"/>
                  </a:lnTo>
                  <a:lnTo>
                    <a:pt x="4053" y="2234"/>
                  </a:lnTo>
                  <a:lnTo>
                    <a:pt x="4061" y="2226"/>
                  </a:lnTo>
                  <a:lnTo>
                    <a:pt x="4068" y="2219"/>
                  </a:lnTo>
                  <a:lnTo>
                    <a:pt x="4072" y="2212"/>
                  </a:lnTo>
                  <a:lnTo>
                    <a:pt x="4075" y="2206"/>
                  </a:lnTo>
                  <a:lnTo>
                    <a:pt x="4075" y="2206"/>
                  </a:lnTo>
                  <a:lnTo>
                    <a:pt x="4083" y="2176"/>
                  </a:lnTo>
                  <a:lnTo>
                    <a:pt x="4090" y="2148"/>
                  </a:lnTo>
                  <a:lnTo>
                    <a:pt x="4094" y="2121"/>
                  </a:lnTo>
                  <a:lnTo>
                    <a:pt x="4096" y="2095"/>
                  </a:lnTo>
                  <a:lnTo>
                    <a:pt x="4096" y="2071"/>
                  </a:lnTo>
                  <a:lnTo>
                    <a:pt x="4095" y="2047"/>
                  </a:lnTo>
                  <a:lnTo>
                    <a:pt x="4093" y="2025"/>
                  </a:lnTo>
                  <a:lnTo>
                    <a:pt x="4090" y="2003"/>
                  </a:lnTo>
                  <a:lnTo>
                    <a:pt x="4085" y="1983"/>
                  </a:lnTo>
                  <a:lnTo>
                    <a:pt x="4080" y="1964"/>
                  </a:lnTo>
                  <a:lnTo>
                    <a:pt x="4075" y="1945"/>
                  </a:lnTo>
                  <a:lnTo>
                    <a:pt x="4069" y="1928"/>
                  </a:lnTo>
                  <a:lnTo>
                    <a:pt x="4055" y="1894"/>
                  </a:lnTo>
                  <a:lnTo>
                    <a:pt x="4043" y="1862"/>
                  </a:lnTo>
                  <a:lnTo>
                    <a:pt x="4043" y="1862"/>
                  </a:lnTo>
                  <a:lnTo>
                    <a:pt x="4038" y="1847"/>
                  </a:lnTo>
                  <a:lnTo>
                    <a:pt x="4035" y="1832"/>
                  </a:lnTo>
                  <a:lnTo>
                    <a:pt x="4034" y="1817"/>
                  </a:lnTo>
                  <a:lnTo>
                    <a:pt x="4035" y="1802"/>
                  </a:lnTo>
                  <a:lnTo>
                    <a:pt x="4037" y="1788"/>
                  </a:lnTo>
                  <a:lnTo>
                    <a:pt x="4041" y="1773"/>
                  </a:lnTo>
                  <a:lnTo>
                    <a:pt x="4046" y="1759"/>
                  </a:lnTo>
                  <a:lnTo>
                    <a:pt x="4053" y="1746"/>
                  </a:lnTo>
                  <a:lnTo>
                    <a:pt x="4061" y="1733"/>
                  </a:lnTo>
                  <a:lnTo>
                    <a:pt x="4071" y="1719"/>
                  </a:lnTo>
                  <a:lnTo>
                    <a:pt x="4081" y="1707"/>
                  </a:lnTo>
                  <a:lnTo>
                    <a:pt x="4092" y="1696"/>
                  </a:lnTo>
                  <a:lnTo>
                    <a:pt x="4103" y="1684"/>
                  </a:lnTo>
                  <a:lnTo>
                    <a:pt x="4117" y="1673"/>
                  </a:lnTo>
                  <a:lnTo>
                    <a:pt x="4130" y="1664"/>
                  </a:lnTo>
                  <a:lnTo>
                    <a:pt x="4145" y="1655"/>
                  </a:lnTo>
                  <a:lnTo>
                    <a:pt x="4145" y="1655"/>
                  </a:lnTo>
                  <a:lnTo>
                    <a:pt x="4180" y="1674"/>
                  </a:lnTo>
                  <a:lnTo>
                    <a:pt x="4215" y="1695"/>
                  </a:lnTo>
                  <a:lnTo>
                    <a:pt x="4251" y="1716"/>
                  </a:lnTo>
                  <a:lnTo>
                    <a:pt x="4286" y="1740"/>
                  </a:lnTo>
                  <a:lnTo>
                    <a:pt x="4286" y="1740"/>
                  </a:lnTo>
                  <a:lnTo>
                    <a:pt x="4307" y="1754"/>
                  </a:lnTo>
                  <a:lnTo>
                    <a:pt x="4341" y="1779"/>
                  </a:lnTo>
                  <a:lnTo>
                    <a:pt x="4361" y="1794"/>
                  </a:lnTo>
                  <a:lnTo>
                    <a:pt x="4382" y="1812"/>
                  </a:lnTo>
                  <a:lnTo>
                    <a:pt x="4405" y="1832"/>
                  </a:lnTo>
                  <a:lnTo>
                    <a:pt x="4430" y="1853"/>
                  </a:lnTo>
                  <a:lnTo>
                    <a:pt x="4453" y="1877"/>
                  </a:lnTo>
                  <a:lnTo>
                    <a:pt x="4478" y="1901"/>
                  </a:lnTo>
                  <a:lnTo>
                    <a:pt x="4501" y="1928"/>
                  </a:lnTo>
                  <a:lnTo>
                    <a:pt x="4524" y="1956"/>
                  </a:lnTo>
                  <a:lnTo>
                    <a:pt x="4545" y="1985"/>
                  </a:lnTo>
                  <a:lnTo>
                    <a:pt x="4564" y="2016"/>
                  </a:lnTo>
                  <a:lnTo>
                    <a:pt x="4574" y="2031"/>
                  </a:lnTo>
                  <a:lnTo>
                    <a:pt x="4582" y="2047"/>
                  </a:lnTo>
                  <a:lnTo>
                    <a:pt x="4590" y="2064"/>
                  </a:lnTo>
                  <a:lnTo>
                    <a:pt x="4596" y="2080"/>
                  </a:lnTo>
                  <a:lnTo>
                    <a:pt x="4596" y="2080"/>
                  </a:lnTo>
                  <a:lnTo>
                    <a:pt x="4606" y="2106"/>
                  </a:lnTo>
                  <a:lnTo>
                    <a:pt x="4616" y="2130"/>
                  </a:lnTo>
                  <a:lnTo>
                    <a:pt x="4624" y="2155"/>
                  </a:lnTo>
                  <a:lnTo>
                    <a:pt x="4630" y="2178"/>
                  </a:lnTo>
                  <a:lnTo>
                    <a:pt x="4636" y="2202"/>
                  </a:lnTo>
                  <a:lnTo>
                    <a:pt x="4641" y="2224"/>
                  </a:lnTo>
                  <a:lnTo>
                    <a:pt x="4645" y="2246"/>
                  </a:lnTo>
                  <a:lnTo>
                    <a:pt x="4649" y="2266"/>
                  </a:lnTo>
                  <a:lnTo>
                    <a:pt x="4651" y="2287"/>
                  </a:lnTo>
                  <a:lnTo>
                    <a:pt x="4653" y="2306"/>
                  </a:lnTo>
                  <a:lnTo>
                    <a:pt x="4654" y="2325"/>
                  </a:lnTo>
                  <a:lnTo>
                    <a:pt x="4655" y="2343"/>
                  </a:lnTo>
                  <a:lnTo>
                    <a:pt x="4654" y="2377"/>
                  </a:lnTo>
                  <a:lnTo>
                    <a:pt x="4652" y="2408"/>
                  </a:lnTo>
                  <a:lnTo>
                    <a:pt x="4648" y="2437"/>
                  </a:lnTo>
                  <a:lnTo>
                    <a:pt x="4642" y="2464"/>
                  </a:lnTo>
                  <a:lnTo>
                    <a:pt x="4635" y="2487"/>
                  </a:lnTo>
                  <a:lnTo>
                    <a:pt x="4628" y="2509"/>
                  </a:lnTo>
                  <a:lnTo>
                    <a:pt x="4620" y="2527"/>
                  </a:lnTo>
                  <a:lnTo>
                    <a:pt x="4612" y="2544"/>
                  </a:lnTo>
                  <a:lnTo>
                    <a:pt x="4603" y="2559"/>
                  </a:lnTo>
                  <a:lnTo>
                    <a:pt x="4596" y="2570"/>
                  </a:lnTo>
                  <a:lnTo>
                    <a:pt x="4596" y="2570"/>
                  </a:lnTo>
                  <a:lnTo>
                    <a:pt x="4582" y="2590"/>
                  </a:lnTo>
                  <a:lnTo>
                    <a:pt x="4568" y="2611"/>
                  </a:lnTo>
                  <a:lnTo>
                    <a:pt x="4553" y="2629"/>
                  </a:lnTo>
                  <a:lnTo>
                    <a:pt x="4538" y="2648"/>
                  </a:lnTo>
                  <a:lnTo>
                    <a:pt x="4522" y="2665"/>
                  </a:lnTo>
                  <a:lnTo>
                    <a:pt x="4505" y="2681"/>
                  </a:lnTo>
                  <a:lnTo>
                    <a:pt x="4487" y="2697"/>
                  </a:lnTo>
                  <a:lnTo>
                    <a:pt x="4469" y="2711"/>
                  </a:lnTo>
                  <a:lnTo>
                    <a:pt x="4450" y="2724"/>
                  </a:lnTo>
                  <a:lnTo>
                    <a:pt x="4430" y="2736"/>
                  </a:lnTo>
                  <a:lnTo>
                    <a:pt x="4409" y="2747"/>
                  </a:lnTo>
                  <a:lnTo>
                    <a:pt x="4388" y="2756"/>
                  </a:lnTo>
                  <a:lnTo>
                    <a:pt x="4364" y="2764"/>
                  </a:lnTo>
                  <a:lnTo>
                    <a:pt x="4341" y="2771"/>
                  </a:lnTo>
                  <a:lnTo>
                    <a:pt x="4316" y="2776"/>
                  </a:lnTo>
                  <a:lnTo>
                    <a:pt x="4290" y="2779"/>
                  </a:lnTo>
                  <a:lnTo>
                    <a:pt x="4290" y="2779"/>
                  </a:lnTo>
                  <a:lnTo>
                    <a:pt x="4283" y="2778"/>
                  </a:lnTo>
                  <a:lnTo>
                    <a:pt x="4275" y="2778"/>
                  </a:lnTo>
                  <a:lnTo>
                    <a:pt x="4275" y="2778"/>
                  </a:lnTo>
                  <a:lnTo>
                    <a:pt x="4242" y="2779"/>
                  </a:lnTo>
                  <a:lnTo>
                    <a:pt x="4213" y="2779"/>
                  </a:lnTo>
                  <a:lnTo>
                    <a:pt x="4185" y="2778"/>
                  </a:lnTo>
                  <a:lnTo>
                    <a:pt x="4159" y="2775"/>
                  </a:lnTo>
                  <a:lnTo>
                    <a:pt x="4159" y="2775"/>
                  </a:lnTo>
                  <a:lnTo>
                    <a:pt x="4131" y="2770"/>
                  </a:lnTo>
                  <a:lnTo>
                    <a:pt x="4103" y="2765"/>
                  </a:lnTo>
                  <a:lnTo>
                    <a:pt x="4077" y="2758"/>
                  </a:lnTo>
                  <a:lnTo>
                    <a:pt x="4052" y="2751"/>
                  </a:lnTo>
                  <a:lnTo>
                    <a:pt x="4052" y="2751"/>
                  </a:lnTo>
                  <a:lnTo>
                    <a:pt x="4009" y="2736"/>
                  </a:lnTo>
                  <a:lnTo>
                    <a:pt x="3965" y="2717"/>
                  </a:lnTo>
                  <a:lnTo>
                    <a:pt x="3965" y="2717"/>
                  </a:lnTo>
                  <a:lnTo>
                    <a:pt x="3925" y="2697"/>
                  </a:lnTo>
                  <a:lnTo>
                    <a:pt x="3874" y="2669"/>
                  </a:lnTo>
                  <a:lnTo>
                    <a:pt x="3846" y="2652"/>
                  </a:lnTo>
                  <a:lnTo>
                    <a:pt x="3815" y="2632"/>
                  </a:lnTo>
                  <a:lnTo>
                    <a:pt x="3782" y="2612"/>
                  </a:lnTo>
                  <a:lnTo>
                    <a:pt x="3748" y="2588"/>
                  </a:lnTo>
                  <a:lnTo>
                    <a:pt x="3712" y="2564"/>
                  </a:lnTo>
                  <a:lnTo>
                    <a:pt x="3676" y="2536"/>
                  </a:lnTo>
                  <a:lnTo>
                    <a:pt x="3638" y="2508"/>
                  </a:lnTo>
                  <a:lnTo>
                    <a:pt x="3601" y="2477"/>
                  </a:lnTo>
                  <a:lnTo>
                    <a:pt x="3563" y="2444"/>
                  </a:lnTo>
                  <a:lnTo>
                    <a:pt x="3526" y="2409"/>
                  </a:lnTo>
                  <a:lnTo>
                    <a:pt x="3488" y="2373"/>
                  </a:lnTo>
                  <a:lnTo>
                    <a:pt x="3451" y="2335"/>
                  </a:lnTo>
                  <a:lnTo>
                    <a:pt x="3451" y="2335"/>
                  </a:lnTo>
                  <a:lnTo>
                    <a:pt x="3394" y="2271"/>
                  </a:lnTo>
                  <a:lnTo>
                    <a:pt x="3342" y="2212"/>
                  </a:lnTo>
                  <a:lnTo>
                    <a:pt x="3295" y="2157"/>
                  </a:lnTo>
                  <a:lnTo>
                    <a:pt x="3253" y="2107"/>
                  </a:lnTo>
                  <a:lnTo>
                    <a:pt x="3215" y="2060"/>
                  </a:lnTo>
                  <a:lnTo>
                    <a:pt x="3180" y="2017"/>
                  </a:lnTo>
                  <a:lnTo>
                    <a:pt x="3120" y="1940"/>
                  </a:lnTo>
                  <a:lnTo>
                    <a:pt x="3120" y="1940"/>
                  </a:lnTo>
                  <a:lnTo>
                    <a:pt x="3138" y="1947"/>
                  </a:lnTo>
                  <a:lnTo>
                    <a:pt x="3156" y="1953"/>
                  </a:lnTo>
                  <a:lnTo>
                    <a:pt x="3175" y="1958"/>
                  </a:lnTo>
                  <a:lnTo>
                    <a:pt x="3193" y="1963"/>
                  </a:lnTo>
                  <a:lnTo>
                    <a:pt x="3211" y="1966"/>
                  </a:lnTo>
                  <a:lnTo>
                    <a:pt x="3229" y="1968"/>
                  </a:lnTo>
                  <a:lnTo>
                    <a:pt x="3262" y="1971"/>
                  </a:lnTo>
                  <a:lnTo>
                    <a:pt x="3289" y="1971"/>
                  </a:lnTo>
                  <a:lnTo>
                    <a:pt x="3312" y="1970"/>
                  </a:lnTo>
                  <a:lnTo>
                    <a:pt x="3332" y="1968"/>
                  </a:lnTo>
                  <a:lnTo>
                    <a:pt x="3332" y="1968"/>
                  </a:lnTo>
                  <a:lnTo>
                    <a:pt x="3336" y="1918"/>
                  </a:lnTo>
                  <a:lnTo>
                    <a:pt x="3338" y="1873"/>
                  </a:lnTo>
                  <a:lnTo>
                    <a:pt x="3340" y="1833"/>
                  </a:lnTo>
                  <a:lnTo>
                    <a:pt x="3346" y="1698"/>
                  </a:lnTo>
                  <a:lnTo>
                    <a:pt x="3346" y="1698"/>
                  </a:lnTo>
                  <a:lnTo>
                    <a:pt x="3349" y="1661"/>
                  </a:lnTo>
                  <a:lnTo>
                    <a:pt x="3351" y="1626"/>
                  </a:lnTo>
                  <a:lnTo>
                    <a:pt x="3352" y="1589"/>
                  </a:lnTo>
                  <a:lnTo>
                    <a:pt x="3352" y="1589"/>
                  </a:lnTo>
                  <a:lnTo>
                    <a:pt x="3340" y="1588"/>
                  </a:lnTo>
                  <a:lnTo>
                    <a:pt x="3307" y="1584"/>
                  </a:lnTo>
                  <a:lnTo>
                    <a:pt x="3285" y="1581"/>
                  </a:lnTo>
                  <a:lnTo>
                    <a:pt x="3260" y="1576"/>
                  </a:lnTo>
                  <a:lnTo>
                    <a:pt x="3233" y="1571"/>
                  </a:lnTo>
                  <a:lnTo>
                    <a:pt x="3206" y="1564"/>
                  </a:lnTo>
                  <a:lnTo>
                    <a:pt x="3176" y="1555"/>
                  </a:lnTo>
                  <a:lnTo>
                    <a:pt x="3147" y="1544"/>
                  </a:lnTo>
                  <a:lnTo>
                    <a:pt x="3120" y="1532"/>
                  </a:lnTo>
                  <a:lnTo>
                    <a:pt x="3106" y="1526"/>
                  </a:lnTo>
                  <a:lnTo>
                    <a:pt x="3093" y="1519"/>
                  </a:lnTo>
                  <a:lnTo>
                    <a:pt x="3081" y="1511"/>
                  </a:lnTo>
                  <a:lnTo>
                    <a:pt x="3070" y="1502"/>
                  </a:lnTo>
                  <a:lnTo>
                    <a:pt x="3058" y="1493"/>
                  </a:lnTo>
                  <a:lnTo>
                    <a:pt x="3049" y="1484"/>
                  </a:lnTo>
                  <a:lnTo>
                    <a:pt x="3040" y="1474"/>
                  </a:lnTo>
                  <a:lnTo>
                    <a:pt x="3032" y="1463"/>
                  </a:lnTo>
                  <a:lnTo>
                    <a:pt x="3025" y="1451"/>
                  </a:lnTo>
                  <a:lnTo>
                    <a:pt x="3019" y="1439"/>
                  </a:lnTo>
                  <a:lnTo>
                    <a:pt x="3019" y="1439"/>
                  </a:lnTo>
                  <a:lnTo>
                    <a:pt x="3030" y="1445"/>
                  </a:lnTo>
                  <a:lnTo>
                    <a:pt x="3042" y="1450"/>
                  </a:lnTo>
                  <a:lnTo>
                    <a:pt x="3059" y="1457"/>
                  </a:lnTo>
                  <a:lnTo>
                    <a:pt x="3081" y="1465"/>
                  </a:lnTo>
                  <a:lnTo>
                    <a:pt x="3106" y="1472"/>
                  </a:lnTo>
                  <a:lnTo>
                    <a:pt x="3136" y="1477"/>
                  </a:lnTo>
                  <a:lnTo>
                    <a:pt x="3152" y="1479"/>
                  </a:lnTo>
                  <a:lnTo>
                    <a:pt x="3169" y="1480"/>
                  </a:lnTo>
                  <a:lnTo>
                    <a:pt x="3169" y="1480"/>
                  </a:lnTo>
                  <a:lnTo>
                    <a:pt x="3201" y="1481"/>
                  </a:lnTo>
                  <a:lnTo>
                    <a:pt x="3234" y="1481"/>
                  </a:lnTo>
                  <a:lnTo>
                    <a:pt x="3266" y="1479"/>
                  </a:lnTo>
                  <a:lnTo>
                    <a:pt x="3295" y="1477"/>
                  </a:lnTo>
                  <a:lnTo>
                    <a:pt x="3340" y="1471"/>
                  </a:lnTo>
                  <a:lnTo>
                    <a:pt x="3357" y="1469"/>
                  </a:lnTo>
                  <a:lnTo>
                    <a:pt x="3357" y="1469"/>
                  </a:lnTo>
                  <a:lnTo>
                    <a:pt x="3359" y="1463"/>
                  </a:lnTo>
                  <a:lnTo>
                    <a:pt x="3361" y="1451"/>
                  </a:lnTo>
                  <a:lnTo>
                    <a:pt x="3364" y="1421"/>
                  </a:lnTo>
                  <a:lnTo>
                    <a:pt x="3367" y="1381"/>
                  </a:lnTo>
                  <a:lnTo>
                    <a:pt x="3369" y="1337"/>
                  </a:lnTo>
                  <a:lnTo>
                    <a:pt x="3373" y="1257"/>
                  </a:lnTo>
                  <a:lnTo>
                    <a:pt x="3375" y="1222"/>
                  </a:lnTo>
                  <a:lnTo>
                    <a:pt x="3375" y="1222"/>
                  </a:lnTo>
                  <a:lnTo>
                    <a:pt x="3376" y="1194"/>
                  </a:lnTo>
                  <a:lnTo>
                    <a:pt x="3377" y="1154"/>
                  </a:lnTo>
                  <a:lnTo>
                    <a:pt x="3377" y="1105"/>
                  </a:lnTo>
                  <a:lnTo>
                    <a:pt x="3377" y="1105"/>
                  </a:lnTo>
                  <a:lnTo>
                    <a:pt x="3369" y="1107"/>
                  </a:lnTo>
                  <a:lnTo>
                    <a:pt x="3359" y="1108"/>
                  </a:lnTo>
                  <a:lnTo>
                    <a:pt x="3338" y="1110"/>
                  </a:lnTo>
                  <a:lnTo>
                    <a:pt x="3315" y="1109"/>
                  </a:lnTo>
                  <a:lnTo>
                    <a:pt x="3290" y="1107"/>
                  </a:lnTo>
                  <a:lnTo>
                    <a:pt x="3264" y="1104"/>
                  </a:lnTo>
                  <a:lnTo>
                    <a:pt x="3236" y="1100"/>
                  </a:lnTo>
                  <a:lnTo>
                    <a:pt x="3208" y="1094"/>
                  </a:lnTo>
                  <a:lnTo>
                    <a:pt x="3178" y="1086"/>
                  </a:lnTo>
                  <a:lnTo>
                    <a:pt x="3178" y="1086"/>
                  </a:lnTo>
                  <a:lnTo>
                    <a:pt x="3158" y="1080"/>
                  </a:lnTo>
                  <a:lnTo>
                    <a:pt x="3135" y="1071"/>
                  </a:lnTo>
                  <a:lnTo>
                    <a:pt x="3112" y="1059"/>
                  </a:lnTo>
                  <a:lnTo>
                    <a:pt x="3088" y="1044"/>
                  </a:lnTo>
                  <a:lnTo>
                    <a:pt x="3064" y="1028"/>
                  </a:lnTo>
                  <a:lnTo>
                    <a:pt x="3053" y="1019"/>
                  </a:lnTo>
                  <a:lnTo>
                    <a:pt x="3043" y="1010"/>
                  </a:lnTo>
                  <a:lnTo>
                    <a:pt x="3034" y="999"/>
                  </a:lnTo>
                  <a:lnTo>
                    <a:pt x="3025" y="990"/>
                  </a:lnTo>
                  <a:lnTo>
                    <a:pt x="3017" y="980"/>
                  </a:lnTo>
                  <a:lnTo>
                    <a:pt x="3010" y="969"/>
                  </a:lnTo>
                  <a:lnTo>
                    <a:pt x="3010" y="969"/>
                  </a:lnTo>
                  <a:lnTo>
                    <a:pt x="3022" y="974"/>
                  </a:lnTo>
                  <a:lnTo>
                    <a:pt x="3035" y="978"/>
                  </a:lnTo>
                  <a:lnTo>
                    <a:pt x="3052" y="984"/>
                  </a:lnTo>
                  <a:lnTo>
                    <a:pt x="3075" y="990"/>
                  </a:lnTo>
                  <a:lnTo>
                    <a:pt x="3101" y="996"/>
                  </a:lnTo>
                  <a:lnTo>
                    <a:pt x="3132" y="1003"/>
                  </a:lnTo>
                  <a:lnTo>
                    <a:pt x="3167" y="1008"/>
                  </a:lnTo>
                  <a:lnTo>
                    <a:pt x="3167" y="1008"/>
                  </a:lnTo>
                  <a:lnTo>
                    <a:pt x="3187" y="1010"/>
                  </a:lnTo>
                  <a:lnTo>
                    <a:pt x="3207" y="1011"/>
                  </a:lnTo>
                  <a:lnTo>
                    <a:pt x="3226" y="1012"/>
                  </a:lnTo>
                  <a:lnTo>
                    <a:pt x="3245" y="1012"/>
                  </a:lnTo>
                  <a:lnTo>
                    <a:pt x="3283" y="1010"/>
                  </a:lnTo>
                  <a:lnTo>
                    <a:pt x="3317" y="1007"/>
                  </a:lnTo>
                  <a:lnTo>
                    <a:pt x="3346" y="1001"/>
                  </a:lnTo>
                  <a:lnTo>
                    <a:pt x="3369" y="996"/>
                  </a:lnTo>
                  <a:lnTo>
                    <a:pt x="3377" y="993"/>
                  </a:lnTo>
                  <a:lnTo>
                    <a:pt x="3383" y="991"/>
                  </a:lnTo>
                  <a:lnTo>
                    <a:pt x="3388" y="988"/>
                  </a:lnTo>
                  <a:lnTo>
                    <a:pt x="3390" y="985"/>
                  </a:lnTo>
                  <a:lnTo>
                    <a:pt x="3390" y="985"/>
                  </a:lnTo>
                  <a:lnTo>
                    <a:pt x="3392" y="959"/>
                  </a:lnTo>
                  <a:lnTo>
                    <a:pt x="3393" y="925"/>
                  </a:lnTo>
                  <a:lnTo>
                    <a:pt x="3394" y="848"/>
                  </a:lnTo>
                  <a:lnTo>
                    <a:pt x="3394" y="750"/>
                  </a:lnTo>
                  <a:lnTo>
                    <a:pt x="3394" y="750"/>
                  </a:lnTo>
                  <a:lnTo>
                    <a:pt x="3399" y="686"/>
                  </a:lnTo>
                  <a:lnTo>
                    <a:pt x="3400" y="642"/>
                  </a:lnTo>
                  <a:lnTo>
                    <a:pt x="3400" y="627"/>
                  </a:lnTo>
                  <a:lnTo>
                    <a:pt x="3399" y="623"/>
                  </a:lnTo>
                  <a:lnTo>
                    <a:pt x="3398" y="622"/>
                  </a:lnTo>
                  <a:lnTo>
                    <a:pt x="3398" y="622"/>
                  </a:lnTo>
                  <a:lnTo>
                    <a:pt x="3392" y="622"/>
                  </a:lnTo>
                  <a:lnTo>
                    <a:pt x="3381" y="623"/>
                  </a:lnTo>
                  <a:lnTo>
                    <a:pt x="3368" y="623"/>
                  </a:lnTo>
                  <a:lnTo>
                    <a:pt x="3354" y="622"/>
                  </a:lnTo>
                  <a:lnTo>
                    <a:pt x="3336" y="620"/>
                  </a:lnTo>
                  <a:lnTo>
                    <a:pt x="3317" y="617"/>
                  </a:lnTo>
                  <a:lnTo>
                    <a:pt x="3297" y="612"/>
                  </a:lnTo>
                  <a:lnTo>
                    <a:pt x="3274" y="607"/>
                  </a:lnTo>
                  <a:lnTo>
                    <a:pt x="3251" y="599"/>
                  </a:lnTo>
                  <a:lnTo>
                    <a:pt x="3226" y="589"/>
                  </a:lnTo>
                  <a:lnTo>
                    <a:pt x="3200" y="578"/>
                  </a:lnTo>
                  <a:lnTo>
                    <a:pt x="3175" y="564"/>
                  </a:lnTo>
                  <a:lnTo>
                    <a:pt x="3149" y="548"/>
                  </a:lnTo>
                  <a:lnTo>
                    <a:pt x="3123" y="529"/>
                  </a:lnTo>
                  <a:lnTo>
                    <a:pt x="3110" y="519"/>
                  </a:lnTo>
                  <a:lnTo>
                    <a:pt x="3097" y="508"/>
                  </a:lnTo>
                  <a:lnTo>
                    <a:pt x="3085" y="495"/>
                  </a:lnTo>
                  <a:lnTo>
                    <a:pt x="3073" y="483"/>
                  </a:lnTo>
                  <a:lnTo>
                    <a:pt x="3073" y="483"/>
                  </a:lnTo>
                  <a:lnTo>
                    <a:pt x="3071" y="481"/>
                  </a:lnTo>
                  <a:lnTo>
                    <a:pt x="3065" y="476"/>
                  </a:lnTo>
                  <a:lnTo>
                    <a:pt x="3059" y="467"/>
                  </a:lnTo>
                  <a:lnTo>
                    <a:pt x="3056" y="461"/>
                  </a:lnTo>
                  <a:lnTo>
                    <a:pt x="3053" y="454"/>
                  </a:lnTo>
                  <a:lnTo>
                    <a:pt x="3051" y="447"/>
                  </a:lnTo>
                  <a:lnTo>
                    <a:pt x="3050" y="439"/>
                  </a:lnTo>
                  <a:lnTo>
                    <a:pt x="3049" y="430"/>
                  </a:lnTo>
                  <a:lnTo>
                    <a:pt x="3050" y="420"/>
                  </a:lnTo>
                  <a:lnTo>
                    <a:pt x="3053" y="410"/>
                  </a:lnTo>
                  <a:lnTo>
                    <a:pt x="3056" y="398"/>
                  </a:lnTo>
                  <a:lnTo>
                    <a:pt x="3062" y="386"/>
                  </a:lnTo>
                  <a:lnTo>
                    <a:pt x="3071" y="373"/>
                  </a:lnTo>
                  <a:lnTo>
                    <a:pt x="3071" y="373"/>
                  </a:lnTo>
                  <a:lnTo>
                    <a:pt x="2806" y="254"/>
                  </a:lnTo>
                  <a:lnTo>
                    <a:pt x="2806" y="254"/>
                  </a:lnTo>
                  <a:lnTo>
                    <a:pt x="2815" y="245"/>
                  </a:lnTo>
                  <a:lnTo>
                    <a:pt x="2824" y="234"/>
                  </a:lnTo>
                  <a:lnTo>
                    <a:pt x="2834" y="219"/>
                  </a:lnTo>
                  <a:lnTo>
                    <a:pt x="2845" y="203"/>
                  </a:lnTo>
                  <a:lnTo>
                    <a:pt x="2850" y="194"/>
                  </a:lnTo>
                  <a:lnTo>
                    <a:pt x="2854" y="185"/>
                  </a:lnTo>
                  <a:lnTo>
                    <a:pt x="2858" y="174"/>
                  </a:lnTo>
                  <a:lnTo>
                    <a:pt x="2861" y="164"/>
                  </a:lnTo>
                  <a:lnTo>
                    <a:pt x="2863" y="154"/>
                  </a:lnTo>
                  <a:lnTo>
                    <a:pt x="2863" y="144"/>
                  </a:lnTo>
                  <a:lnTo>
                    <a:pt x="2863" y="144"/>
                  </a:lnTo>
                  <a:lnTo>
                    <a:pt x="2863" y="132"/>
                  </a:lnTo>
                  <a:lnTo>
                    <a:pt x="2860" y="122"/>
                  </a:lnTo>
                  <a:lnTo>
                    <a:pt x="2855" y="112"/>
                  </a:lnTo>
                  <a:lnTo>
                    <a:pt x="2849" y="103"/>
                  </a:lnTo>
                  <a:lnTo>
                    <a:pt x="2841" y="94"/>
                  </a:lnTo>
                  <a:lnTo>
                    <a:pt x="2830" y="86"/>
                  </a:lnTo>
                  <a:lnTo>
                    <a:pt x="2820" y="79"/>
                  </a:lnTo>
                  <a:lnTo>
                    <a:pt x="2808" y="73"/>
                  </a:lnTo>
                  <a:lnTo>
                    <a:pt x="2795" y="68"/>
                  </a:lnTo>
                  <a:lnTo>
                    <a:pt x="2781" y="64"/>
                  </a:lnTo>
                  <a:lnTo>
                    <a:pt x="2767" y="60"/>
                  </a:lnTo>
                  <a:lnTo>
                    <a:pt x="2753" y="58"/>
                  </a:lnTo>
                  <a:lnTo>
                    <a:pt x="2738" y="56"/>
                  </a:lnTo>
                  <a:lnTo>
                    <a:pt x="2723" y="56"/>
                  </a:lnTo>
                  <a:lnTo>
                    <a:pt x="2709" y="57"/>
                  </a:lnTo>
                  <a:lnTo>
                    <a:pt x="2694" y="59"/>
                  </a:lnTo>
                  <a:lnTo>
                    <a:pt x="2694" y="59"/>
                  </a:lnTo>
                  <a:lnTo>
                    <a:pt x="2681" y="62"/>
                  </a:lnTo>
                  <a:lnTo>
                    <a:pt x="2669" y="66"/>
                  </a:lnTo>
                  <a:lnTo>
                    <a:pt x="2656" y="71"/>
                  </a:lnTo>
                  <a:lnTo>
                    <a:pt x="2644" y="77"/>
                  </a:lnTo>
                  <a:lnTo>
                    <a:pt x="2634" y="84"/>
                  </a:lnTo>
                  <a:lnTo>
                    <a:pt x="2623" y="92"/>
                  </a:lnTo>
                  <a:lnTo>
                    <a:pt x="2604" y="107"/>
                  </a:lnTo>
                  <a:lnTo>
                    <a:pt x="2589" y="122"/>
                  </a:lnTo>
                  <a:lnTo>
                    <a:pt x="2578" y="134"/>
                  </a:lnTo>
                  <a:lnTo>
                    <a:pt x="2569" y="147"/>
                  </a:lnTo>
                  <a:lnTo>
                    <a:pt x="2238" y="0"/>
                  </a:lnTo>
                  <a:lnTo>
                    <a:pt x="1977" y="263"/>
                  </a:lnTo>
                  <a:lnTo>
                    <a:pt x="1977" y="263"/>
                  </a:lnTo>
                  <a:lnTo>
                    <a:pt x="1972" y="268"/>
                  </a:lnTo>
                  <a:lnTo>
                    <a:pt x="1966" y="280"/>
                  </a:lnTo>
                  <a:lnTo>
                    <a:pt x="1963" y="287"/>
                  </a:lnTo>
                  <a:lnTo>
                    <a:pt x="1961" y="295"/>
                  </a:lnTo>
                  <a:lnTo>
                    <a:pt x="1960" y="304"/>
                  </a:lnTo>
                  <a:lnTo>
                    <a:pt x="1960" y="313"/>
                  </a:lnTo>
                  <a:lnTo>
                    <a:pt x="1964" y="337"/>
                  </a:lnTo>
                  <a:lnTo>
                    <a:pt x="1964" y="337"/>
                  </a:lnTo>
                  <a:lnTo>
                    <a:pt x="1964" y="343"/>
                  </a:lnTo>
                  <a:lnTo>
                    <a:pt x="1963" y="349"/>
                  </a:lnTo>
                  <a:lnTo>
                    <a:pt x="1962" y="354"/>
                  </a:lnTo>
                  <a:lnTo>
                    <a:pt x="1961" y="358"/>
                  </a:lnTo>
                  <a:lnTo>
                    <a:pt x="1957" y="366"/>
                  </a:lnTo>
                  <a:lnTo>
                    <a:pt x="1955" y="370"/>
                  </a:lnTo>
                  <a:lnTo>
                    <a:pt x="1955" y="370"/>
                  </a:lnTo>
                  <a:lnTo>
                    <a:pt x="1936" y="392"/>
                  </a:lnTo>
                  <a:lnTo>
                    <a:pt x="1916" y="416"/>
                  </a:lnTo>
                  <a:lnTo>
                    <a:pt x="1896" y="438"/>
                  </a:lnTo>
                  <a:lnTo>
                    <a:pt x="1876" y="461"/>
                  </a:lnTo>
                  <a:lnTo>
                    <a:pt x="1876" y="461"/>
                  </a:lnTo>
                  <a:lnTo>
                    <a:pt x="1847" y="499"/>
                  </a:lnTo>
                  <a:lnTo>
                    <a:pt x="1836" y="515"/>
                  </a:lnTo>
                  <a:lnTo>
                    <a:pt x="1828" y="527"/>
                  </a:lnTo>
                  <a:lnTo>
                    <a:pt x="1828" y="527"/>
                  </a:lnTo>
                  <a:lnTo>
                    <a:pt x="1819" y="542"/>
                  </a:lnTo>
                  <a:lnTo>
                    <a:pt x="1811" y="558"/>
                  </a:lnTo>
                  <a:lnTo>
                    <a:pt x="1799" y="583"/>
                  </a:lnTo>
                  <a:lnTo>
                    <a:pt x="1789" y="607"/>
                  </a:lnTo>
                  <a:lnTo>
                    <a:pt x="1781" y="628"/>
                  </a:lnTo>
                  <a:lnTo>
                    <a:pt x="1781" y="628"/>
                  </a:lnTo>
                  <a:lnTo>
                    <a:pt x="1780" y="631"/>
                  </a:lnTo>
                  <a:lnTo>
                    <a:pt x="1778" y="642"/>
                  </a:lnTo>
                  <a:lnTo>
                    <a:pt x="1778" y="649"/>
                  </a:lnTo>
                  <a:lnTo>
                    <a:pt x="1777" y="657"/>
                  </a:lnTo>
                  <a:lnTo>
                    <a:pt x="1778" y="666"/>
                  </a:lnTo>
                  <a:lnTo>
                    <a:pt x="1780" y="677"/>
                  </a:lnTo>
                  <a:lnTo>
                    <a:pt x="1784" y="690"/>
                  </a:lnTo>
                  <a:lnTo>
                    <a:pt x="1789" y="703"/>
                  </a:lnTo>
                  <a:lnTo>
                    <a:pt x="1797" y="716"/>
                  </a:lnTo>
                  <a:lnTo>
                    <a:pt x="1807" y="732"/>
                  </a:lnTo>
                  <a:lnTo>
                    <a:pt x="1819" y="748"/>
                  </a:lnTo>
                  <a:lnTo>
                    <a:pt x="1833" y="764"/>
                  </a:lnTo>
                  <a:lnTo>
                    <a:pt x="1852" y="782"/>
                  </a:lnTo>
                  <a:lnTo>
                    <a:pt x="1874" y="800"/>
                  </a:lnTo>
                  <a:lnTo>
                    <a:pt x="1881" y="806"/>
                  </a:lnTo>
                  <a:lnTo>
                    <a:pt x="1881" y="806"/>
                  </a:lnTo>
                  <a:lnTo>
                    <a:pt x="1894" y="789"/>
                  </a:lnTo>
                  <a:lnTo>
                    <a:pt x="1905" y="800"/>
                  </a:lnTo>
                  <a:lnTo>
                    <a:pt x="1905" y="800"/>
                  </a:lnTo>
                  <a:lnTo>
                    <a:pt x="1914" y="809"/>
                  </a:lnTo>
                  <a:lnTo>
                    <a:pt x="1926" y="820"/>
                  </a:lnTo>
                  <a:lnTo>
                    <a:pt x="1941" y="832"/>
                  </a:lnTo>
                  <a:lnTo>
                    <a:pt x="1957" y="842"/>
                  </a:lnTo>
                  <a:lnTo>
                    <a:pt x="1957" y="842"/>
                  </a:lnTo>
                  <a:lnTo>
                    <a:pt x="1959" y="835"/>
                  </a:lnTo>
                  <a:lnTo>
                    <a:pt x="1964" y="815"/>
                  </a:lnTo>
                  <a:lnTo>
                    <a:pt x="1969" y="802"/>
                  </a:lnTo>
                  <a:lnTo>
                    <a:pt x="1975" y="789"/>
                  </a:lnTo>
                  <a:lnTo>
                    <a:pt x="1983" y="775"/>
                  </a:lnTo>
                  <a:lnTo>
                    <a:pt x="1991" y="760"/>
                  </a:lnTo>
                  <a:lnTo>
                    <a:pt x="1991" y="760"/>
                  </a:lnTo>
                  <a:lnTo>
                    <a:pt x="2000" y="748"/>
                  </a:lnTo>
                  <a:lnTo>
                    <a:pt x="2011" y="736"/>
                  </a:lnTo>
                  <a:lnTo>
                    <a:pt x="2025" y="722"/>
                  </a:lnTo>
                  <a:lnTo>
                    <a:pt x="2038" y="709"/>
                  </a:lnTo>
                  <a:lnTo>
                    <a:pt x="2052" y="697"/>
                  </a:lnTo>
                  <a:lnTo>
                    <a:pt x="2065" y="686"/>
                  </a:lnTo>
                  <a:lnTo>
                    <a:pt x="2080" y="675"/>
                  </a:lnTo>
                  <a:lnTo>
                    <a:pt x="2092" y="667"/>
                  </a:lnTo>
                  <a:lnTo>
                    <a:pt x="2092" y="667"/>
                  </a:lnTo>
                  <a:lnTo>
                    <a:pt x="2107" y="658"/>
                  </a:lnTo>
                  <a:lnTo>
                    <a:pt x="2123" y="650"/>
                  </a:lnTo>
                  <a:lnTo>
                    <a:pt x="2138" y="643"/>
                  </a:lnTo>
                  <a:lnTo>
                    <a:pt x="2154" y="636"/>
                  </a:lnTo>
                  <a:lnTo>
                    <a:pt x="2170" y="632"/>
                  </a:lnTo>
                  <a:lnTo>
                    <a:pt x="2186" y="629"/>
                  </a:lnTo>
                  <a:lnTo>
                    <a:pt x="2202" y="626"/>
                  </a:lnTo>
                  <a:lnTo>
                    <a:pt x="2220" y="625"/>
                  </a:lnTo>
                  <a:lnTo>
                    <a:pt x="2220" y="625"/>
                  </a:lnTo>
                  <a:lnTo>
                    <a:pt x="2234" y="626"/>
                  </a:lnTo>
                  <a:lnTo>
                    <a:pt x="2247" y="627"/>
                  </a:lnTo>
                  <a:lnTo>
                    <a:pt x="2261" y="630"/>
                  </a:lnTo>
                  <a:lnTo>
                    <a:pt x="2272" y="635"/>
                  </a:lnTo>
                  <a:lnTo>
                    <a:pt x="2283" y="642"/>
                  </a:lnTo>
                  <a:lnTo>
                    <a:pt x="2295" y="649"/>
                  </a:lnTo>
                  <a:lnTo>
                    <a:pt x="2305" y="658"/>
                  </a:lnTo>
                  <a:lnTo>
                    <a:pt x="2316" y="668"/>
                  </a:lnTo>
                  <a:lnTo>
                    <a:pt x="2316" y="668"/>
                  </a:lnTo>
                  <a:lnTo>
                    <a:pt x="2323" y="676"/>
                  </a:lnTo>
                  <a:lnTo>
                    <a:pt x="2330" y="687"/>
                  </a:lnTo>
                  <a:lnTo>
                    <a:pt x="2336" y="698"/>
                  </a:lnTo>
                  <a:lnTo>
                    <a:pt x="2342" y="710"/>
                  </a:lnTo>
                  <a:lnTo>
                    <a:pt x="2347" y="722"/>
                  </a:lnTo>
                  <a:lnTo>
                    <a:pt x="2351" y="736"/>
                  </a:lnTo>
                  <a:lnTo>
                    <a:pt x="2355" y="750"/>
                  </a:lnTo>
                  <a:lnTo>
                    <a:pt x="2358" y="764"/>
                  </a:lnTo>
                  <a:lnTo>
                    <a:pt x="2360" y="778"/>
                  </a:lnTo>
                  <a:lnTo>
                    <a:pt x="2362" y="792"/>
                  </a:lnTo>
                  <a:lnTo>
                    <a:pt x="2363" y="805"/>
                  </a:lnTo>
                  <a:lnTo>
                    <a:pt x="2364" y="818"/>
                  </a:lnTo>
                  <a:lnTo>
                    <a:pt x="2364" y="831"/>
                  </a:lnTo>
                  <a:lnTo>
                    <a:pt x="2363" y="842"/>
                  </a:lnTo>
                  <a:lnTo>
                    <a:pt x="2361" y="852"/>
                  </a:lnTo>
                  <a:lnTo>
                    <a:pt x="2359" y="861"/>
                  </a:lnTo>
                  <a:lnTo>
                    <a:pt x="2359" y="861"/>
                  </a:lnTo>
                  <a:lnTo>
                    <a:pt x="2330" y="843"/>
                  </a:lnTo>
                  <a:lnTo>
                    <a:pt x="2330" y="843"/>
                  </a:lnTo>
                  <a:lnTo>
                    <a:pt x="2309" y="832"/>
                  </a:lnTo>
                  <a:lnTo>
                    <a:pt x="2281" y="822"/>
                  </a:lnTo>
                  <a:lnTo>
                    <a:pt x="2266" y="815"/>
                  </a:lnTo>
                  <a:lnTo>
                    <a:pt x="2251" y="811"/>
                  </a:lnTo>
                  <a:lnTo>
                    <a:pt x="2233" y="807"/>
                  </a:lnTo>
                  <a:lnTo>
                    <a:pt x="2215" y="803"/>
                  </a:lnTo>
                  <a:lnTo>
                    <a:pt x="2195" y="801"/>
                  </a:lnTo>
                  <a:lnTo>
                    <a:pt x="2175" y="800"/>
                  </a:lnTo>
                  <a:lnTo>
                    <a:pt x="2154" y="800"/>
                  </a:lnTo>
                  <a:lnTo>
                    <a:pt x="2132" y="802"/>
                  </a:lnTo>
                  <a:lnTo>
                    <a:pt x="2109" y="805"/>
                  </a:lnTo>
                  <a:lnTo>
                    <a:pt x="2086" y="810"/>
                  </a:lnTo>
                  <a:lnTo>
                    <a:pt x="2062" y="818"/>
                  </a:lnTo>
                  <a:lnTo>
                    <a:pt x="2037" y="829"/>
                  </a:lnTo>
                  <a:lnTo>
                    <a:pt x="2037" y="829"/>
                  </a:lnTo>
                  <a:lnTo>
                    <a:pt x="1995" y="847"/>
                  </a:lnTo>
                  <a:lnTo>
                    <a:pt x="1967" y="859"/>
                  </a:lnTo>
                  <a:lnTo>
                    <a:pt x="1936" y="872"/>
                  </a:lnTo>
                  <a:lnTo>
                    <a:pt x="1900" y="886"/>
                  </a:lnTo>
                  <a:lnTo>
                    <a:pt x="1860" y="900"/>
                  </a:lnTo>
                  <a:lnTo>
                    <a:pt x="1814" y="916"/>
                  </a:lnTo>
                  <a:lnTo>
                    <a:pt x="1764" y="931"/>
                  </a:lnTo>
                  <a:lnTo>
                    <a:pt x="1764" y="931"/>
                  </a:lnTo>
                  <a:lnTo>
                    <a:pt x="1737" y="938"/>
                  </a:lnTo>
                  <a:lnTo>
                    <a:pt x="1725" y="940"/>
                  </a:lnTo>
                  <a:lnTo>
                    <a:pt x="1713" y="941"/>
                  </a:lnTo>
                  <a:lnTo>
                    <a:pt x="1701" y="941"/>
                  </a:lnTo>
                  <a:lnTo>
                    <a:pt x="1691" y="941"/>
                  </a:lnTo>
                  <a:lnTo>
                    <a:pt x="1681" y="940"/>
                  </a:lnTo>
                  <a:lnTo>
                    <a:pt x="1672" y="938"/>
                  </a:lnTo>
                  <a:lnTo>
                    <a:pt x="1664" y="935"/>
                  </a:lnTo>
                  <a:lnTo>
                    <a:pt x="1655" y="930"/>
                  </a:lnTo>
                  <a:lnTo>
                    <a:pt x="1649" y="925"/>
                  </a:lnTo>
                  <a:lnTo>
                    <a:pt x="1642" y="919"/>
                  </a:lnTo>
                  <a:lnTo>
                    <a:pt x="1637" y="912"/>
                  </a:lnTo>
                  <a:lnTo>
                    <a:pt x="1633" y="902"/>
                  </a:lnTo>
                  <a:lnTo>
                    <a:pt x="1629" y="892"/>
                  </a:lnTo>
                  <a:lnTo>
                    <a:pt x="1626" y="881"/>
                  </a:lnTo>
                  <a:lnTo>
                    <a:pt x="1626" y="881"/>
                  </a:lnTo>
                  <a:lnTo>
                    <a:pt x="1624" y="871"/>
                  </a:lnTo>
                  <a:lnTo>
                    <a:pt x="1623" y="860"/>
                  </a:lnTo>
                  <a:lnTo>
                    <a:pt x="1623" y="851"/>
                  </a:lnTo>
                  <a:lnTo>
                    <a:pt x="1623" y="842"/>
                  </a:lnTo>
                  <a:lnTo>
                    <a:pt x="1625" y="826"/>
                  </a:lnTo>
                  <a:lnTo>
                    <a:pt x="1629" y="811"/>
                  </a:lnTo>
                  <a:lnTo>
                    <a:pt x="1633" y="800"/>
                  </a:lnTo>
                  <a:lnTo>
                    <a:pt x="1636" y="792"/>
                  </a:lnTo>
                  <a:lnTo>
                    <a:pt x="1640" y="784"/>
                  </a:lnTo>
                  <a:lnTo>
                    <a:pt x="1640" y="784"/>
                  </a:lnTo>
                  <a:lnTo>
                    <a:pt x="1636" y="785"/>
                  </a:lnTo>
                  <a:lnTo>
                    <a:pt x="1626" y="788"/>
                  </a:lnTo>
                  <a:lnTo>
                    <a:pt x="1610" y="794"/>
                  </a:lnTo>
                  <a:lnTo>
                    <a:pt x="1601" y="797"/>
                  </a:lnTo>
                  <a:lnTo>
                    <a:pt x="1592" y="802"/>
                  </a:lnTo>
                  <a:lnTo>
                    <a:pt x="1582" y="808"/>
                  </a:lnTo>
                  <a:lnTo>
                    <a:pt x="1573" y="814"/>
                  </a:lnTo>
                  <a:lnTo>
                    <a:pt x="1563" y="823"/>
                  </a:lnTo>
                  <a:lnTo>
                    <a:pt x="1554" y="832"/>
                  </a:lnTo>
                  <a:lnTo>
                    <a:pt x="1546" y="842"/>
                  </a:lnTo>
                  <a:lnTo>
                    <a:pt x="1539" y="853"/>
                  </a:lnTo>
                  <a:lnTo>
                    <a:pt x="1533" y="867"/>
                  </a:lnTo>
                  <a:lnTo>
                    <a:pt x="1528" y="881"/>
                  </a:lnTo>
                  <a:lnTo>
                    <a:pt x="1528" y="881"/>
                  </a:lnTo>
                  <a:lnTo>
                    <a:pt x="1525" y="896"/>
                  </a:lnTo>
                  <a:lnTo>
                    <a:pt x="1523" y="912"/>
                  </a:lnTo>
                  <a:lnTo>
                    <a:pt x="1523" y="927"/>
                  </a:lnTo>
                  <a:lnTo>
                    <a:pt x="1523" y="941"/>
                  </a:lnTo>
                  <a:lnTo>
                    <a:pt x="1524" y="954"/>
                  </a:lnTo>
                  <a:lnTo>
                    <a:pt x="1527" y="969"/>
                  </a:lnTo>
                  <a:lnTo>
                    <a:pt x="1531" y="981"/>
                  </a:lnTo>
                  <a:lnTo>
                    <a:pt x="1536" y="993"/>
                  </a:lnTo>
                  <a:lnTo>
                    <a:pt x="1542" y="1006"/>
                  </a:lnTo>
                  <a:lnTo>
                    <a:pt x="1549" y="1016"/>
                  </a:lnTo>
                  <a:lnTo>
                    <a:pt x="1557" y="1026"/>
                  </a:lnTo>
                  <a:lnTo>
                    <a:pt x="1568" y="1034"/>
                  </a:lnTo>
                  <a:lnTo>
                    <a:pt x="1578" y="1042"/>
                  </a:lnTo>
                  <a:lnTo>
                    <a:pt x="1590" y="1049"/>
                  </a:lnTo>
                  <a:lnTo>
                    <a:pt x="1602" y="1055"/>
                  </a:lnTo>
                  <a:lnTo>
                    <a:pt x="1617" y="1059"/>
                  </a:lnTo>
                  <a:lnTo>
                    <a:pt x="1617" y="1059"/>
                  </a:lnTo>
                  <a:lnTo>
                    <a:pt x="1630" y="1062"/>
                  </a:lnTo>
                  <a:lnTo>
                    <a:pt x="1644" y="1063"/>
                  </a:lnTo>
                  <a:lnTo>
                    <a:pt x="1660" y="1062"/>
                  </a:lnTo>
                  <a:lnTo>
                    <a:pt x="1676" y="1060"/>
                  </a:lnTo>
                  <a:lnTo>
                    <a:pt x="1692" y="1058"/>
                  </a:lnTo>
                  <a:lnTo>
                    <a:pt x="1710" y="1054"/>
                  </a:lnTo>
                  <a:lnTo>
                    <a:pt x="1727" y="1049"/>
                  </a:lnTo>
                  <a:lnTo>
                    <a:pt x="1744" y="1043"/>
                  </a:lnTo>
                  <a:lnTo>
                    <a:pt x="1779" y="1029"/>
                  </a:lnTo>
                  <a:lnTo>
                    <a:pt x="1815" y="1014"/>
                  </a:lnTo>
                  <a:lnTo>
                    <a:pt x="1849" y="997"/>
                  </a:lnTo>
                  <a:lnTo>
                    <a:pt x="1880" y="981"/>
                  </a:lnTo>
                  <a:lnTo>
                    <a:pt x="1880" y="981"/>
                  </a:lnTo>
                  <a:lnTo>
                    <a:pt x="1942" y="949"/>
                  </a:lnTo>
                  <a:lnTo>
                    <a:pt x="1979" y="931"/>
                  </a:lnTo>
                  <a:lnTo>
                    <a:pt x="2013" y="915"/>
                  </a:lnTo>
                  <a:lnTo>
                    <a:pt x="2013" y="915"/>
                  </a:lnTo>
                  <a:lnTo>
                    <a:pt x="2041" y="903"/>
                  </a:lnTo>
                  <a:lnTo>
                    <a:pt x="2054" y="899"/>
                  </a:lnTo>
                  <a:lnTo>
                    <a:pt x="2068" y="895"/>
                  </a:lnTo>
                  <a:lnTo>
                    <a:pt x="2081" y="892"/>
                  </a:lnTo>
                  <a:lnTo>
                    <a:pt x="2093" y="890"/>
                  </a:lnTo>
                  <a:lnTo>
                    <a:pt x="2105" y="888"/>
                  </a:lnTo>
                  <a:lnTo>
                    <a:pt x="2119" y="888"/>
                  </a:lnTo>
                  <a:lnTo>
                    <a:pt x="2131" y="888"/>
                  </a:lnTo>
                  <a:lnTo>
                    <a:pt x="2143" y="889"/>
                  </a:lnTo>
                  <a:lnTo>
                    <a:pt x="2156" y="891"/>
                  </a:lnTo>
                  <a:lnTo>
                    <a:pt x="2170" y="893"/>
                  </a:lnTo>
                  <a:lnTo>
                    <a:pt x="2183" y="897"/>
                  </a:lnTo>
                  <a:lnTo>
                    <a:pt x="2196" y="901"/>
                  </a:lnTo>
                  <a:lnTo>
                    <a:pt x="2211" y="907"/>
                  </a:lnTo>
                  <a:lnTo>
                    <a:pt x="2226" y="914"/>
                  </a:lnTo>
                  <a:lnTo>
                    <a:pt x="2226" y="914"/>
                  </a:lnTo>
                  <a:lnTo>
                    <a:pt x="2246" y="924"/>
                  </a:lnTo>
                  <a:lnTo>
                    <a:pt x="2265" y="934"/>
                  </a:lnTo>
                  <a:lnTo>
                    <a:pt x="2281" y="945"/>
                  </a:lnTo>
                  <a:lnTo>
                    <a:pt x="2295" y="954"/>
                  </a:lnTo>
                  <a:lnTo>
                    <a:pt x="2305" y="964"/>
                  </a:lnTo>
                  <a:lnTo>
                    <a:pt x="2312" y="971"/>
                  </a:lnTo>
                  <a:lnTo>
                    <a:pt x="2319" y="977"/>
                  </a:lnTo>
                  <a:lnTo>
                    <a:pt x="2319" y="977"/>
                  </a:lnTo>
                  <a:lnTo>
                    <a:pt x="2317" y="980"/>
                  </a:lnTo>
                  <a:lnTo>
                    <a:pt x="2313" y="987"/>
                  </a:lnTo>
                  <a:lnTo>
                    <a:pt x="2305" y="998"/>
                  </a:lnTo>
                  <a:lnTo>
                    <a:pt x="2300" y="1005"/>
                  </a:lnTo>
                  <a:lnTo>
                    <a:pt x="2293" y="1012"/>
                  </a:lnTo>
                  <a:lnTo>
                    <a:pt x="2285" y="1018"/>
                  </a:lnTo>
                  <a:lnTo>
                    <a:pt x="2276" y="1025"/>
                  </a:lnTo>
                  <a:lnTo>
                    <a:pt x="2267" y="1031"/>
                  </a:lnTo>
                  <a:lnTo>
                    <a:pt x="2255" y="1036"/>
                  </a:lnTo>
                  <a:lnTo>
                    <a:pt x="2242" y="1041"/>
                  </a:lnTo>
                  <a:lnTo>
                    <a:pt x="2228" y="1045"/>
                  </a:lnTo>
                  <a:lnTo>
                    <a:pt x="2212" y="1049"/>
                  </a:lnTo>
                  <a:lnTo>
                    <a:pt x="2194" y="1050"/>
                  </a:lnTo>
                  <a:lnTo>
                    <a:pt x="2194" y="1050"/>
                  </a:lnTo>
                  <a:lnTo>
                    <a:pt x="2180" y="1051"/>
                  </a:lnTo>
                  <a:lnTo>
                    <a:pt x="2166" y="1050"/>
                  </a:lnTo>
                  <a:lnTo>
                    <a:pt x="2152" y="1048"/>
                  </a:lnTo>
                  <a:lnTo>
                    <a:pt x="2139" y="1044"/>
                  </a:lnTo>
                  <a:lnTo>
                    <a:pt x="2127" y="1041"/>
                  </a:lnTo>
                  <a:lnTo>
                    <a:pt x="2115" y="1037"/>
                  </a:lnTo>
                  <a:lnTo>
                    <a:pt x="2103" y="1033"/>
                  </a:lnTo>
                  <a:lnTo>
                    <a:pt x="2092" y="1027"/>
                  </a:lnTo>
                  <a:lnTo>
                    <a:pt x="2082" y="1022"/>
                  </a:lnTo>
                  <a:lnTo>
                    <a:pt x="2073" y="1016"/>
                  </a:lnTo>
                  <a:lnTo>
                    <a:pt x="2064" y="1010"/>
                  </a:lnTo>
                  <a:lnTo>
                    <a:pt x="2056" y="1003"/>
                  </a:lnTo>
                  <a:lnTo>
                    <a:pt x="2048" y="995"/>
                  </a:lnTo>
                  <a:lnTo>
                    <a:pt x="2042" y="988"/>
                  </a:lnTo>
                  <a:lnTo>
                    <a:pt x="2036" y="981"/>
                  </a:lnTo>
                  <a:lnTo>
                    <a:pt x="2031" y="974"/>
                  </a:lnTo>
                  <a:lnTo>
                    <a:pt x="2031" y="974"/>
                  </a:lnTo>
                  <a:lnTo>
                    <a:pt x="2022" y="996"/>
                  </a:lnTo>
                  <a:lnTo>
                    <a:pt x="2013" y="1014"/>
                  </a:lnTo>
                  <a:lnTo>
                    <a:pt x="2007" y="1027"/>
                  </a:lnTo>
                  <a:lnTo>
                    <a:pt x="2007" y="1027"/>
                  </a:lnTo>
                  <a:lnTo>
                    <a:pt x="2003" y="1035"/>
                  </a:lnTo>
                  <a:lnTo>
                    <a:pt x="2000" y="1042"/>
                  </a:lnTo>
                  <a:lnTo>
                    <a:pt x="1998" y="1051"/>
                  </a:lnTo>
                  <a:lnTo>
                    <a:pt x="1997" y="1057"/>
                  </a:lnTo>
                  <a:lnTo>
                    <a:pt x="1997" y="1064"/>
                  </a:lnTo>
                  <a:lnTo>
                    <a:pt x="1997" y="1070"/>
                  </a:lnTo>
                  <a:lnTo>
                    <a:pt x="1999" y="1082"/>
                  </a:lnTo>
                  <a:lnTo>
                    <a:pt x="2001" y="1094"/>
                  </a:lnTo>
                  <a:lnTo>
                    <a:pt x="2003" y="1104"/>
                  </a:lnTo>
                  <a:lnTo>
                    <a:pt x="2004" y="1115"/>
                  </a:lnTo>
                  <a:lnTo>
                    <a:pt x="2003" y="1121"/>
                  </a:lnTo>
                  <a:lnTo>
                    <a:pt x="2001" y="1126"/>
                  </a:lnTo>
                  <a:lnTo>
                    <a:pt x="2001" y="1126"/>
                  </a:lnTo>
                  <a:lnTo>
                    <a:pt x="1999" y="1132"/>
                  </a:lnTo>
                  <a:lnTo>
                    <a:pt x="1995" y="1138"/>
                  </a:lnTo>
                  <a:lnTo>
                    <a:pt x="1986" y="1151"/>
                  </a:lnTo>
                  <a:lnTo>
                    <a:pt x="1973" y="1163"/>
                  </a:lnTo>
                  <a:lnTo>
                    <a:pt x="1960" y="1175"/>
                  </a:lnTo>
                  <a:lnTo>
                    <a:pt x="1945" y="1187"/>
                  </a:lnTo>
                  <a:lnTo>
                    <a:pt x="1931" y="1198"/>
                  </a:lnTo>
                  <a:lnTo>
                    <a:pt x="1904" y="1216"/>
                  </a:lnTo>
                  <a:lnTo>
                    <a:pt x="1904" y="1216"/>
                  </a:lnTo>
                  <a:lnTo>
                    <a:pt x="1886" y="1227"/>
                  </a:lnTo>
                  <a:lnTo>
                    <a:pt x="1864" y="1239"/>
                  </a:lnTo>
                  <a:lnTo>
                    <a:pt x="1842" y="1249"/>
                  </a:lnTo>
                  <a:lnTo>
                    <a:pt x="1819" y="1257"/>
                  </a:lnTo>
                  <a:lnTo>
                    <a:pt x="1798" y="1264"/>
                  </a:lnTo>
                  <a:lnTo>
                    <a:pt x="1779" y="1270"/>
                  </a:lnTo>
                  <a:lnTo>
                    <a:pt x="1754" y="1278"/>
                  </a:lnTo>
                  <a:lnTo>
                    <a:pt x="1754" y="1278"/>
                  </a:lnTo>
                  <a:lnTo>
                    <a:pt x="1779" y="1336"/>
                  </a:lnTo>
                  <a:lnTo>
                    <a:pt x="1811" y="1404"/>
                  </a:lnTo>
                  <a:lnTo>
                    <a:pt x="1811" y="1404"/>
                  </a:lnTo>
                  <a:lnTo>
                    <a:pt x="1833" y="1449"/>
                  </a:lnTo>
                  <a:lnTo>
                    <a:pt x="1862" y="1504"/>
                  </a:lnTo>
                  <a:lnTo>
                    <a:pt x="1877" y="1531"/>
                  </a:lnTo>
                  <a:lnTo>
                    <a:pt x="1893" y="1557"/>
                  </a:lnTo>
                  <a:lnTo>
                    <a:pt x="1909" y="1578"/>
                  </a:lnTo>
                  <a:lnTo>
                    <a:pt x="1916" y="1588"/>
                  </a:lnTo>
                  <a:lnTo>
                    <a:pt x="1924" y="1597"/>
                  </a:lnTo>
                  <a:lnTo>
                    <a:pt x="1924" y="1597"/>
                  </a:lnTo>
                  <a:lnTo>
                    <a:pt x="1940" y="1592"/>
                  </a:lnTo>
                  <a:lnTo>
                    <a:pt x="1957" y="1587"/>
                  </a:lnTo>
                  <a:lnTo>
                    <a:pt x="1980" y="1581"/>
                  </a:lnTo>
                  <a:lnTo>
                    <a:pt x="2004" y="1573"/>
                  </a:lnTo>
                  <a:lnTo>
                    <a:pt x="2031" y="1563"/>
                  </a:lnTo>
                  <a:lnTo>
                    <a:pt x="2057" y="1551"/>
                  </a:lnTo>
                  <a:lnTo>
                    <a:pt x="2071" y="1544"/>
                  </a:lnTo>
                  <a:lnTo>
                    <a:pt x="2083" y="1537"/>
                  </a:lnTo>
                  <a:lnTo>
                    <a:pt x="2083" y="1537"/>
                  </a:lnTo>
                  <a:lnTo>
                    <a:pt x="2105" y="1524"/>
                  </a:lnTo>
                  <a:lnTo>
                    <a:pt x="2126" y="1510"/>
                  </a:lnTo>
                  <a:lnTo>
                    <a:pt x="2145" y="1495"/>
                  </a:lnTo>
                  <a:lnTo>
                    <a:pt x="2162" y="1480"/>
                  </a:lnTo>
                  <a:lnTo>
                    <a:pt x="2177" y="1466"/>
                  </a:lnTo>
                  <a:lnTo>
                    <a:pt x="2189" y="1451"/>
                  </a:lnTo>
                  <a:lnTo>
                    <a:pt x="2199" y="1437"/>
                  </a:lnTo>
                  <a:lnTo>
                    <a:pt x="2207" y="1424"/>
                  </a:lnTo>
                  <a:lnTo>
                    <a:pt x="2207" y="1424"/>
                  </a:lnTo>
                  <a:lnTo>
                    <a:pt x="2190" y="1460"/>
                  </a:lnTo>
                  <a:lnTo>
                    <a:pt x="2175" y="1493"/>
                  </a:lnTo>
                  <a:lnTo>
                    <a:pt x="2161" y="1523"/>
                  </a:lnTo>
                  <a:lnTo>
                    <a:pt x="2146" y="1551"/>
                  </a:lnTo>
                  <a:lnTo>
                    <a:pt x="2132" y="1576"/>
                  </a:lnTo>
                  <a:lnTo>
                    <a:pt x="2119" y="1599"/>
                  </a:lnTo>
                  <a:lnTo>
                    <a:pt x="2105" y="1619"/>
                  </a:lnTo>
                  <a:lnTo>
                    <a:pt x="2092" y="1637"/>
                  </a:lnTo>
                  <a:lnTo>
                    <a:pt x="2080" y="1655"/>
                  </a:lnTo>
                  <a:lnTo>
                    <a:pt x="2068" y="1669"/>
                  </a:lnTo>
                  <a:lnTo>
                    <a:pt x="2055" y="1682"/>
                  </a:lnTo>
                  <a:lnTo>
                    <a:pt x="2044" y="1694"/>
                  </a:lnTo>
                  <a:lnTo>
                    <a:pt x="2033" y="1705"/>
                  </a:lnTo>
                  <a:lnTo>
                    <a:pt x="2022" y="1714"/>
                  </a:lnTo>
                  <a:lnTo>
                    <a:pt x="2011" y="1721"/>
                  </a:lnTo>
                  <a:lnTo>
                    <a:pt x="2000" y="1729"/>
                  </a:lnTo>
                  <a:lnTo>
                    <a:pt x="2000" y="1729"/>
                  </a:lnTo>
                  <a:lnTo>
                    <a:pt x="1907" y="1790"/>
                  </a:lnTo>
                  <a:lnTo>
                    <a:pt x="1797" y="1862"/>
                  </a:lnTo>
                  <a:lnTo>
                    <a:pt x="1735" y="1901"/>
                  </a:lnTo>
                  <a:lnTo>
                    <a:pt x="1671" y="1940"/>
                  </a:lnTo>
                  <a:lnTo>
                    <a:pt x="1602" y="1980"/>
                  </a:lnTo>
                  <a:lnTo>
                    <a:pt x="1532" y="2020"/>
                  </a:lnTo>
                  <a:lnTo>
                    <a:pt x="1459" y="2058"/>
                  </a:lnTo>
                  <a:lnTo>
                    <a:pt x="1422" y="2077"/>
                  </a:lnTo>
                  <a:lnTo>
                    <a:pt x="1384" y="2094"/>
                  </a:lnTo>
                  <a:lnTo>
                    <a:pt x="1347" y="2112"/>
                  </a:lnTo>
                  <a:lnTo>
                    <a:pt x="1308" y="2129"/>
                  </a:lnTo>
                  <a:lnTo>
                    <a:pt x="1269" y="2146"/>
                  </a:lnTo>
                  <a:lnTo>
                    <a:pt x="1230" y="2161"/>
                  </a:lnTo>
                  <a:lnTo>
                    <a:pt x="1190" y="2175"/>
                  </a:lnTo>
                  <a:lnTo>
                    <a:pt x="1151" y="2189"/>
                  </a:lnTo>
                  <a:lnTo>
                    <a:pt x="1111" y="2202"/>
                  </a:lnTo>
                  <a:lnTo>
                    <a:pt x="1072" y="2213"/>
                  </a:lnTo>
                  <a:lnTo>
                    <a:pt x="1032" y="2223"/>
                  </a:lnTo>
                  <a:lnTo>
                    <a:pt x="992" y="2231"/>
                  </a:lnTo>
                  <a:lnTo>
                    <a:pt x="952" y="2240"/>
                  </a:lnTo>
                  <a:lnTo>
                    <a:pt x="913" y="2246"/>
                  </a:lnTo>
                  <a:lnTo>
                    <a:pt x="913" y="2246"/>
                  </a:lnTo>
                  <a:lnTo>
                    <a:pt x="901" y="2246"/>
                  </a:lnTo>
                  <a:lnTo>
                    <a:pt x="889" y="2245"/>
                  </a:lnTo>
                  <a:lnTo>
                    <a:pt x="876" y="2242"/>
                  </a:lnTo>
                  <a:lnTo>
                    <a:pt x="863" y="2239"/>
                  </a:lnTo>
                  <a:lnTo>
                    <a:pt x="850" y="2236"/>
                  </a:lnTo>
                  <a:lnTo>
                    <a:pt x="836" y="2230"/>
                  </a:lnTo>
                  <a:lnTo>
                    <a:pt x="809" y="2218"/>
                  </a:lnTo>
                  <a:lnTo>
                    <a:pt x="781" y="2204"/>
                  </a:lnTo>
                  <a:lnTo>
                    <a:pt x="754" y="2188"/>
                  </a:lnTo>
                  <a:lnTo>
                    <a:pt x="726" y="2170"/>
                  </a:lnTo>
                  <a:lnTo>
                    <a:pt x="698" y="2151"/>
                  </a:lnTo>
                  <a:lnTo>
                    <a:pt x="672" y="2130"/>
                  </a:lnTo>
                  <a:lnTo>
                    <a:pt x="646" y="2110"/>
                  </a:lnTo>
                  <a:lnTo>
                    <a:pt x="623" y="2089"/>
                  </a:lnTo>
                  <a:lnTo>
                    <a:pt x="600" y="2069"/>
                  </a:lnTo>
                  <a:lnTo>
                    <a:pt x="581" y="2049"/>
                  </a:lnTo>
                  <a:lnTo>
                    <a:pt x="563" y="2032"/>
                  </a:lnTo>
                  <a:lnTo>
                    <a:pt x="548" y="2017"/>
                  </a:lnTo>
                  <a:lnTo>
                    <a:pt x="537" y="2003"/>
                  </a:lnTo>
                  <a:lnTo>
                    <a:pt x="537" y="2003"/>
                  </a:lnTo>
                  <a:lnTo>
                    <a:pt x="533" y="1999"/>
                  </a:lnTo>
                  <a:lnTo>
                    <a:pt x="530" y="1995"/>
                  </a:lnTo>
                  <a:lnTo>
                    <a:pt x="520" y="1990"/>
                  </a:lnTo>
                  <a:lnTo>
                    <a:pt x="512" y="1988"/>
                  </a:lnTo>
                  <a:lnTo>
                    <a:pt x="502" y="1987"/>
                  </a:lnTo>
                  <a:lnTo>
                    <a:pt x="493" y="1987"/>
                  </a:lnTo>
                  <a:lnTo>
                    <a:pt x="483" y="1989"/>
                  </a:lnTo>
                  <a:lnTo>
                    <a:pt x="473" y="1992"/>
                  </a:lnTo>
                  <a:lnTo>
                    <a:pt x="464" y="1996"/>
                  </a:lnTo>
                  <a:lnTo>
                    <a:pt x="447" y="2004"/>
                  </a:lnTo>
                  <a:lnTo>
                    <a:pt x="433" y="2014"/>
                  </a:lnTo>
                  <a:lnTo>
                    <a:pt x="419" y="2024"/>
                  </a:lnTo>
                  <a:lnTo>
                    <a:pt x="419" y="2024"/>
                  </a:lnTo>
                  <a:lnTo>
                    <a:pt x="412" y="2023"/>
                  </a:lnTo>
                  <a:lnTo>
                    <a:pt x="393" y="2021"/>
                  </a:lnTo>
                  <a:lnTo>
                    <a:pt x="379" y="2021"/>
                  </a:lnTo>
                  <a:lnTo>
                    <a:pt x="364" y="2021"/>
                  </a:lnTo>
                  <a:lnTo>
                    <a:pt x="348" y="2022"/>
                  </a:lnTo>
                  <a:lnTo>
                    <a:pt x="329" y="2024"/>
                  </a:lnTo>
                  <a:lnTo>
                    <a:pt x="310" y="2027"/>
                  </a:lnTo>
                  <a:lnTo>
                    <a:pt x="290" y="2032"/>
                  </a:lnTo>
                  <a:lnTo>
                    <a:pt x="271" y="2038"/>
                  </a:lnTo>
                  <a:lnTo>
                    <a:pt x="252" y="2047"/>
                  </a:lnTo>
                  <a:lnTo>
                    <a:pt x="242" y="2053"/>
                  </a:lnTo>
                  <a:lnTo>
                    <a:pt x="233" y="2058"/>
                  </a:lnTo>
                  <a:lnTo>
                    <a:pt x="224" y="2064"/>
                  </a:lnTo>
                  <a:lnTo>
                    <a:pt x="216" y="2071"/>
                  </a:lnTo>
                  <a:lnTo>
                    <a:pt x="207" y="2079"/>
                  </a:lnTo>
                  <a:lnTo>
                    <a:pt x="199" y="2087"/>
                  </a:lnTo>
                  <a:lnTo>
                    <a:pt x="191" y="2097"/>
                  </a:lnTo>
                  <a:lnTo>
                    <a:pt x="184" y="2106"/>
                  </a:lnTo>
                  <a:lnTo>
                    <a:pt x="184" y="2106"/>
                  </a:lnTo>
                  <a:lnTo>
                    <a:pt x="183" y="2109"/>
                  </a:lnTo>
                  <a:lnTo>
                    <a:pt x="185" y="2111"/>
                  </a:lnTo>
                  <a:lnTo>
                    <a:pt x="188" y="2112"/>
                  </a:lnTo>
                  <a:lnTo>
                    <a:pt x="193" y="2112"/>
                  </a:lnTo>
                  <a:lnTo>
                    <a:pt x="210" y="2110"/>
                  </a:lnTo>
                  <a:lnTo>
                    <a:pt x="230" y="2108"/>
                  </a:lnTo>
                  <a:lnTo>
                    <a:pt x="255" y="2106"/>
                  </a:lnTo>
                  <a:lnTo>
                    <a:pt x="280" y="2105"/>
                  </a:lnTo>
                  <a:lnTo>
                    <a:pt x="293" y="2106"/>
                  </a:lnTo>
                  <a:lnTo>
                    <a:pt x="307" y="2107"/>
                  </a:lnTo>
                  <a:lnTo>
                    <a:pt x="319" y="2109"/>
                  </a:lnTo>
                  <a:lnTo>
                    <a:pt x="331" y="2112"/>
                  </a:lnTo>
                  <a:lnTo>
                    <a:pt x="331" y="2112"/>
                  </a:lnTo>
                  <a:lnTo>
                    <a:pt x="338" y="2115"/>
                  </a:lnTo>
                  <a:lnTo>
                    <a:pt x="343" y="2118"/>
                  </a:lnTo>
                  <a:lnTo>
                    <a:pt x="346" y="2121"/>
                  </a:lnTo>
                  <a:lnTo>
                    <a:pt x="347" y="2124"/>
                  </a:lnTo>
                  <a:lnTo>
                    <a:pt x="347" y="2127"/>
                  </a:lnTo>
                  <a:lnTo>
                    <a:pt x="345" y="2131"/>
                  </a:lnTo>
                  <a:lnTo>
                    <a:pt x="339" y="2139"/>
                  </a:lnTo>
                  <a:lnTo>
                    <a:pt x="332" y="2149"/>
                  </a:lnTo>
                  <a:lnTo>
                    <a:pt x="325" y="2160"/>
                  </a:lnTo>
                  <a:lnTo>
                    <a:pt x="321" y="2166"/>
                  </a:lnTo>
                  <a:lnTo>
                    <a:pt x="319" y="2172"/>
                  </a:lnTo>
                  <a:lnTo>
                    <a:pt x="317" y="2178"/>
                  </a:lnTo>
                  <a:lnTo>
                    <a:pt x="317" y="2185"/>
                  </a:lnTo>
                  <a:lnTo>
                    <a:pt x="317" y="2185"/>
                  </a:lnTo>
                  <a:lnTo>
                    <a:pt x="317" y="2191"/>
                  </a:lnTo>
                  <a:lnTo>
                    <a:pt x="319" y="2197"/>
                  </a:lnTo>
                  <a:lnTo>
                    <a:pt x="321" y="2202"/>
                  </a:lnTo>
                  <a:lnTo>
                    <a:pt x="324" y="2207"/>
                  </a:lnTo>
                  <a:lnTo>
                    <a:pt x="328" y="2212"/>
                  </a:lnTo>
                  <a:lnTo>
                    <a:pt x="333" y="2217"/>
                  </a:lnTo>
                  <a:lnTo>
                    <a:pt x="346" y="2227"/>
                  </a:lnTo>
                  <a:lnTo>
                    <a:pt x="361" y="2237"/>
                  </a:lnTo>
                  <a:lnTo>
                    <a:pt x="377" y="2246"/>
                  </a:lnTo>
                  <a:lnTo>
                    <a:pt x="397" y="2255"/>
                  </a:lnTo>
                  <a:lnTo>
                    <a:pt x="416" y="2263"/>
                  </a:lnTo>
                  <a:lnTo>
                    <a:pt x="458" y="2279"/>
                  </a:lnTo>
                  <a:lnTo>
                    <a:pt x="500" y="2293"/>
                  </a:lnTo>
                  <a:lnTo>
                    <a:pt x="571" y="2314"/>
                  </a:lnTo>
                  <a:lnTo>
                    <a:pt x="571" y="2314"/>
                  </a:lnTo>
                  <a:lnTo>
                    <a:pt x="579" y="2318"/>
                  </a:lnTo>
                  <a:lnTo>
                    <a:pt x="585" y="2322"/>
                  </a:lnTo>
                  <a:lnTo>
                    <a:pt x="588" y="2328"/>
                  </a:lnTo>
                  <a:lnTo>
                    <a:pt x="590" y="2333"/>
                  </a:lnTo>
                  <a:lnTo>
                    <a:pt x="590" y="2337"/>
                  </a:lnTo>
                  <a:lnTo>
                    <a:pt x="588" y="2341"/>
                  </a:lnTo>
                  <a:lnTo>
                    <a:pt x="585" y="2343"/>
                  </a:lnTo>
                  <a:lnTo>
                    <a:pt x="581" y="2344"/>
                  </a:lnTo>
                  <a:lnTo>
                    <a:pt x="581" y="2344"/>
                  </a:lnTo>
                  <a:lnTo>
                    <a:pt x="556" y="2343"/>
                  </a:lnTo>
                  <a:lnTo>
                    <a:pt x="532" y="2340"/>
                  </a:lnTo>
                  <a:lnTo>
                    <a:pt x="509" y="2337"/>
                  </a:lnTo>
                  <a:lnTo>
                    <a:pt x="488" y="2332"/>
                  </a:lnTo>
                  <a:lnTo>
                    <a:pt x="467" y="2327"/>
                  </a:lnTo>
                  <a:lnTo>
                    <a:pt x="448" y="2320"/>
                  </a:lnTo>
                  <a:lnTo>
                    <a:pt x="429" y="2314"/>
                  </a:lnTo>
                  <a:lnTo>
                    <a:pt x="412" y="2308"/>
                  </a:lnTo>
                  <a:lnTo>
                    <a:pt x="380" y="2295"/>
                  </a:lnTo>
                  <a:lnTo>
                    <a:pt x="352" y="2283"/>
                  </a:lnTo>
                  <a:lnTo>
                    <a:pt x="327" y="2271"/>
                  </a:lnTo>
                  <a:lnTo>
                    <a:pt x="316" y="2267"/>
                  </a:lnTo>
                  <a:lnTo>
                    <a:pt x="305" y="2263"/>
                  </a:lnTo>
                  <a:lnTo>
                    <a:pt x="305" y="2263"/>
                  </a:lnTo>
                  <a:lnTo>
                    <a:pt x="286" y="2258"/>
                  </a:lnTo>
                  <a:lnTo>
                    <a:pt x="268" y="2254"/>
                  </a:lnTo>
                  <a:lnTo>
                    <a:pt x="253" y="2251"/>
                  </a:lnTo>
                  <a:lnTo>
                    <a:pt x="237" y="2249"/>
                  </a:lnTo>
                  <a:lnTo>
                    <a:pt x="224" y="2248"/>
                  </a:lnTo>
                  <a:lnTo>
                    <a:pt x="213" y="2249"/>
                  </a:lnTo>
                  <a:lnTo>
                    <a:pt x="202" y="2250"/>
                  </a:lnTo>
                  <a:lnTo>
                    <a:pt x="192" y="2252"/>
                  </a:lnTo>
                  <a:lnTo>
                    <a:pt x="185" y="2256"/>
                  </a:lnTo>
                  <a:lnTo>
                    <a:pt x="178" y="2260"/>
                  </a:lnTo>
                  <a:lnTo>
                    <a:pt x="172" y="2265"/>
                  </a:lnTo>
                  <a:lnTo>
                    <a:pt x="167" y="2271"/>
                  </a:lnTo>
                  <a:lnTo>
                    <a:pt x="163" y="2277"/>
                  </a:lnTo>
                  <a:lnTo>
                    <a:pt x="160" y="2286"/>
                  </a:lnTo>
                  <a:lnTo>
                    <a:pt x="156" y="2294"/>
                  </a:lnTo>
                  <a:lnTo>
                    <a:pt x="155" y="2303"/>
                  </a:lnTo>
                  <a:lnTo>
                    <a:pt x="155" y="2303"/>
                  </a:lnTo>
                  <a:lnTo>
                    <a:pt x="154" y="2306"/>
                  </a:lnTo>
                  <a:lnTo>
                    <a:pt x="152" y="2309"/>
                  </a:lnTo>
                  <a:lnTo>
                    <a:pt x="150" y="2312"/>
                  </a:lnTo>
                  <a:lnTo>
                    <a:pt x="147" y="2314"/>
                  </a:lnTo>
                  <a:lnTo>
                    <a:pt x="140" y="2318"/>
                  </a:lnTo>
                  <a:lnTo>
                    <a:pt x="132" y="2323"/>
                  </a:lnTo>
                  <a:lnTo>
                    <a:pt x="109" y="2333"/>
                  </a:lnTo>
                  <a:lnTo>
                    <a:pt x="97" y="2339"/>
                  </a:lnTo>
                  <a:lnTo>
                    <a:pt x="84" y="2347"/>
                  </a:lnTo>
                  <a:lnTo>
                    <a:pt x="71" y="2357"/>
                  </a:lnTo>
                  <a:lnTo>
                    <a:pt x="57" y="2371"/>
                  </a:lnTo>
                  <a:lnTo>
                    <a:pt x="51" y="2378"/>
                  </a:lnTo>
                  <a:lnTo>
                    <a:pt x="45" y="2386"/>
                  </a:lnTo>
                  <a:lnTo>
                    <a:pt x="39" y="2396"/>
                  </a:lnTo>
                  <a:lnTo>
                    <a:pt x="33" y="2406"/>
                  </a:lnTo>
                  <a:lnTo>
                    <a:pt x="28" y="2418"/>
                  </a:lnTo>
                  <a:lnTo>
                    <a:pt x="22" y="2430"/>
                  </a:lnTo>
                  <a:lnTo>
                    <a:pt x="17" y="2444"/>
                  </a:lnTo>
                  <a:lnTo>
                    <a:pt x="13" y="2458"/>
                  </a:lnTo>
                  <a:lnTo>
                    <a:pt x="9" y="2475"/>
                  </a:lnTo>
                  <a:lnTo>
                    <a:pt x="6" y="2492"/>
                  </a:lnTo>
                  <a:lnTo>
                    <a:pt x="3" y="2512"/>
                  </a:lnTo>
                  <a:lnTo>
                    <a:pt x="0" y="2532"/>
                  </a:lnTo>
                  <a:lnTo>
                    <a:pt x="0" y="2532"/>
                  </a:lnTo>
                  <a:lnTo>
                    <a:pt x="1" y="2533"/>
                  </a:lnTo>
                  <a:lnTo>
                    <a:pt x="2" y="2534"/>
                  </a:lnTo>
                  <a:lnTo>
                    <a:pt x="6" y="2532"/>
                  </a:lnTo>
                  <a:lnTo>
                    <a:pt x="12" y="2527"/>
                  </a:lnTo>
                  <a:lnTo>
                    <a:pt x="20" y="2519"/>
                  </a:lnTo>
                  <a:lnTo>
                    <a:pt x="43" y="2496"/>
                  </a:lnTo>
                  <a:lnTo>
                    <a:pt x="69" y="2472"/>
                  </a:lnTo>
                  <a:lnTo>
                    <a:pt x="82" y="2459"/>
                  </a:lnTo>
                  <a:lnTo>
                    <a:pt x="95" y="2448"/>
                  </a:lnTo>
                  <a:lnTo>
                    <a:pt x="107" y="2439"/>
                  </a:lnTo>
                  <a:lnTo>
                    <a:pt x="119" y="2432"/>
                  </a:lnTo>
                  <a:lnTo>
                    <a:pt x="124" y="2429"/>
                  </a:lnTo>
                  <a:lnTo>
                    <a:pt x="129" y="2428"/>
                  </a:lnTo>
                  <a:lnTo>
                    <a:pt x="133" y="2427"/>
                  </a:lnTo>
                  <a:lnTo>
                    <a:pt x="137" y="2427"/>
                  </a:lnTo>
                  <a:lnTo>
                    <a:pt x="140" y="2429"/>
                  </a:lnTo>
                  <a:lnTo>
                    <a:pt x="143" y="2431"/>
                  </a:lnTo>
                  <a:lnTo>
                    <a:pt x="144" y="2435"/>
                  </a:lnTo>
                  <a:lnTo>
                    <a:pt x="146" y="2439"/>
                  </a:lnTo>
                  <a:lnTo>
                    <a:pt x="146" y="2439"/>
                  </a:lnTo>
                  <a:lnTo>
                    <a:pt x="149" y="2455"/>
                  </a:lnTo>
                  <a:lnTo>
                    <a:pt x="154" y="2470"/>
                  </a:lnTo>
                  <a:lnTo>
                    <a:pt x="162" y="2483"/>
                  </a:lnTo>
                  <a:lnTo>
                    <a:pt x="170" y="2493"/>
                  </a:lnTo>
                  <a:lnTo>
                    <a:pt x="179" y="2503"/>
                  </a:lnTo>
                  <a:lnTo>
                    <a:pt x="189" y="2511"/>
                  </a:lnTo>
                  <a:lnTo>
                    <a:pt x="200" y="2518"/>
                  </a:lnTo>
                  <a:lnTo>
                    <a:pt x="214" y="2523"/>
                  </a:lnTo>
                  <a:lnTo>
                    <a:pt x="227" y="2527"/>
                  </a:lnTo>
                  <a:lnTo>
                    <a:pt x="241" y="2529"/>
                  </a:lnTo>
                  <a:lnTo>
                    <a:pt x="256" y="2531"/>
                  </a:lnTo>
                  <a:lnTo>
                    <a:pt x="271" y="2532"/>
                  </a:lnTo>
                  <a:lnTo>
                    <a:pt x="287" y="2533"/>
                  </a:lnTo>
                  <a:lnTo>
                    <a:pt x="304" y="2532"/>
                  </a:lnTo>
                  <a:lnTo>
                    <a:pt x="337" y="2530"/>
                  </a:lnTo>
                  <a:lnTo>
                    <a:pt x="371" y="2526"/>
                  </a:lnTo>
                  <a:lnTo>
                    <a:pt x="405" y="2521"/>
                  </a:lnTo>
                  <a:lnTo>
                    <a:pt x="438" y="2516"/>
                  </a:lnTo>
                  <a:lnTo>
                    <a:pt x="468" y="2512"/>
                  </a:lnTo>
                  <a:lnTo>
                    <a:pt x="496" y="2510"/>
                  </a:lnTo>
                  <a:lnTo>
                    <a:pt x="509" y="2509"/>
                  </a:lnTo>
                  <a:lnTo>
                    <a:pt x="520" y="2509"/>
                  </a:lnTo>
                  <a:lnTo>
                    <a:pt x="531" y="2510"/>
                  </a:lnTo>
                  <a:lnTo>
                    <a:pt x="541" y="2512"/>
                  </a:lnTo>
                  <a:lnTo>
                    <a:pt x="549" y="2515"/>
                  </a:lnTo>
                  <a:lnTo>
                    <a:pt x="555" y="2519"/>
                  </a:lnTo>
                  <a:lnTo>
                    <a:pt x="555" y="2519"/>
                  </a:lnTo>
                  <a:lnTo>
                    <a:pt x="558" y="2522"/>
                  </a:lnTo>
                  <a:lnTo>
                    <a:pt x="559" y="2524"/>
                  </a:lnTo>
                  <a:lnTo>
                    <a:pt x="557" y="2527"/>
                  </a:lnTo>
                  <a:lnTo>
                    <a:pt x="554" y="2529"/>
                  </a:lnTo>
                  <a:lnTo>
                    <a:pt x="549" y="2532"/>
                  </a:lnTo>
                  <a:lnTo>
                    <a:pt x="542" y="2534"/>
                  </a:lnTo>
                  <a:lnTo>
                    <a:pt x="525" y="2538"/>
                  </a:lnTo>
                  <a:lnTo>
                    <a:pt x="475" y="2547"/>
                  </a:lnTo>
                  <a:lnTo>
                    <a:pt x="447" y="2553"/>
                  </a:lnTo>
                  <a:lnTo>
                    <a:pt x="417" y="2559"/>
                  </a:lnTo>
                  <a:lnTo>
                    <a:pt x="388" y="2566"/>
                  </a:lnTo>
                  <a:lnTo>
                    <a:pt x="359" y="2574"/>
                  </a:lnTo>
                  <a:lnTo>
                    <a:pt x="346" y="2578"/>
                  </a:lnTo>
                  <a:lnTo>
                    <a:pt x="333" y="2583"/>
                  </a:lnTo>
                  <a:lnTo>
                    <a:pt x="322" y="2588"/>
                  </a:lnTo>
                  <a:lnTo>
                    <a:pt x="312" y="2594"/>
                  </a:lnTo>
                  <a:lnTo>
                    <a:pt x="303" y="2601"/>
                  </a:lnTo>
                  <a:lnTo>
                    <a:pt x="294" y="2607"/>
                  </a:lnTo>
                  <a:lnTo>
                    <a:pt x="288" y="2614"/>
                  </a:lnTo>
                  <a:lnTo>
                    <a:pt x="284" y="2622"/>
                  </a:lnTo>
                  <a:lnTo>
                    <a:pt x="282" y="2630"/>
                  </a:lnTo>
                  <a:lnTo>
                    <a:pt x="281" y="2638"/>
                  </a:lnTo>
                  <a:lnTo>
                    <a:pt x="283" y="2649"/>
                  </a:lnTo>
                  <a:lnTo>
                    <a:pt x="287" y="2659"/>
                  </a:lnTo>
                  <a:lnTo>
                    <a:pt x="287" y="2659"/>
                  </a:lnTo>
                  <a:lnTo>
                    <a:pt x="287" y="2660"/>
                  </a:lnTo>
                  <a:lnTo>
                    <a:pt x="286" y="2663"/>
                  </a:lnTo>
                  <a:lnTo>
                    <a:pt x="283" y="2669"/>
                  </a:lnTo>
                  <a:lnTo>
                    <a:pt x="268" y="2686"/>
                  </a:lnTo>
                  <a:lnTo>
                    <a:pt x="258" y="2699"/>
                  </a:lnTo>
                  <a:lnTo>
                    <a:pt x="247" y="2712"/>
                  </a:lnTo>
                  <a:lnTo>
                    <a:pt x="237" y="2727"/>
                  </a:lnTo>
                  <a:lnTo>
                    <a:pt x="228" y="2744"/>
                  </a:lnTo>
                  <a:lnTo>
                    <a:pt x="220" y="2761"/>
                  </a:lnTo>
                  <a:lnTo>
                    <a:pt x="217" y="2770"/>
                  </a:lnTo>
                  <a:lnTo>
                    <a:pt x="214" y="2781"/>
                  </a:lnTo>
                  <a:lnTo>
                    <a:pt x="213" y="2790"/>
                  </a:lnTo>
                  <a:lnTo>
                    <a:pt x="212" y="2801"/>
                  </a:lnTo>
                  <a:lnTo>
                    <a:pt x="212" y="2811"/>
                  </a:lnTo>
                  <a:lnTo>
                    <a:pt x="213" y="2821"/>
                  </a:lnTo>
                  <a:lnTo>
                    <a:pt x="215" y="2833"/>
                  </a:lnTo>
                  <a:lnTo>
                    <a:pt x="219" y="2844"/>
                  </a:lnTo>
                  <a:lnTo>
                    <a:pt x="223" y="2856"/>
                  </a:lnTo>
                  <a:lnTo>
                    <a:pt x="229" y="2867"/>
                  </a:lnTo>
                  <a:lnTo>
                    <a:pt x="237" y="2880"/>
                  </a:lnTo>
                  <a:lnTo>
                    <a:pt x="246" y="2892"/>
                  </a:lnTo>
                  <a:lnTo>
                    <a:pt x="257" y="2904"/>
                  </a:lnTo>
                  <a:lnTo>
                    <a:pt x="270" y="2917"/>
                  </a:lnTo>
                  <a:lnTo>
                    <a:pt x="270" y="2917"/>
                  </a:lnTo>
                  <a:lnTo>
                    <a:pt x="270" y="2910"/>
                  </a:lnTo>
                  <a:lnTo>
                    <a:pt x="272" y="2893"/>
                  </a:lnTo>
                  <a:lnTo>
                    <a:pt x="277" y="2868"/>
                  </a:lnTo>
                  <a:lnTo>
                    <a:pt x="281" y="2855"/>
                  </a:lnTo>
                  <a:lnTo>
                    <a:pt x="285" y="2841"/>
                  </a:lnTo>
                  <a:lnTo>
                    <a:pt x="291" y="2828"/>
                  </a:lnTo>
                  <a:lnTo>
                    <a:pt x="298" y="2814"/>
                  </a:lnTo>
                  <a:lnTo>
                    <a:pt x="306" y="2801"/>
                  </a:lnTo>
                  <a:lnTo>
                    <a:pt x="315" y="2791"/>
                  </a:lnTo>
                  <a:lnTo>
                    <a:pt x="321" y="2786"/>
                  </a:lnTo>
                  <a:lnTo>
                    <a:pt x="326" y="2782"/>
                  </a:lnTo>
                  <a:lnTo>
                    <a:pt x="332" y="2777"/>
                  </a:lnTo>
                  <a:lnTo>
                    <a:pt x="339" y="2774"/>
                  </a:lnTo>
                  <a:lnTo>
                    <a:pt x="346" y="2772"/>
                  </a:lnTo>
                  <a:lnTo>
                    <a:pt x="354" y="2770"/>
                  </a:lnTo>
                  <a:lnTo>
                    <a:pt x="361" y="2770"/>
                  </a:lnTo>
                  <a:lnTo>
                    <a:pt x="369" y="2770"/>
                  </a:lnTo>
                  <a:lnTo>
                    <a:pt x="369" y="2770"/>
                  </a:lnTo>
                  <a:lnTo>
                    <a:pt x="383" y="2771"/>
                  </a:lnTo>
                  <a:lnTo>
                    <a:pt x="396" y="2774"/>
                  </a:lnTo>
                  <a:lnTo>
                    <a:pt x="408" y="2778"/>
                  </a:lnTo>
                  <a:lnTo>
                    <a:pt x="420" y="2783"/>
                  </a:lnTo>
                  <a:lnTo>
                    <a:pt x="443" y="2793"/>
                  </a:lnTo>
                  <a:lnTo>
                    <a:pt x="454" y="2797"/>
                  </a:lnTo>
                  <a:lnTo>
                    <a:pt x="465" y="2801"/>
                  </a:lnTo>
                  <a:lnTo>
                    <a:pt x="476" y="2804"/>
                  </a:lnTo>
                  <a:lnTo>
                    <a:pt x="489" y="2806"/>
                  </a:lnTo>
                  <a:lnTo>
                    <a:pt x="501" y="2807"/>
                  </a:lnTo>
                  <a:lnTo>
                    <a:pt x="514" y="2805"/>
                  </a:lnTo>
                  <a:lnTo>
                    <a:pt x="528" y="2802"/>
                  </a:lnTo>
                  <a:lnTo>
                    <a:pt x="542" y="2796"/>
                  </a:lnTo>
                  <a:lnTo>
                    <a:pt x="558" y="2788"/>
                  </a:lnTo>
                  <a:lnTo>
                    <a:pt x="575" y="2775"/>
                  </a:lnTo>
                  <a:lnTo>
                    <a:pt x="575" y="2775"/>
                  </a:lnTo>
                  <a:lnTo>
                    <a:pt x="588" y="2766"/>
                  </a:lnTo>
                  <a:lnTo>
                    <a:pt x="600" y="2755"/>
                  </a:lnTo>
                  <a:lnTo>
                    <a:pt x="614" y="2743"/>
                  </a:lnTo>
                  <a:lnTo>
                    <a:pt x="630" y="2730"/>
                  </a:lnTo>
                  <a:lnTo>
                    <a:pt x="651" y="2718"/>
                  </a:lnTo>
                  <a:lnTo>
                    <a:pt x="664" y="2711"/>
                  </a:lnTo>
                  <a:lnTo>
                    <a:pt x="678" y="2705"/>
                  </a:lnTo>
                  <a:lnTo>
                    <a:pt x="693" y="2698"/>
                  </a:lnTo>
                  <a:lnTo>
                    <a:pt x="712" y="2692"/>
                  </a:lnTo>
                  <a:lnTo>
                    <a:pt x="732" y="2684"/>
                  </a:lnTo>
                  <a:lnTo>
                    <a:pt x="754" y="2677"/>
                  </a:lnTo>
                  <a:lnTo>
                    <a:pt x="754" y="2677"/>
                  </a:lnTo>
                  <a:lnTo>
                    <a:pt x="756" y="2677"/>
                  </a:lnTo>
                  <a:lnTo>
                    <a:pt x="757" y="2678"/>
                  </a:lnTo>
                  <a:lnTo>
                    <a:pt x="760" y="2683"/>
                  </a:lnTo>
                  <a:lnTo>
                    <a:pt x="762" y="2692"/>
                  </a:lnTo>
                  <a:lnTo>
                    <a:pt x="765" y="2701"/>
                  </a:lnTo>
                  <a:lnTo>
                    <a:pt x="768" y="2713"/>
                  </a:lnTo>
                  <a:lnTo>
                    <a:pt x="772" y="2725"/>
                  </a:lnTo>
                  <a:lnTo>
                    <a:pt x="777" y="2738"/>
                  </a:lnTo>
                  <a:lnTo>
                    <a:pt x="783" y="2750"/>
                  </a:lnTo>
                  <a:lnTo>
                    <a:pt x="783" y="2750"/>
                  </a:lnTo>
                  <a:lnTo>
                    <a:pt x="786" y="2753"/>
                  </a:lnTo>
                  <a:lnTo>
                    <a:pt x="789" y="2755"/>
                  </a:lnTo>
                  <a:lnTo>
                    <a:pt x="797" y="2760"/>
                  </a:lnTo>
                  <a:lnTo>
                    <a:pt x="805" y="2763"/>
                  </a:lnTo>
                  <a:lnTo>
                    <a:pt x="813" y="2767"/>
                  </a:lnTo>
                  <a:lnTo>
                    <a:pt x="821" y="2770"/>
                  </a:lnTo>
                  <a:lnTo>
                    <a:pt x="827" y="2773"/>
                  </a:lnTo>
                  <a:lnTo>
                    <a:pt x="830" y="2775"/>
                  </a:lnTo>
                  <a:lnTo>
                    <a:pt x="831" y="2777"/>
                  </a:lnTo>
                  <a:lnTo>
                    <a:pt x="833" y="2781"/>
                  </a:lnTo>
                  <a:lnTo>
                    <a:pt x="833" y="2784"/>
                  </a:lnTo>
                  <a:lnTo>
                    <a:pt x="833" y="2784"/>
                  </a:lnTo>
                  <a:lnTo>
                    <a:pt x="832" y="2794"/>
                  </a:lnTo>
                  <a:lnTo>
                    <a:pt x="830" y="2805"/>
                  </a:lnTo>
                  <a:lnTo>
                    <a:pt x="826" y="2815"/>
                  </a:lnTo>
                  <a:lnTo>
                    <a:pt x="822" y="2824"/>
                  </a:lnTo>
                  <a:lnTo>
                    <a:pt x="817" y="2834"/>
                  </a:lnTo>
                  <a:lnTo>
                    <a:pt x="811" y="2843"/>
                  </a:lnTo>
                  <a:lnTo>
                    <a:pt x="798" y="2859"/>
                  </a:lnTo>
                  <a:lnTo>
                    <a:pt x="784" y="2873"/>
                  </a:lnTo>
                  <a:lnTo>
                    <a:pt x="773" y="2884"/>
                  </a:lnTo>
                  <a:lnTo>
                    <a:pt x="765" y="2890"/>
                  </a:lnTo>
                  <a:lnTo>
                    <a:pt x="763" y="2893"/>
                  </a:lnTo>
                  <a:lnTo>
                    <a:pt x="763" y="2893"/>
                  </a:lnTo>
                  <a:lnTo>
                    <a:pt x="767" y="2896"/>
                  </a:lnTo>
                  <a:lnTo>
                    <a:pt x="778" y="2899"/>
                  </a:lnTo>
                  <a:lnTo>
                    <a:pt x="785" y="2900"/>
                  </a:lnTo>
                  <a:lnTo>
                    <a:pt x="794" y="2901"/>
                  </a:lnTo>
                  <a:lnTo>
                    <a:pt x="804" y="2901"/>
                  </a:lnTo>
                  <a:lnTo>
                    <a:pt x="815" y="2899"/>
                  </a:lnTo>
                  <a:lnTo>
                    <a:pt x="826" y="2896"/>
                  </a:lnTo>
                  <a:lnTo>
                    <a:pt x="839" y="2891"/>
                  </a:lnTo>
                  <a:lnTo>
                    <a:pt x="852" y="2884"/>
                  </a:lnTo>
                  <a:lnTo>
                    <a:pt x="865" y="2874"/>
                  </a:lnTo>
                  <a:lnTo>
                    <a:pt x="879" y="2860"/>
                  </a:lnTo>
                  <a:lnTo>
                    <a:pt x="894" y="2844"/>
                  </a:lnTo>
                  <a:lnTo>
                    <a:pt x="907" y="2824"/>
                  </a:lnTo>
                  <a:lnTo>
                    <a:pt x="921" y="2801"/>
                  </a:lnTo>
                  <a:lnTo>
                    <a:pt x="921" y="2801"/>
                  </a:lnTo>
                  <a:lnTo>
                    <a:pt x="924" y="2797"/>
                  </a:lnTo>
                  <a:lnTo>
                    <a:pt x="927" y="2793"/>
                  </a:lnTo>
                  <a:lnTo>
                    <a:pt x="930" y="2791"/>
                  </a:lnTo>
                  <a:lnTo>
                    <a:pt x="935" y="2789"/>
                  </a:lnTo>
                  <a:lnTo>
                    <a:pt x="939" y="2788"/>
                  </a:lnTo>
                  <a:lnTo>
                    <a:pt x="943" y="2788"/>
                  </a:lnTo>
                  <a:lnTo>
                    <a:pt x="951" y="2788"/>
                  </a:lnTo>
                  <a:lnTo>
                    <a:pt x="970" y="2790"/>
                  </a:lnTo>
                  <a:lnTo>
                    <a:pt x="982" y="2790"/>
                  </a:lnTo>
                  <a:lnTo>
                    <a:pt x="987" y="2789"/>
                  </a:lnTo>
                  <a:lnTo>
                    <a:pt x="992" y="2788"/>
                  </a:lnTo>
                  <a:lnTo>
                    <a:pt x="992" y="2788"/>
                  </a:lnTo>
                  <a:lnTo>
                    <a:pt x="1010" y="2782"/>
                  </a:lnTo>
                  <a:lnTo>
                    <a:pt x="1017" y="2777"/>
                  </a:lnTo>
                  <a:lnTo>
                    <a:pt x="1024" y="2773"/>
                  </a:lnTo>
                  <a:lnTo>
                    <a:pt x="1029" y="2770"/>
                  </a:lnTo>
                  <a:lnTo>
                    <a:pt x="1033" y="2766"/>
                  </a:lnTo>
                  <a:lnTo>
                    <a:pt x="1036" y="2762"/>
                  </a:lnTo>
                  <a:lnTo>
                    <a:pt x="1039" y="2757"/>
                  </a:lnTo>
                  <a:lnTo>
                    <a:pt x="1041" y="2753"/>
                  </a:lnTo>
                  <a:lnTo>
                    <a:pt x="1042" y="2748"/>
                  </a:lnTo>
                  <a:lnTo>
                    <a:pt x="1043" y="2739"/>
                  </a:lnTo>
                  <a:lnTo>
                    <a:pt x="1042" y="2728"/>
                  </a:lnTo>
                  <a:lnTo>
                    <a:pt x="1040" y="2718"/>
                  </a:lnTo>
                  <a:lnTo>
                    <a:pt x="1035" y="2696"/>
                  </a:lnTo>
                  <a:lnTo>
                    <a:pt x="1034" y="2685"/>
                  </a:lnTo>
                  <a:lnTo>
                    <a:pt x="1033" y="2673"/>
                  </a:lnTo>
                  <a:lnTo>
                    <a:pt x="1034" y="2662"/>
                  </a:lnTo>
                  <a:lnTo>
                    <a:pt x="1036" y="2657"/>
                  </a:lnTo>
                  <a:lnTo>
                    <a:pt x="1038" y="2651"/>
                  </a:lnTo>
                  <a:lnTo>
                    <a:pt x="1040" y="2646"/>
                  </a:lnTo>
                  <a:lnTo>
                    <a:pt x="1044" y="2640"/>
                  </a:lnTo>
                  <a:lnTo>
                    <a:pt x="1048" y="2634"/>
                  </a:lnTo>
                  <a:lnTo>
                    <a:pt x="1054" y="2629"/>
                  </a:lnTo>
                  <a:lnTo>
                    <a:pt x="1054" y="2629"/>
                  </a:lnTo>
                  <a:lnTo>
                    <a:pt x="1069" y="2616"/>
                  </a:lnTo>
                  <a:lnTo>
                    <a:pt x="1084" y="2603"/>
                  </a:lnTo>
                  <a:lnTo>
                    <a:pt x="1099" y="2591"/>
                  </a:lnTo>
                  <a:lnTo>
                    <a:pt x="1115" y="2579"/>
                  </a:lnTo>
                  <a:lnTo>
                    <a:pt x="1146" y="2559"/>
                  </a:lnTo>
                  <a:lnTo>
                    <a:pt x="1178" y="2540"/>
                  </a:lnTo>
                  <a:lnTo>
                    <a:pt x="1210" y="2524"/>
                  </a:lnTo>
                  <a:lnTo>
                    <a:pt x="1241" y="2509"/>
                  </a:lnTo>
                  <a:lnTo>
                    <a:pt x="1273" y="2494"/>
                  </a:lnTo>
                  <a:lnTo>
                    <a:pt x="1304" y="2482"/>
                  </a:lnTo>
                  <a:lnTo>
                    <a:pt x="1304" y="2482"/>
                  </a:lnTo>
                  <a:lnTo>
                    <a:pt x="1303" y="2486"/>
                  </a:lnTo>
                  <a:lnTo>
                    <a:pt x="1299" y="2498"/>
                  </a:lnTo>
                  <a:lnTo>
                    <a:pt x="1294" y="2518"/>
                  </a:lnTo>
                  <a:lnTo>
                    <a:pt x="1291" y="2541"/>
                  </a:lnTo>
                  <a:lnTo>
                    <a:pt x="1290" y="2556"/>
                  </a:lnTo>
                  <a:lnTo>
                    <a:pt x="1290" y="2570"/>
                  </a:lnTo>
                  <a:lnTo>
                    <a:pt x="1291" y="2585"/>
                  </a:lnTo>
                  <a:lnTo>
                    <a:pt x="1292" y="2602"/>
                  </a:lnTo>
                  <a:lnTo>
                    <a:pt x="1296" y="2618"/>
                  </a:lnTo>
                  <a:lnTo>
                    <a:pt x="1301" y="2634"/>
                  </a:lnTo>
                  <a:lnTo>
                    <a:pt x="1306" y="2652"/>
                  </a:lnTo>
                  <a:lnTo>
                    <a:pt x="1314" y="2669"/>
                  </a:lnTo>
                  <a:lnTo>
                    <a:pt x="1640" y="2585"/>
                  </a:lnTo>
                  <a:lnTo>
                    <a:pt x="1640" y="2585"/>
                  </a:lnTo>
                  <a:lnTo>
                    <a:pt x="1634" y="2569"/>
                  </a:lnTo>
                  <a:lnTo>
                    <a:pt x="1631" y="2553"/>
                  </a:lnTo>
                  <a:lnTo>
                    <a:pt x="1629" y="2535"/>
                  </a:lnTo>
                  <a:lnTo>
                    <a:pt x="1629" y="2518"/>
                  </a:lnTo>
                  <a:lnTo>
                    <a:pt x="1631" y="2500"/>
                  </a:lnTo>
                  <a:lnTo>
                    <a:pt x="1634" y="2483"/>
                  </a:lnTo>
                  <a:lnTo>
                    <a:pt x="1638" y="2466"/>
                  </a:lnTo>
                  <a:lnTo>
                    <a:pt x="1644" y="2447"/>
                  </a:lnTo>
                  <a:lnTo>
                    <a:pt x="1651" y="2430"/>
                  </a:lnTo>
                  <a:lnTo>
                    <a:pt x="1660" y="2411"/>
                  </a:lnTo>
                  <a:lnTo>
                    <a:pt x="1669" y="2394"/>
                  </a:lnTo>
                  <a:lnTo>
                    <a:pt x="1679" y="2377"/>
                  </a:lnTo>
                  <a:lnTo>
                    <a:pt x="1689" y="2359"/>
                  </a:lnTo>
                  <a:lnTo>
                    <a:pt x="1701" y="2342"/>
                  </a:lnTo>
                  <a:lnTo>
                    <a:pt x="1725" y="2310"/>
                  </a:lnTo>
                  <a:lnTo>
                    <a:pt x="1725" y="2310"/>
                  </a:lnTo>
                  <a:lnTo>
                    <a:pt x="1726" y="2309"/>
                  </a:lnTo>
                  <a:lnTo>
                    <a:pt x="1727" y="2309"/>
                  </a:lnTo>
                  <a:lnTo>
                    <a:pt x="1728" y="2313"/>
                  </a:lnTo>
                  <a:lnTo>
                    <a:pt x="1725" y="2335"/>
                  </a:lnTo>
                  <a:lnTo>
                    <a:pt x="1721" y="2368"/>
                  </a:lnTo>
                  <a:lnTo>
                    <a:pt x="1715" y="2410"/>
                  </a:lnTo>
                  <a:lnTo>
                    <a:pt x="1713" y="2433"/>
                  </a:lnTo>
                  <a:lnTo>
                    <a:pt x="1711" y="2456"/>
                  </a:lnTo>
                  <a:lnTo>
                    <a:pt x="1711" y="2478"/>
                  </a:lnTo>
                  <a:lnTo>
                    <a:pt x="1711" y="2499"/>
                  </a:lnTo>
                  <a:lnTo>
                    <a:pt x="1713" y="2519"/>
                  </a:lnTo>
                  <a:lnTo>
                    <a:pt x="1716" y="2536"/>
                  </a:lnTo>
                  <a:lnTo>
                    <a:pt x="1719" y="2544"/>
                  </a:lnTo>
                  <a:lnTo>
                    <a:pt x="1722" y="2551"/>
                  </a:lnTo>
                  <a:lnTo>
                    <a:pt x="1726" y="2557"/>
                  </a:lnTo>
                  <a:lnTo>
                    <a:pt x="1730" y="2562"/>
                  </a:lnTo>
                  <a:lnTo>
                    <a:pt x="2050" y="2479"/>
                  </a:lnTo>
                  <a:lnTo>
                    <a:pt x="2050" y="2479"/>
                  </a:lnTo>
                  <a:lnTo>
                    <a:pt x="2046" y="2469"/>
                  </a:lnTo>
                  <a:lnTo>
                    <a:pt x="2043" y="2457"/>
                  </a:lnTo>
                  <a:lnTo>
                    <a:pt x="2041" y="2446"/>
                  </a:lnTo>
                  <a:lnTo>
                    <a:pt x="2039" y="2434"/>
                  </a:lnTo>
                  <a:lnTo>
                    <a:pt x="2038" y="2422"/>
                  </a:lnTo>
                  <a:lnTo>
                    <a:pt x="2038" y="2409"/>
                  </a:lnTo>
                  <a:lnTo>
                    <a:pt x="2039" y="2383"/>
                  </a:lnTo>
                  <a:lnTo>
                    <a:pt x="2043" y="2356"/>
                  </a:lnTo>
                  <a:lnTo>
                    <a:pt x="2048" y="2330"/>
                  </a:lnTo>
                  <a:lnTo>
                    <a:pt x="2055" y="2303"/>
                  </a:lnTo>
                  <a:lnTo>
                    <a:pt x="2064" y="2279"/>
                  </a:lnTo>
                  <a:lnTo>
                    <a:pt x="2064" y="2279"/>
                  </a:lnTo>
                  <a:lnTo>
                    <a:pt x="2072" y="2306"/>
                  </a:lnTo>
                  <a:lnTo>
                    <a:pt x="2079" y="2335"/>
                  </a:lnTo>
                  <a:lnTo>
                    <a:pt x="2088" y="2362"/>
                  </a:lnTo>
                  <a:lnTo>
                    <a:pt x="2098" y="2390"/>
                  </a:lnTo>
                  <a:lnTo>
                    <a:pt x="2108" y="2417"/>
                  </a:lnTo>
                  <a:lnTo>
                    <a:pt x="2121" y="2443"/>
                  </a:lnTo>
                  <a:lnTo>
                    <a:pt x="2135" y="2469"/>
                  </a:lnTo>
                  <a:lnTo>
                    <a:pt x="2149" y="2494"/>
                  </a:lnTo>
                  <a:lnTo>
                    <a:pt x="2166" y="2519"/>
                  </a:lnTo>
                  <a:lnTo>
                    <a:pt x="2183" y="2541"/>
                  </a:lnTo>
                  <a:lnTo>
                    <a:pt x="2201" y="2563"/>
                  </a:lnTo>
                  <a:lnTo>
                    <a:pt x="2222" y="2583"/>
                  </a:lnTo>
                  <a:lnTo>
                    <a:pt x="2244" y="2603"/>
                  </a:lnTo>
                  <a:lnTo>
                    <a:pt x="2268" y="2619"/>
                  </a:lnTo>
                  <a:lnTo>
                    <a:pt x="2280" y="2627"/>
                  </a:lnTo>
                  <a:lnTo>
                    <a:pt x="2292" y="2634"/>
                  </a:lnTo>
                  <a:lnTo>
                    <a:pt x="2306" y="2641"/>
                  </a:lnTo>
                  <a:lnTo>
                    <a:pt x="2320" y="2648"/>
                  </a:lnTo>
                  <a:lnTo>
                    <a:pt x="2320" y="2648"/>
                  </a:lnTo>
                  <a:lnTo>
                    <a:pt x="2365" y="2667"/>
                  </a:lnTo>
                  <a:lnTo>
                    <a:pt x="2410" y="2685"/>
                  </a:lnTo>
                  <a:lnTo>
                    <a:pt x="2454" y="2702"/>
                  </a:lnTo>
                  <a:lnTo>
                    <a:pt x="2499" y="2718"/>
                  </a:lnTo>
                  <a:lnTo>
                    <a:pt x="2544" y="2733"/>
                  </a:lnTo>
                  <a:lnTo>
                    <a:pt x="2589" y="2749"/>
                  </a:lnTo>
                  <a:lnTo>
                    <a:pt x="2683" y="2778"/>
                  </a:lnTo>
                  <a:lnTo>
                    <a:pt x="2782" y="2807"/>
                  </a:lnTo>
                  <a:lnTo>
                    <a:pt x="2889" y="2838"/>
                  </a:lnTo>
                  <a:lnTo>
                    <a:pt x="3005" y="2872"/>
                  </a:lnTo>
                  <a:lnTo>
                    <a:pt x="3133" y="2908"/>
                  </a:lnTo>
                  <a:lnTo>
                    <a:pt x="3133" y="2908"/>
                  </a:lnTo>
                  <a:lnTo>
                    <a:pt x="3205" y="2931"/>
                  </a:lnTo>
                  <a:lnTo>
                    <a:pt x="3273" y="2954"/>
                  </a:lnTo>
                  <a:lnTo>
                    <a:pt x="3305" y="2966"/>
                  </a:lnTo>
                  <a:lnTo>
                    <a:pt x="3333" y="2977"/>
                  </a:lnTo>
                  <a:lnTo>
                    <a:pt x="3358" y="2987"/>
                  </a:lnTo>
                  <a:lnTo>
                    <a:pt x="3377" y="2996"/>
                  </a:lnTo>
                  <a:lnTo>
                    <a:pt x="3377" y="2996"/>
                  </a:lnTo>
                  <a:lnTo>
                    <a:pt x="3383" y="2999"/>
                  </a:lnTo>
                  <a:lnTo>
                    <a:pt x="3389" y="3003"/>
                  </a:lnTo>
                  <a:lnTo>
                    <a:pt x="3393" y="3006"/>
                  </a:lnTo>
                  <a:lnTo>
                    <a:pt x="3397" y="3011"/>
                  </a:lnTo>
                  <a:lnTo>
                    <a:pt x="3399" y="3015"/>
                  </a:lnTo>
                  <a:lnTo>
                    <a:pt x="3401" y="3020"/>
                  </a:lnTo>
                  <a:lnTo>
                    <a:pt x="3402" y="3024"/>
                  </a:lnTo>
                  <a:lnTo>
                    <a:pt x="3402" y="3028"/>
                  </a:lnTo>
                  <a:lnTo>
                    <a:pt x="3401" y="3037"/>
                  </a:lnTo>
                  <a:lnTo>
                    <a:pt x="3397" y="3046"/>
                  </a:lnTo>
                  <a:lnTo>
                    <a:pt x="3392" y="3055"/>
                  </a:lnTo>
                  <a:lnTo>
                    <a:pt x="3386" y="3064"/>
                  </a:lnTo>
                  <a:lnTo>
                    <a:pt x="3378" y="3072"/>
                  </a:lnTo>
                  <a:lnTo>
                    <a:pt x="3371" y="3080"/>
                  </a:lnTo>
                  <a:lnTo>
                    <a:pt x="3357" y="3092"/>
                  </a:lnTo>
                  <a:lnTo>
                    <a:pt x="3346" y="3102"/>
                  </a:lnTo>
                  <a:lnTo>
                    <a:pt x="3341" y="3105"/>
                  </a:lnTo>
                  <a:lnTo>
                    <a:pt x="3341" y="3105"/>
                  </a:lnTo>
                  <a:lnTo>
                    <a:pt x="3355" y="3113"/>
                  </a:lnTo>
                  <a:lnTo>
                    <a:pt x="3371" y="3121"/>
                  </a:lnTo>
                  <a:lnTo>
                    <a:pt x="3411" y="3139"/>
                  </a:lnTo>
                  <a:lnTo>
                    <a:pt x="3435" y="3152"/>
                  </a:lnTo>
                  <a:lnTo>
                    <a:pt x="3461" y="3167"/>
                  </a:lnTo>
                  <a:lnTo>
                    <a:pt x="3492" y="3186"/>
                  </a:lnTo>
                  <a:lnTo>
                    <a:pt x="3527" y="3211"/>
                  </a:lnTo>
                  <a:lnTo>
                    <a:pt x="3527" y="3211"/>
                  </a:lnTo>
                  <a:lnTo>
                    <a:pt x="3545" y="3226"/>
                  </a:lnTo>
                  <a:lnTo>
                    <a:pt x="3563" y="3244"/>
                  </a:lnTo>
                  <a:lnTo>
                    <a:pt x="3580" y="3263"/>
                  </a:lnTo>
                  <a:lnTo>
                    <a:pt x="3595" y="3284"/>
                  </a:lnTo>
                  <a:lnTo>
                    <a:pt x="3608" y="3305"/>
                  </a:lnTo>
                  <a:lnTo>
                    <a:pt x="3622" y="3329"/>
                  </a:lnTo>
                  <a:lnTo>
                    <a:pt x="3634" y="3352"/>
                  </a:lnTo>
                  <a:lnTo>
                    <a:pt x="3645" y="3378"/>
                  </a:lnTo>
                  <a:lnTo>
                    <a:pt x="3655" y="3404"/>
                  </a:lnTo>
                  <a:lnTo>
                    <a:pt x="3665" y="3432"/>
                  </a:lnTo>
                  <a:lnTo>
                    <a:pt x="3674" y="3460"/>
                  </a:lnTo>
                  <a:lnTo>
                    <a:pt x="3682" y="3489"/>
                  </a:lnTo>
                  <a:lnTo>
                    <a:pt x="3698" y="3549"/>
                  </a:lnTo>
                  <a:lnTo>
                    <a:pt x="3714" y="3612"/>
                  </a:lnTo>
                  <a:lnTo>
                    <a:pt x="3714" y="3612"/>
                  </a:lnTo>
                  <a:lnTo>
                    <a:pt x="3725" y="3662"/>
                  </a:lnTo>
                  <a:lnTo>
                    <a:pt x="3734" y="3715"/>
                  </a:lnTo>
                  <a:lnTo>
                    <a:pt x="3742" y="3768"/>
                  </a:lnTo>
                  <a:lnTo>
                    <a:pt x="3744" y="3795"/>
                  </a:lnTo>
                  <a:lnTo>
                    <a:pt x="3746" y="3819"/>
                  </a:lnTo>
                  <a:lnTo>
                    <a:pt x="3748" y="3844"/>
                  </a:lnTo>
                  <a:lnTo>
                    <a:pt x="3749" y="3867"/>
                  </a:lnTo>
                  <a:lnTo>
                    <a:pt x="3748" y="3889"/>
                  </a:lnTo>
                  <a:lnTo>
                    <a:pt x="3745" y="3909"/>
                  </a:lnTo>
                  <a:lnTo>
                    <a:pt x="3742" y="3928"/>
                  </a:lnTo>
                  <a:lnTo>
                    <a:pt x="3737" y="3944"/>
                  </a:lnTo>
                  <a:lnTo>
                    <a:pt x="3731" y="3957"/>
                  </a:lnTo>
                  <a:lnTo>
                    <a:pt x="3728" y="3963"/>
                  </a:lnTo>
                  <a:lnTo>
                    <a:pt x="3724" y="3969"/>
                  </a:lnTo>
                  <a:lnTo>
                    <a:pt x="3724" y="3969"/>
                  </a:lnTo>
                  <a:lnTo>
                    <a:pt x="3715" y="3979"/>
                  </a:lnTo>
                  <a:lnTo>
                    <a:pt x="3705" y="3989"/>
                  </a:lnTo>
                  <a:lnTo>
                    <a:pt x="3691" y="3998"/>
                  </a:lnTo>
                  <a:lnTo>
                    <a:pt x="3683" y="4003"/>
                  </a:lnTo>
                  <a:lnTo>
                    <a:pt x="3673" y="4008"/>
                  </a:lnTo>
                  <a:lnTo>
                    <a:pt x="3663" y="4014"/>
                  </a:lnTo>
                  <a:lnTo>
                    <a:pt x="3650" y="4019"/>
                  </a:lnTo>
                  <a:lnTo>
                    <a:pt x="3621" y="4028"/>
                  </a:lnTo>
                  <a:lnTo>
                    <a:pt x="3582" y="4038"/>
                  </a:lnTo>
                  <a:lnTo>
                    <a:pt x="3535" y="4048"/>
                  </a:lnTo>
                  <a:lnTo>
                    <a:pt x="3560" y="4171"/>
                  </a:lnTo>
                  <a:lnTo>
                    <a:pt x="3560" y="4171"/>
                  </a:lnTo>
                  <a:lnTo>
                    <a:pt x="3579" y="4172"/>
                  </a:lnTo>
                  <a:lnTo>
                    <a:pt x="3597" y="4172"/>
                  </a:lnTo>
                  <a:lnTo>
                    <a:pt x="3615" y="4171"/>
                  </a:lnTo>
                  <a:lnTo>
                    <a:pt x="3631" y="4169"/>
                  </a:lnTo>
                  <a:lnTo>
                    <a:pt x="3646" y="4167"/>
                  </a:lnTo>
                  <a:lnTo>
                    <a:pt x="3662" y="4164"/>
                  </a:lnTo>
                  <a:lnTo>
                    <a:pt x="3688" y="4157"/>
                  </a:lnTo>
                  <a:lnTo>
                    <a:pt x="3711" y="4150"/>
                  </a:lnTo>
                  <a:lnTo>
                    <a:pt x="3728" y="4143"/>
                  </a:lnTo>
                  <a:lnTo>
                    <a:pt x="3742" y="4137"/>
                  </a:lnTo>
                  <a:lnTo>
                    <a:pt x="3742" y="4137"/>
                  </a:lnTo>
                  <a:lnTo>
                    <a:pt x="3736" y="4143"/>
                  </a:lnTo>
                  <a:lnTo>
                    <a:pt x="3730" y="4151"/>
                  </a:lnTo>
                  <a:lnTo>
                    <a:pt x="3722" y="4161"/>
                  </a:lnTo>
                  <a:lnTo>
                    <a:pt x="3722" y="4161"/>
                  </a:lnTo>
                  <a:lnTo>
                    <a:pt x="3711" y="4177"/>
                  </a:lnTo>
                  <a:lnTo>
                    <a:pt x="3700" y="4194"/>
                  </a:lnTo>
                  <a:lnTo>
                    <a:pt x="3692" y="4209"/>
                  </a:lnTo>
                  <a:lnTo>
                    <a:pt x="3685" y="4224"/>
                  </a:lnTo>
                  <a:lnTo>
                    <a:pt x="3680" y="4240"/>
                  </a:lnTo>
                  <a:lnTo>
                    <a:pt x="3675" y="4257"/>
                  </a:lnTo>
                  <a:lnTo>
                    <a:pt x="3672" y="4274"/>
                  </a:lnTo>
                  <a:lnTo>
                    <a:pt x="3669" y="4295"/>
                  </a:lnTo>
                  <a:lnTo>
                    <a:pt x="3799" y="4379"/>
                  </a:lnTo>
                  <a:lnTo>
                    <a:pt x="3799" y="4379"/>
                  </a:lnTo>
                  <a:lnTo>
                    <a:pt x="3812" y="4338"/>
                  </a:lnTo>
                  <a:lnTo>
                    <a:pt x="3826" y="4298"/>
                  </a:lnTo>
                  <a:lnTo>
                    <a:pt x="3841" y="4262"/>
                  </a:lnTo>
                  <a:lnTo>
                    <a:pt x="3855" y="4229"/>
                  </a:lnTo>
                  <a:lnTo>
                    <a:pt x="3870" y="4202"/>
                  </a:lnTo>
                  <a:lnTo>
                    <a:pt x="3877" y="4189"/>
                  </a:lnTo>
                  <a:lnTo>
                    <a:pt x="3885" y="4179"/>
                  </a:lnTo>
                  <a:lnTo>
                    <a:pt x="3892" y="4170"/>
                  </a:lnTo>
                  <a:lnTo>
                    <a:pt x="3899" y="4163"/>
                  </a:lnTo>
                  <a:lnTo>
                    <a:pt x="3906" y="4158"/>
                  </a:lnTo>
                  <a:lnTo>
                    <a:pt x="3913" y="4154"/>
                  </a:lnTo>
                  <a:lnTo>
                    <a:pt x="3913" y="4154"/>
                  </a:lnTo>
                  <a:lnTo>
                    <a:pt x="3919" y="4152"/>
                  </a:lnTo>
                  <a:lnTo>
                    <a:pt x="3926" y="4152"/>
                  </a:lnTo>
                  <a:lnTo>
                    <a:pt x="3935" y="4152"/>
                  </a:lnTo>
                  <a:lnTo>
                    <a:pt x="3944" y="4153"/>
                  </a:lnTo>
                  <a:lnTo>
                    <a:pt x="3954" y="4155"/>
                  </a:lnTo>
                  <a:lnTo>
                    <a:pt x="3965" y="4157"/>
                  </a:lnTo>
                  <a:lnTo>
                    <a:pt x="3990" y="4166"/>
                  </a:lnTo>
                  <a:lnTo>
                    <a:pt x="4017" y="4177"/>
                  </a:lnTo>
                  <a:lnTo>
                    <a:pt x="4047" y="4192"/>
                  </a:lnTo>
                  <a:lnTo>
                    <a:pt x="4078" y="4212"/>
                  </a:lnTo>
                  <a:lnTo>
                    <a:pt x="4110" y="4233"/>
                  </a:lnTo>
                  <a:lnTo>
                    <a:pt x="4127" y="4246"/>
                  </a:lnTo>
                  <a:lnTo>
                    <a:pt x="4143" y="4259"/>
                  </a:lnTo>
                  <a:lnTo>
                    <a:pt x="4160" y="4273"/>
                  </a:lnTo>
                  <a:lnTo>
                    <a:pt x="4176" y="4288"/>
                  </a:lnTo>
                  <a:lnTo>
                    <a:pt x="4192" y="4303"/>
                  </a:lnTo>
                  <a:lnTo>
                    <a:pt x="4208" y="4319"/>
                  </a:lnTo>
                  <a:lnTo>
                    <a:pt x="4224" y="4337"/>
                  </a:lnTo>
                  <a:lnTo>
                    <a:pt x="4239" y="4355"/>
                  </a:lnTo>
                  <a:lnTo>
                    <a:pt x="4254" y="4373"/>
                  </a:lnTo>
                  <a:lnTo>
                    <a:pt x="4268" y="4393"/>
                  </a:lnTo>
                  <a:lnTo>
                    <a:pt x="4282" y="4413"/>
                  </a:lnTo>
                  <a:lnTo>
                    <a:pt x="4296" y="4435"/>
                  </a:lnTo>
                  <a:lnTo>
                    <a:pt x="4308" y="4456"/>
                  </a:lnTo>
                  <a:lnTo>
                    <a:pt x="4320" y="4479"/>
                  </a:lnTo>
                  <a:lnTo>
                    <a:pt x="4331" y="4502"/>
                  </a:lnTo>
                  <a:lnTo>
                    <a:pt x="4342" y="4527"/>
                  </a:lnTo>
                  <a:lnTo>
                    <a:pt x="4342" y="4527"/>
                  </a:lnTo>
                  <a:lnTo>
                    <a:pt x="4347" y="4541"/>
                  </a:lnTo>
                  <a:lnTo>
                    <a:pt x="4352" y="4558"/>
                  </a:lnTo>
                  <a:lnTo>
                    <a:pt x="4356" y="4574"/>
                  </a:lnTo>
                  <a:lnTo>
                    <a:pt x="4360" y="4591"/>
                  </a:lnTo>
                  <a:lnTo>
                    <a:pt x="4363" y="4610"/>
                  </a:lnTo>
                  <a:lnTo>
                    <a:pt x="4366" y="4628"/>
                  </a:lnTo>
                  <a:lnTo>
                    <a:pt x="4370" y="4667"/>
                  </a:lnTo>
                  <a:lnTo>
                    <a:pt x="4372" y="4706"/>
                  </a:lnTo>
                  <a:lnTo>
                    <a:pt x="4371" y="4747"/>
                  </a:lnTo>
                  <a:lnTo>
                    <a:pt x="4370" y="4767"/>
                  </a:lnTo>
                  <a:lnTo>
                    <a:pt x="4369" y="4787"/>
                  </a:lnTo>
                  <a:lnTo>
                    <a:pt x="4366" y="4807"/>
                  </a:lnTo>
                  <a:lnTo>
                    <a:pt x="4363" y="4826"/>
                  </a:lnTo>
                  <a:lnTo>
                    <a:pt x="4360" y="4846"/>
                  </a:lnTo>
                  <a:lnTo>
                    <a:pt x="4356" y="4864"/>
                  </a:lnTo>
                  <a:lnTo>
                    <a:pt x="4351" y="4883"/>
                  </a:lnTo>
                  <a:lnTo>
                    <a:pt x="4345" y="4900"/>
                  </a:lnTo>
                  <a:lnTo>
                    <a:pt x="4339" y="4917"/>
                  </a:lnTo>
                  <a:lnTo>
                    <a:pt x="4332" y="4933"/>
                  </a:lnTo>
                  <a:lnTo>
                    <a:pt x="4324" y="4948"/>
                  </a:lnTo>
                  <a:lnTo>
                    <a:pt x="4316" y="4962"/>
                  </a:lnTo>
                  <a:lnTo>
                    <a:pt x="4307" y="4976"/>
                  </a:lnTo>
                  <a:lnTo>
                    <a:pt x="4298" y="4988"/>
                  </a:lnTo>
                  <a:lnTo>
                    <a:pt x="4287" y="4999"/>
                  </a:lnTo>
                  <a:lnTo>
                    <a:pt x="4276" y="5008"/>
                  </a:lnTo>
                  <a:lnTo>
                    <a:pt x="4264" y="5017"/>
                  </a:lnTo>
                  <a:lnTo>
                    <a:pt x="4252" y="5024"/>
                  </a:lnTo>
                  <a:lnTo>
                    <a:pt x="4238" y="5029"/>
                  </a:lnTo>
                  <a:lnTo>
                    <a:pt x="4224" y="5032"/>
                  </a:lnTo>
                  <a:lnTo>
                    <a:pt x="4224" y="5032"/>
                  </a:lnTo>
                  <a:lnTo>
                    <a:pt x="4216" y="5033"/>
                  </a:lnTo>
                  <a:lnTo>
                    <a:pt x="4208" y="5033"/>
                  </a:lnTo>
                  <a:lnTo>
                    <a:pt x="4198" y="5032"/>
                  </a:lnTo>
                  <a:lnTo>
                    <a:pt x="4188" y="5030"/>
                  </a:lnTo>
                  <a:lnTo>
                    <a:pt x="4168" y="5025"/>
                  </a:lnTo>
                  <a:lnTo>
                    <a:pt x="4145" y="5017"/>
                  </a:lnTo>
                  <a:lnTo>
                    <a:pt x="4123" y="5006"/>
                  </a:lnTo>
                  <a:lnTo>
                    <a:pt x="4099" y="4995"/>
                  </a:lnTo>
                  <a:lnTo>
                    <a:pt x="4051" y="4973"/>
                  </a:lnTo>
                  <a:lnTo>
                    <a:pt x="4028" y="4961"/>
                  </a:lnTo>
                  <a:lnTo>
                    <a:pt x="4005" y="4952"/>
                  </a:lnTo>
                  <a:lnTo>
                    <a:pt x="3984" y="4945"/>
                  </a:lnTo>
                  <a:lnTo>
                    <a:pt x="3964" y="4940"/>
                  </a:lnTo>
                  <a:lnTo>
                    <a:pt x="3955" y="4939"/>
                  </a:lnTo>
                  <a:lnTo>
                    <a:pt x="3947" y="4938"/>
                  </a:lnTo>
                  <a:lnTo>
                    <a:pt x="3939" y="4939"/>
                  </a:lnTo>
                  <a:lnTo>
                    <a:pt x="3932" y="4940"/>
                  </a:lnTo>
                  <a:lnTo>
                    <a:pt x="3924" y="4943"/>
                  </a:lnTo>
                  <a:lnTo>
                    <a:pt x="3919" y="4947"/>
                  </a:lnTo>
                  <a:lnTo>
                    <a:pt x="3914" y="4952"/>
                  </a:lnTo>
                  <a:lnTo>
                    <a:pt x="3909" y="4958"/>
                  </a:lnTo>
                  <a:lnTo>
                    <a:pt x="3909" y="4958"/>
                  </a:lnTo>
                  <a:lnTo>
                    <a:pt x="3905" y="4965"/>
                  </a:lnTo>
                  <a:lnTo>
                    <a:pt x="3900" y="4973"/>
                  </a:lnTo>
                  <a:lnTo>
                    <a:pt x="3893" y="4979"/>
                  </a:lnTo>
                  <a:lnTo>
                    <a:pt x="3886" y="4985"/>
                  </a:lnTo>
                  <a:lnTo>
                    <a:pt x="3869" y="4996"/>
                  </a:lnTo>
                  <a:lnTo>
                    <a:pt x="3851" y="5006"/>
                  </a:lnTo>
                  <a:lnTo>
                    <a:pt x="3810" y="5028"/>
                  </a:lnTo>
                  <a:lnTo>
                    <a:pt x="3789" y="5039"/>
                  </a:lnTo>
                  <a:lnTo>
                    <a:pt x="3770" y="5052"/>
                  </a:lnTo>
                  <a:lnTo>
                    <a:pt x="3761" y="5058"/>
                  </a:lnTo>
                  <a:lnTo>
                    <a:pt x="3752" y="5067"/>
                  </a:lnTo>
                  <a:lnTo>
                    <a:pt x="3743" y="5074"/>
                  </a:lnTo>
                  <a:lnTo>
                    <a:pt x="3735" y="5083"/>
                  </a:lnTo>
                  <a:lnTo>
                    <a:pt x="3728" y="5092"/>
                  </a:lnTo>
                  <a:lnTo>
                    <a:pt x="3722" y="5102"/>
                  </a:lnTo>
                  <a:lnTo>
                    <a:pt x="3717" y="5113"/>
                  </a:lnTo>
                  <a:lnTo>
                    <a:pt x="3713" y="5125"/>
                  </a:lnTo>
                  <a:lnTo>
                    <a:pt x="3710" y="5137"/>
                  </a:lnTo>
                  <a:lnTo>
                    <a:pt x="3708" y="5151"/>
                  </a:lnTo>
                  <a:lnTo>
                    <a:pt x="3707" y="5165"/>
                  </a:lnTo>
                  <a:lnTo>
                    <a:pt x="3707" y="5181"/>
                  </a:lnTo>
                  <a:lnTo>
                    <a:pt x="3709" y="5198"/>
                  </a:lnTo>
                  <a:lnTo>
                    <a:pt x="3713" y="5215"/>
                  </a:lnTo>
                  <a:lnTo>
                    <a:pt x="3718" y="5234"/>
                  </a:lnTo>
                  <a:lnTo>
                    <a:pt x="3724" y="5255"/>
                  </a:lnTo>
                  <a:lnTo>
                    <a:pt x="3724" y="5255"/>
                  </a:lnTo>
                  <a:lnTo>
                    <a:pt x="3741" y="5234"/>
                  </a:lnTo>
                  <a:lnTo>
                    <a:pt x="3759" y="5213"/>
                  </a:lnTo>
                  <a:lnTo>
                    <a:pt x="3776" y="5194"/>
                  </a:lnTo>
                  <a:lnTo>
                    <a:pt x="3794" y="5178"/>
                  </a:lnTo>
                  <a:lnTo>
                    <a:pt x="3802" y="5171"/>
                  </a:lnTo>
                  <a:lnTo>
                    <a:pt x="3811" y="5165"/>
                  </a:lnTo>
                  <a:lnTo>
                    <a:pt x="3819" y="5159"/>
                  </a:lnTo>
                  <a:lnTo>
                    <a:pt x="3827" y="5155"/>
                  </a:lnTo>
                  <a:lnTo>
                    <a:pt x="3835" y="5153"/>
                  </a:lnTo>
                  <a:lnTo>
                    <a:pt x="3843" y="5151"/>
                  </a:lnTo>
                  <a:lnTo>
                    <a:pt x="3850" y="5151"/>
                  </a:lnTo>
                  <a:lnTo>
                    <a:pt x="3857" y="5153"/>
                  </a:lnTo>
                  <a:lnTo>
                    <a:pt x="3857" y="5153"/>
                  </a:lnTo>
                  <a:lnTo>
                    <a:pt x="3861" y="5155"/>
                  </a:lnTo>
                  <a:lnTo>
                    <a:pt x="3864" y="5157"/>
                  </a:lnTo>
                  <a:lnTo>
                    <a:pt x="3870" y="5163"/>
                  </a:lnTo>
                  <a:lnTo>
                    <a:pt x="3875" y="5171"/>
                  </a:lnTo>
                  <a:lnTo>
                    <a:pt x="3879" y="5179"/>
                  </a:lnTo>
                  <a:lnTo>
                    <a:pt x="3888" y="5200"/>
                  </a:lnTo>
                  <a:lnTo>
                    <a:pt x="3894" y="5210"/>
                  </a:lnTo>
                  <a:lnTo>
                    <a:pt x="3901" y="5220"/>
                  </a:lnTo>
                  <a:lnTo>
                    <a:pt x="3901" y="5220"/>
                  </a:lnTo>
                  <a:lnTo>
                    <a:pt x="3904" y="5223"/>
                  </a:lnTo>
                  <a:lnTo>
                    <a:pt x="3908" y="5225"/>
                  </a:lnTo>
                  <a:lnTo>
                    <a:pt x="3913" y="5227"/>
                  </a:lnTo>
                  <a:lnTo>
                    <a:pt x="3919" y="5228"/>
                  </a:lnTo>
                  <a:lnTo>
                    <a:pt x="3934" y="5230"/>
                  </a:lnTo>
                  <a:lnTo>
                    <a:pt x="3950" y="5230"/>
                  </a:lnTo>
                  <a:lnTo>
                    <a:pt x="3968" y="5229"/>
                  </a:lnTo>
                  <a:lnTo>
                    <a:pt x="3989" y="5227"/>
                  </a:lnTo>
                  <a:lnTo>
                    <a:pt x="4032" y="5223"/>
                  </a:lnTo>
                  <a:lnTo>
                    <a:pt x="4074" y="5219"/>
                  </a:lnTo>
                  <a:lnTo>
                    <a:pt x="4093" y="5217"/>
                  </a:lnTo>
                  <a:lnTo>
                    <a:pt x="4110" y="5217"/>
                  </a:lnTo>
                  <a:lnTo>
                    <a:pt x="4126" y="5217"/>
                  </a:lnTo>
                  <a:lnTo>
                    <a:pt x="4137" y="5219"/>
                  </a:lnTo>
                  <a:lnTo>
                    <a:pt x="4142" y="5221"/>
                  </a:lnTo>
                  <a:lnTo>
                    <a:pt x="4146" y="5223"/>
                  </a:lnTo>
                  <a:lnTo>
                    <a:pt x="4148" y="5225"/>
                  </a:lnTo>
                  <a:lnTo>
                    <a:pt x="4150" y="5228"/>
                  </a:lnTo>
                  <a:lnTo>
                    <a:pt x="4150" y="5228"/>
                  </a:lnTo>
                  <a:lnTo>
                    <a:pt x="4151" y="5231"/>
                  </a:lnTo>
                  <a:lnTo>
                    <a:pt x="4150" y="5234"/>
                  </a:lnTo>
                  <a:lnTo>
                    <a:pt x="4149" y="5236"/>
                  </a:lnTo>
                  <a:lnTo>
                    <a:pt x="4148" y="5238"/>
                  </a:lnTo>
                  <a:lnTo>
                    <a:pt x="4143" y="5242"/>
                  </a:lnTo>
                  <a:lnTo>
                    <a:pt x="4136" y="5243"/>
                  </a:lnTo>
                  <a:lnTo>
                    <a:pt x="4118" y="5246"/>
                  </a:lnTo>
                  <a:lnTo>
                    <a:pt x="4100" y="5248"/>
                  </a:lnTo>
                  <a:lnTo>
                    <a:pt x="4100" y="5248"/>
                  </a:lnTo>
                  <a:lnTo>
                    <a:pt x="4021" y="5262"/>
                  </a:lnTo>
                  <a:lnTo>
                    <a:pt x="3981" y="5269"/>
                  </a:lnTo>
                  <a:lnTo>
                    <a:pt x="3943" y="5277"/>
                  </a:lnTo>
                  <a:lnTo>
                    <a:pt x="3925" y="5282"/>
                  </a:lnTo>
                  <a:lnTo>
                    <a:pt x="3909" y="5288"/>
                  </a:lnTo>
                  <a:lnTo>
                    <a:pt x="3894" y="5294"/>
                  </a:lnTo>
                  <a:lnTo>
                    <a:pt x="3881" y="5300"/>
                  </a:lnTo>
                  <a:lnTo>
                    <a:pt x="3869" y="5306"/>
                  </a:lnTo>
                  <a:lnTo>
                    <a:pt x="3860" y="5314"/>
                  </a:lnTo>
                  <a:lnTo>
                    <a:pt x="3853" y="5322"/>
                  </a:lnTo>
                  <a:lnTo>
                    <a:pt x="3850" y="5326"/>
                  </a:lnTo>
                  <a:lnTo>
                    <a:pt x="3848" y="5331"/>
                  </a:lnTo>
                  <a:lnTo>
                    <a:pt x="3848" y="5331"/>
                  </a:lnTo>
                  <a:lnTo>
                    <a:pt x="3846" y="5338"/>
                  </a:lnTo>
                  <a:lnTo>
                    <a:pt x="3846" y="5342"/>
                  </a:lnTo>
                  <a:lnTo>
                    <a:pt x="3847" y="5352"/>
                  </a:lnTo>
                  <a:lnTo>
                    <a:pt x="3847" y="5357"/>
                  </a:lnTo>
                  <a:lnTo>
                    <a:pt x="3846" y="5363"/>
                  </a:lnTo>
                  <a:lnTo>
                    <a:pt x="3845" y="5371"/>
                  </a:lnTo>
                  <a:lnTo>
                    <a:pt x="3842" y="5382"/>
                  </a:lnTo>
                  <a:lnTo>
                    <a:pt x="3842" y="5382"/>
                  </a:lnTo>
                  <a:lnTo>
                    <a:pt x="3837" y="5393"/>
                  </a:lnTo>
                  <a:lnTo>
                    <a:pt x="3831" y="5402"/>
                  </a:lnTo>
                  <a:lnTo>
                    <a:pt x="3823" y="5410"/>
                  </a:lnTo>
                  <a:lnTo>
                    <a:pt x="3815" y="5418"/>
                  </a:lnTo>
                  <a:lnTo>
                    <a:pt x="3796" y="5434"/>
                  </a:lnTo>
                  <a:lnTo>
                    <a:pt x="3786" y="5442"/>
                  </a:lnTo>
                  <a:lnTo>
                    <a:pt x="3776" y="5451"/>
                  </a:lnTo>
                  <a:lnTo>
                    <a:pt x="3767" y="5460"/>
                  </a:lnTo>
                  <a:lnTo>
                    <a:pt x="3758" y="5472"/>
                  </a:lnTo>
                  <a:lnTo>
                    <a:pt x="3750" y="5485"/>
                  </a:lnTo>
                  <a:lnTo>
                    <a:pt x="3742" y="5499"/>
                  </a:lnTo>
                  <a:lnTo>
                    <a:pt x="3736" y="5517"/>
                  </a:lnTo>
                  <a:lnTo>
                    <a:pt x="3732" y="5536"/>
                  </a:lnTo>
                  <a:lnTo>
                    <a:pt x="3730" y="5558"/>
                  </a:lnTo>
                  <a:lnTo>
                    <a:pt x="3730" y="5584"/>
                  </a:lnTo>
                  <a:lnTo>
                    <a:pt x="3730" y="5584"/>
                  </a:lnTo>
                  <a:lnTo>
                    <a:pt x="3732" y="5597"/>
                  </a:lnTo>
                  <a:lnTo>
                    <a:pt x="3735" y="5610"/>
                  </a:lnTo>
                  <a:lnTo>
                    <a:pt x="3739" y="5622"/>
                  </a:lnTo>
                  <a:lnTo>
                    <a:pt x="3744" y="5634"/>
                  </a:lnTo>
                  <a:lnTo>
                    <a:pt x="3751" y="5644"/>
                  </a:lnTo>
                  <a:lnTo>
                    <a:pt x="3757" y="5656"/>
                  </a:lnTo>
                  <a:lnTo>
                    <a:pt x="3763" y="5665"/>
                  </a:lnTo>
                  <a:lnTo>
                    <a:pt x="3770" y="5674"/>
                  </a:lnTo>
                  <a:lnTo>
                    <a:pt x="3784" y="5689"/>
                  </a:lnTo>
                  <a:lnTo>
                    <a:pt x="3797" y="5701"/>
                  </a:lnTo>
                  <a:lnTo>
                    <a:pt x="3807" y="5708"/>
                  </a:lnTo>
                  <a:lnTo>
                    <a:pt x="3810" y="5710"/>
                  </a:lnTo>
                  <a:lnTo>
                    <a:pt x="3813" y="5711"/>
                  </a:lnTo>
                  <a:lnTo>
                    <a:pt x="3813" y="5711"/>
                  </a:lnTo>
                  <a:lnTo>
                    <a:pt x="3814" y="5710"/>
                  </a:lnTo>
                  <a:lnTo>
                    <a:pt x="3815" y="5709"/>
                  </a:lnTo>
                  <a:lnTo>
                    <a:pt x="3816" y="5704"/>
                  </a:lnTo>
                  <a:lnTo>
                    <a:pt x="3818" y="5696"/>
                  </a:lnTo>
                  <a:lnTo>
                    <a:pt x="3818" y="5686"/>
                  </a:lnTo>
                  <a:lnTo>
                    <a:pt x="3820" y="5662"/>
                  </a:lnTo>
                  <a:lnTo>
                    <a:pt x="3823" y="5633"/>
                  </a:lnTo>
                  <a:lnTo>
                    <a:pt x="3825" y="5619"/>
                  </a:lnTo>
                  <a:lnTo>
                    <a:pt x="3828" y="5603"/>
                  </a:lnTo>
                  <a:lnTo>
                    <a:pt x="3831" y="5590"/>
                  </a:lnTo>
                  <a:lnTo>
                    <a:pt x="3836" y="5577"/>
                  </a:lnTo>
                  <a:lnTo>
                    <a:pt x="3843" y="5566"/>
                  </a:lnTo>
                  <a:lnTo>
                    <a:pt x="3847" y="5562"/>
                  </a:lnTo>
                  <a:lnTo>
                    <a:pt x="3851" y="5556"/>
                  </a:lnTo>
                  <a:lnTo>
                    <a:pt x="3855" y="5553"/>
                  </a:lnTo>
                  <a:lnTo>
                    <a:pt x="3860" y="5550"/>
                  </a:lnTo>
                  <a:lnTo>
                    <a:pt x="3865" y="5547"/>
                  </a:lnTo>
                  <a:lnTo>
                    <a:pt x="3871" y="5546"/>
                  </a:lnTo>
                  <a:lnTo>
                    <a:pt x="3871" y="5546"/>
                  </a:lnTo>
                  <a:lnTo>
                    <a:pt x="3877" y="5545"/>
                  </a:lnTo>
                  <a:lnTo>
                    <a:pt x="3882" y="5546"/>
                  </a:lnTo>
                  <a:lnTo>
                    <a:pt x="3888" y="5548"/>
                  </a:lnTo>
                  <a:lnTo>
                    <a:pt x="3892" y="5552"/>
                  </a:lnTo>
                  <a:lnTo>
                    <a:pt x="3902" y="5561"/>
                  </a:lnTo>
                  <a:lnTo>
                    <a:pt x="3911" y="5571"/>
                  </a:lnTo>
                  <a:lnTo>
                    <a:pt x="3921" y="5581"/>
                  </a:lnTo>
                  <a:lnTo>
                    <a:pt x="3926" y="5586"/>
                  </a:lnTo>
                  <a:lnTo>
                    <a:pt x="3933" y="5590"/>
                  </a:lnTo>
                  <a:lnTo>
                    <a:pt x="3940" y="5594"/>
                  </a:lnTo>
                  <a:lnTo>
                    <a:pt x="3946" y="5597"/>
                  </a:lnTo>
                  <a:lnTo>
                    <a:pt x="3954" y="5598"/>
                  </a:lnTo>
                  <a:lnTo>
                    <a:pt x="3962" y="5599"/>
                  </a:lnTo>
                  <a:lnTo>
                    <a:pt x="3962" y="5599"/>
                  </a:lnTo>
                  <a:lnTo>
                    <a:pt x="3970" y="5598"/>
                  </a:lnTo>
                  <a:lnTo>
                    <a:pt x="3979" y="5595"/>
                  </a:lnTo>
                  <a:lnTo>
                    <a:pt x="3987" y="5592"/>
                  </a:lnTo>
                  <a:lnTo>
                    <a:pt x="3996" y="5588"/>
                  </a:lnTo>
                  <a:lnTo>
                    <a:pt x="4005" y="5582"/>
                  </a:lnTo>
                  <a:lnTo>
                    <a:pt x="4014" y="5576"/>
                  </a:lnTo>
                  <a:lnTo>
                    <a:pt x="4035" y="5559"/>
                  </a:lnTo>
                  <a:lnTo>
                    <a:pt x="4055" y="5542"/>
                  </a:lnTo>
                  <a:lnTo>
                    <a:pt x="4077" y="5522"/>
                  </a:lnTo>
                  <a:lnTo>
                    <a:pt x="4122" y="5479"/>
                  </a:lnTo>
                  <a:lnTo>
                    <a:pt x="4144" y="5457"/>
                  </a:lnTo>
                  <a:lnTo>
                    <a:pt x="4166" y="5437"/>
                  </a:lnTo>
                  <a:lnTo>
                    <a:pt x="4187" y="5417"/>
                  </a:lnTo>
                  <a:lnTo>
                    <a:pt x="4208" y="5402"/>
                  </a:lnTo>
                  <a:lnTo>
                    <a:pt x="4227" y="5389"/>
                  </a:lnTo>
                  <a:lnTo>
                    <a:pt x="4236" y="5384"/>
                  </a:lnTo>
                  <a:lnTo>
                    <a:pt x="4245" y="5380"/>
                  </a:lnTo>
                  <a:lnTo>
                    <a:pt x="4254" y="5376"/>
                  </a:lnTo>
                  <a:lnTo>
                    <a:pt x="4262" y="5374"/>
                  </a:lnTo>
                  <a:lnTo>
                    <a:pt x="4270" y="5374"/>
                  </a:lnTo>
                  <a:lnTo>
                    <a:pt x="4277" y="5375"/>
                  </a:lnTo>
                  <a:lnTo>
                    <a:pt x="4277" y="5375"/>
                  </a:lnTo>
                  <a:lnTo>
                    <a:pt x="4278" y="5376"/>
                  </a:lnTo>
                  <a:lnTo>
                    <a:pt x="4279" y="5379"/>
                  </a:lnTo>
                  <a:lnTo>
                    <a:pt x="4278" y="5382"/>
                  </a:lnTo>
                  <a:lnTo>
                    <a:pt x="4277" y="5384"/>
                  </a:lnTo>
                  <a:lnTo>
                    <a:pt x="4272" y="5391"/>
                  </a:lnTo>
                  <a:lnTo>
                    <a:pt x="4264" y="5399"/>
                  </a:lnTo>
                  <a:lnTo>
                    <a:pt x="4241" y="5420"/>
                  </a:lnTo>
                  <a:lnTo>
                    <a:pt x="4212" y="5447"/>
                  </a:lnTo>
                  <a:lnTo>
                    <a:pt x="4181" y="5477"/>
                  </a:lnTo>
                  <a:lnTo>
                    <a:pt x="4167" y="5492"/>
                  </a:lnTo>
                  <a:lnTo>
                    <a:pt x="4152" y="5508"/>
                  </a:lnTo>
                  <a:lnTo>
                    <a:pt x="4140" y="5525"/>
                  </a:lnTo>
                  <a:lnTo>
                    <a:pt x="4129" y="5542"/>
                  </a:lnTo>
                  <a:lnTo>
                    <a:pt x="4121" y="5558"/>
                  </a:lnTo>
                  <a:lnTo>
                    <a:pt x="4118" y="5567"/>
                  </a:lnTo>
                  <a:lnTo>
                    <a:pt x="4116" y="5576"/>
                  </a:lnTo>
                  <a:lnTo>
                    <a:pt x="4116" y="5576"/>
                  </a:lnTo>
                  <a:lnTo>
                    <a:pt x="4114" y="5588"/>
                  </a:lnTo>
                  <a:lnTo>
                    <a:pt x="4114" y="5599"/>
                  </a:lnTo>
                  <a:lnTo>
                    <a:pt x="4115" y="5611"/>
                  </a:lnTo>
                  <a:lnTo>
                    <a:pt x="4119" y="5620"/>
                  </a:lnTo>
                  <a:lnTo>
                    <a:pt x="4123" y="5628"/>
                  </a:lnTo>
                  <a:lnTo>
                    <a:pt x="4129" y="5636"/>
                  </a:lnTo>
                  <a:lnTo>
                    <a:pt x="4135" y="5643"/>
                  </a:lnTo>
                  <a:lnTo>
                    <a:pt x="4142" y="5649"/>
                  </a:lnTo>
                  <a:lnTo>
                    <a:pt x="4157" y="5663"/>
                  </a:lnTo>
                  <a:lnTo>
                    <a:pt x="4163" y="5669"/>
                  </a:lnTo>
                  <a:lnTo>
                    <a:pt x="4169" y="5676"/>
                  </a:lnTo>
                  <a:lnTo>
                    <a:pt x="4175" y="5683"/>
                  </a:lnTo>
                  <a:lnTo>
                    <a:pt x="4179" y="5690"/>
                  </a:lnTo>
                  <a:lnTo>
                    <a:pt x="4182" y="5699"/>
                  </a:lnTo>
                  <a:lnTo>
                    <a:pt x="4183" y="5708"/>
                  </a:lnTo>
                  <a:lnTo>
                    <a:pt x="4183" y="5708"/>
                  </a:lnTo>
                  <a:lnTo>
                    <a:pt x="4184" y="5718"/>
                  </a:lnTo>
                  <a:lnTo>
                    <a:pt x="4186" y="5729"/>
                  </a:lnTo>
                  <a:lnTo>
                    <a:pt x="4189" y="5738"/>
                  </a:lnTo>
                  <a:lnTo>
                    <a:pt x="4193" y="5749"/>
                  </a:lnTo>
                  <a:lnTo>
                    <a:pt x="4198" y="5758"/>
                  </a:lnTo>
                  <a:lnTo>
                    <a:pt x="4205" y="5767"/>
                  </a:lnTo>
                  <a:lnTo>
                    <a:pt x="4212" y="5775"/>
                  </a:lnTo>
                  <a:lnTo>
                    <a:pt x="4220" y="5783"/>
                  </a:lnTo>
                  <a:lnTo>
                    <a:pt x="4228" y="5792"/>
                  </a:lnTo>
                  <a:lnTo>
                    <a:pt x="4237" y="5799"/>
                  </a:lnTo>
                  <a:lnTo>
                    <a:pt x="4257" y="5812"/>
                  </a:lnTo>
                  <a:lnTo>
                    <a:pt x="4278" y="5824"/>
                  </a:lnTo>
                  <a:lnTo>
                    <a:pt x="4300" y="5835"/>
                  </a:lnTo>
                  <a:lnTo>
                    <a:pt x="4322" y="5844"/>
                  </a:lnTo>
                  <a:lnTo>
                    <a:pt x="4344" y="5852"/>
                  </a:lnTo>
                  <a:lnTo>
                    <a:pt x="4364" y="5857"/>
                  </a:lnTo>
                  <a:lnTo>
                    <a:pt x="4382" y="5862"/>
                  </a:lnTo>
                  <a:lnTo>
                    <a:pt x="4399" y="5864"/>
                  </a:lnTo>
                  <a:lnTo>
                    <a:pt x="4412" y="5865"/>
                  </a:lnTo>
                  <a:lnTo>
                    <a:pt x="4421" y="5865"/>
                  </a:lnTo>
                  <a:lnTo>
                    <a:pt x="4424" y="5864"/>
                  </a:lnTo>
                  <a:lnTo>
                    <a:pt x="4426" y="5863"/>
                  </a:lnTo>
                  <a:lnTo>
                    <a:pt x="4426" y="5863"/>
                  </a:lnTo>
                  <a:lnTo>
                    <a:pt x="4427" y="5861"/>
                  </a:lnTo>
                  <a:lnTo>
                    <a:pt x="4427" y="5859"/>
                  </a:lnTo>
                  <a:lnTo>
                    <a:pt x="4425" y="5853"/>
                  </a:lnTo>
                  <a:lnTo>
                    <a:pt x="4420" y="5846"/>
                  </a:lnTo>
                  <a:lnTo>
                    <a:pt x="4412" y="5836"/>
                  </a:lnTo>
                  <a:lnTo>
                    <a:pt x="4393" y="5813"/>
                  </a:lnTo>
                  <a:lnTo>
                    <a:pt x="4369" y="5786"/>
                  </a:lnTo>
                  <a:lnTo>
                    <a:pt x="4358" y="5773"/>
                  </a:lnTo>
                  <a:lnTo>
                    <a:pt x="4348" y="5759"/>
                  </a:lnTo>
                  <a:lnTo>
                    <a:pt x="4339" y="5745"/>
                  </a:lnTo>
                  <a:lnTo>
                    <a:pt x="4330" y="5731"/>
                  </a:lnTo>
                  <a:lnTo>
                    <a:pt x="4325" y="5718"/>
                  </a:lnTo>
                  <a:lnTo>
                    <a:pt x="4324" y="5712"/>
                  </a:lnTo>
                  <a:lnTo>
                    <a:pt x="4323" y="5706"/>
                  </a:lnTo>
                  <a:lnTo>
                    <a:pt x="4323" y="5700"/>
                  </a:lnTo>
                  <a:lnTo>
                    <a:pt x="4324" y="5694"/>
                  </a:lnTo>
                  <a:lnTo>
                    <a:pt x="4326" y="5689"/>
                  </a:lnTo>
                  <a:lnTo>
                    <a:pt x="4329" y="5684"/>
                  </a:lnTo>
                  <a:lnTo>
                    <a:pt x="4329" y="5684"/>
                  </a:lnTo>
                  <a:lnTo>
                    <a:pt x="4333" y="5680"/>
                  </a:lnTo>
                  <a:lnTo>
                    <a:pt x="4337" y="5677"/>
                  </a:lnTo>
                  <a:lnTo>
                    <a:pt x="4343" y="5676"/>
                  </a:lnTo>
                  <a:lnTo>
                    <a:pt x="4347" y="5675"/>
                  </a:lnTo>
                  <a:lnTo>
                    <a:pt x="4352" y="5675"/>
                  </a:lnTo>
                  <a:lnTo>
                    <a:pt x="4358" y="5676"/>
                  </a:lnTo>
                  <a:lnTo>
                    <a:pt x="4370" y="5678"/>
                  </a:lnTo>
                  <a:lnTo>
                    <a:pt x="4384" y="5681"/>
                  </a:lnTo>
                  <a:lnTo>
                    <a:pt x="4392" y="5682"/>
                  </a:lnTo>
                  <a:lnTo>
                    <a:pt x="4399" y="5682"/>
                  </a:lnTo>
                  <a:lnTo>
                    <a:pt x="4408" y="5682"/>
                  </a:lnTo>
                  <a:lnTo>
                    <a:pt x="4416" y="5681"/>
                  </a:lnTo>
                  <a:lnTo>
                    <a:pt x="4425" y="5679"/>
                  </a:lnTo>
                  <a:lnTo>
                    <a:pt x="4436" y="5675"/>
                  </a:lnTo>
                  <a:lnTo>
                    <a:pt x="4436" y="5675"/>
                  </a:lnTo>
                  <a:lnTo>
                    <a:pt x="4437" y="5673"/>
                  </a:lnTo>
                  <a:lnTo>
                    <a:pt x="4438" y="5670"/>
                  </a:lnTo>
                  <a:lnTo>
                    <a:pt x="4438" y="5663"/>
                  </a:lnTo>
                  <a:lnTo>
                    <a:pt x="4436" y="5652"/>
                  </a:lnTo>
                  <a:lnTo>
                    <a:pt x="4434" y="5637"/>
                  </a:lnTo>
                  <a:lnTo>
                    <a:pt x="4431" y="5621"/>
                  </a:lnTo>
                  <a:lnTo>
                    <a:pt x="4428" y="5602"/>
                  </a:lnTo>
                  <a:lnTo>
                    <a:pt x="4426" y="5581"/>
                  </a:lnTo>
                  <a:lnTo>
                    <a:pt x="4426" y="5557"/>
                  </a:lnTo>
                  <a:lnTo>
                    <a:pt x="4428" y="5533"/>
                  </a:lnTo>
                  <a:lnTo>
                    <a:pt x="4431" y="5520"/>
                  </a:lnTo>
                  <a:lnTo>
                    <a:pt x="4434" y="5505"/>
                  </a:lnTo>
                  <a:lnTo>
                    <a:pt x="4437" y="5492"/>
                  </a:lnTo>
                  <a:lnTo>
                    <a:pt x="4441" y="5477"/>
                  </a:lnTo>
                  <a:lnTo>
                    <a:pt x="4446" y="5462"/>
                  </a:lnTo>
                  <a:lnTo>
                    <a:pt x="4453" y="5447"/>
                  </a:lnTo>
                  <a:lnTo>
                    <a:pt x="4460" y="5432"/>
                  </a:lnTo>
                  <a:lnTo>
                    <a:pt x="4469" y="5416"/>
                  </a:lnTo>
                  <a:lnTo>
                    <a:pt x="4479" y="5400"/>
                  </a:lnTo>
                  <a:lnTo>
                    <a:pt x="4490" y="5384"/>
                  </a:lnTo>
                  <a:lnTo>
                    <a:pt x="4503" y="5367"/>
                  </a:lnTo>
                  <a:lnTo>
                    <a:pt x="4516" y="5351"/>
                  </a:lnTo>
                  <a:lnTo>
                    <a:pt x="4533" y="5334"/>
                  </a:lnTo>
                  <a:lnTo>
                    <a:pt x="4550" y="5317"/>
                  </a:lnTo>
                  <a:lnTo>
                    <a:pt x="4550" y="5317"/>
                  </a:lnTo>
                  <a:lnTo>
                    <a:pt x="4557" y="5328"/>
                  </a:lnTo>
                  <a:lnTo>
                    <a:pt x="4566" y="5340"/>
                  </a:lnTo>
                  <a:lnTo>
                    <a:pt x="4578" y="5353"/>
                  </a:lnTo>
                  <a:lnTo>
                    <a:pt x="4586" y="5360"/>
                  </a:lnTo>
                  <a:lnTo>
                    <a:pt x="4594" y="5367"/>
                  </a:lnTo>
                  <a:lnTo>
                    <a:pt x="4603" y="5373"/>
                  </a:lnTo>
                  <a:lnTo>
                    <a:pt x="4614" y="5381"/>
                  </a:lnTo>
                  <a:lnTo>
                    <a:pt x="4624" y="5386"/>
                  </a:lnTo>
                  <a:lnTo>
                    <a:pt x="4636" y="5390"/>
                  </a:lnTo>
                  <a:lnTo>
                    <a:pt x="4648" y="5394"/>
                  </a:lnTo>
                  <a:lnTo>
                    <a:pt x="4662" y="5396"/>
                  </a:lnTo>
                  <a:lnTo>
                    <a:pt x="4662" y="5396"/>
                  </a:lnTo>
                  <a:lnTo>
                    <a:pt x="4668" y="5397"/>
                  </a:lnTo>
                  <a:lnTo>
                    <a:pt x="4673" y="5399"/>
                  </a:lnTo>
                  <a:lnTo>
                    <a:pt x="4677" y="5402"/>
                  </a:lnTo>
                  <a:lnTo>
                    <a:pt x="4681" y="5405"/>
                  </a:lnTo>
                  <a:lnTo>
                    <a:pt x="4685" y="5409"/>
                  </a:lnTo>
                  <a:lnTo>
                    <a:pt x="4688" y="5413"/>
                  </a:lnTo>
                  <a:lnTo>
                    <a:pt x="4692" y="5425"/>
                  </a:lnTo>
                  <a:lnTo>
                    <a:pt x="4696" y="5437"/>
                  </a:lnTo>
                  <a:lnTo>
                    <a:pt x="4698" y="5450"/>
                  </a:lnTo>
                  <a:lnTo>
                    <a:pt x="4698" y="5463"/>
                  </a:lnTo>
                  <a:lnTo>
                    <a:pt x="4698" y="5478"/>
                  </a:lnTo>
                  <a:lnTo>
                    <a:pt x="4696" y="5506"/>
                  </a:lnTo>
                  <a:lnTo>
                    <a:pt x="4694" y="5531"/>
                  </a:lnTo>
                  <a:lnTo>
                    <a:pt x="4692" y="5548"/>
                  </a:lnTo>
                  <a:lnTo>
                    <a:pt x="4692" y="5553"/>
                  </a:lnTo>
                  <a:lnTo>
                    <a:pt x="4693" y="5554"/>
                  </a:lnTo>
                  <a:lnTo>
                    <a:pt x="4694" y="5554"/>
                  </a:lnTo>
                  <a:lnTo>
                    <a:pt x="4694" y="5554"/>
                  </a:lnTo>
                  <a:lnTo>
                    <a:pt x="4697" y="5553"/>
                  </a:lnTo>
                  <a:lnTo>
                    <a:pt x="4702" y="5550"/>
                  </a:lnTo>
                  <a:lnTo>
                    <a:pt x="4708" y="5545"/>
                  </a:lnTo>
                  <a:lnTo>
                    <a:pt x="4714" y="5538"/>
                  </a:lnTo>
                  <a:lnTo>
                    <a:pt x="4721" y="5529"/>
                  </a:lnTo>
                  <a:lnTo>
                    <a:pt x="4729" y="5519"/>
                  </a:lnTo>
                  <a:lnTo>
                    <a:pt x="4736" y="5505"/>
                  </a:lnTo>
                  <a:lnTo>
                    <a:pt x="4743" y="5492"/>
                  </a:lnTo>
                  <a:lnTo>
                    <a:pt x="4751" y="5477"/>
                  </a:lnTo>
                  <a:lnTo>
                    <a:pt x="4758" y="5459"/>
                  </a:lnTo>
                  <a:lnTo>
                    <a:pt x="4763" y="5442"/>
                  </a:lnTo>
                  <a:lnTo>
                    <a:pt x="4768" y="5422"/>
                  </a:lnTo>
                  <a:lnTo>
                    <a:pt x="4771" y="5402"/>
                  </a:lnTo>
                  <a:lnTo>
                    <a:pt x="4773" y="5382"/>
                  </a:lnTo>
                  <a:lnTo>
                    <a:pt x="4772" y="5360"/>
                  </a:lnTo>
                  <a:lnTo>
                    <a:pt x="4770" y="5338"/>
                  </a:lnTo>
                  <a:lnTo>
                    <a:pt x="4770" y="5338"/>
                  </a:lnTo>
                  <a:lnTo>
                    <a:pt x="4778" y="5330"/>
                  </a:lnTo>
                  <a:lnTo>
                    <a:pt x="4798" y="5313"/>
                  </a:lnTo>
                  <a:lnTo>
                    <a:pt x="4809" y="5302"/>
                  </a:lnTo>
                  <a:lnTo>
                    <a:pt x="4819" y="5290"/>
                  </a:lnTo>
                  <a:lnTo>
                    <a:pt x="4827" y="5276"/>
                  </a:lnTo>
                  <a:lnTo>
                    <a:pt x="4830" y="5270"/>
                  </a:lnTo>
                  <a:lnTo>
                    <a:pt x="4832" y="5264"/>
                  </a:lnTo>
                  <a:lnTo>
                    <a:pt x="4832" y="5264"/>
                  </a:lnTo>
                  <a:lnTo>
                    <a:pt x="4834" y="5255"/>
                  </a:lnTo>
                  <a:lnTo>
                    <a:pt x="4835" y="5246"/>
                  </a:lnTo>
                  <a:lnTo>
                    <a:pt x="4836" y="5237"/>
                  </a:lnTo>
                  <a:lnTo>
                    <a:pt x="4835" y="5230"/>
                  </a:lnTo>
                  <a:lnTo>
                    <a:pt x="4834" y="5224"/>
                  </a:lnTo>
                  <a:lnTo>
                    <a:pt x="4832" y="5218"/>
                  </a:lnTo>
                  <a:lnTo>
                    <a:pt x="4830" y="5213"/>
                  </a:lnTo>
                  <a:lnTo>
                    <a:pt x="4827" y="5208"/>
                  </a:lnTo>
                  <a:lnTo>
                    <a:pt x="4819" y="5199"/>
                  </a:lnTo>
                  <a:lnTo>
                    <a:pt x="4810" y="5189"/>
                  </a:lnTo>
                  <a:lnTo>
                    <a:pt x="4800" y="5180"/>
                  </a:lnTo>
                  <a:lnTo>
                    <a:pt x="4789" y="5169"/>
                  </a:lnTo>
                  <a:lnTo>
                    <a:pt x="4778" y="5156"/>
                  </a:lnTo>
                  <a:lnTo>
                    <a:pt x="4772" y="5148"/>
                  </a:lnTo>
                  <a:lnTo>
                    <a:pt x="4767" y="5139"/>
                  </a:lnTo>
                  <a:lnTo>
                    <a:pt x="4762" y="5130"/>
                  </a:lnTo>
                  <a:lnTo>
                    <a:pt x="4757" y="5120"/>
                  </a:lnTo>
                  <a:lnTo>
                    <a:pt x="4753" y="5108"/>
                  </a:lnTo>
                  <a:lnTo>
                    <a:pt x="4749" y="5095"/>
                  </a:lnTo>
                  <a:lnTo>
                    <a:pt x="4744" y="5081"/>
                  </a:lnTo>
                  <a:lnTo>
                    <a:pt x="4741" y="5065"/>
                  </a:lnTo>
                  <a:lnTo>
                    <a:pt x="4738" y="5048"/>
                  </a:lnTo>
                  <a:lnTo>
                    <a:pt x="4736" y="5029"/>
                  </a:lnTo>
                  <a:lnTo>
                    <a:pt x="4735" y="5008"/>
                  </a:lnTo>
                  <a:lnTo>
                    <a:pt x="4734" y="4986"/>
                  </a:lnTo>
                  <a:lnTo>
                    <a:pt x="4734" y="4961"/>
                  </a:lnTo>
                  <a:lnTo>
                    <a:pt x="4735" y="4935"/>
                  </a:lnTo>
                  <a:lnTo>
                    <a:pt x="4735" y="4935"/>
                  </a:lnTo>
                  <a:lnTo>
                    <a:pt x="4735" y="4917"/>
                  </a:lnTo>
                  <a:lnTo>
                    <a:pt x="4734" y="4911"/>
                  </a:lnTo>
                  <a:lnTo>
                    <a:pt x="4733" y="4906"/>
                  </a:lnTo>
                  <a:lnTo>
                    <a:pt x="4731" y="4901"/>
                  </a:lnTo>
                  <a:lnTo>
                    <a:pt x="4729" y="4897"/>
                  </a:lnTo>
                  <a:lnTo>
                    <a:pt x="4727" y="4894"/>
                  </a:lnTo>
                  <a:lnTo>
                    <a:pt x="4724" y="4891"/>
                  </a:lnTo>
                  <a:lnTo>
                    <a:pt x="4716" y="4885"/>
                  </a:lnTo>
                  <a:lnTo>
                    <a:pt x="4706" y="4878"/>
                  </a:lnTo>
                  <a:lnTo>
                    <a:pt x="4693" y="4868"/>
                  </a:lnTo>
                  <a:lnTo>
                    <a:pt x="4679" y="4856"/>
                  </a:lnTo>
                  <a:lnTo>
                    <a:pt x="4679" y="4856"/>
                  </a:lnTo>
                  <a:lnTo>
                    <a:pt x="4671" y="4846"/>
                  </a:lnTo>
                  <a:lnTo>
                    <a:pt x="4664" y="4836"/>
                  </a:lnTo>
                  <a:lnTo>
                    <a:pt x="4659" y="4825"/>
                  </a:lnTo>
                  <a:lnTo>
                    <a:pt x="4655" y="4815"/>
                  </a:lnTo>
                  <a:lnTo>
                    <a:pt x="4654" y="4807"/>
                  </a:lnTo>
                  <a:lnTo>
                    <a:pt x="4654" y="4804"/>
                  </a:lnTo>
                  <a:lnTo>
                    <a:pt x="4654" y="4802"/>
                  </a:lnTo>
                  <a:lnTo>
                    <a:pt x="4657" y="4800"/>
                  </a:lnTo>
                  <a:lnTo>
                    <a:pt x="4659" y="4799"/>
                  </a:lnTo>
                  <a:lnTo>
                    <a:pt x="4661" y="4799"/>
                  </a:lnTo>
                  <a:lnTo>
                    <a:pt x="4665" y="4800"/>
                  </a:lnTo>
                  <a:lnTo>
                    <a:pt x="4665" y="4800"/>
                  </a:lnTo>
                  <a:lnTo>
                    <a:pt x="4679" y="4806"/>
                  </a:lnTo>
                  <a:lnTo>
                    <a:pt x="4693" y="4810"/>
                  </a:lnTo>
                  <a:lnTo>
                    <a:pt x="4708" y="4813"/>
                  </a:lnTo>
                  <a:lnTo>
                    <a:pt x="4723" y="4814"/>
                  </a:lnTo>
                  <a:lnTo>
                    <a:pt x="4737" y="4815"/>
                  </a:lnTo>
                  <a:lnTo>
                    <a:pt x="4752" y="4816"/>
                  </a:lnTo>
                  <a:lnTo>
                    <a:pt x="4765" y="4815"/>
                  </a:lnTo>
                  <a:lnTo>
                    <a:pt x="4778" y="4814"/>
                  </a:lnTo>
                  <a:lnTo>
                    <a:pt x="4802" y="4811"/>
                  </a:lnTo>
                  <a:lnTo>
                    <a:pt x="4819" y="4807"/>
                  </a:lnTo>
                  <a:lnTo>
                    <a:pt x="4835" y="4803"/>
                  </a:lnTo>
                  <a:lnTo>
                    <a:pt x="4835" y="4803"/>
                  </a:lnTo>
                  <a:lnTo>
                    <a:pt x="4844" y="4707"/>
                  </a:lnTo>
                  <a:lnTo>
                    <a:pt x="4849" y="4632"/>
                  </a:lnTo>
                  <a:lnTo>
                    <a:pt x="4851" y="4577"/>
                  </a:lnTo>
                  <a:lnTo>
                    <a:pt x="4851" y="4539"/>
                  </a:lnTo>
                  <a:lnTo>
                    <a:pt x="4849" y="4514"/>
                  </a:lnTo>
                  <a:lnTo>
                    <a:pt x="4847" y="4499"/>
                  </a:lnTo>
                  <a:lnTo>
                    <a:pt x="4845" y="4493"/>
                  </a:lnTo>
                  <a:lnTo>
                    <a:pt x="4844" y="4491"/>
                  </a:lnTo>
                  <a:lnTo>
                    <a:pt x="4844" y="4491"/>
                  </a:lnTo>
                  <a:lnTo>
                    <a:pt x="4825" y="4492"/>
                  </a:lnTo>
                  <a:lnTo>
                    <a:pt x="4808" y="4491"/>
                  </a:lnTo>
                  <a:lnTo>
                    <a:pt x="4791" y="4490"/>
                  </a:lnTo>
                  <a:lnTo>
                    <a:pt x="4776" y="4489"/>
                  </a:lnTo>
                  <a:lnTo>
                    <a:pt x="4763" y="4487"/>
                  </a:lnTo>
                  <a:lnTo>
                    <a:pt x="4750" y="4484"/>
                  </a:lnTo>
                  <a:lnTo>
                    <a:pt x="4737" y="4481"/>
                  </a:lnTo>
                  <a:lnTo>
                    <a:pt x="4726" y="4477"/>
                  </a:lnTo>
                  <a:lnTo>
                    <a:pt x="4716" y="4473"/>
                  </a:lnTo>
                  <a:lnTo>
                    <a:pt x="4707" y="4469"/>
                  </a:lnTo>
                  <a:lnTo>
                    <a:pt x="4698" y="4463"/>
                  </a:lnTo>
                  <a:lnTo>
                    <a:pt x="4690" y="4458"/>
                  </a:lnTo>
                  <a:lnTo>
                    <a:pt x="4683" y="4452"/>
                  </a:lnTo>
                  <a:lnTo>
                    <a:pt x="4676" y="4447"/>
                  </a:lnTo>
                  <a:lnTo>
                    <a:pt x="4665" y="4434"/>
                  </a:lnTo>
                  <a:lnTo>
                    <a:pt x="4665" y="4434"/>
                  </a:lnTo>
                  <a:lnTo>
                    <a:pt x="4677" y="4437"/>
                  </a:lnTo>
                  <a:lnTo>
                    <a:pt x="4690" y="4439"/>
                  </a:lnTo>
                  <a:lnTo>
                    <a:pt x="4717" y="4441"/>
                  </a:lnTo>
                  <a:lnTo>
                    <a:pt x="4742" y="4441"/>
                  </a:lnTo>
                  <a:lnTo>
                    <a:pt x="4768" y="4439"/>
                  </a:lnTo>
                  <a:lnTo>
                    <a:pt x="4790" y="4435"/>
                  </a:lnTo>
                  <a:lnTo>
                    <a:pt x="4812" y="4429"/>
                  </a:lnTo>
                  <a:lnTo>
                    <a:pt x="4821" y="4426"/>
                  </a:lnTo>
                  <a:lnTo>
                    <a:pt x="4829" y="4422"/>
                  </a:lnTo>
                  <a:lnTo>
                    <a:pt x="4838" y="4416"/>
                  </a:lnTo>
                  <a:lnTo>
                    <a:pt x="4844" y="4412"/>
                  </a:lnTo>
                  <a:lnTo>
                    <a:pt x="4844" y="4412"/>
                  </a:lnTo>
                  <a:lnTo>
                    <a:pt x="4843" y="4364"/>
                  </a:lnTo>
                  <a:lnTo>
                    <a:pt x="4841" y="4316"/>
                  </a:lnTo>
                  <a:lnTo>
                    <a:pt x="4838" y="4261"/>
                  </a:lnTo>
                  <a:lnTo>
                    <a:pt x="4833" y="4206"/>
                  </a:lnTo>
                  <a:lnTo>
                    <a:pt x="4831" y="4181"/>
                  </a:lnTo>
                  <a:lnTo>
                    <a:pt x="4828" y="4159"/>
                  </a:lnTo>
                  <a:lnTo>
                    <a:pt x="4825" y="4140"/>
                  </a:lnTo>
                  <a:lnTo>
                    <a:pt x="4822" y="4126"/>
                  </a:lnTo>
                  <a:lnTo>
                    <a:pt x="4820" y="4121"/>
                  </a:lnTo>
                  <a:lnTo>
                    <a:pt x="4818" y="4118"/>
                  </a:lnTo>
                  <a:lnTo>
                    <a:pt x="4816" y="4116"/>
                  </a:lnTo>
                  <a:lnTo>
                    <a:pt x="4814" y="4116"/>
                  </a:lnTo>
                  <a:lnTo>
                    <a:pt x="4814" y="4116"/>
                  </a:lnTo>
                  <a:lnTo>
                    <a:pt x="4786" y="4123"/>
                  </a:lnTo>
                  <a:lnTo>
                    <a:pt x="4760" y="4128"/>
                  </a:lnTo>
                  <a:lnTo>
                    <a:pt x="4746" y="4129"/>
                  </a:lnTo>
                  <a:lnTo>
                    <a:pt x="4734" y="4130"/>
                  </a:lnTo>
                  <a:lnTo>
                    <a:pt x="4722" y="4130"/>
                  </a:lnTo>
                  <a:lnTo>
                    <a:pt x="4711" y="4129"/>
                  </a:lnTo>
                  <a:lnTo>
                    <a:pt x="4698" y="4127"/>
                  </a:lnTo>
                  <a:lnTo>
                    <a:pt x="4687" y="4125"/>
                  </a:lnTo>
                  <a:lnTo>
                    <a:pt x="4675" y="4122"/>
                  </a:lnTo>
                  <a:lnTo>
                    <a:pt x="4664" y="4118"/>
                  </a:lnTo>
                  <a:lnTo>
                    <a:pt x="4652" y="4113"/>
                  </a:lnTo>
                  <a:lnTo>
                    <a:pt x="4640" y="4108"/>
                  </a:lnTo>
                  <a:lnTo>
                    <a:pt x="4629" y="4100"/>
                  </a:lnTo>
                  <a:lnTo>
                    <a:pt x="4618" y="4093"/>
                  </a:lnTo>
                  <a:lnTo>
                    <a:pt x="4618" y="4093"/>
                  </a:lnTo>
                  <a:lnTo>
                    <a:pt x="4613" y="4090"/>
                  </a:lnTo>
                  <a:lnTo>
                    <a:pt x="4608" y="4086"/>
                  </a:lnTo>
                  <a:lnTo>
                    <a:pt x="4602" y="4078"/>
                  </a:lnTo>
                  <a:lnTo>
                    <a:pt x="4597" y="4069"/>
                  </a:lnTo>
                  <a:lnTo>
                    <a:pt x="4594" y="4059"/>
                  </a:lnTo>
                  <a:lnTo>
                    <a:pt x="4592" y="4047"/>
                  </a:lnTo>
                  <a:lnTo>
                    <a:pt x="4591" y="4037"/>
                  </a:lnTo>
                  <a:lnTo>
                    <a:pt x="4590" y="4015"/>
                  </a:lnTo>
                  <a:lnTo>
                    <a:pt x="4589" y="3993"/>
                  </a:lnTo>
                  <a:lnTo>
                    <a:pt x="4587" y="3984"/>
                  </a:lnTo>
                  <a:lnTo>
                    <a:pt x="4585" y="3976"/>
                  </a:lnTo>
                  <a:lnTo>
                    <a:pt x="4581" y="3969"/>
                  </a:lnTo>
                  <a:lnTo>
                    <a:pt x="4575" y="3962"/>
                  </a:lnTo>
                  <a:lnTo>
                    <a:pt x="4571" y="3959"/>
                  </a:lnTo>
                  <a:lnTo>
                    <a:pt x="4567" y="3957"/>
                  </a:lnTo>
                  <a:lnTo>
                    <a:pt x="4561" y="3956"/>
                  </a:lnTo>
                  <a:lnTo>
                    <a:pt x="4556" y="3955"/>
                  </a:lnTo>
                  <a:lnTo>
                    <a:pt x="4556" y="3955"/>
                  </a:lnTo>
                  <a:lnTo>
                    <a:pt x="4534" y="3948"/>
                  </a:lnTo>
                  <a:lnTo>
                    <a:pt x="4511" y="3941"/>
                  </a:lnTo>
                  <a:lnTo>
                    <a:pt x="4489" y="3933"/>
                  </a:lnTo>
                  <a:lnTo>
                    <a:pt x="4468" y="3923"/>
                  </a:lnTo>
                  <a:lnTo>
                    <a:pt x="4448" y="3913"/>
                  </a:lnTo>
                  <a:lnTo>
                    <a:pt x="4428" y="3902"/>
                  </a:lnTo>
                  <a:lnTo>
                    <a:pt x="4410" y="3892"/>
                  </a:lnTo>
                  <a:lnTo>
                    <a:pt x="4394" y="3881"/>
                  </a:lnTo>
                  <a:lnTo>
                    <a:pt x="4377" y="3869"/>
                  </a:lnTo>
                  <a:lnTo>
                    <a:pt x="4363" y="3859"/>
                  </a:lnTo>
                  <a:lnTo>
                    <a:pt x="4337" y="3839"/>
                  </a:lnTo>
                  <a:lnTo>
                    <a:pt x="4318" y="3820"/>
                  </a:lnTo>
                  <a:lnTo>
                    <a:pt x="4306" y="3805"/>
                  </a:lnTo>
                  <a:lnTo>
                    <a:pt x="4306" y="3805"/>
                  </a:lnTo>
                  <a:lnTo>
                    <a:pt x="4297" y="3793"/>
                  </a:lnTo>
                  <a:lnTo>
                    <a:pt x="4288" y="3780"/>
                  </a:lnTo>
                  <a:lnTo>
                    <a:pt x="4282" y="3769"/>
                  </a:lnTo>
                  <a:lnTo>
                    <a:pt x="4277" y="3758"/>
                  </a:lnTo>
                  <a:lnTo>
                    <a:pt x="4273" y="3748"/>
                  </a:lnTo>
                  <a:lnTo>
                    <a:pt x="4270" y="3739"/>
                  </a:lnTo>
                  <a:lnTo>
                    <a:pt x="4266" y="3722"/>
                  </a:lnTo>
                  <a:lnTo>
                    <a:pt x="4265" y="3709"/>
                  </a:lnTo>
                  <a:lnTo>
                    <a:pt x="4265" y="3699"/>
                  </a:lnTo>
                  <a:lnTo>
                    <a:pt x="4266" y="3690"/>
                  </a:lnTo>
                  <a:lnTo>
                    <a:pt x="4266" y="3690"/>
                  </a:lnTo>
                  <a:lnTo>
                    <a:pt x="4284" y="3700"/>
                  </a:lnTo>
                  <a:lnTo>
                    <a:pt x="4302" y="3706"/>
                  </a:lnTo>
                  <a:lnTo>
                    <a:pt x="4321" y="3711"/>
                  </a:lnTo>
                  <a:lnTo>
                    <a:pt x="4340" y="3714"/>
                  </a:lnTo>
                  <a:lnTo>
                    <a:pt x="4358" y="3716"/>
                  </a:lnTo>
                  <a:lnTo>
                    <a:pt x="4377" y="3715"/>
                  </a:lnTo>
                  <a:lnTo>
                    <a:pt x="4396" y="3712"/>
                  </a:lnTo>
                  <a:lnTo>
                    <a:pt x="4414" y="3708"/>
                  </a:lnTo>
                  <a:lnTo>
                    <a:pt x="4434" y="3468"/>
                  </a:lnTo>
                  <a:lnTo>
                    <a:pt x="4434" y="3468"/>
                  </a:lnTo>
                  <a:lnTo>
                    <a:pt x="4425" y="3467"/>
                  </a:lnTo>
                  <a:lnTo>
                    <a:pt x="4405" y="3464"/>
                  </a:lnTo>
                  <a:lnTo>
                    <a:pt x="4392" y="3461"/>
                  </a:lnTo>
                  <a:lnTo>
                    <a:pt x="4377" y="3457"/>
                  </a:lnTo>
                  <a:lnTo>
                    <a:pt x="4362" y="3453"/>
                  </a:lnTo>
                  <a:lnTo>
                    <a:pt x="4348" y="3447"/>
                  </a:lnTo>
                  <a:lnTo>
                    <a:pt x="4348" y="3447"/>
                  </a:lnTo>
                  <a:lnTo>
                    <a:pt x="4339" y="3443"/>
                  </a:lnTo>
                  <a:lnTo>
                    <a:pt x="4331" y="3438"/>
                  </a:lnTo>
                  <a:lnTo>
                    <a:pt x="4323" y="3432"/>
                  </a:lnTo>
                  <a:lnTo>
                    <a:pt x="4316" y="3426"/>
                  </a:lnTo>
                  <a:lnTo>
                    <a:pt x="4302" y="3412"/>
                  </a:lnTo>
                  <a:lnTo>
                    <a:pt x="4289" y="3399"/>
                  </a:lnTo>
                  <a:lnTo>
                    <a:pt x="4280" y="3386"/>
                  </a:lnTo>
                  <a:lnTo>
                    <a:pt x="4273" y="3376"/>
                  </a:lnTo>
                  <a:lnTo>
                    <a:pt x="4267" y="3366"/>
                  </a:lnTo>
                  <a:lnTo>
                    <a:pt x="4267" y="3366"/>
                  </a:lnTo>
                  <a:lnTo>
                    <a:pt x="4274" y="3369"/>
                  </a:lnTo>
                  <a:lnTo>
                    <a:pt x="4293" y="3377"/>
                  </a:lnTo>
                  <a:lnTo>
                    <a:pt x="4321" y="3385"/>
                  </a:lnTo>
                  <a:lnTo>
                    <a:pt x="4339" y="3389"/>
                  </a:lnTo>
                  <a:lnTo>
                    <a:pt x="4356" y="3392"/>
                  </a:lnTo>
                  <a:lnTo>
                    <a:pt x="4356" y="3392"/>
                  </a:lnTo>
                  <a:lnTo>
                    <a:pt x="4375" y="3394"/>
                  </a:lnTo>
                  <a:lnTo>
                    <a:pt x="4392" y="3395"/>
                  </a:lnTo>
                  <a:lnTo>
                    <a:pt x="4407" y="3393"/>
                  </a:lnTo>
                  <a:lnTo>
                    <a:pt x="4419" y="3391"/>
                  </a:lnTo>
                  <a:lnTo>
                    <a:pt x="4430" y="3389"/>
                  </a:lnTo>
                  <a:lnTo>
                    <a:pt x="4438" y="3387"/>
                  </a:lnTo>
                  <a:lnTo>
                    <a:pt x="4444" y="3384"/>
                  </a:lnTo>
                  <a:lnTo>
                    <a:pt x="4477" y="3113"/>
                  </a:lnTo>
                  <a:lnTo>
                    <a:pt x="4477" y="3113"/>
                  </a:lnTo>
                  <a:lnTo>
                    <a:pt x="4451" y="3114"/>
                  </a:lnTo>
                  <a:lnTo>
                    <a:pt x="4427" y="3113"/>
                  </a:lnTo>
                  <a:lnTo>
                    <a:pt x="4408" y="3111"/>
                  </a:lnTo>
                  <a:lnTo>
                    <a:pt x="4392" y="3106"/>
                  </a:lnTo>
                  <a:lnTo>
                    <a:pt x="4377" y="3100"/>
                  </a:lnTo>
                  <a:lnTo>
                    <a:pt x="4365" y="3093"/>
                  </a:lnTo>
                  <a:lnTo>
                    <a:pt x="4356" y="3085"/>
                  </a:lnTo>
                  <a:lnTo>
                    <a:pt x="4348" y="3077"/>
                  </a:lnTo>
                  <a:lnTo>
                    <a:pt x="4343" y="3069"/>
                  </a:lnTo>
                  <a:lnTo>
                    <a:pt x="4337" y="3060"/>
                  </a:lnTo>
                  <a:lnTo>
                    <a:pt x="4335" y="3051"/>
                  </a:lnTo>
                  <a:lnTo>
                    <a:pt x="4333" y="3043"/>
                  </a:lnTo>
                  <a:lnTo>
                    <a:pt x="4332" y="3035"/>
                  </a:lnTo>
                  <a:lnTo>
                    <a:pt x="4331" y="3029"/>
                  </a:lnTo>
                  <a:lnTo>
                    <a:pt x="4332" y="3020"/>
                  </a:lnTo>
                  <a:lnTo>
                    <a:pt x="4332" y="3020"/>
                  </a:lnTo>
                  <a:lnTo>
                    <a:pt x="4357" y="3015"/>
                  </a:lnTo>
                  <a:lnTo>
                    <a:pt x="4381" y="3009"/>
                  </a:lnTo>
                  <a:lnTo>
                    <a:pt x="4405" y="3001"/>
                  </a:lnTo>
                  <a:lnTo>
                    <a:pt x="4428" y="2994"/>
                  </a:lnTo>
                  <a:lnTo>
                    <a:pt x="4451" y="2985"/>
                  </a:lnTo>
                  <a:lnTo>
                    <a:pt x="4473" y="2975"/>
                  </a:lnTo>
                  <a:lnTo>
                    <a:pt x="4495" y="2964"/>
                  </a:lnTo>
                  <a:lnTo>
                    <a:pt x="4515" y="2951"/>
                  </a:lnTo>
                  <a:lnTo>
                    <a:pt x="4536" y="2939"/>
                  </a:lnTo>
                  <a:lnTo>
                    <a:pt x="4555" y="2926"/>
                  </a:lnTo>
                  <a:lnTo>
                    <a:pt x="4574" y="2911"/>
                  </a:lnTo>
                  <a:lnTo>
                    <a:pt x="4592" y="2896"/>
                  </a:lnTo>
                  <a:lnTo>
                    <a:pt x="4609" y="2881"/>
                  </a:lnTo>
                  <a:lnTo>
                    <a:pt x="4627" y="2864"/>
                  </a:lnTo>
                  <a:lnTo>
                    <a:pt x="4642" y="2848"/>
                  </a:lnTo>
                  <a:lnTo>
                    <a:pt x="4659" y="2831"/>
                  </a:lnTo>
                  <a:lnTo>
                    <a:pt x="4673" y="2812"/>
                  </a:lnTo>
                  <a:lnTo>
                    <a:pt x="4688" y="2794"/>
                  </a:lnTo>
                  <a:lnTo>
                    <a:pt x="4702" y="2775"/>
                  </a:lnTo>
                  <a:lnTo>
                    <a:pt x="4715" y="2756"/>
                  </a:lnTo>
                  <a:lnTo>
                    <a:pt x="4727" y="2737"/>
                  </a:lnTo>
                  <a:lnTo>
                    <a:pt x="4738" y="2717"/>
                  </a:lnTo>
                  <a:lnTo>
                    <a:pt x="4750" y="2698"/>
                  </a:lnTo>
                  <a:lnTo>
                    <a:pt x="4760" y="2677"/>
                  </a:lnTo>
                  <a:lnTo>
                    <a:pt x="4770" y="2657"/>
                  </a:lnTo>
                  <a:lnTo>
                    <a:pt x="4779" y="2636"/>
                  </a:lnTo>
                  <a:lnTo>
                    <a:pt x="4787" y="2616"/>
                  </a:lnTo>
                  <a:lnTo>
                    <a:pt x="4796" y="2595"/>
                  </a:lnTo>
                  <a:lnTo>
                    <a:pt x="4803" y="2575"/>
                  </a:lnTo>
                  <a:lnTo>
                    <a:pt x="4809" y="2555"/>
                  </a:lnTo>
                  <a:lnTo>
                    <a:pt x="4815" y="2534"/>
                  </a:lnTo>
                  <a:lnTo>
                    <a:pt x="4820" y="2515"/>
                  </a:lnTo>
                  <a:lnTo>
                    <a:pt x="4820" y="2515"/>
                  </a:lnTo>
                  <a:lnTo>
                    <a:pt x="4831" y="2521"/>
                  </a:lnTo>
                  <a:lnTo>
                    <a:pt x="4847" y="2527"/>
                  </a:lnTo>
                  <a:lnTo>
                    <a:pt x="4864" y="2533"/>
                  </a:lnTo>
                  <a:lnTo>
                    <a:pt x="4882" y="2538"/>
                  </a:lnTo>
                  <a:lnTo>
                    <a:pt x="4903" y="2541"/>
                  </a:lnTo>
                  <a:lnTo>
                    <a:pt x="4913" y="2542"/>
                  </a:lnTo>
                  <a:lnTo>
                    <a:pt x="4923" y="2543"/>
                  </a:lnTo>
                  <a:lnTo>
                    <a:pt x="4935" y="2542"/>
                  </a:lnTo>
                  <a:lnTo>
                    <a:pt x="4945" y="2541"/>
                  </a:lnTo>
                  <a:lnTo>
                    <a:pt x="4955" y="2539"/>
                  </a:lnTo>
                  <a:lnTo>
                    <a:pt x="4965" y="2536"/>
                  </a:lnTo>
                  <a:lnTo>
                    <a:pt x="4965" y="2536"/>
                  </a:lnTo>
                  <a:lnTo>
                    <a:pt x="4967" y="2508"/>
                  </a:lnTo>
                  <a:lnTo>
                    <a:pt x="4970" y="2441"/>
                  </a:lnTo>
                  <a:lnTo>
                    <a:pt x="4972" y="2405"/>
                  </a:lnTo>
                  <a:lnTo>
                    <a:pt x="4973" y="2371"/>
                  </a:lnTo>
                  <a:lnTo>
                    <a:pt x="4972" y="2343"/>
                  </a:lnTo>
                  <a:lnTo>
                    <a:pt x="4972" y="2333"/>
                  </a:lnTo>
                  <a:lnTo>
                    <a:pt x="4970" y="2327"/>
                  </a:lnTo>
                  <a:lnTo>
                    <a:pt x="4970" y="2327"/>
                  </a:lnTo>
                  <a:lnTo>
                    <a:pt x="4955" y="2325"/>
                  </a:lnTo>
                  <a:lnTo>
                    <a:pt x="4938" y="2322"/>
                  </a:lnTo>
                  <a:lnTo>
                    <a:pt x="4919" y="2317"/>
                  </a:lnTo>
                  <a:lnTo>
                    <a:pt x="4911" y="2314"/>
                  </a:lnTo>
                  <a:lnTo>
                    <a:pt x="4902" y="2311"/>
                  </a:lnTo>
                  <a:lnTo>
                    <a:pt x="4893" y="2306"/>
                  </a:lnTo>
                  <a:lnTo>
                    <a:pt x="4885" y="2302"/>
                  </a:lnTo>
                  <a:lnTo>
                    <a:pt x="4876" y="2296"/>
                  </a:lnTo>
                  <a:lnTo>
                    <a:pt x="4868" y="2289"/>
                  </a:lnTo>
                  <a:lnTo>
                    <a:pt x="4861" y="2282"/>
                  </a:lnTo>
                  <a:lnTo>
                    <a:pt x="4854" y="2273"/>
                  </a:lnTo>
                  <a:lnTo>
                    <a:pt x="4848" y="2264"/>
                  </a:lnTo>
                  <a:lnTo>
                    <a:pt x="4842" y="225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9421118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ääotsikko Tee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6805084" y="1"/>
            <a:ext cx="5384800" cy="6858001"/>
            <a:chOff x="5103813" y="0"/>
            <a:chExt cx="4038600" cy="5143501"/>
          </a:xfrm>
        </p:grpSpPr>
        <p:sp>
          <p:nvSpPr>
            <p:cNvPr id="67" name="Freeform 62"/>
            <p:cNvSpPr>
              <a:spLocks/>
            </p:cNvSpPr>
            <p:nvPr userDrawn="1"/>
          </p:nvSpPr>
          <p:spPr bwMode="auto">
            <a:xfrm>
              <a:off x="6265863" y="0"/>
              <a:ext cx="2301875" cy="2160588"/>
            </a:xfrm>
            <a:custGeom>
              <a:avLst/>
              <a:gdLst>
                <a:gd name="T0" fmla="*/ 0 w 1450"/>
                <a:gd name="T1" fmla="*/ 0 h 1361"/>
                <a:gd name="T2" fmla="*/ 24 w 1450"/>
                <a:gd name="T3" fmla="*/ 153 h 1361"/>
                <a:gd name="T4" fmla="*/ 38 w 1450"/>
                <a:gd name="T5" fmla="*/ 228 h 1361"/>
                <a:gd name="T6" fmla="*/ 59 w 1450"/>
                <a:gd name="T7" fmla="*/ 303 h 1361"/>
                <a:gd name="T8" fmla="*/ 73 w 1450"/>
                <a:gd name="T9" fmla="*/ 343 h 1361"/>
                <a:gd name="T10" fmla="*/ 105 w 1450"/>
                <a:gd name="T11" fmla="*/ 424 h 1361"/>
                <a:gd name="T12" fmla="*/ 141 w 1450"/>
                <a:gd name="T13" fmla="*/ 504 h 1361"/>
                <a:gd name="T14" fmla="*/ 181 w 1450"/>
                <a:gd name="T15" fmla="*/ 581 h 1361"/>
                <a:gd name="T16" fmla="*/ 225 w 1450"/>
                <a:gd name="T17" fmla="*/ 656 h 1361"/>
                <a:gd name="T18" fmla="*/ 272 w 1450"/>
                <a:gd name="T19" fmla="*/ 729 h 1361"/>
                <a:gd name="T20" fmla="*/ 323 w 1450"/>
                <a:gd name="T21" fmla="*/ 800 h 1361"/>
                <a:gd name="T22" fmla="*/ 377 w 1450"/>
                <a:gd name="T23" fmla="*/ 869 h 1361"/>
                <a:gd name="T24" fmla="*/ 433 w 1450"/>
                <a:gd name="T25" fmla="*/ 936 h 1361"/>
                <a:gd name="T26" fmla="*/ 491 w 1450"/>
                <a:gd name="T27" fmla="*/ 1000 h 1361"/>
                <a:gd name="T28" fmla="*/ 551 w 1450"/>
                <a:gd name="T29" fmla="*/ 1062 h 1361"/>
                <a:gd name="T30" fmla="*/ 645 w 1450"/>
                <a:gd name="T31" fmla="*/ 1151 h 1361"/>
                <a:gd name="T32" fmla="*/ 773 w 1450"/>
                <a:gd name="T33" fmla="*/ 1261 h 1361"/>
                <a:gd name="T34" fmla="*/ 904 w 1450"/>
                <a:gd name="T35" fmla="*/ 1361 h 1361"/>
                <a:gd name="T36" fmla="*/ 904 w 1450"/>
                <a:gd name="T37" fmla="*/ 1361 h 1361"/>
                <a:gd name="T38" fmla="*/ 965 w 1450"/>
                <a:gd name="T39" fmla="*/ 1283 h 1361"/>
                <a:gd name="T40" fmla="*/ 1023 w 1450"/>
                <a:gd name="T41" fmla="*/ 1202 h 1361"/>
                <a:gd name="T42" fmla="*/ 1077 w 1450"/>
                <a:gd name="T43" fmla="*/ 1119 h 1361"/>
                <a:gd name="T44" fmla="*/ 1126 w 1450"/>
                <a:gd name="T45" fmla="*/ 1036 h 1361"/>
                <a:gd name="T46" fmla="*/ 1173 w 1450"/>
                <a:gd name="T47" fmla="*/ 953 h 1361"/>
                <a:gd name="T48" fmla="*/ 1216 w 1450"/>
                <a:gd name="T49" fmla="*/ 867 h 1361"/>
                <a:gd name="T50" fmla="*/ 1255 w 1450"/>
                <a:gd name="T51" fmla="*/ 781 h 1361"/>
                <a:gd name="T52" fmla="*/ 1291 w 1450"/>
                <a:gd name="T53" fmla="*/ 694 h 1361"/>
                <a:gd name="T54" fmla="*/ 1324 w 1450"/>
                <a:gd name="T55" fmla="*/ 608 h 1361"/>
                <a:gd name="T56" fmla="*/ 1352 w 1450"/>
                <a:gd name="T57" fmla="*/ 520 h 1361"/>
                <a:gd name="T58" fmla="*/ 1378 w 1450"/>
                <a:gd name="T59" fmla="*/ 433 h 1361"/>
                <a:gd name="T60" fmla="*/ 1399 w 1450"/>
                <a:gd name="T61" fmla="*/ 345 h 1361"/>
                <a:gd name="T62" fmla="*/ 1417 w 1450"/>
                <a:gd name="T63" fmla="*/ 258 h 1361"/>
                <a:gd name="T64" fmla="*/ 1432 w 1450"/>
                <a:gd name="T65" fmla="*/ 171 h 1361"/>
                <a:gd name="T66" fmla="*/ 1442 w 1450"/>
                <a:gd name="T67" fmla="*/ 86 h 1361"/>
                <a:gd name="T68" fmla="*/ 1450 w 1450"/>
                <a:gd name="T69" fmla="*/ 0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50" h="1361">
                  <a:moveTo>
                    <a:pt x="0" y="0"/>
                  </a:moveTo>
                  <a:lnTo>
                    <a:pt x="0" y="0"/>
                  </a:lnTo>
                  <a:lnTo>
                    <a:pt x="13" y="77"/>
                  </a:lnTo>
                  <a:lnTo>
                    <a:pt x="24" y="153"/>
                  </a:lnTo>
                  <a:lnTo>
                    <a:pt x="31" y="190"/>
                  </a:lnTo>
                  <a:lnTo>
                    <a:pt x="38" y="228"/>
                  </a:lnTo>
                  <a:lnTo>
                    <a:pt x="49" y="266"/>
                  </a:lnTo>
                  <a:lnTo>
                    <a:pt x="59" y="303"/>
                  </a:lnTo>
                  <a:lnTo>
                    <a:pt x="59" y="303"/>
                  </a:lnTo>
                  <a:lnTo>
                    <a:pt x="73" y="343"/>
                  </a:lnTo>
                  <a:lnTo>
                    <a:pt x="88" y="385"/>
                  </a:lnTo>
                  <a:lnTo>
                    <a:pt x="105" y="424"/>
                  </a:lnTo>
                  <a:lnTo>
                    <a:pt x="123" y="465"/>
                  </a:lnTo>
                  <a:lnTo>
                    <a:pt x="141" y="504"/>
                  </a:lnTo>
                  <a:lnTo>
                    <a:pt x="161" y="542"/>
                  </a:lnTo>
                  <a:lnTo>
                    <a:pt x="181" y="581"/>
                  </a:lnTo>
                  <a:lnTo>
                    <a:pt x="203" y="619"/>
                  </a:lnTo>
                  <a:lnTo>
                    <a:pt x="225" y="656"/>
                  </a:lnTo>
                  <a:lnTo>
                    <a:pt x="249" y="693"/>
                  </a:lnTo>
                  <a:lnTo>
                    <a:pt x="272" y="729"/>
                  </a:lnTo>
                  <a:lnTo>
                    <a:pt x="297" y="765"/>
                  </a:lnTo>
                  <a:lnTo>
                    <a:pt x="323" y="800"/>
                  </a:lnTo>
                  <a:lnTo>
                    <a:pt x="350" y="835"/>
                  </a:lnTo>
                  <a:lnTo>
                    <a:pt x="377" y="869"/>
                  </a:lnTo>
                  <a:lnTo>
                    <a:pt x="404" y="902"/>
                  </a:lnTo>
                  <a:lnTo>
                    <a:pt x="433" y="936"/>
                  </a:lnTo>
                  <a:lnTo>
                    <a:pt x="461" y="968"/>
                  </a:lnTo>
                  <a:lnTo>
                    <a:pt x="491" y="1000"/>
                  </a:lnTo>
                  <a:lnTo>
                    <a:pt x="521" y="1032"/>
                  </a:lnTo>
                  <a:lnTo>
                    <a:pt x="551" y="1062"/>
                  </a:lnTo>
                  <a:lnTo>
                    <a:pt x="582" y="1092"/>
                  </a:lnTo>
                  <a:lnTo>
                    <a:pt x="645" y="1151"/>
                  </a:lnTo>
                  <a:lnTo>
                    <a:pt x="709" y="1207"/>
                  </a:lnTo>
                  <a:lnTo>
                    <a:pt x="773" y="1261"/>
                  </a:lnTo>
                  <a:lnTo>
                    <a:pt x="838" y="1313"/>
                  </a:lnTo>
                  <a:lnTo>
                    <a:pt x="904" y="1361"/>
                  </a:lnTo>
                  <a:lnTo>
                    <a:pt x="904" y="1361"/>
                  </a:lnTo>
                  <a:lnTo>
                    <a:pt x="904" y="1361"/>
                  </a:lnTo>
                  <a:lnTo>
                    <a:pt x="935" y="1322"/>
                  </a:lnTo>
                  <a:lnTo>
                    <a:pt x="965" y="1283"/>
                  </a:lnTo>
                  <a:lnTo>
                    <a:pt x="994" y="1242"/>
                  </a:lnTo>
                  <a:lnTo>
                    <a:pt x="1023" y="1202"/>
                  </a:lnTo>
                  <a:lnTo>
                    <a:pt x="1050" y="1161"/>
                  </a:lnTo>
                  <a:lnTo>
                    <a:pt x="1077" y="1119"/>
                  </a:lnTo>
                  <a:lnTo>
                    <a:pt x="1101" y="1079"/>
                  </a:lnTo>
                  <a:lnTo>
                    <a:pt x="1126" y="1036"/>
                  </a:lnTo>
                  <a:lnTo>
                    <a:pt x="1150" y="995"/>
                  </a:lnTo>
                  <a:lnTo>
                    <a:pt x="1173" y="953"/>
                  </a:lnTo>
                  <a:lnTo>
                    <a:pt x="1195" y="910"/>
                  </a:lnTo>
                  <a:lnTo>
                    <a:pt x="1216" y="867"/>
                  </a:lnTo>
                  <a:lnTo>
                    <a:pt x="1236" y="825"/>
                  </a:lnTo>
                  <a:lnTo>
                    <a:pt x="1255" y="781"/>
                  </a:lnTo>
                  <a:lnTo>
                    <a:pt x="1273" y="738"/>
                  </a:lnTo>
                  <a:lnTo>
                    <a:pt x="1291" y="694"/>
                  </a:lnTo>
                  <a:lnTo>
                    <a:pt x="1308" y="651"/>
                  </a:lnTo>
                  <a:lnTo>
                    <a:pt x="1324" y="608"/>
                  </a:lnTo>
                  <a:lnTo>
                    <a:pt x="1339" y="564"/>
                  </a:lnTo>
                  <a:lnTo>
                    <a:pt x="1352" y="520"/>
                  </a:lnTo>
                  <a:lnTo>
                    <a:pt x="1366" y="476"/>
                  </a:lnTo>
                  <a:lnTo>
                    <a:pt x="1378" y="433"/>
                  </a:lnTo>
                  <a:lnTo>
                    <a:pt x="1389" y="389"/>
                  </a:lnTo>
                  <a:lnTo>
                    <a:pt x="1399" y="345"/>
                  </a:lnTo>
                  <a:lnTo>
                    <a:pt x="1408" y="302"/>
                  </a:lnTo>
                  <a:lnTo>
                    <a:pt x="1417" y="258"/>
                  </a:lnTo>
                  <a:lnTo>
                    <a:pt x="1425" y="215"/>
                  </a:lnTo>
                  <a:lnTo>
                    <a:pt x="1432" y="171"/>
                  </a:lnTo>
                  <a:lnTo>
                    <a:pt x="1438" y="128"/>
                  </a:lnTo>
                  <a:lnTo>
                    <a:pt x="1442" y="86"/>
                  </a:lnTo>
                  <a:lnTo>
                    <a:pt x="1447" y="43"/>
                  </a:lnTo>
                  <a:lnTo>
                    <a:pt x="145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D3C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8" name="Freeform 63"/>
            <p:cNvSpPr>
              <a:spLocks/>
            </p:cNvSpPr>
            <p:nvPr userDrawn="1"/>
          </p:nvSpPr>
          <p:spPr bwMode="auto">
            <a:xfrm>
              <a:off x="7700963" y="1171575"/>
              <a:ext cx="1441450" cy="1657350"/>
            </a:xfrm>
            <a:custGeom>
              <a:avLst/>
              <a:gdLst>
                <a:gd name="T0" fmla="*/ 908 w 908"/>
                <a:gd name="T1" fmla="*/ 0 h 1044"/>
                <a:gd name="T2" fmla="*/ 908 w 908"/>
                <a:gd name="T3" fmla="*/ 0 h 1044"/>
                <a:gd name="T4" fmla="*/ 848 w 908"/>
                <a:gd name="T5" fmla="*/ 28 h 1044"/>
                <a:gd name="T6" fmla="*/ 789 w 908"/>
                <a:gd name="T7" fmla="*/ 59 h 1044"/>
                <a:gd name="T8" fmla="*/ 729 w 908"/>
                <a:gd name="T9" fmla="*/ 89 h 1044"/>
                <a:gd name="T10" fmla="*/ 671 w 908"/>
                <a:gd name="T11" fmla="*/ 120 h 1044"/>
                <a:gd name="T12" fmla="*/ 612 w 908"/>
                <a:gd name="T13" fmla="*/ 153 h 1044"/>
                <a:gd name="T14" fmla="*/ 555 w 908"/>
                <a:gd name="T15" fmla="*/ 187 h 1044"/>
                <a:gd name="T16" fmla="*/ 498 w 908"/>
                <a:gd name="T17" fmla="*/ 222 h 1044"/>
                <a:gd name="T18" fmla="*/ 440 w 908"/>
                <a:gd name="T19" fmla="*/ 259 h 1044"/>
                <a:gd name="T20" fmla="*/ 384 w 908"/>
                <a:gd name="T21" fmla="*/ 298 h 1044"/>
                <a:gd name="T22" fmla="*/ 328 w 908"/>
                <a:gd name="T23" fmla="*/ 339 h 1044"/>
                <a:gd name="T24" fmla="*/ 273 w 908"/>
                <a:gd name="T25" fmla="*/ 380 h 1044"/>
                <a:gd name="T26" fmla="*/ 217 w 908"/>
                <a:gd name="T27" fmla="*/ 424 h 1044"/>
                <a:gd name="T28" fmla="*/ 162 w 908"/>
                <a:gd name="T29" fmla="*/ 471 h 1044"/>
                <a:gd name="T30" fmla="*/ 107 w 908"/>
                <a:gd name="T31" fmla="*/ 520 h 1044"/>
                <a:gd name="T32" fmla="*/ 53 w 908"/>
                <a:gd name="T33" fmla="*/ 570 h 1044"/>
                <a:gd name="T34" fmla="*/ 0 w 908"/>
                <a:gd name="T35" fmla="*/ 623 h 1044"/>
                <a:gd name="T36" fmla="*/ 0 w 908"/>
                <a:gd name="T37" fmla="*/ 623 h 1044"/>
                <a:gd name="T38" fmla="*/ 0 w 908"/>
                <a:gd name="T39" fmla="*/ 623 h 1044"/>
                <a:gd name="T40" fmla="*/ 53 w 908"/>
                <a:gd name="T41" fmla="*/ 660 h 1044"/>
                <a:gd name="T42" fmla="*/ 106 w 908"/>
                <a:gd name="T43" fmla="*/ 698 h 1044"/>
                <a:gd name="T44" fmla="*/ 160 w 908"/>
                <a:gd name="T45" fmla="*/ 732 h 1044"/>
                <a:gd name="T46" fmla="*/ 215 w 908"/>
                <a:gd name="T47" fmla="*/ 767 h 1044"/>
                <a:gd name="T48" fmla="*/ 270 w 908"/>
                <a:gd name="T49" fmla="*/ 800 h 1044"/>
                <a:gd name="T50" fmla="*/ 325 w 908"/>
                <a:gd name="T51" fmla="*/ 831 h 1044"/>
                <a:gd name="T52" fmla="*/ 383 w 908"/>
                <a:gd name="T53" fmla="*/ 862 h 1044"/>
                <a:gd name="T54" fmla="*/ 439 w 908"/>
                <a:gd name="T55" fmla="*/ 890 h 1044"/>
                <a:gd name="T56" fmla="*/ 496 w 908"/>
                <a:gd name="T57" fmla="*/ 917 h 1044"/>
                <a:gd name="T58" fmla="*/ 555 w 908"/>
                <a:gd name="T59" fmla="*/ 942 h 1044"/>
                <a:gd name="T60" fmla="*/ 612 w 908"/>
                <a:gd name="T61" fmla="*/ 964 h 1044"/>
                <a:gd name="T62" fmla="*/ 671 w 908"/>
                <a:gd name="T63" fmla="*/ 986 h 1044"/>
                <a:gd name="T64" fmla="*/ 730 w 908"/>
                <a:gd name="T65" fmla="*/ 1004 h 1044"/>
                <a:gd name="T66" fmla="*/ 789 w 908"/>
                <a:gd name="T67" fmla="*/ 1019 h 1044"/>
                <a:gd name="T68" fmla="*/ 848 w 908"/>
                <a:gd name="T69" fmla="*/ 1033 h 1044"/>
                <a:gd name="T70" fmla="*/ 908 w 908"/>
                <a:gd name="T71" fmla="*/ 1044 h 1044"/>
                <a:gd name="T72" fmla="*/ 908 w 908"/>
                <a:gd name="T7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8" h="1044">
                  <a:moveTo>
                    <a:pt x="908" y="0"/>
                  </a:moveTo>
                  <a:lnTo>
                    <a:pt x="908" y="0"/>
                  </a:lnTo>
                  <a:lnTo>
                    <a:pt x="848" y="28"/>
                  </a:lnTo>
                  <a:lnTo>
                    <a:pt x="789" y="59"/>
                  </a:lnTo>
                  <a:lnTo>
                    <a:pt x="729" y="89"/>
                  </a:lnTo>
                  <a:lnTo>
                    <a:pt x="671" y="120"/>
                  </a:lnTo>
                  <a:lnTo>
                    <a:pt x="612" y="153"/>
                  </a:lnTo>
                  <a:lnTo>
                    <a:pt x="555" y="187"/>
                  </a:lnTo>
                  <a:lnTo>
                    <a:pt x="498" y="222"/>
                  </a:lnTo>
                  <a:lnTo>
                    <a:pt x="440" y="259"/>
                  </a:lnTo>
                  <a:lnTo>
                    <a:pt x="384" y="298"/>
                  </a:lnTo>
                  <a:lnTo>
                    <a:pt x="328" y="339"/>
                  </a:lnTo>
                  <a:lnTo>
                    <a:pt x="273" y="380"/>
                  </a:lnTo>
                  <a:lnTo>
                    <a:pt x="217" y="424"/>
                  </a:lnTo>
                  <a:lnTo>
                    <a:pt x="162" y="471"/>
                  </a:lnTo>
                  <a:lnTo>
                    <a:pt x="107" y="520"/>
                  </a:lnTo>
                  <a:lnTo>
                    <a:pt x="53" y="570"/>
                  </a:lnTo>
                  <a:lnTo>
                    <a:pt x="0" y="623"/>
                  </a:lnTo>
                  <a:lnTo>
                    <a:pt x="0" y="623"/>
                  </a:lnTo>
                  <a:lnTo>
                    <a:pt x="0" y="623"/>
                  </a:lnTo>
                  <a:lnTo>
                    <a:pt x="53" y="660"/>
                  </a:lnTo>
                  <a:lnTo>
                    <a:pt x="106" y="698"/>
                  </a:lnTo>
                  <a:lnTo>
                    <a:pt x="160" y="732"/>
                  </a:lnTo>
                  <a:lnTo>
                    <a:pt x="215" y="767"/>
                  </a:lnTo>
                  <a:lnTo>
                    <a:pt x="270" y="800"/>
                  </a:lnTo>
                  <a:lnTo>
                    <a:pt x="325" y="831"/>
                  </a:lnTo>
                  <a:lnTo>
                    <a:pt x="383" y="862"/>
                  </a:lnTo>
                  <a:lnTo>
                    <a:pt x="439" y="890"/>
                  </a:lnTo>
                  <a:lnTo>
                    <a:pt x="496" y="917"/>
                  </a:lnTo>
                  <a:lnTo>
                    <a:pt x="555" y="942"/>
                  </a:lnTo>
                  <a:lnTo>
                    <a:pt x="612" y="964"/>
                  </a:lnTo>
                  <a:lnTo>
                    <a:pt x="671" y="986"/>
                  </a:lnTo>
                  <a:lnTo>
                    <a:pt x="730" y="1004"/>
                  </a:lnTo>
                  <a:lnTo>
                    <a:pt x="789" y="1019"/>
                  </a:lnTo>
                  <a:lnTo>
                    <a:pt x="848" y="1033"/>
                  </a:lnTo>
                  <a:lnTo>
                    <a:pt x="908" y="1044"/>
                  </a:lnTo>
                  <a:lnTo>
                    <a:pt x="908" y="0"/>
                  </a:lnTo>
                  <a:close/>
                </a:path>
              </a:pathLst>
            </a:custGeom>
            <a:solidFill>
              <a:srgbClr val="80D3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69" name="Freeform 64"/>
            <p:cNvSpPr>
              <a:spLocks/>
            </p:cNvSpPr>
            <p:nvPr userDrawn="1"/>
          </p:nvSpPr>
          <p:spPr bwMode="auto">
            <a:xfrm>
              <a:off x="5773738" y="2160588"/>
              <a:ext cx="3368675" cy="2982913"/>
            </a:xfrm>
            <a:custGeom>
              <a:avLst/>
              <a:gdLst>
                <a:gd name="T0" fmla="*/ 2122 w 2122"/>
                <a:gd name="T1" fmla="*/ 1879 h 1879"/>
                <a:gd name="T2" fmla="*/ 2122 w 2122"/>
                <a:gd name="T3" fmla="*/ 502 h 1879"/>
                <a:gd name="T4" fmla="*/ 2122 w 2122"/>
                <a:gd name="T5" fmla="*/ 502 h 1879"/>
                <a:gd name="T6" fmla="*/ 2005 w 2122"/>
                <a:gd name="T7" fmla="*/ 447 h 1879"/>
                <a:gd name="T8" fmla="*/ 1889 w 2122"/>
                <a:gd name="T9" fmla="*/ 392 h 1879"/>
                <a:gd name="T10" fmla="*/ 1773 w 2122"/>
                <a:gd name="T11" fmla="*/ 334 h 1879"/>
                <a:gd name="T12" fmla="*/ 1716 w 2122"/>
                <a:gd name="T13" fmla="*/ 305 h 1879"/>
                <a:gd name="T14" fmla="*/ 1660 w 2122"/>
                <a:gd name="T15" fmla="*/ 275 h 1879"/>
                <a:gd name="T16" fmla="*/ 1602 w 2122"/>
                <a:gd name="T17" fmla="*/ 244 h 1879"/>
                <a:gd name="T18" fmla="*/ 1546 w 2122"/>
                <a:gd name="T19" fmla="*/ 213 h 1879"/>
                <a:gd name="T20" fmla="*/ 1490 w 2122"/>
                <a:gd name="T21" fmla="*/ 180 h 1879"/>
                <a:gd name="T22" fmla="*/ 1435 w 2122"/>
                <a:gd name="T23" fmla="*/ 147 h 1879"/>
                <a:gd name="T24" fmla="*/ 1379 w 2122"/>
                <a:gd name="T25" fmla="*/ 113 h 1879"/>
                <a:gd name="T26" fmla="*/ 1324 w 2122"/>
                <a:gd name="T27" fmla="*/ 77 h 1879"/>
                <a:gd name="T28" fmla="*/ 1268 w 2122"/>
                <a:gd name="T29" fmla="*/ 39 h 1879"/>
                <a:gd name="T30" fmla="*/ 1214 w 2122"/>
                <a:gd name="T31" fmla="*/ 0 h 1879"/>
                <a:gd name="T32" fmla="*/ 1214 w 2122"/>
                <a:gd name="T33" fmla="*/ 0 h 1879"/>
                <a:gd name="T34" fmla="*/ 1131 w 2122"/>
                <a:gd name="T35" fmla="*/ 132 h 1879"/>
                <a:gd name="T36" fmla="*/ 1052 w 2122"/>
                <a:gd name="T37" fmla="*/ 261 h 1879"/>
                <a:gd name="T38" fmla="*/ 976 w 2122"/>
                <a:gd name="T39" fmla="*/ 388 h 1879"/>
                <a:gd name="T40" fmla="*/ 902 w 2122"/>
                <a:gd name="T41" fmla="*/ 514 h 1879"/>
                <a:gd name="T42" fmla="*/ 758 w 2122"/>
                <a:gd name="T43" fmla="*/ 759 h 1879"/>
                <a:gd name="T44" fmla="*/ 687 w 2122"/>
                <a:gd name="T45" fmla="*/ 878 h 1879"/>
                <a:gd name="T46" fmla="*/ 617 w 2122"/>
                <a:gd name="T47" fmla="*/ 996 h 1879"/>
                <a:gd name="T48" fmla="*/ 546 w 2122"/>
                <a:gd name="T49" fmla="*/ 1111 h 1879"/>
                <a:gd name="T50" fmla="*/ 476 w 2122"/>
                <a:gd name="T51" fmla="*/ 1225 h 1879"/>
                <a:gd name="T52" fmla="*/ 402 w 2122"/>
                <a:gd name="T53" fmla="*/ 1338 h 1879"/>
                <a:gd name="T54" fmla="*/ 327 w 2122"/>
                <a:gd name="T55" fmla="*/ 1449 h 1879"/>
                <a:gd name="T56" fmla="*/ 289 w 2122"/>
                <a:gd name="T57" fmla="*/ 1503 h 1879"/>
                <a:gd name="T58" fmla="*/ 251 w 2122"/>
                <a:gd name="T59" fmla="*/ 1558 h 1879"/>
                <a:gd name="T60" fmla="*/ 211 w 2122"/>
                <a:gd name="T61" fmla="*/ 1612 h 1879"/>
                <a:gd name="T62" fmla="*/ 171 w 2122"/>
                <a:gd name="T63" fmla="*/ 1666 h 1879"/>
                <a:gd name="T64" fmla="*/ 129 w 2122"/>
                <a:gd name="T65" fmla="*/ 1720 h 1879"/>
                <a:gd name="T66" fmla="*/ 88 w 2122"/>
                <a:gd name="T67" fmla="*/ 1773 h 1879"/>
                <a:gd name="T68" fmla="*/ 44 w 2122"/>
                <a:gd name="T69" fmla="*/ 1826 h 1879"/>
                <a:gd name="T70" fmla="*/ 0 w 2122"/>
                <a:gd name="T71" fmla="*/ 1879 h 1879"/>
                <a:gd name="T72" fmla="*/ 2122 w 2122"/>
                <a:gd name="T73" fmla="*/ 1879 h 1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22" h="1879">
                  <a:moveTo>
                    <a:pt x="2122" y="1879"/>
                  </a:moveTo>
                  <a:lnTo>
                    <a:pt x="2122" y="502"/>
                  </a:lnTo>
                  <a:lnTo>
                    <a:pt x="2122" y="502"/>
                  </a:lnTo>
                  <a:lnTo>
                    <a:pt x="2005" y="447"/>
                  </a:lnTo>
                  <a:lnTo>
                    <a:pt x="1889" y="392"/>
                  </a:lnTo>
                  <a:lnTo>
                    <a:pt x="1773" y="334"/>
                  </a:lnTo>
                  <a:lnTo>
                    <a:pt x="1716" y="305"/>
                  </a:lnTo>
                  <a:lnTo>
                    <a:pt x="1660" y="275"/>
                  </a:lnTo>
                  <a:lnTo>
                    <a:pt x="1602" y="244"/>
                  </a:lnTo>
                  <a:lnTo>
                    <a:pt x="1546" y="213"/>
                  </a:lnTo>
                  <a:lnTo>
                    <a:pt x="1490" y="180"/>
                  </a:lnTo>
                  <a:lnTo>
                    <a:pt x="1435" y="147"/>
                  </a:lnTo>
                  <a:lnTo>
                    <a:pt x="1379" y="113"/>
                  </a:lnTo>
                  <a:lnTo>
                    <a:pt x="1324" y="77"/>
                  </a:lnTo>
                  <a:lnTo>
                    <a:pt x="1268" y="39"/>
                  </a:lnTo>
                  <a:lnTo>
                    <a:pt x="1214" y="0"/>
                  </a:lnTo>
                  <a:lnTo>
                    <a:pt x="1214" y="0"/>
                  </a:lnTo>
                  <a:lnTo>
                    <a:pt x="1131" y="132"/>
                  </a:lnTo>
                  <a:lnTo>
                    <a:pt x="1052" y="261"/>
                  </a:lnTo>
                  <a:lnTo>
                    <a:pt x="976" y="388"/>
                  </a:lnTo>
                  <a:lnTo>
                    <a:pt x="902" y="514"/>
                  </a:lnTo>
                  <a:lnTo>
                    <a:pt x="758" y="759"/>
                  </a:lnTo>
                  <a:lnTo>
                    <a:pt x="687" y="878"/>
                  </a:lnTo>
                  <a:lnTo>
                    <a:pt x="617" y="996"/>
                  </a:lnTo>
                  <a:lnTo>
                    <a:pt x="546" y="1111"/>
                  </a:lnTo>
                  <a:lnTo>
                    <a:pt x="476" y="1225"/>
                  </a:lnTo>
                  <a:lnTo>
                    <a:pt x="402" y="1338"/>
                  </a:lnTo>
                  <a:lnTo>
                    <a:pt x="327" y="1449"/>
                  </a:lnTo>
                  <a:lnTo>
                    <a:pt x="289" y="1503"/>
                  </a:lnTo>
                  <a:lnTo>
                    <a:pt x="251" y="1558"/>
                  </a:lnTo>
                  <a:lnTo>
                    <a:pt x="211" y="1612"/>
                  </a:lnTo>
                  <a:lnTo>
                    <a:pt x="171" y="1666"/>
                  </a:lnTo>
                  <a:lnTo>
                    <a:pt x="129" y="1720"/>
                  </a:lnTo>
                  <a:lnTo>
                    <a:pt x="88" y="1773"/>
                  </a:lnTo>
                  <a:lnTo>
                    <a:pt x="44" y="1826"/>
                  </a:lnTo>
                  <a:lnTo>
                    <a:pt x="0" y="1879"/>
                  </a:lnTo>
                  <a:lnTo>
                    <a:pt x="2122" y="187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0" name="Freeform 65"/>
            <p:cNvSpPr>
              <a:spLocks/>
            </p:cNvSpPr>
            <p:nvPr userDrawn="1"/>
          </p:nvSpPr>
          <p:spPr bwMode="auto">
            <a:xfrm>
              <a:off x="7700963" y="0"/>
              <a:ext cx="1441450" cy="2160588"/>
            </a:xfrm>
            <a:custGeom>
              <a:avLst/>
              <a:gdLst>
                <a:gd name="T0" fmla="*/ 0 w 908"/>
                <a:gd name="T1" fmla="*/ 1361 h 1361"/>
                <a:gd name="T2" fmla="*/ 0 w 908"/>
                <a:gd name="T3" fmla="*/ 1361 h 1361"/>
                <a:gd name="T4" fmla="*/ 53 w 908"/>
                <a:gd name="T5" fmla="*/ 1323 h 1361"/>
                <a:gd name="T6" fmla="*/ 107 w 908"/>
                <a:gd name="T7" fmla="*/ 1285 h 1361"/>
                <a:gd name="T8" fmla="*/ 161 w 908"/>
                <a:gd name="T9" fmla="*/ 1248 h 1361"/>
                <a:gd name="T10" fmla="*/ 216 w 908"/>
                <a:gd name="T11" fmla="*/ 1212 h 1361"/>
                <a:gd name="T12" fmla="*/ 271 w 908"/>
                <a:gd name="T13" fmla="*/ 1176 h 1361"/>
                <a:gd name="T14" fmla="*/ 328 w 908"/>
                <a:gd name="T15" fmla="*/ 1141 h 1361"/>
                <a:gd name="T16" fmla="*/ 384 w 908"/>
                <a:gd name="T17" fmla="*/ 1106 h 1361"/>
                <a:gd name="T18" fmla="*/ 440 w 908"/>
                <a:gd name="T19" fmla="*/ 1072 h 1361"/>
                <a:gd name="T20" fmla="*/ 498 w 908"/>
                <a:gd name="T21" fmla="*/ 1038 h 1361"/>
                <a:gd name="T22" fmla="*/ 555 w 908"/>
                <a:gd name="T23" fmla="*/ 1006 h 1361"/>
                <a:gd name="T24" fmla="*/ 612 w 908"/>
                <a:gd name="T25" fmla="*/ 974 h 1361"/>
                <a:gd name="T26" fmla="*/ 671 w 908"/>
                <a:gd name="T27" fmla="*/ 943 h 1361"/>
                <a:gd name="T28" fmla="*/ 729 w 908"/>
                <a:gd name="T29" fmla="*/ 912 h 1361"/>
                <a:gd name="T30" fmla="*/ 789 w 908"/>
                <a:gd name="T31" fmla="*/ 882 h 1361"/>
                <a:gd name="T32" fmla="*/ 848 w 908"/>
                <a:gd name="T33" fmla="*/ 853 h 1361"/>
                <a:gd name="T34" fmla="*/ 908 w 908"/>
                <a:gd name="T35" fmla="*/ 825 h 1361"/>
                <a:gd name="T36" fmla="*/ 908 w 908"/>
                <a:gd name="T37" fmla="*/ 0 h 1361"/>
                <a:gd name="T38" fmla="*/ 261 w 908"/>
                <a:gd name="T39" fmla="*/ 0 h 1361"/>
                <a:gd name="T40" fmla="*/ 261 w 908"/>
                <a:gd name="T41" fmla="*/ 0 h 1361"/>
                <a:gd name="T42" fmla="*/ 256 w 908"/>
                <a:gd name="T43" fmla="*/ 86 h 1361"/>
                <a:gd name="T44" fmla="*/ 248 w 908"/>
                <a:gd name="T45" fmla="*/ 170 h 1361"/>
                <a:gd name="T46" fmla="*/ 239 w 908"/>
                <a:gd name="T47" fmla="*/ 255 h 1361"/>
                <a:gd name="T48" fmla="*/ 229 w 908"/>
                <a:gd name="T49" fmla="*/ 340 h 1361"/>
                <a:gd name="T50" fmla="*/ 217 w 908"/>
                <a:gd name="T51" fmla="*/ 425 h 1361"/>
                <a:gd name="T52" fmla="*/ 205 w 908"/>
                <a:gd name="T53" fmla="*/ 511 h 1361"/>
                <a:gd name="T54" fmla="*/ 190 w 908"/>
                <a:gd name="T55" fmla="*/ 596 h 1361"/>
                <a:gd name="T56" fmla="*/ 175 w 908"/>
                <a:gd name="T57" fmla="*/ 681 h 1361"/>
                <a:gd name="T58" fmla="*/ 158 w 908"/>
                <a:gd name="T59" fmla="*/ 766 h 1361"/>
                <a:gd name="T60" fmla="*/ 140 w 908"/>
                <a:gd name="T61" fmla="*/ 852 h 1361"/>
                <a:gd name="T62" fmla="*/ 120 w 908"/>
                <a:gd name="T63" fmla="*/ 937 h 1361"/>
                <a:gd name="T64" fmla="*/ 99 w 908"/>
                <a:gd name="T65" fmla="*/ 1022 h 1361"/>
                <a:gd name="T66" fmla="*/ 76 w 908"/>
                <a:gd name="T67" fmla="*/ 1107 h 1361"/>
                <a:gd name="T68" fmla="*/ 52 w 908"/>
                <a:gd name="T69" fmla="*/ 1191 h 1361"/>
                <a:gd name="T70" fmla="*/ 27 w 908"/>
                <a:gd name="T71" fmla="*/ 1277 h 1361"/>
                <a:gd name="T72" fmla="*/ 0 w 908"/>
                <a:gd name="T73" fmla="*/ 1361 h 1361"/>
                <a:gd name="T74" fmla="*/ 0 w 908"/>
                <a:gd name="T75" fmla="*/ 1361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8" h="1361">
                  <a:moveTo>
                    <a:pt x="0" y="1361"/>
                  </a:moveTo>
                  <a:lnTo>
                    <a:pt x="0" y="1361"/>
                  </a:lnTo>
                  <a:lnTo>
                    <a:pt x="53" y="1323"/>
                  </a:lnTo>
                  <a:lnTo>
                    <a:pt x="107" y="1285"/>
                  </a:lnTo>
                  <a:lnTo>
                    <a:pt x="161" y="1248"/>
                  </a:lnTo>
                  <a:lnTo>
                    <a:pt x="216" y="1212"/>
                  </a:lnTo>
                  <a:lnTo>
                    <a:pt x="271" y="1176"/>
                  </a:lnTo>
                  <a:lnTo>
                    <a:pt x="328" y="1141"/>
                  </a:lnTo>
                  <a:lnTo>
                    <a:pt x="384" y="1106"/>
                  </a:lnTo>
                  <a:lnTo>
                    <a:pt x="440" y="1072"/>
                  </a:lnTo>
                  <a:lnTo>
                    <a:pt x="498" y="1038"/>
                  </a:lnTo>
                  <a:lnTo>
                    <a:pt x="555" y="1006"/>
                  </a:lnTo>
                  <a:lnTo>
                    <a:pt x="612" y="974"/>
                  </a:lnTo>
                  <a:lnTo>
                    <a:pt x="671" y="943"/>
                  </a:lnTo>
                  <a:lnTo>
                    <a:pt x="729" y="912"/>
                  </a:lnTo>
                  <a:lnTo>
                    <a:pt x="789" y="882"/>
                  </a:lnTo>
                  <a:lnTo>
                    <a:pt x="848" y="853"/>
                  </a:lnTo>
                  <a:lnTo>
                    <a:pt x="908" y="825"/>
                  </a:lnTo>
                  <a:lnTo>
                    <a:pt x="908" y="0"/>
                  </a:lnTo>
                  <a:lnTo>
                    <a:pt x="261" y="0"/>
                  </a:lnTo>
                  <a:lnTo>
                    <a:pt x="261" y="0"/>
                  </a:lnTo>
                  <a:lnTo>
                    <a:pt x="256" y="86"/>
                  </a:lnTo>
                  <a:lnTo>
                    <a:pt x="248" y="170"/>
                  </a:lnTo>
                  <a:lnTo>
                    <a:pt x="239" y="255"/>
                  </a:lnTo>
                  <a:lnTo>
                    <a:pt x="229" y="340"/>
                  </a:lnTo>
                  <a:lnTo>
                    <a:pt x="217" y="425"/>
                  </a:lnTo>
                  <a:lnTo>
                    <a:pt x="205" y="511"/>
                  </a:lnTo>
                  <a:lnTo>
                    <a:pt x="190" y="596"/>
                  </a:lnTo>
                  <a:lnTo>
                    <a:pt x="175" y="681"/>
                  </a:lnTo>
                  <a:lnTo>
                    <a:pt x="158" y="766"/>
                  </a:lnTo>
                  <a:lnTo>
                    <a:pt x="140" y="852"/>
                  </a:lnTo>
                  <a:lnTo>
                    <a:pt x="120" y="937"/>
                  </a:lnTo>
                  <a:lnTo>
                    <a:pt x="99" y="1022"/>
                  </a:lnTo>
                  <a:lnTo>
                    <a:pt x="76" y="1107"/>
                  </a:lnTo>
                  <a:lnTo>
                    <a:pt x="52" y="1191"/>
                  </a:lnTo>
                  <a:lnTo>
                    <a:pt x="27" y="1277"/>
                  </a:lnTo>
                  <a:lnTo>
                    <a:pt x="0" y="1361"/>
                  </a:lnTo>
                  <a:lnTo>
                    <a:pt x="0" y="136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1" name="Freeform 66"/>
            <p:cNvSpPr>
              <a:spLocks/>
            </p:cNvSpPr>
            <p:nvPr userDrawn="1"/>
          </p:nvSpPr>
          <p:spPr bwMode="auto">
            <a:xfrm>
              <a:off x="5600701" y="0"/>
              <a:ext cx="2100263" cy="2160588"/>
            </a:xfrm>
            <a:custGeom>
              <a:avLst/>
              <a:gdLst>
                <a:gd name="T0" fmla="*/ 1323 w 1323"/>
                <a:gd name="T1" fmla="*/ 1361 h 1361"/>
                <a:gd name="T2" fmla="*/ 1323 w 1323"/>
                <a:gd name="T3" fmla="*/ 1361 h 1361"/>
                <a:gd name="T4" fmla="*/ 1291 w 1323"/>
                <a:gd name="T5" fmla="*/ 1338 h 1361"/>
                <a:gd name="T6" fmla="*/ 1258 w 1323"/>
                <a:gd name="T7" fmla="*/ 1313 h 1361"/>
                <a:gd name="T8" fmla="*/ 1227 w 1323"/>
                <a:gd name="T9" fmla="*/ 1287 h 1361"/>
                <a:gd name="T10" fmla="*/ 1195 w 1323"/>
                <a:gd name="T11" fmla="*/ 1261 h 1361"/>
                <a:gd name="T12" fmla="*/ 1165 w 1323"/>
                <a:gd name="T13" fmla="*/ 1234 h 1361"/>
                <a:gd name="T14" fmla="*/ 1135 w 1323"/>
                <a:gd name="T15" fmla="*/ 1207 h 1361"/>
                <a:gd name="T16" fmla="*/ 1105 w 1323"/>
                <a:gd name="T17" fmla="*/ 1179 h 1361"/>
                <a:gd name="T18" fmla="*/ 1076 w 1323"/>
                <a:gd name="T19" fmla="*/ 1151 h 1361"/>
                <a:gd name="T20" fmla="*/ 1047 w 1323"/>
                <a:gd name="T21" fmla="*/ 1122 h 1361"/>
                <a:gd name="T22" fmla="*/ 1019 w 1323"/>
                <a:gd name="T23" fmla="*/ 1092 h 1361"/>
                <a:gd name="T24" fmla="*/ 991 w 1323"/>
                <a:gd name="T25" fmla="*/ 1062 h 1361"/>
                <a:gd name="T26" fmla="*/ 964 w 1323"/>
                <a:gd name="T27" fmla="*/ 1032 h 1361"/>
                <a:gd name="T28" fmla="*/ 938 w 1323"/>
                <a:gd name="T29" fmla="*/ 1000 h 1361"/>
                <a:gd name="T30" fmla="*/ 912 w 1323"/>
                <a:gd name="T31" fmla="*/ 968 h 1361"/>
                <a:gd name="T32" fmla="*/ 886 w 1323"/>
                <a:gd name="T33" fmla="*/ 936 h 1361"/>
                <a:gd name="T34" fmla="*/ 861 w 1323"/>
                <a:gd name="T35" fmla="*/ 902 h 1361"/>
                <a:gd name="T36" fmla="*/ 836 w 1323"/>
                <a:gd name="T37" fmla="*/ 869 h 1361"/>
                <a:gd name="T38" fmla="*/ 813 w 1323"/>
                <a:gd name="T39" fmla="*/ 835 h 1361"/>
                <a:gd name="T40" fmla="*/ 790 w 1323"/>
                <a:gd name="T41" fmla="*/ 800 h 1361"/>
                <a:gd name="T42" fmla="*/ 768 w 1323"/>
                <a:gd name="T43" fmla="*/ 765 h 1361"/>
                <a:gd name="T44" fmla="*/ 747 w 1323"/>
                <a:gd name="T45" fmla="*/ 729 h 1361"/>
                <a:gd name="T46" fmla="*/ 725 w 1323"/>
                <a:gd name="T47" fmla="*/ 693 h 1361"/>
                <a:gd name="T48" fmla="*/ 705 w 1323"/>
                <a:gd name="T49" fmla="*/ 656 h 1361"/>
                <a:gd name="T50" fmla="*/ 686 w 1323"/>
                <a:gd name="T51" fmla="*/ 619 h 1361"/>
                <a:gd name="T52" fmla="*/ 667 w 1323"/>
                <a:gd name="T53" fmla="*/ 581 h 1361"/>
                <a:gd name="T54" fmla="*/ 649 w 1323"/>
                <a:gd name="T55" fmla="*/ 542 h 1361"/>
                <a:gd name="T56" fmla="*/ 631 w 1323"/>
                <a:gd name="T57" fmla="*/ 504 h 1361"/>
                <a:gd name="T58" fmla="*/ 614 w 1323"/>
                <a:gd name="T59" fmla="*/ 465 h 1361"/>
                <a:gd name="T60" fmla="*/ 598 w 1323"/>
                <a:gd name="T61" fmla="*/ 424 h 1361"/>
                <a:gd name="T62" fmla="*/ 582 w 1323"/>
                <a:gd name="T63" fmla="*/ 385 h 1361"/>
                <a:gd name="T64" fmla="*/ 568 w 1323"/>
                <a:gd name="T65" fmla="*/ 343 h 1361"/>
                <a:gd name="T66" fmla="*/ 554 w 1323"/>
                <a:gd name="T67" fmla="*/ 303 h 1361"/>
                <a:gd name="T68" fmla="*/ 554 w 1323"/>
                <a:gd name="T69" fmla="*/ 303 h 1361"/>
                <a:gd name="T70" fmla="*/ 542 w 1323"/>
                <a:gd name="T71" fmla="*/ 266 h 1361"/>
                <a:gd name="T72" fmla="*/ 531 w 1323"/>
                <a:gd name="T73" fmla="*/ 228 h 1361"/>
                <a:gd name="T74" fmla="*/ 520 w 1323"/>
                <a:gd name="T75" fmla="*/ 190 h 1361"/>
                <a:gd name="T76" fmla="*/ 511 w 1323"/>
                <a:gd name="T77" fmla="*/ 153 h 1361"/>
                <a:gd name="T78" fmla="*/ 502 w 1323"/>
                <a:gd name="T79" fmla="*/ 115 h 1361"/>
                <a:gd name="T80" fmla="*/ 493 w 1323"/>
                <a:gd name="T81" fmla="*/ 77 h 1361"/>
                <a:gd name="T82" fmla="*/ 487 w 1323"/>
                <a:gd name="T83" fmla="*/ 38 h 1361"/>
                <a:gd name="T84" fmla="*/ 479 w 1323"/>
                <a:gd name="T85" fmla="*/ 0 h 1361"/>
                <a:gd name="T86" fmla="*/ 0 w 1323"/>
                <a:gd name="T87" fmla="*/ 0 h 1361"/>
                <a:gd name="T88" fmla="*/ 0 w 1323"/>
                <a:gd name="T89" fmla="*/ 0 h 1361"/>
                <a:gd name="T90" fmla="*/ 70 w 1323"/>
                <a:gd name="T91" fmla="*/ 99 h 1361"/>
                <a:gd name="T92" fmla="*/ 140 w 1323"/>
                <a:gd name="T93" fmla="*/ 197 h 1361"/>
                <a:gd name="T94" fmla="*/ 213 w 1323"/>
                <a:gd name="T95" fmla="*/ 293 h 1361"/>
                <a:gd name="T96" fmla="*/ 289 w 1323"/>
                <a:gd name="T97" fmla="*/ 386 h 1361"/>
                <a:gd name="T98" fmla="*/ 365 w 1323"/>
                <a:gd name="T99" fmla="*/ 477 h 1361"/>
                <a:gd name="T100" fmla="*/ 444 w 1323"/>
                <a:gd name="T101" fmla="*/ 568 h 1361"/>
                <a:gd name="T102" fmla="*/ 525 w 1323"/>
                <a:gd name="T103" fmla="*/ 656 h 1361"/>
                <a:gd name="T104" fmla="*/ 607 w 1323"/>
                <a:gd name="T105" fmla="*/ 743 h 1361"/>
                <a:gd name="T106" fmla="*/ 690 w 1323"/>
                <a:gd name="T107" fmla="*/ 826 h 1361"/>
                <a:gd name="T108" fmla="*/ 777 w 1323"/>
                <a:gd name="T109" fmla="*/ 909 h 1361"/>
                <a:gd name="T110" fmla="*/ 863 w 1323"/>
                <a:gd name="T111" fmla="*/ 989 h 1361"/>
                <a:gd name="T112" fmla="*/ 952 w 1323"/>
                <a:gd name="T113" fmla="*/ 1068 h 1361"/>
                <a:gd name="T114" fmla="*/ 1043 w 1323"/>
                <a:gd name="T115" fmla="*/ 1144 h 1361"/>
                <a:gd name="T116" fmla="*/ 1135 w 1323"/>
                <a:gd name="T117" fmla="*/ 1218 h 1361"/>
                <a:gd name="T118" fmla="*/ 1228 w 1323"/>
                <a:gd name="T119" fmla="*/ 1290 h 1361"/>
                <a:gd name="T120" fmla="*/ 1323 w 1323"/>
                <a:gd name="T121" fmla="*/ 1361 h 1361"/>
                <a:gd name="T122" fmla="*/ 1323 w 1323"/>
                <a:gd name="T123" fmla="*/ 1361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23" h="1361">
                  <a:moveTo>
                    <a:pt x="1323" y="1361"/>
                  </a:moveTo>
                  <a:lnTo>
                    <a:pt x="1323" y="1361"/>
                  </a:lnTo>
                  <a:lnTo>
                    <a:pt x="1291" y="1338"/>
                  </a:lnTo>
                  <a:lnTo>
                    <a:pt x="1258" y="1313"/>
                  </a:lnTo>
                  <a:lnTo>
                    <a:pt x="1227" y="1287"/>
                  </a:lnTo>
                  <a:lnTo>
                    <a:pt x="1195" y="1261"/>
                  </a:lnTo>
                  <a:lnTo>
                    <a:pt x="1165" y="1234"/>
                  </a:lnTo>
                  <a:lnTo>
                    <a:pt x="1135" y="1207"/>
                  </a:lnTo>
                  <a:lnTo>
                    <a:pt x="1105" y="1179"/>
                  </a:lnTo>
                  <a:lnTo>
                    <a:pt x="1076" y="1151"/>
                  </a:lnTo>
                  <a:lnTo>
                    <a:pt x="1047" y="1122"/>
                  </a:lnTo>
                  <a:lnTo>
                    <a:pt x="1019" y="1092"/>
                  </a:lnTo>
                  <a:lnTo>
                    <a:pt x="991" y="1062"/>
                  </a:lnTo>
                  <a:lnTo>
                    <a:pt x="964" y="1032"/>
                  </a:lnTo>
                  <a:lnTo>
                    <a:pt x="938" y="1000"/>
                  </a:lnTo>
                  <a:lnTo>
                    <a:pt x="912" y="968"/>
                  </a:lnTo>
                  <a:lnTo>
                    <a:pt x="886" y="936"/>
                  </a:lnTo>
                  <a:lnTo>
                    <a:pt x="861" y="902"/>
                  </a:lnTo>
                  <a:lnTo>
                    <a:pt x="836" y="869"/>
                  </a:lnTo>
                  <a:lnTo>
                    <a:pt x="813" y="835"/>
                  </a:lnTo>
                  <a:lnTo>
                    <a:pt x="790" y="800"/>
                  </a:lnTo>
                  <a:lnTo>
                    <a:pt x="768" y="765"/>
                  </a:lnTo>
                  <a:lnTo>
                    <a:pt x="747" y="729"/>
                  </a:lnTo>
                  <a:lnTo>
                    <a:pt x="725" y="693"/>
                  </a:lnTo>
                  <a:lnTo>
                    <a:pt x="705" y="656"/>
                  </a:lnTo>
                  <a:lnTo>
                    <a:pt x="686" y="619"/>
                  </a:lnTo>
                  <a:lnTo>
                    <a:pt x="667" y="581"/>
                  </a:lnTo>
                  <a:lnTo>
                    <a:pt x="649" y="542"/>
                  </a:lnTo>
                  <a:lnTo>
                    <a:pt x="631" y="504"/>
                  </a:lnTo>
                  <a:lnTo>
                    <a:pt x="614" y="465"/>
                  </a:lnTo>
                  <a:lnTo>
                    <a:pt x="598" y="424"/>
                  </a:lnTo>
                  <a:lnTo>
                    <a:pt x="582" y="385"/>
                  </a:lnTo>
                  <a:lnTo>
                    <a:pt x="568" y="343"/>
                  </a:lnTo>
                  <a:lnTo>
                    <a:pt x="554" y="303"/>
                  </a:lnTo>
                  <a:lnTo>
                    <a:pt x="554" y="303"/>
                  </a:lnTo>
                  <a:lnTo>
                    <a:pt x="542" y="266"/>
                  </a:lnTo>
                  <a:lnTo>
                    <a:pt x="531" y="228"/>
                  </a:lnTo>
                  <a:lnTo>
                    <a:pt x="520" y="190"/>
                  </a:lnTo>
                  <a:lnTo>
                    <a:pt x="511" y="153"/>
                  </a:lnTo>
                  <a:lnTo>
                    <a:pt x="502" y="115"/>
                  </a:lnTo>
                  <a:lnTo>
                    <a:pt x="493" y="77"/>
                  </a:lnTo>
                  <a:lnTo>
                    <a:pt x="487" y="38"/>
                  </a:lnTo>
                  <a:lnTo>
                    <a:pt x="479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70" y="99"/>
                  </a:lnTo>
                  <a:lnTo>
                    <a:pt x="140" y="197"/>
                  </a:lnTo>
                  <a:lnTo>
                    <a:pt x="213" y="293"/>
                  </a:lnTo>
                  <a:lnTo>
                    <a:pt x="289" y="386"/>
                  </a:lnTo>
                  <a:lnTo>
                    <a:pt x="365" y="477"/>
                  </a:lnTo>
                  <a:lnTo>
                    <a:pt x="444" y="568"/>
                  </a:lnTo>
                  <a:lnTo>
                    <a:pt x="525" y="656"/>
                  </a:lnTo>
                  <a:lnTo>
                    <a:pt x="607" y="743"/>
                  </a:lnTo>
                  <a:lnTo>
                    <a:pt x="690" y="826"/>
                  </a:lnTo>
                  <a:lnTo>
                    <a:pt x="777" y="909"/>
                  </a:lnTo>
                  <a:lnTo>
                    <a:pt x="863" y="989"/>
                  </a:lnTo>
                  <a:lnTo>
                    <a:pt x="952" y="1068"/>
                  </a:lnTo>
                  <a:lnTo>
                    <a:pt x="1043" y="1144"/>
                  </a:lnTo>
                  <a:lnTo>
                    <a:pt x="1135" y="1218"/>
                  </a:lnTo>
                  <a:lnTo>
                    <a:pt x="1228" y="1290"/>
                  </a:lnTo>
                  <a:lnTo>
                    <a:pt x="1323" y="1361"/>
                  </a:lnTo>
                  <a:lnTo>
                    <a:pt x="1323" y="1361"/>
                  </a:lnTo>
                  <a:close/>
                </a:path>
              </a:pathLst>
            </a:custGeom>
            <a:solidFill>
              <a:srgbClr val="2BB6A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2" name="Freeform 67"/>
            <p:cNvSpPr>
              <a:spLocks/>
            </p:cNvSpPr>
            <p:nvPr userDrawn="1"/>
          </p:nvSpPr>
          <p:spPr bwMode="auto">
            <a:xfrm>
              <a:off x="7700963" y="2160588"/>
              <a:ext cx="1441450" cy="852488"/>
            </a:xfrm>
            <a:custGeom>
              <a:avLst/>
              <a:gdLst>
                <a:gd name="T0" fmla="*/ 908 w 908"/>
                <a:gd name="T1" fmla="*/ 378 h 537"/>
                <a:gd name="T2" fmla="*/ 908 w 908"/>
                <a:gd name="T3" fmla="*/ 378 h 537"/>
                <a:gd name="T4" fmla="*/ 848 w 908"/>
                <a:gd name="T5" fmla="*/ 367 h 537"/>
                <a:gd name="T6" fmla="*/ 789 w 908"/>
                <a:gd name="T7" fmla="*/ 356 h 537"/>
                <a:gd name="T8" fmla="*/ 730 w 908"/>
                <a:gd name="T9" fmla="*/ 341 h 537"/>
                <a:gd name="T10" fmla="*/ 671 w 908"/>
                <a:gd name="T11" fmla="*/ 325 h 537"/>
                <a:gd name="T12" fmla="*/ 612 w 908"/>
                <a:gd name="T13" fmla="*/ 309 h 537"/>
                <a:gd name="T14" fmla="*/ 555 w 908"/>
                <a:gd name="T15" fmla="*/ 289 h 537"/>
                <a:gd name="T16" fmla="*/ 496 w 908"/>
                <a:gd name="T17" fmla="*/ 268 h 537"/>
                <a:gd name="T18" fmla="*/ 439 w 908"/>
                <a:gd name="T19" fmla="*/ 246 h 537"/>
                <a:gd name="T20" fmla="*/ 383 w 908"/>
                <a:gd name="T21" fmla="*/ 222 h 537"/>
                <a:gd name="T22" fmla="*/ 325 w 908"/>
                <a:gd name="T23" fmla="*/ 195 h 537"/>
                <a:gd name="T24" fmla="*/ 270 w 908"/>
                <a:gd name="T25" fmla="*/ 167 h 537"/>
                <a:gd name="T26" fmla="*/ 215 w 908"/>
                <a:gd name="T27" fmla="*/ 138 h 537"/>
                <a:gd name="T28" fmla="*/ 160 w 908"/>
                <a:gd name="T29" fmla="*/ 106 h 537"/>
                <a:gd name="T30" fmla="*/ 106 w 908"/>
                <a:gd name="T31" fmla="*/ 72 h 537"/>
                <a:gd name="T32" fmla="*/ 53 w 908"/>
                <a:gd name="T33" fmla="*/ 37 h 537"/>
                <a:gd name="T34" fmla="*/ 0 w 908"/>
                <a:gd name="T35" fmla="*/ 0 h 537"/>
                <a:gd name="T36" fmla="*/ 0 w 908"/>
                <a:gd name="T37" fmla="*/ 0 h 537"/>
                <a:gd name="T38" fmla="*/ 54 w 908"/>
                <a:gd name="T39" fmla="*/ 40 h 537"/>
                <a:gd name="T40" fmla="*/ 110 w 908"/>
                <a:gd name="T41" fmla="*/ 78 h 537"/>
                <a:gd name="T42" fmla="*/ 165 w 908"/>
                <a:gd name="T43" fmla="*/ 115 h 537"/>
                <a:gd name="T44" fmla="*/ 221 w 908"/>
                <a:gd name="T45" fmla="*/ 152 h 537"/>
                <a:gd name="T46" fmla="*/ 276 w 908"/>
                <a:gd name="T47" fmla="*/ 188 h 537"/>
                <a:gd name="T48" fmla="*/ 332 w 908"/>
                <a:gd name="T49" fmla="*/ 224 h 537"/>
                <a:gd name="T50" fmla="*/ 388 w 908"/>
                <a:gd name="T51" fmla="*/ 259 h 537"/>
                <a:gd name="T52" fmla="*/ 446 w 908"/>
                <a:gd name="T53" fmla="*/ 293 h 537"/>
                <a:gd name="T54" fmla="*/ 502 w 908"/>
                <a:gd name="T55" fmla="*/ 325 h 537"/>
                <a:gd name="T56" fmla="*/ 559 w 908"/>
                <a:gd name="T57" fmla="*/ 358 h 537"/>
                <a:gd name="T58" fmla="*/ 617 w 908"/>
                <a:gd name="T59" fmla="*/ 390 h 537"/>
                <a:gd name="T60" fmla="*/ 675 w 908"/>
                <a:gd name="T61" fmla="*/ 421 h 537"/>
                <a:gd name="T62" fmla="*/ 733 w 908"/>
                <a:gd name="T63" fmla="*/ 450 h 537"/>
                <a:gd name="T64" fmla="*/ 791 w 908"/>
                <a:gd name="T65" fmla="*/ 480 h 537"/>
                <a:gd name="T66" fmla="*/ 850 w 908"/>
                <a:gd name="T67" fmla="*/ 509 h 537"/>
                <a:gd name="T68" fmla="*/ 908 w 908"/>
                <a:gd name="T69" fmla="*/ 537 h 537"/>
                <a:gd name="T70" fmla="*/ 908 w 908"/>
                <a:gd name="T71" fmla="*/ 378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8" h="537">
                  <a:moveTo>
                    <a:pt x="908" y="378"/>
                  </a:moveTo>
                  <a:lnTo>
                    <a:pt x="908" y="378"/>
                  </a:lnTo>
                  <a:lnTo>
                    <a:pt x="848" y="367"/>
                  </a:lnTo>
                  <a:lnTo>
                    <a:pt x="789" y="356"/>
                  </a:lnTo>
                  <a:lnTo>
                    <a:pt x="730" y="341"/>
                  </a:lnTo>
                  <a:lnTo>
                    <a:pt x="671" y="325"/>
                  </a:lnTo>
                  <a:lnTo>
                    <a:pt x="612" y="309"/>
                  </a:lnTo>
                  <a:lnTo>
                    <a:pt x="555" y="289"/>
                  </a:lnTo>
                  <a:lnTo>
                    <a:pt x="496" y="268"/>
                  </a:lnTo>
                  <a:lnTo>
                    <a:pt x="439" y="246"/>
                  </a:lnTo>
                  <a:lnTo>
                    <a:pt x="383" y="222"/>
                  </a:lnTo>
                  <a:lnTo>
                    <a:pt x="325" y="195"/>
                  </a:lnTo>
                  <a:lnTo>
                    <a:pt x="270" y="167"/>
                  </a:lnTo>
                  <a:lnTo>
                    <a:pt x="215" y="138"/>
                  </a:lnTo>
                  <a:lnTo>
                    <a:pt x="160" y="106"/>
                  </a:lnTo>
                  <a:lnTo>
                    <a:pt x="106" y="72"/>
                  </a:lnTo>
                  <a:lnTo>
                    <a:pt x="53" y="37"/>
                  </a:lnTo>
                  <a:lnTo>
                    <a:pt x="0" y="0"/>
                  </a:lnTo>
                  <a:lnTo>
                    <a:pt x="0" y="0"/>
                  </a:lnTo>
                  <a:lnTo>
                    <a:pt x="54" y="40"/>
                  </a:lnTo>
                  <a:lnTo>
                    <a:pt x="110" y="78"/>
                  </a:lnTo>
                  <a:lnTo>
                    <a:pt x="165" y="115"/>
                  </a:lnTo>
                  <a:lnTo>
                    <a:pt x="221" y="152"/>
                  </a:lnTo>
                  <a:lnTo>
                    <a:pt x="276" y="188"/>
                  </a:lnTo>
                  <a:lnTo>
                    <a:pt x="332" y="224"/>
                  </a:lnTo>
                  <a:lnTo>
                    <a:pt x="388" y="259"/>
                  </a:lnTo>
                  <a:lnTo>
                    <a:pt x="446" y="293"/>
                  </a:lnTo>
                  <a:lnTo>
                    <a:pt x="502" y="325"/>
                  </a:lnTo>
                  <a:lnTo>
                    <a:pt x="559" y="358"/>
                  </a:lnTo>
                  <a:lnTo>
                    <a:pt x="617" y="390"/>
                  </a:lnTo>
                  <a:lnTo>
                    <a:pt x="675" y="421"/>
                  </a:lnTo>
                  <a:lnTo>
                    <a:pt x="733" y="450"/>
                  </a:lnTo>
                  <a:lnTo>
                    <a:pt x="791" y="480"/>
                  </a:lnTo>
                  <a:lnTo>
                    <a:pt x="850" y="509"/>
                  </a:lnTo>
                  <a:lnTo>
                    <a:pt x="908" y="537"/>
                  </a:lnTo>
                  <a:lnTo>
                    <a:pt x="908" y="378"/>
                  </a:lnTo>
                  <a:close/>
                </a:path>
              </a:pathLst>
            </a:custGeom>
            <a:solidFill>
              <a:srgbClr val="2BB6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73" name="Freeform 68"/>
            <p:cNvSpPr>
              <a:spLocks/>
            </p:cNvSpPr>
            <p:nvPr userDrawn="1"/>
          </p:nvSpPr>
          <p:spPr bwMode="auto">
            <a:xfrm>
              <a:off x="5103813" y="2160588"/>
              <a:ext cx="2597150" cy="2982913"/>
            </a:xfrm>
            <a:custGeom>
              <a:avLst/>
              <a:gdLst>
                <a:gd name="T0" fmla="*/ 588 w 1636"/>
                <a:gd name="T1" fmla="*/ 1879 h 1879"/>
                <a:gd name="T2" fmla="*/ 632 w 1636"/>
                <a:gd name="T3" fmla="*/ 1826 h 1879"/>
                <a:gd name="T4" fmla="*/ 719 w 1636"/>
                <a:gd name="T5" fmla="*/ 1719 h 1879"/>
                <a:gd name="T6" fmla="*/ 802 w 1636"/>
                <a:gd name="T7" fmla="*/ 1611 h 1879"/>
                <a:gd name="T8" fmla="*/ 883 w 1636"/>
                <a:gd name="T9" fmla="*/ 1501 h 1879"/>
                <a:gd name="T10" fmla="*/ 961 w 1636"/>
                <a:gd name="T11" fmla="*/ 1389 h 1879"/>
                <a:gd name="T12" fmla="*/ 1035 w 1636"/>
                <a:gd name="T13" fmla="*/ 1275 h 1879"/>
                <a:gd name="T14" fmla="*/ 1107 w 1636"/>
                <a:gd name="T15" fmla="*/ 1160 h 1879"/>
                <a:gd name="T16" fmla="*/ 1175 w 1636"/>
                <a:gd name="T17" fmla="*/ 1043 h 1879"/>
                <a:gd name="T18" fmla="*/ 1241 w 1636"/>
                <a:gd name="T19" fmla="*/ 925 h 1879"/>
                <a:gd name="T20" fmla="*/ 1304 w 1636"/>
                <a:gd name="T21" fmla="*/ 806 h 1879"/>
                <a:gd name="T22" fmla="*/ 1363 w 1636"/>
                <a:gd name="T23" fmla="*/ 684 h 1879"/>
                <a:gd name="T24" fmla="*/ 1419 w 1636"/>
                <a:gd name="T25" fmla="*/ 563 h 1879"/>
                <a:gd name="T26" fmla="*/ 1473 w 1636"/>
                <a:gd name="T27" fmla="*/ 440 h 1879"/>
                <a:gd name="T28" fmla="*/ 1524 w 1636"/>
                <a:gd name="T29" fmla="*/ 315 h 1879"/>
                <a:gd name="T30" fmla="*/ 1571 w 1636"/>
                <a:gd name="T31" fmla="*/ 190 h 1879"/>
                <a:gd name="T32" fmla="*/ 1615 w 1636"/>
                <a:gd name="T33" fmla="*/ 63 h 1879"/>
                <a:gd name="T34" fmla="*/ 1636 w 1636"/>
                <a:gd name="T35" fmla="*/ 0 h 1879"/>
                <a:gd name="T36" fmla="*/ 1570 w 1636"/>
                <a:gd name="T37" fmla="*/ 49 h 1879"/>
                <a:gd name="T38" fmla="*/ 1442 w 1636"/>
                <a:gd name="T39" fmla="*/ 148 h 1879"/>
                <a:gd name="T40" fmla="*/ 1317 w 1636"/>
                <a:gd name="T41" fmla="*/ 250 h 1879"/>
                <a:gd name="T42" fmla="*/ 1197 w 1636"/>
                <a:gd name="T43" fmla="*/ 355 h 1879"/>
                <a:gd name="T44" fmla="*/ 1079 w 1636"/>
                <a:gd name="T45" fmla="*/ 463 h 1879"/>
                <a:gd name="T46" fmla="*/ 965 w 1636"/>
                <a:gd name="T47" fmla="*/ 573 h 1879"/>
                <a:gd name="T48" fmla="*/ 856 w 1636"/>
                <a:gd name="T49" fmla="*/ 687 h 1879"/>
                <a:gd name="T50" fmla="*/ 749 w 1636"/>
                <a:gd name="T51" fmla="*/ 802 h 1879"/>
                <a:gd name="T52" fmla="*/ 647 w 1636"/>
                <a:gd name="T53" fmla="*/ 921 h 1879"/>
                <a:gd name="T54" fmla="*/ 549 w 1636"/>
                <a:gd name="T55" fmla="*/ 1042 h 1879"/>
                <a:gd name="T56" fmla="*/ 453 w 1636"/>
                <a:gd name="T57" fmla="*/ 1165 h 1879"/>
                <a:gd name="T58" fmla="*/ 362 w 1636"/>
                <a:gd name="T59" fmla="*/ 1291 h 1879"/>
                <a:gd name="T60" fmla="*/ 276 w 1636"/>
                <a:gd name="T61" fmla="*/ 1418 h 1879"/>
                <a:gd name="T62" fmla="*/ 192 w 1636"/>
                <a:gd name="T63" fmla="*/ 1547 h 1879"/>
                <a:gd name="T64" fmla="*/ 113 w 1636"/>
                <a:gd name="T65" fmla="*/ 1679 h 1879"/>
                <a:gd name="T66" fmla="*/ 37 w 1636"/>
                <a:gd name="T67" fmla="*/ 1812 h 1879"/>
                <a:gd name="T68" fmla="*/ 0 w 1636"/>
                <a:gd name="T69" fmla="*/ 1879 h 1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36" h="1879">
                  <a:moveTo>
                    <a:pt x="0" y="1879"/>
                  </a:moveTo>
                  <a:lnTo>
                    <a:pt x="588" y="1879"/>
                  </a:lnTo>
                  <a:lnTo>
                    <a:pt x="588" y="1879"/>
                  </a:lnTo>
                  <a:lnTo>
                    <a:pt x="632" y="1826"/>
                  </a:lnTo>
                  <a:lnTo>
                    <a:pt x="676" y="1773"/>
                  </a:lnTo>
                  <a:lnTo>
                    <a:pt x="719" y="1719"/>
                  </a:lnTo>
                  <a:lnTo>
                    <a:pt x="760" y="1665"/>
                  </a:lnTo>
                  <a:lnTo>
                    <a:pt x="802" y="1611"/>
                  </a:lnTo>
                  <a:lnTo>
                    <a:pt x="842" y="1556"/>
                  </a:lnTo>
                  <a:lnTo>
                    <a:pt x="883" y="1501"/>
                  </a:lnTo>
                  <a:lnTo>
                    <a:pt x="922" y="1445"/>
                  </a:lnTo>
                  <a:lnTo>
                    <a:pt x="961" y="1389"/>
                  </a:lnTo>
                  <a:lnTo>
                    <a:pt x="998" y="1332"/>
                  </a:lnTo>
                  <a:lnTo>
                    <a:pt x="1035" y="1275"/>
                  </a:lnTo>
                  <a:lnTo>
                    <a:pt x="1071" y="1218"/>
                  </a:lnTo>
                  <a:lnTo>
                    <a:pt x="1107" y="1160"/>
                  </a:lnTo>
                  <a:lnTo>
                    <a:pt x="1142" y="1102"/>
                  </a:lnTo>
                  <a:lnTo>
                    <a:pt x="1175" y="1043"/>
                  </a:lnTo>
                  <a:lnTo>
                    <a:pt x="1208" y="985"/>
                  </a:lnTo>
                  <a:lnTo>
                    <a:pt x="1241" y="925"/>
                  </a:lnTo>
                  <a:lnTo>
                    <a:pt x="1272" y="865"/>
                  </a:lnTo>
                  <a:lnTo>
                    <a:pt x="1304" y="806"/>
                  </a:lnTo>
                  <a:lnTo>
                    <a:pt x="1334" y="745"/>
                  </a:lnTo>
                  <a:lnTo>
                    <a:pt x="1363" y="684"/>
                  </a:lnTo>
                  <a:lnTo>
                    <a:pt x="1391" y="624"/>
                  </a:lnTo>
                  <a:lnTo>
                    <a:pt x="1419" y="563"/>
                  </a:lnTo>
                  <a:lnTo>
                    <a:pt x="1446" y="501"/>
                  </a:lnTo>
                  <a:lnTo>
                    <a:pt x="1473" y="440"/>
                  </a:lnTo>
                  <a:lnTo>
                    <a:pt x="1498" y="377"/>
                  </a:lnTo>
                  <a:lnTo>
                    <a:pt x="1524" y="315"/>
                  </a:lnTo>
                  <a:lnTo>
                    <a:pt x="1548" y="253"/>
                  </a:lnTo>
                  <a:lnTo>
                    <a:pt x="1571" y="190"/>
                  </a:lnTo>
                  <a:lnTo>
                    <a:pt x="1594" y="127"/>
                  </a:lnTo>
                  <a:lnTo>
                    <a:pt x="1615" y="63"/>
                  </a:lnTo>
                  <a:lnTo>
                    <a:pt x="1636" y="0"/>
                  </a:lnTo>
                  <a:lnTo>
                    <a:pt x="1636" y="0"/>
                  </a:lnTo>
                  <a:lnTo>
                    <a:pt x="1636" y="0"/>
                  </a:lnTo>
                  <a:lnTo>
                    <a:pt x="1570" y="49"/>
                  </a:lnTo>
                  <a:lnTo>
                    <a:pt x="1506" y="98"/>
                  </a:lnTo>
                  <a:lnTo>
                    <a:pt x="1442" y="148"/>
                  </a:lnTo>
                  <a:lnTo>
                    <a:pt x="1379" y="198"/>
                  </a:lnTo>
                  <a:lnTo>
                    <a:pt x="1317" y="250"/>
                  </a:lnTo>
                  <a:lnTo>
                    <a:pt x="1256" y="302"/>
                  </a:lnTo>
                  <a:lnTo>
                    <a:pt x="1197" y="355"/>
                  </a:lnTo>
                  <a:lnTo>
                    <a:pt x="1137" y="409"/>
                  </a:lnTo>
                  <a:lnTo>
                    <a:pt x="1079" y="463"/>
                  </a:lnTo>
                  <a:lnTo>
                    <a:pt x="1021" y="518"/>
                  </a:lnTo>
                  <a:lnTo>
                    <a:pt x="965" y="573"/>
                  </a:lnTo>
                  <a:lnTo>
                    <a:pt x="910" y="629"/>
                  </a:lnTo>
                  <a:lnTo>
                    <a:pt x="856" y="687"/>
                  </a:lnTo>
                  <a:lnTo>
                    <a:pt x="802" y="744"/>
                  </a:lnTo>
                  <a:lnTo>
                    <a:pt x="749" y="802"/>
                  </a:lnTo>
                  <a:lnTo>
                    <a:pt x="697" y="861"/>
                  </a:lnTo>
                  <a:lnTo>
                    <a:pt x="647" y="921"/>
                  </a:lnTo>
                  <a:lnTo>
                    <a:pt x="597" y="981"/>
                  </a:lnTo>
                  <a:lnTo>
                    <a:pt x="549" y="1042"/>
                  </a:lnTo>
                  <a:lnTo>
                    <a:pt x="501" y="1103"/>
                  </a:lnTo>
                  <a:lnTo>
                    <a:pt x="453" y="1165"/>
                  </a:lnTo>
                  <a:lnTo>
                    <a:pt x="407" y="1228"/>
                  </a:lnTo>
                  <a:lnTo>
                    <a:pt x="362" y="1291"/>
                  </a:lnTo>
                  <a:lnTo>
                    <a:pt x="318" y="1354"/>
                  </a:lnTo>
                  <a:lnTo>
                    <a:pt x="276" y="1418"/>
                  </a:lnTo>
                  <a:lnTo>
                    <a:pt x="233" y="1482"/>
                  </a:lnTo>
                  <a:lnTo>
                    <a:pt x="192" y="1547"/>
                  </a:lnTo>
                  <a:lnTo>
                    <a:pt x="152" y="1612"/>
                  </a:lnTo>
                  <a:lnTo>
                    <a:pt x="113" y="1679"/>
                  </a:lnTo>
                  <a:lnTo>
                    <a:pt x="74" y="1745"/>
                  </a:lnTo>
                  <a:lnTo>
                    <a:pt x="37" y="1812"/>
                  </a:lnTo>
                  <a:lnTo>
                    <a:pt x="0" y="1879"/>
                  </a:lnTo>
                  <a:lnTo>
                    <a:pt x="0" y="1879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</p:grpSp>
      <p:sp>
        <p:nvSpPr>
          <p:cNvPr id="7" name="Otsikko 1"/>
          <p:cNvSpPr>
            <a:spLocks noGrp="1"/>
          </p:cNvSpPr>
          <p:nvPr userDrawn="1">
            <p:ph type="ctrTitle"/>
          </p:nvPr>
        </p:nvSpPr>
        <p:spPr>
          <a:xfrm>
            <a:off x="911424" y="2468894"/>
            <a:ext cx="7776864" cy="2794037"/>
          </a:xfrm>
        </p:spPr>
        <p:txBody>
          <a:bodyPr anchor="b" anchorCtr="0">
            <a:noAutofit/>
          </a:bodyPr>
          <a:lstStyle>
            <a:lvl1pPr algn="l">
              <a:defRPr sz="533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8" name="Alaotsikko 2"/>
          <p:cNvSpPr>
            <a:spLocks noGrp="1"/>
          </p:cNvSpPr>
          <p:nvPr userDrawn="1">
            <p:ph type="subTitle" idx="1"/>
          </p:nvPr>
        </p:nvSpPr>
        <p:spPr>
          <a:xfrm>
            <a:off x="911424" y="5419437"/>
            <a:ext cx="7776864" cy="889884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927101" y="833967"/>
            <a:ext cx="4121151" cy="1200151"/>
            <a:chOff x="695325" y="625475"/>
            <a:chExt cx="3090863" cy="900113"/>
          </a:xfrm>
        </p:grpSpPr>
        <p:sp>
          <p:nvSpPr>
            <p:cNvPr id="9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695325" y="625475"/>
              <a:ext cx="3090863" cy="900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2" name="Freeform 5"/>
            <p:cNvSpPr>
              <a:spLocks/>
            </p:cNvSpPr>
            <p:nvPr userDrawn="1"/>
          </p:nvSpPr>
          <p:spPr bwMode="auto">
            <a:xfrm>
              <a:off x="1524000" y="892175"/>
              <a:ext cx="161925" cy="142875"/>
            </a:xfrm>
            <a:custGeom>
              <a:avLst/>
              <a:gdLst>
                <a:gd name="T0" fmla="*/ 84 w 102"/>
                <a:gd name="T1" fmla="*/ 17 h 90"/>
                <a:gd name="T2" fmla="*/ 53 w 102"/>
                <a:gd name="T3" fmla="*/ 90 h 90"/>
                <a:gd name="T4" fmla="*/ 50 w 102"/>
                <a:gd name="T5" fmla="*/ 90 h 90"/>
                <a:gd name="T6" fmla="*/ 18 w 102"/>
                <a:gd name="T7" fmla="*/ 17 h 90"/>
                <a:gd name="T8" fmla="*/ 18 w 102"/>
                <a:gd name="T9" fmla="*/ 17 h 90"/>
                <a:gd name="T10" fmla="*/ 15 w 102"/>
                <a:gd name="T11" fmla="*/ 11 h 90"/>
                <a:gd name="T12" fmla="*/ 13 w 102"/>
                <a:gd name="T13" fmla="*/ 8 h 90"/>
                <a:gd name="T14" fmla="*/ 8 w 102"/>
                <a:gd name="T15" fmla="*/ 5 h 90"/>
                <a:gd name="T16" fmla="*/ 0 w 102"/>
                <a:gd name="T17" fmla="*/ 5 h 90"/>
                <a:gd name="T18" fmla="*/ 0 w 102"/>
                <a:gd name="T19" fmla="*/ 0 h 90"/>
                <a:gd name="T20" fmla="*/ 48 w 102"/>
                <a:gd name="T21" fmla="*/ 0 h 90"/>
                <a:gd name="T22" fmla="*/ 48 w 102"/>
                <a:gd name="T23" fmla="*/ 5 h 90"/>
                <a:gd name="T24" fmla="*/ 48 w 102"/>
                <a:gd name="T25" fmla="*/ 5 h 90"/>
                <a:gd name="T26" fmla="*/ 41 w 102"/>
                <a:gd name="T27" fmla="*/ 5 h 90"/>
                <a:gd name="T28" fmla="*/ 36 w 102"/>
                <a:gd name="T29" fmla="*/ 8 h 90"/>
                <a:gd name="T30" fmla="*/ 36 w 102"/>
                <a:gd name="T31" fmla="*/ 9 h 90"/>
                <a:gd name="T32" fmla="*/ 36 w 102"/>
                <a:gd name="T33" fmla="*/ 11 h 90"/>
                <a:gd name="T34" fmla="*/ 37 w 102"/>
                <a:gd name="T35" fmla="*/ 16 h 90"/>
                <a:gd name="T36" fmla="*/ 57 w 102"/>
                <a:gd name="T37" fmla="*/ 63 h 90"/>
                <a:gd name="T38" fmla="*/ 78 w 102"/>
                <a:gd name="T39" fmla="*/ 16 h 90"/>
                <a:gd name="T40" fmla="*/ 78 w 102"/>
                <a:gd name="T41" fmla="*/ 16 h 90"/>
                <a:gd name="T42" fmla="*/ 79 w 102"/>
                <a:gd name="T43" fmla="*/ 11 h 90"/>
                <a:gd name="T44" fmla="*/ 79 w 102"/>
                <a:gd name="T45" fmla="*/ 9 h 90"/>
                <a:gd name="T46" fmla="*/ 78 w 102"/>
                <a:gd name="T47" fmla="*/ 8 h 90"/>
                <a:gd name="T48" fmla="*/ 74 w 102"/>
                <a:gd name="T49" fmla="*/ 5 h 90"/>
                <a:gd name="T50" fmla="*/ 67 w 102"/>
                <a:gd name="T51" fmla="*/ 5 h 90"/>
                <a:gd name="T52" fmla="*/ 67 w 102"/>
                <a:gd name="T53" fmla="*/ 0 h 90"/>
                <a:gd name="T54" fmla="*/ 102 w 102"/>
                <a:gd name="T55" fmla="*/ 0 h 90"/>
                <a:gd name="T56" fmla="*/ 102 w 102"/>
                <a:gd name="T57" fmla="*/ 5 h 90"/>
                <a:gd name="T58" fmla="*/ 102 w 102"/>
                <a:gd name="T59" fmla="*/ 5 h 90"/>
                <a:gd name="T60" fmla="*/ 95 w 102"/>
                <a:gd name="T61" fmla="*/ 5 h 90"/>
                <a:gd name="T62" fmla="*/ 91 w 102"/>
                <a:gd name="T63" fmla="*/ 8 h 90"/>
                <a:gd name="T64" fmla="*/ 88 w 102"/>
                <a:gd name="T65" fmla="*/ 11 h 90"/>
                <a:gd name="T66" fmla="*/ 84 w 102"/>
                <a:gd name="T67" fmla="*/ 17 h 90"/>
                <a:gd name="T68" fmla="*/ 84 w 102"/>
                <a:gd name="T69" fmla="*/ 1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2" h="90">
                  <a:moveTo>
                    <a:pt x="84" y="17"/>
                  </a:moveTo>
                  <a:lnTo>
                    <a:pt x="53" y="90"/>
                  </a:lnTo>
                  <a:lnTo>
                    <a:pt x="50" y="90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5" y="11"/>
                  </a:lnTo>
                  <a:lnTo>
                    <a:pt x="13" y="8"/>
                  </a:lnTo>
                  <a:lnTo>
                    <a:pt x="8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1" y="5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6" y="11"/>
                  </a:lnTo>
                  <a:lnTo>
                    <a:pt x="37" y="16"/>
                  </a:lnTo>
                  <a:lnTo>
                    <a:pt x="57" y="63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9" y="11"/>
                  </a:lnTo>
                  <a:lnTo>
                    <a:pt x="79" y="9"/>
                  </a:lnTo>
                  <a:lnTo>
                    <a:pt x="78" y="8"/>
                  </a:lnTo>
                  <a:lnTo>
                    <a:pt x="74" y="5"/>
                  </a:lnTo>
                  <a:lnTo>
                    <a:pt x="67" y="5"/>
                  </a:lnTo>
                  <a:lnTo>
                    <a:pt x="67" y="0"/>
                  </a:lnTo>
                  <a:lnTo>
                    <a:pt x="102" y="0"/>
                  </a:lnTo>
                  <a:lnTo>
                    <a:pt x="102" y="5"/>
                  </a:lnTo>
                  <a:lnTo>
                    <a:pt x="102" y="5"/>
                  </a:lnTo>
                  <a:lnTo>
                    <a:pt x="95" y="5"/>
                  </a:lnTo>
                  <a:lnTo>
                    <a:pt x="91" y="8"/>
                  </a:lnTo>
                  <a:lnTo>
                    <a:pt x="88" y="11"/>
                  </a:lnTo>
                  <a:lnTo>
                    <a:pt x="84" y="17"/>
                  </a:lnTo>
                  <a:lnTo>
                    <a:pt x="84" y="17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3" name="Freeform 6"/>
            <p:cNvSpPr>
              <a:spLocks noEditPoints="1"/>
            </p:cNvSpPr>
            <p:nvPr userDrawn="1"/>
          </p:nvSpPr>
          <p:spPr bwMode="auto">
            <a:xfrm>
              <a:off x="1668463" y="889000"/>
              <a:ext cx="160338" cy="141288"/>
            </a:xfrm>
            <a:custGeom>
              <a:avLst/>
              <a:gdLst>
                <a:gd name="T0" fmla="*/ 24 w 101"/>
                <a:gd name="T1" fmla="*/ 73 h 89"/>
                <a:gd name="T2" fmla="*/ 24 w 101"/>
                <a:gd name="T3" fmla="*/ 73 h 89"/>
                <a:gd name="T4" fmla="*/ 22 w 101"/>
                <a:gd name="T5" fmla="*/ 79 h 89"/>
                <a:gd name="T6" fmla="*/ 22 w 101"/>
                <a:gd name="T7" fmla="*/ 81 h 89"/>
                <a:gd name="T8" fmla="*/ 24 w 101"/>
                <a:gd name="T9" fmla="*/ 82 h 89"/>
                <a:gd name="T10" fmla="*/ 27 w 101"/>
                <a:gd name="T11" fmla="*/ 84 h 89"/>
                <a:gd name="T12" fmla="*/ 35 w 101"/>
                <a:gd name="T13" fmla="*/ 84 h 89"/>
                <a:gd name="T14" fmla="*/ 35 w 101"/>
                <a:gd name="T15" fmla="*/ 89 h 89"/>
                <a:gd name="T16" fmla="*/ 0 w 101"/>
                <a:gd name="T17" fmla="*/ 89 h 89"/>
                <a:gd name="T18" fmla="*/ 0 w 101"/>
                <a:gd name="T19" fmla="*/ 84 h 89"/>
                <a:gd name="T20" fmla="*/ 0 w 101"/>
                <a:gd name="T21" fmla="*/ 84 h 89"/>
                <a:gd name="T22" fmla="*/ 7 w 101"/>
                <a:gd name="T23" fmla="*/ 84 h 89"/>
                <a:gd name="T24" fmla="*/ 11 w 101"/>
                <a:gd name="T25" fmla="*/ 82 h 89"/>
                <a:gd name="T26" fmla="*/ 15 w 101"/>
                <a:gd name="T27" fmla="*/ 78 h 89"/>
                <a:gd name="T28" fmla="*/ 18 w 101"/>
                <a:gd name="T29" fmla="*/ 72 h 89"/>
                <a:gd name="T30" fmla="*/ 50 w 101"/>
                <a:gd name="T31" fmla="*/ 0 h 89"/>
                <a:gd name="T32" fmla="*/ 52 w 101"/>
                <a:gd name="T33" fmla="*/ 0 h 89"/>
                <a:gd name="T34" fmla="*/ 84 w 101"/>
                <a:gd name="T35" fmla="*/ 72 h 89"/>
                <a:gd name="T36" fmla="*/ 84 w 101"/>
                <a:gd name="T37" fmla="*/ 72 h 89"/>
                <a:gd name="T38" fmla="*/ 86 w 101"/>
                <a:gd name="T39" fmla="*/ 78 h 89"/>
                <a:gd name="T40" fmla="*/ 90 w 101"/>
                <a:gd name="T41" fmla="*/ 82 h 89"/>
                <a:gd name="T42" fmla="*/ 94 w 101"/>
                <a:gd name="T43" fmla="*/ 84 h 89"/>
                <a:gd name="T44" fmla="*/ 101 w 101"/>
                <a:gd name="T45" fmla="*/ 84 h 89"/>
                <a:gd name="T46" fmla="*/ 101 w 101"/>
                <a:gd name="T47" fmla="*/ 89 h 89"/>
                <a:gd name="T48" fmla="*/ 54 w 101"/>
                <a:gd name="T49" fmla="*/ 89 h 89"/>
                <a:gd name="T50" fmla="*/ 54 w 101"/>
                <a:gd name="T51" fmla="*/ 84 h 89"/>
                <a:gd name="T52" fmla="*/ 54 w 101"/>
                <a:gd name="T53" fmla="*/ 84 h 89"/>
                <a:gd name="T54" fmla="*/ 62 w 101"/>
                <a:gd name="T55" fmla="*/ 84 h 89"/>
                <a:gd name="T56" fmla="*/ 66 w 101"/>
                <a:gd name="T57" fmla="*/ 82 h 89"/>
                <a:gd name="T58" fmla="*/ 67 w 101"/>
                <a:gd name="T59" fmla="*/ 81 h 89"/>
                <a:gd name="T60" fmla="*/ 67 w 101"/>
                <a:gd name="T61" fmla="*/ 78 h 89"/>
                <a:gd name="T62" fmla="*/ 66 w 101"/>
                <a:gd name="T63" fmla="*/ 73 h 89"/>
                <a:gd name="T64" fmla="*/ 59 w 101"/>
                <a:gd name="T65" fmla="*/ 60 h 89"/>
                <a:gd name="T66" fmla="*/ 30 w 101"/>
                <a:gd name="T67" fmla="*/ 60 h 89"/>
                <a:gd name="T68" fmla="*/ 24 w 101"/>
                <a:gd name="T69" fmla="*/ 73 h 89"/>
                <a:gd name="T70" fmla="*/ 45 w 101"/>
                <a:gd name="T71" fmla="*/ 27 h 89"/>
                <a:gd name="T72" fmla="*/ 34 w 101"/>
                <a:gd name="T73" fmla="*/ 54 h 89"/>
                <a:gd name="T74" fmla="*/ 57 w 101"/>
                <a:gd name="T75" fmla="*/ 54 h 89"/>
                <a:gd name="T76" fmla="*/ 45 w 101"/>
                <a:gd name="T77" fmla="*/ 2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1" h="89">
                  <a:moveTo>
                    <a:pt x="24" y="73"/>
                  </a:moveTo>
                  <a:lnTo>
                    <a:pt x="24" y="73"/>
                  </a:lnTo>
                  <a:lnTo>
                    <a:pt x="22" y="79"/>
                  </a:lnTo>
                  <a:lnTo>
                    <a:pt x="22" y="81"/>
                  </a:lnTo>
                  <a:lnTo>
                    <a:pt x="24" y="82"/>
                  </a:lnTo>
                  <a:lnTo>
                    <a:pt x="27" y="84"/>
                  </a:lnTo>
                  <a:lnTo>
                    <a:pt x="35" y="84"/>
                  </a:lnTo>
                  <a:lnTo>
                    <a:pt x="35" y="89"/>
                  </a:lnTo>
                  <a:lnTo>
                    <a:pt x="0" y="89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7" y="84"/>
                  </a:lnTo>
                  <a:lnTo>
                    <a:pt x="11" y="82"/>
                  </a:lnTo>
                  <a:lnTo>
                    <a:pt x="15" y="78"/>
                  </a:lnTo>
                  <a:lnTo>
                    <a:pt x="18" y="72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6" y="78"/>
                  </a:lnTo>
                  <a:lnTo>
                    <a:pt x="90" y="82"/>
                  </a:lnTo>
                  <a:lnTo>
                    <a:pt x="94" y="84"/>
                  </a:lnTo>
                  <a:lnTo>
                    <a:pt x="101" y="84"/>
                  </a:lnTo>
                  <a:lnTo>
                    <a:pt x="101" y="89"/>
                  </a:lnTo>
                  <a:lnTo>
                    <a:pt x="54" y="89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62" y="84"/>
                  </a:lnTo>
                  <a:lnTo>
                    <a:pt x="66" y="82"/>
                  </a:lnTo>
                  <a:lnTo>
                    <a:pt x="67" y="81"/>
                  </a:lnTo>
                  <a:lnTo>
                    <a:pt x="67" y="78"/>
                  </a:lnTo>
                  <a:lnTo>
                    <a:pt x="66" y="73"/>
                  </a:lnTo>
                  <a:lnTo>
                    <a:pt x="59" y="60"/>
                  </a:lnTo>
                  <a:lnTo>
                    <a:pt x="30" y="60"/>
                  </a:lnTo>
                  <a:lnTo>
                    <a:pt x="24" y="73"/>
                  </a:lnTo>
                  <a:close/>
                  <a:moveTo>
                    <a:pt x="45" y="27"/>
                  </a:moveTo>
                  <a:lnTo>
                    <a:pt x="34" y="54"/>
                  </a:lnTo>
                  <a:lnTo>
                    <a:pt x="57" y="54"/>
                  </a:lnTo>
                  <a:lnTo>
                    <a:pt x="45" y="27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4" name="Freeform 7"/>
            <p:cNvSpPr>
              <a:spLocks/>
            </p:cNvSpPr>
            <p:nvPr userDrawn="1"/>
          </p:nvSpPr>
          <p:spPr bwMode="auto">
            <a:xfrm>
              <a:off x="1846263" y="892175"/>
              <a:ext cx="133350" cy="138113"/>
            </a:xfrm>
            <a:custGeom>
              <a:avLst/>
              <a:gdLst>
                <a:gd name="T0" fmla="*/ 0 w 84"/>
                <a:gd name="T1" fmla="*/ 5 h 87"/>
                <a:gd name="T2" fmla="*/ 0 w 84"/>
                <a:gd name="T3" fmla="*/ 0 h 87"/>
                <a:gd name="T4" fmla="*/ 46 w 84"/>
                <a:gd name="T5" fmla="*/ 0 h 87"/>
                <a:gd name="T6" fmla="*/ 46 w 84"/>
                <a:gd name="T7" fmla="*/ 5 h 87"/>
                <a:gd name="T8" fmla="*/ 46 w 84"/>
                <a:gd name="T9" fmla="*/ 5 h 87"/>
                <a:gd name="T10" fmla="*/ 38 w 84"/>
                <a:gd name="T11" fmla="*/ 5 h 87"/>
                <a:gd name="T12" fmla="*/ 36 w 84"/>
                <a:gd name="T13" fmla="*/ 6 h 87"/>
                <a:gd name="T14" fmla="*/ 35 w 84"/>
                <a:gd name="T15" fmla="*/ 8 h 87"/>
                <a:gd name="T16" fmla="*/ 32 w 84"/>
                <a:gd name="T17" fmla="*/ 12 h 87"/>
                <a:gd name="T18" fmla="*/ 32 w 84"/>
                <a:gd name="T19" fmla="*/ 21 h 87"/>
                <a:gd name="T20" fmla="*/ 32 w 84"/>
                <a:gd name="T21" fmla="*/ 64 h 87"/>
                <a:gd name="T22" fmla="*/ 32 w 84"/>
                <a:gd name="T23" fmla="*/ 64 h 87"/>
                <a:gd name="T24" fmla="*/ 32 w 84"/>
                <a:gd name="T25" fmla="*/ 73 h 87"/>
                <a:gd name="T26" fmla="*/ 35 w 84"/>
                <a:gd name="T27" fmla="*/ 77 h 87"/>
                <a:gd name="T28" fmla="*/ 36 w 84"/>
                <a:gd name="T29" fmla="*/ 79 h 87"/>
                <a:gd name="T30" fmla="*/ 38 w 84"/>
                <a:gd name="T31" fmla="*/ 80 h 87"/>
                <a:gd name="T32" fmla="*/ 46 w 84"/>
                <a:gd name="T33" fmla="*/ 81 h 87"/>
                <a:gd name="T34" fmla="*/ 63 w 84"/>
                <a:gd name="T35" fmla="*/ 81 h 87"/>
                <a:gd name="T36" fmla="*/ 63 w 84"/>
                <a:gd name="T37" fmla="*/ 81 h 87"/>
                <a:gd name="T38" fmla="*/ 70 w 84"/>
                <a:gd name="T39" fmla="*/ 80 h 87"/>
                <a:gd name="T40" fmla="*/ 75 w 84"/>
                <a:gd name="T41" fmla="*/ 77 h 87"/>
                <a:gd name="T42" fmla="*/ 78 w 84"/>
                <a:gd name="T43" fmla="*/ 75 h 87"/>
                <a:gd name="T44" fmla="*/ 79 w 84"/>
                <a:gd name="T45" fmla="*/ 70 h 87"/>
                <a:gd name="T46" fmla="*/ 80 w 84"/>
                <a:gd name="T47" fmla="*/ 66 h 87"/>
                <a:gd name="T48" fmla="*/ 84 w 84"/>
                <a:gd name="T49" fmla="*/ 66 h 87"/>
                <a:gd name="T50" fmla="*/ 83 w 84"/>
                <a:gd name="T51" fmla="*/ 87 h 87"/>
                <a:gd name="T52" fmla="*/ 0 w 84"/>
                <a:gd name="T53" fmla="*/ 87 h 87"/>
                <a:gd name="T54" fmla="*/ 0 w 84"/>
                <a:gd name="T55" fmla="*/ 82 h 87"/>
                <a:gd name="T56" fmla="*/ 0 w 84"/>
                <a:gd name="T57" fmla="*/ 82 h 87"/>
                <a:gd name="T58" fmla="*/ 8 w 84"/>
                <a:gd name="T59" fmla="*/ 82 h 87"/>
                <a:gd name="T60" fmla="*/ 10 w 84"/>
                <a:gd name="T61" fmla="*/ 81 h 87"/>
                <a:gd name="T62" fmla="*/ 11 w 84"/>
                <a:gd name="T63" fmla="*/ 80 h 87"/>
                <a:gd name="T64" fmla="*/ 14 w 84"/>
                <a:gd name="T65" fmla="*/ 75 h 87"/>
                <a:gd name="T66" fmla="*/ 14 w 84"/>
                <a:gd name="T67" fmla="*/ 66 h 87"/>
                <a:gd name="T68" fmla="*/ 14 w 84"/>
                <a:gd name="T69" fmla="*/ 21 h 87"/>
                <a:gd name="T70" fmla="*/ 14 w 84"/>
                <a:gd name="T71" fmla="*/ 21 h 87"/>
                <a:gd name="T72" fmla="*/ 14 w 84"/>
                <a:gd name="T73" fmla="*/ 12 h 87"/>
                <a:gd name="T74" fmla="*/ 11 w 84"/>
                <a:gd name="T75" fmla="*/ 8 h 87"/>
                <a:gd name="T76" fmla="*/ 10 w 84"/>
                <a:gd name="T77" fmla="*/ 6 h 87"/>
                <a:gd name="T78" fmla="*/ 8 w 84"/>
                <a:gd name="T79" fmla="*/ 5 h 87"/>
                <a:gd name="T80" fmla="*/ 0 w 84"/>
                <a:gd name="T81" fmla="*/ 5 h 87"/>
                <a:gd name="T82" fmla="*/ 0 w 84"/>
                <a:gd name="T83" fmla="*/ 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4" h="87">
                  <a:moveTo>
                    <a:pt x="0" y="5"/>
                  </a:moveTo>
                  <a:lnTo>
                    <a:pt x="0" y="0"/>
                  </a:lnTo>
                  <a:lnTo>
                    <a:pt x="46" y="0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38" y="5"/>
                  </a:lnTo>
                  <a:lnTo>
                    <a:pt x="36" y="6"/>
                  </a:lnTo>
                  <a:lnTo>
                    <a:pt x="35" y="8"/>
                  </a:lnTo>
                  <a:lnTo>
                    <a:pt x="32" y="12"/>
                  </a:lnTo>
                  <a:lnTo>
                    <a:pt x="32" y="21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73"/>
                  </a:lnTo>
                  <a:lnTo>
                    <a:pt x="35" y="77"/>
                  </a:lnTo>
                  <a:lnTo>
                    <a:pt x="36" y="79"/>
                  </a:lnTo>
                  <a:lnTo>
                    <a:pt x="38" y="80"/>
                  </a:lnTo>
                  <a:lnTo>
                    <a:pt x="46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70" y="80"/>
                  </a:lnTo>
                  <a:lnTo>
                    <a:pt x="75" y="77"/>
                  </a:lnTo>
                  <a:lnTo>
                    <a:pt x="78" y="75"/>
                  </a:lnTo>
                  <a:lnTo>
                    <a:pt x="79" y="70"/>
                  </a:lnTo>
                  <a:lnTo>
                    <a:pt x="80" y="66"/>
                  </a:lnTo>
                  <a:lnTo>
                    <a:pt x="84" y="66"/>
                  </a:lnTo>
                  <a:lnTo>
                    <a:pt x="83" y="87"/>
                  </a:lnTo>
                  <a:lnTo>
                    <a:pt x="0" y="87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8" y="82"/>
                  </a:lnTo>
                  <a:lnTo>
                    <a:pt x="10" y="81"/>
                  </a:lnTo>
                  <a:lnTo>
                    <a:pt x="11" y="80"/>
                  </a:lnTo>
                  <a:lnTo>
                    <a:pt x="14" y="75"/>
                  </a:lnTo>
                  <a:lnTo>
                    <a:pt x="14" y="66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12"/>
                  </a:lnTo>
                  <a:lnTo>
                    <a:pt x="11" y="8"/>
                  </a:lnTo>
                  <a:lnTo>
                    <a:pt x="10" y="6"/>
                  </a:lnTo>
                  <a:lnTo>
                    <a:pt x="8" y="5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5" name="Freeform 8"/>
            <p:cNvSpPr>
              <a:spLocks/>
            </p:cNvSpPr>
            <p:nvPr userDrawn="1"/>
          </p:nvSpPr>
          <p:spPr bwMode="auto">
            <a:xfrm>
              <a:off x="1981200" y="892175"/>
              <a:ext cx="142875" cy="138113"/>
            </a:xfrm>
            <a:custGeom>
              <a:avLst/>
              <a:gdLst>
                <a:gd name="T0" fmla="*/ 90 w 90"/>
                <a:gd name="T1" fmla="*/ 21 h 87"/>
                <a:gd name="T2" fmla="*/ 86 w 90"/>
                <a:gd name="T3" fmla="*/ 21 h 87"/>
                <a:gd name="T4" fmla="*/ 85 w 90"/>
                <a:gd name="T5" fmla="*/ 19 h 87"/>
                <a:gd name="T6" fmla="*/ 85 w 90"/>
                <a:gd name="T7" fmla="*/ 19 h 87"/>
                <a:gd name="T8" fmla="*/ 84 w 90"/>
                <a:gd name="T9" fmla="*/ 12 h 87"/>
                <a:gd name="T10" fmla="*/ 81 w 90"/>
                <a:gd name="T11" fmla="*/ 10 h 87"/>
                <a:gd name="T12" fmla="*/ 76 w 90"/>
                <a:gd name="T13" fmla="*/ 8 h 87"/>
                <a:gd name="T14" fmla="*/ 69 w 90"/>
                <a:gd name="T15" fmla="*/ 8 h 87"/>
                <a:gd name="T16" fmla="*/ 54 w 90"/>
                <a:gd name="T17" fmla="*/ 8 h 87"/>
                <a:gd name="T18" fmla="*/ 54 w 90"/>
                <a:gd name="T19" fmla="*/ 66 h 87"/>
                <a:gd name="T20" fmla="*/ 54 w 90"/>
                <a:gd name="T21" fmla="*/ 66 h 87"/>
                <a:gd name="T22" fmla="*/ 54 w 90"/>
                <a:gd name="T23" fmla="*/ 75 h 87"/>
                <a:gd name="T24" fmla="*/ 57 w 90"/>
                <a:gd name="T25" fmla="*/ 80 h 87"/>
                <a:gd name="T26" fmla="*/ 58 w 90"/>
                <a:gd name="T27" fmla="*/ 81 h 87"/>
                <a:gd name="T28" fmla="*/ 60 w 90"/>
                <a:gd name="T29" fmla="*/ 82 h 87"/>
                <a:gd name="T30" fmla="*/ 68 w 90"/>
                <a:gd name="T31" fmla="*/ 82 h 87"/>
                <a:gd name="T32" fmla="*/ 68 w 90"/>
                <a:gd name="T33" fmla="*/ 87 h 87"/>
                <a:gd name="T34" fmla="*/ 22 w 90"/>
                <a:gd name="T35" fmla="*/ 87 h 87"/>
                <a:gd name="T36" fmla="*/ 22 w 90"/>
                <a:gd name="T37" fmla="*/ 82 h 87"/>
                <a:gd name="T38" fmla="*/ 22 w 90"/>
                <a:gd name="T39" fmla="*/ 82 h 87"/>
                <a:gd name="T40" fmla="*/ 30 w 90"/>
                <a:gd name="T41" fmla="*/ 82 h 87"/>
                <a:gd name="T42" fmla="*/ 32 w 90"/>
                <a:gd name="T43" fmla="*/ 81 h 87"/>
                <a:gd name="T44" fmla="*/ 33 w 90"/>
                <a:gd name="T45" fmla="*/ 80 h 87"/>
                <a:gd name="T46" fmla="*/ 36 w 90"/>
                <a:gd name="T47" fmla="*/ 75 h 87"/>
                <a:gd name="T48" fmla="*/ 36 w 90"/>
                <a:gd name="T49" fmla="*/ 66 h 87"/>
                <a:gd name="T50" fmla="*/ 36 w 90"/>
                <a:gd name="T51" fmla="*/ 8 h 87"/>
                <a:gd name="T52" fmla="*/ 21 w 90"/>
                <a:gd name="T53" fmla="*/ 8 h 87"/>
                <a:gd name="T54" fmla="*/ 21 w 90"/>
                <a:gd name="T55" fmla="*/ 8 h 87"/>
                <a:gd name="T56" fmla="*/ 14 w 90"/>
                <a:gd name="T57" fmla="*/ 8 h 87"/>
                <a:gd name="T58" fmla="*/ 9 w 90"/>
                <a:gd name="T59" fmla="*/ 10 h 87"/>
                <a:gd name="T60" fmla="*/ 6 w 90"/>
                <a:gd name="T61" fmla="*/ 12 h 87"/>
                <a:gd name="T62" fmla="*/ 5 w 90"/>
                <a:gd name="T63" fmla="*/ 19 h 87"/>
                <a:gd name="T64" fmla="*/ 4 w 90"/>
                <a:gd name="T65" fmla="*/ 21 h 87"/>
                <a:gd name="T66" fmla="*/ 0 w 90"/>
                <a:gd name="T67" fmla="*/ 21 h 87"/>
                <a:gd name="T68" fmla="*/ 1 w 90"/>
                <a:gd name="T69" fmla="*/ 0 h 87"/>
                <a:gd name="T70" fmla="*/ 89 w 90"/>
                <a:gd name="T71" fmla="*/ 0 h 87"/>
                <a:gd name="T72" fmla="*/ 90 w 90"/>
                <a:gd name="T73" fmla="*/ 2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87">
                  <a:moveTo>
                    <a:pt x="90" y="21"/>
                  </a:moveTo>
                  <a:lnTo>
                    <a:pt x="86" y="21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4" y="12"/>
                  </a:lnTo>
                  <a:lnTo>
                    <a:pt x="81" y="10"/>
                  </a:lnTo>
                  <a:lnTo>
                    <a:pt x="76" y="8"/>
                  </a:lnTo>
                  <a:lnTo>
                    <a:pt x="69" y="8"/>
                  </a:lnTo>
                  <a:lnTo>
                    <a:pt x="54" y="8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75"/>
                  </a:lnTo>
                  <a:lnTo>
                    <a:pt x="57" y="80"/>
                  </a:lnTo>
                  <a:lnTo>
                    <a:pt x="58" y="81"/>
                  </a:lnTo>
                  <a:lnTo>
                    <a:pt x="60" y="82"/>
                  </a:lnTo>
                  <a:lnTo>
                    <a:pt x="68" y="82"/>
                  </a:lnTo>
                  <a:lnTo>
                    <a:pt x="68" y="87"/>
                  </a:lnTo>
                  <a:lnTo>
                    <a:pt x="22" y="87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30" y="82"/>
                  </a:lnTo>
                  <a:lnTo>
                    <a:pt x="32" y="81"/>
                  </a:lnTo>
                  <a:lnTo>
                    <a:pt x="33" y="80"/>
                  </a:lnTo>
                  <a:lnTo>
                    <a:pt x="36" y="75"/>
                  </a:lnTo>
                  <a:lnTo>
                    <a:pt x="36" y="66"/>
                  </a:lnTo>
                  <a:lnTo>
                    <a:pt x="36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4" y="8"/>
                  </a:lnTo>
                  <a:lnTo>
                    <a:pt x="9" y="10"/>
                  </a:lnTo>
                  <a:lnTo>
                    <a:pt x="6" y="12"/>
                  </a:lnTo>
                  <a:lnTo>
                    <a:pt x="5" y="19"/>
                  </a:lnTo>
                  <a:lnTo>
                    <a:pt x="4" y="21"/>
                  </a:lnTo>
                  <a:lnTo>
                    <a:pt x="0" y="21"/>
                  </a:lnTo>
                  <a:lnTo>
                    <a:pt x="1" y="0"/>
                  </a:lnTo>
                  <a:lnTo>
                    <a:pt x="89" y="0"/>
                  </a:lnTo>
                  <a:lnTo>
                    <a:pt x="90" y="21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6" name="Freeform 9"/>
            <p:cNvSpPr>
              <a:spLocks/>
            </p:cNvSpPr>
            <p:nvPr userDrawn="1"/>
          </p:nvSpPr>
          <p:spPr bwMode="auto">
            <a:xfrm>
              <a:off x="2152650" y="892175"/>
              <a:ext cx="73025" cy="138113"/>
            </a:xfrm>
            <a:custGeom>
              <a:avLst/>
              <a:gdLst>
                <a:gd name="T0" fmla="*/ 0 w 46"/>
                <a:gd name="T1" fmla="*/ 87 h 87"/>
                <a:gd name="T2" fmla="*/ 0 w 46"/>
                <a:gd name="T3" fmla="*/ 82 h 87"/>
                <a:gd name="T4" fmla="*/ 0 w 46"/>
                <a:gd name="T5" fmla="*/ 82 h 87"/>
                <a:gd name="T6" fmla="*/ 6 w 46"/>
                <a:gd name="T7" fmla="*/ 82 h 87"/>
                <a:gd name="T8" fmla="*/ 9 w 46"/>
                <a:gd name="T9" fmla="*/ 81 h 87"/>
                <a:gd name="T10" fmla="*/ 11 w 46"/>
                <a:gd name="T11" fmla="*/ 80 h 87"/>
                <a:gd name="T12" fmla="*/ 12 w 46"/>
                <a:gd name="T13" fmla="*/ 75 h 87"/>
                <a:gd name="T14" fmla="*/ 14 w 46"/>
                <a:gd name="T15" fmla="*/ 66 h 87"/>
                <a:gd name="T16" fmla="*/ 14 w 46"/>
                <a:gd name="T17" fmla="*/ 21 h 87"/>
                <a:gd name="T18" fmla="*/ 14 w 46"/>
                <a:gd name="T19" fmla="*/ 21 h 87"/>
                <a:gd name="T20" fmla="*/ 12 w 46"/>
                <a:gd name="T21" fmla="*/ 12 h 87"/>
                <a:gd name="T22" fmla="*/ 11 w 46"/>
                <a:gd name="T23" fmla="*/ 8 h 87"/>
                <a:gd name="T24" fmla="*/ 9 w 46"/>
                <a:gd name="T25" fmla="*/ 6 h 87"/>
                <a:gd name="T26" fmla="*/ 6 w 46"/>
                <a:gd name="T27" fmla="*/ 5 h 87"/>
                <a:gd name="T28" fmla="*/ 0 w 46"/>
                <a:gd name="T29" fmla="*/ 5 h 87"/>
                <a:gd name="T30" fmla="*/ 0 w 46"/>
                <a:gd name="T31" fmla="*/ 0 h 87"/>
                <a:gd name="T32" fmla="*/ 46 w 46"/>
                <a:gd name="T33" fmla="*/ 0 h 87"/>
                <a:gd name="T34" fmla="*/ 46 w 46"/>
                <a:gd name="T35" fmla="*/ 5 h 87"/>
                <a:gd name="T36" fmla="*/ 46 w 46"/>
                <a:gd name="T37" fmla="*/ 5 h 87"/>
                <a:gd name="T38" fmla="*/ 38 w 46"/>
                <a:gd name="T39" fmla="*/ 5 h 87"/>
                <a:gd name="T40" fmla="*/ 36 w 46"/>
                <a:gd name="T41" fmla="*/ 6 h 87"/>
                <a:gd name="T42" fmla="*/ 33 w 46"/>
                <a:gd name="T43" fmla="*/ 8 h 87"/>
                <a:gd name="T44" fmla="*/ 32 w 46"/>
                <a:gd name="T45" fmla="*/ 12 h 87"/>
                <a:gd name="T46" fmla="*/ 31 w 46"/>
                <a:gd name="T47" fmla="*/ 21 h 87"/>
                <a:gd name="T48" fmla="*/ 31 w 46"/>
                <a:gd name="T49" fmla="*/ 66 h 87"/>
                <a:gd name="T50" fmla="*/ 31 w 46"/>
                <a:gd name="T51" fmla="*/ 66 h 87"/>
                <a:gd name="T52" fmla="*/ 32 w 46"/>
                <a:gd name="T53" fmla="*/ 75 h 87"/>
                <a:gd name="T54" fmla="*/ 33 w 46"/>
                <a:gd name="T55" fmla="*/ 80 h 87"/>
                <a:gd name="T56" fmla="*/ 36 w 46"/>
                <a:gd name="T57" fmla="*/ 81 h 87"/>
                <a:gd name="T58" fmla="*/ 38 w 46"/>
                <a:gd name="T59" fmla="*/ 82 h 87"/>
                <a:gd name="T60" fmla="*/ 46 w 46"/>
                <a:gd name="T61" fmla="*/ 82 h 87"/>
                <a:gd name="T62" fmla="*/ 46 w 46"/>
                <a:gd name="T63" fmla="*/ 87 h 87"/>
                <a:gd name="T64" fmla="*/ 0 w 46"/>
                <a:gd name="T6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6" h="87">
                  <a:moveTo>
                    <a:pt x="0" y="87"/>
                  </a:moveTo>
                  <a:lnTo>
                    <a:pt x="0" y="82"/>
                  </a:lnTo>
                  <a:lnTo>
                    <a:pt x="0" y="82"/>
                  </a:lnTo>
                  <a:lnTo>
                    <a:pt x="6" y="82"/>
                  </a:lnTo>
                  <a:lnTo>
                    <a:pt x="9" y="81"/>
                  </a:lnTo>
                  <a:lnTo>
                    <a:pt x="11" y="80"/>
                  </a:lnTo>
                  <a:lnTo>
                    <a:pt x="12" y="75"/>
                  </a:lnTo>
                  <a:lnTo>
                    <a:pt x="14" y="66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2" y="12"/>
                  </a:lnTo>
                  <a:lnTo>
                    <a:pt x="11" y="8"/>
                  </a:lnTo>
                  <a:lnTo>
                    <a:pt x="9" y="6"/>
                  </a:lnTo>
                  <a:lnTo>
                    <a:pt x="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46" y="0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38" y="5"/>
                  </a:lnTo>
                  <a:lnTo>
                    <a:pt x="36" y="6"/>
                  </a:lnTo>
                  <a:lnTo>
                    <a:pt x="33" y="8"/>
                  </a:lnTo>
                  <a:lnTo>
                    <a:pt x="32" y="12"/>
                  </a:lnTo>
                  <a:lnTo>
                    <a:pt x="31" y="21"/>
                  </a:lnTo>
                  <a:lnTo>
                    <a:pt x="31" y="66"/>
                  </a:lnTo>
                  <a:lnTo>
                    <a:pt x="31" y="66"/>
                  </a:lnTo>
                  <a:lnTo>
                    <a:pt x="32" y="75"/>
                  </a:lnTo>
                  <a:lnTo>
                    <a:pt x="33" y="80"/>
                  </a:lnTo>
                  <a:lnTo>
                    <a:pt x="36" y="81"/>
                  </a:lnTo>
                  <a:lnTo>
                    <a:pt x="38" y="82"/>
                  </a:lnTo>
                  <a:lnTo>
                    <a:pt x="46" y="82"/>
                  </a:lnTo>
                  <a:lnTo>
                    <a:pt x="46" y="8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7" name="Freeform 10"/>
            <p:cNvSpPr>
              <a:spLocks noEditPoints="1"/>
            </p:cNvSpPr>
            <p:nvPr userDrawn="1"/>
          </p:nvSpPr>
          <p:spPr bwMode="auto">
            <a:xfrm>
              <a:off x="2260600" y="889000"/>
              <a:ext cx="152400" cy="146050"/>
            </a:xfrm>
            <a:custGeom>
              <a:avLst/>
              <a:gdLst>
                <a:gd name="T0" fmla="*/ 48 w 96"/>
                <a:gd name="T1" fmla="*/ 92 h 92"/>
                <a:gd name="T2" fmla="*/ 29 w 96"/>
                <a:gd name="T3" fmla="*/ 88 h 92"/>
                <a:gd name="T4" fmla="*/ 15 w 96"/>
                <a:gd name="T5" fmla="*/ 78 h 92"/>
                <a:gd name="T6" fmla="*/ 3 w 96"/>
                <a:gd name="T7" fmla="*/ 64 h 92"/>
                <a:gd name="T8" fmla="*/ 0 w 96"/>
                <a:gd name="T9" fmla="*/ 46 h 92"/>
                <a:gd name="T10" fmla="*/ 1 w 96"/>
                <a:gd name="T11" fmla="*/ 37 h 92"/>
                <a:gd name="T12" fmla="*/ 8 w 96"/>
                <a:gd name="T13" fmla="*/ 21 h 92"/>
                <a:gd name="T14" fmla="*/ 21 w 96"/>
                <a:gd name="T15" fmla="*/ 8 h 92"/>
                <a:gd name="T16" fmla="*/ 38 w 96"/>
                <a:gd name="T17" fmla="*/ 1 h 92"/>
                <a:gd name="T18" fmla="*/ 48 w 96"/>
                <a:gd name="T19" fmla="*/ 0 h 92"/>
                <a:gd name="T20" fmla="*/ 66 w 96"/>
                <a:gd name="T21" fmla="*/ 3 h 92"/>
                <a:gd name="T22" fmla="*/ 82 w 96"/>
                <a:gd name="T23" fmla="*/ 13 h 92"/>
                <a:gd name="T24" fmla="*/ 92 w 96"/>
                <a:gd name="T25" fmla="*/ 28 h 92"/>
                <a:gd name="T26" fmla="*/ 96 w 96"/>
                <a:gd name="T27" fmla="*/ 46 h 92"/>
                <a:gd name="T28" fmla="*/ 96 w 96"/>
                <a:gd name="T29" fmla="*/ 55 h 92"/>
                <a:gd name="T30" fmla="*/ 88 w 96"/>
                <a:gd name="T31" fmla="*/ 71 h 92"/>
                <a:gd name="T32" fmla="*/ 75 w 96"/>
                <a:gd name="T33" fmla="*/ 83 h 92"/>
                <a:gd name="T34" fmla="*/ 58 w 96"/>
                <a:gd name="T35" fmla="*/ 91 h 92"/>
                <a:gd name="T36" fmla="*/ 48 w 96"/>
                <a:gd name="T37" fmla="*/ 92 h 92"/>
                <a:gd name="T38" fmla="*/ 48 w 96"/>
                <a:gd name="T39" fmla="*/ 7 h 92"/>
                <a:gd name="T40" fmla="*/ 35 w 96"/>
                <a:gd name="T41" fmla="*/ 11 h 92"/>
                <a:gd name="T42" fmla="*/ 26 w 96"/>
                <a:gd name="T43" fmla="*/ 19 h 92"/>
                <a:gd name="T44" fmla="*/ 21 w 96"/>
                <a:gd name="T45" fmla="*/ 33 h 92"/>
                <a:gd name="T46" fmla="*/ 19 w 96"/>
                <a:gd name="T47" fmla="*/ 46 h 92"/>
                <a:gd name="T48" fmla="*/ 19 w 96"/>
                <a:gd name="T49" fmla="*/ 52 h 92"/>
                <a:gd name="T50" fmla="*/ 23 w 96"/>
                <a:gd name="T51" fmla="*/ 66 h 92"/>
                <a:gd name="T52" fmla="*/ 31 w 96"/>
                <a:gd name="T53" fmla="*/ 77 h 92"/>
                <a:gd name="T54" fmla="*/ 40 w 96"/>
                <a:gd name="T55" fmla="*/ 83 h 92"/>
                <a:gd name="T56" fmla="*/ 48 w 96"/>
                <a:gd name="T57" fmla="*/ 84 h 92"/>
                <a:gd name="T58" fmla="*/ 61 w 96"/>
                <a:gd name="T59" fmla="*/ 81 h 92"/>
                <a:gd name="T60" fmla="*/ 70 w 96"/>
                <a:gd name="T61" fmla="*/ 72 h 92"/>
                <a:gd name="T62" fmla="*/ 75 w 96"/>
                <a:gd name="T63" fmla="*/ 59 h 92"/>
                <a:gd name="T64" fmla="*/ 77 w 96"/>
                <a:gd name="T65" fmla="*/ 46 h 92"/>
                <a:gd name="T66" fmla="*/ 76 w 96"/>
                <a:gd name="T67" fmla="*/ 39 h 92"/>
                <a:gd name="T68" fmla="*/ 74 w 96"/>
                <a:gd name="T69" fmla="*/ 25 h 92"/>
                <a:gd name="T70" fmla="*/ 66 w 96"/>
                <a:gd name="T71" fmla="*/ 14 h 92"/>
                <a:gd name="T72" fmla="*/ 55 w 96"/>
                <a:gd name="T73" fmla="*/ 8 h 92"/>
                <a:gd name="T74" fmla="*/ 48 w 96"/>
                <a:gd name="T75" fmla="*/ 7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" h="92">
                  <a:moveTo>
                    <a:pt x="48" y="92"/>
                  </a:moveTo>
                  <a:lnTo>
                    <a:pt x="48" y="92"/>
                  </a:lnTo>
                  <a:lnTo>
                    <a:pt x="38" y="91"/>
                  </a:lnTo>
                  <a:lnTo>
                    <a:pt x="29" y="88"/>
                  </a:lnTo>
                  <a:lnTo>
                    <a:pt x="21" y="83"/>
                  </a:lnTo>
                  <a:lnTo>
                    <a:pt x="15" y="78"/>
                  </a:lnTo>
                  <a:lnTo>
                    <a:pt x="8" y="71"/>
                  </a:lnTo>
                  <a:lnTo>
                    <a:pt x="3" y="64"/>
                  </a:lnTo>
                  <a:lnTo>
                    <a:pt x="1" y="55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1" y="37"/>
                  </a:lnTo>
                  <a:lnTo>
                    <a:pt x="3" y="28"/>
                  </a:lnTo>
                  <a:lnTo>
                    <a:pt x="8" y="21"/>
                  </a:lnTo>
                  <a:lnTo>
                    <a:pt x="15" y="13"/>
                  </a:lnTo>
                  <a:lnTo>
                    <a:pt x="21" y="8"/>
                  </a:lnTo>
                  <a:lnTo>
                    <a:pt x="29" y="3"/>
                  </a:lnTo>
                  <a:lnTo>
                    <a:pt x="38" y="1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8" y="1"/>
                  </a:lnTo>
                  <a:lnTo>
                    <a:pt x="66" y="3"/>
                  </a:lnTo>
                  <a:lnTo>
                    <a:pt x="75" y="8"/>
                  </a:lnTo>
                  <a:lnTo>
                    <a:pt x="82" y="13"/>
                  </a:lnTo>
                  <a:lnTo>
                    <a:pt x="88" y="21"/>
                  </a:lnTo>
                  <a:lnTo>
                    <a:pt x="92" y="28"/>
                  </a:lnTo>
                  <a:lnTo>
                    <a:pt x="96" y="37"/>
                  </a:lnTo>
                  <a:lnTo>
                    <a:pt x="96" y="46"/>
                  </a:lnTo>
                  <a:lnTo>
                    <a:pt x="96" y="46"/>
                  </a:lnTo>
                  <a:lnTo>
                    <a:pt x="96" y="55"/>
                  </a:lnTo>
                  <a:lnTo>
                    <a:pt x="92" y="64"/>
                  </a:lnTo>
                  <a:lnTo>
                    <a:pt x="88" y="71"/>
                  </a:lnTo>
                  <a:lnTo>
                    <a:pt x="82" y="78"/>
                  </a:lnTo>
                  <a:lnTo>
                    <a:pt x="75" y="83"/>
                  </a:lnTo>
                  <a:lnTo>
                    <a:pt x="66" y="88"/>
                  </a:lnTo>
                  <a:lnTo>
                    <a:pt x="58" y="91"/>
                  </a:lnTo>
                  <a:lnTo>
                    <a:pt x="48" y="92"/>
                  </a:lnTo>
                  <a:lnTo>
                    <a:pt x="48" y="92"/>
                  </a:lnTo>
                  <a:close/>
                  <a:moveTo>
                    <a:pt x="48" y="7"/>
                  </a:moveTo>
                  <a:lnTo>
                    <a:pt x="48" y="7"/>
                  </a:lnTo>
                  <a:lnTo>
                    <a:pt x="40" y="8"/>
                  </a:lnTo>
                  <a:lnTo>
                    <a:pt x="35" y="11"/>
                  </a:lnTo>
                  <a:lnTo>
                    <a:pt x="31" y="14"/>
                  </a:lnTo>
                  <a:lnTo>
                    <a:pt x="26" y="19"/>
                  </a:lnTo>
                  <a:lnTo>
                    <a:pt x="23" y="25"/>
                  </a:lnTo>
                  <a:lnTo>
                    <a:pt x="21" y="33"/>
                  </a:lnTo>
                  <a:lnTo>
                    <a:pt x="19" y="39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9" y="52"/>
                  </a:lnTo>
                  <a:lnTo>
                    <a:pt x="21" y="59"/>
                  </a:lnTo>
                  <a:lnTo>
                    <a:pt x="23" y="66"/>
                  </a:lnTo>
                  <a:lnTo>
                    <a:pt x="26" y="72"/>
                  </a:lnTo>
                  <a:lnTo>
                    <a:pt x="31" y="77"/>
                  </a:lnTo>
                  <a:lnTo>
                    <a:pt x="35" y="81"/>
                  </a:lnTo>
                  <a:lnTo>
                    <a:pt x="40" y="83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55" y="83"/>
                  </a:lnTo>
                  <a:lnTo>
                    <a:pt x="61" y="81"/>
                  </a:lnTo>
                  <a:lnTo>
                    <a:pt x="66" y="77"/>
                  </a:lnTo>
                  <a:lnTo>
                    <a:pt x="70" y="72"/>
                  </a:lnTo>
                  <a:lnTo>
                    <a:pt x="74" y="66"/>
                  </a:lnTo>
                  <a:lnTo>
                    <a:pt x="75" y="59"/>
                  </a:lnTo>
                  <a:lnTo>
                    <a:pt x="76" y="52"/>
                  </a:lnTo>
                  <a:lnTo>
                    <a:pt x="77" y="46"/>
                  </a:lnTo>
                  <a:lnTo>
                    <a:pt x="77" y="46"/>
                  </a:lnTo>
                  <a:lnTo>
                    <a:pt x="76" y="39"/>
                  </a:lnTo>
                  <a:lnTo>
                    <a:pt x="75" y="33"/>
                  </a:lnTo>
                  <a:lnTo>
                    <a:pt x="74" y="25"/>
                  </a:lnTo>
                  <a:lnTo>
                    <a:pt x="70" y="19"/>
                  </a:lnTo>
                  <a:lnTo>
                    <a:pt x="66" y="14"/>
                  </a:lnTo>
                  <a:lnTo>
                    <a:pt x="61" y="11"/>
                  </a:lnTo>
                  <a:lnTo>
                    <a:pt x="55" y="8"/>
                  </a:lnTo>
                  <a:lnTo>
                    <a:pt x="48" y="7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8" name="Freeform 11"/>
            <p:cNvSpPr>
              <a:spLocks/>
            </p:cNvSpPr>
            <p:nvPr userDrawn="1"/>
          </p:nvSpPr>
          <p:spPr bwMode="auto">
            <a:xfrm>
              <a:off x="2449513" y="892175"/>
              <a:ext cx="153988" cy="142875"/>
            </a:xfrm>
            <a:custGeom>
              <a:avLst/>
              <a:gdLst>
                <a:gd name="T0" fmla="*/ 76 w 97"/>
                <a:gd name="T1" fmla="*/ 21 h 90"/>
                <a:gd name="T2" fmla="*/ 76 w 97"/>
                <a:gd name="T3" fmla="*/ 21 h 90"/>
                <a:gd name="T4" fmla="*/ 76 w 97"/>
                <a:gd name="T5" fmla="*/ 12 h 90"/>
                <a:gd name="T6" fmla="*/ 75 w 97"/>
                <a:gd name="T7" fmla="*/ 8 h 90"/>
                <a:gd name="T8" fmla="*/ 73 w 97"/>
                <a:gd name="T9" fmla="*/ 6 h 90"/>
                <a:gd name="T10" fmla="*/ 70 w 97"/>
                <a:gd name="T11" fmla="*/ 5 h 90"/>
                <a:gd name="T12" fmla="*/ 63 w 97"/>
                <a:gd name="T13" fmla="*/ 5 h 90"/>
                <a:gd name="T14" fmla="*/ 63 w 97"/>
                <a:gd name="T15" fmla="*/ 0 h 90"/>
                <a:gd name="T16" fmla="*/ 97 w 97"/>
                <a:gd name="T17" fmla="*/ 0 h 90"/>
                <a:gd name="T18" fmla="*/ 97 w 97"/>
                <a:gd name="T19" fmla="*/ 5 h 90"/>
                <a:gd name="T20" fmla="*/ 97 w 97"/>
                <a:gd name="T21" fmla="*/ 5 h 90"/>
                <a:gd name="T22" fmla="*/ 90 w 97"/>
                <a:gd name="T23" fmla="*/ 5 h 90"/>
                <a:gd name="T24" fmla="*/ 87 w 97"/>
                <a:gd name="T25" fmla="*/ 6 h 90"/>
                <a:gd name="T26" fmla="*/ 86 w 97"/>
                <a:gd name="T27" fmla="*/ 8 h 90"/>
                <a:gd name="T28" fmla="*/ 84 w 97"/>
                <a:gd name="T29" fmla="*/ 12 h 90"/>
                <a:gd name="T30" fmla="*/ 84 w 97"/>
                <a:gd name="T31" fmla="*/ 21 h 90"/>
                <a:gd name="T32" fmla="*/ 84 w 97"/>
                <a:gd name="T33" fmla="*/ 90 h 90"/>
                <a:gd name="T34" fmla="*/ 80 w 97"/>
                <a:gd name="T35" fmla="*/ 90 h 90"/>
                <a:gd name="T36" fmla="*/ 20 w 97"/>
                <a:gd name="T37" fmla="*/ 19 h 90"/>
                <a:gd name="T38" fmla="*/ 20 w 97"/>
                <a:gd name="T39" fmla="*/ 66 h 90"/>
                <a:gd name="T40" fmla="*/ 20 w 97"/>
                <a:gd name="T41" fmla="*/ 66 h 90"/>
                <a:gd name="T42" fmla="*/ 21 w 97"/>
                <a:gd name="T43" fmla="*/ 75 h 90"/>
                <a:gd name="T44" fmla="*/ 22 w 97"/>
                <a:gd name="T45" fmla="*/ 80 h 90"/>
                <a:gd name="T46" fmla="*/ 25 w 97"/>
                <a:gd name="T47" fmla="*/ 81 h 90"/>
                <a:gd name="T48" fmla="*/ 27 w 97"/>
                <a:gd name="T49" fmla="*/ 82 h 90"/>
                <a:gd name="T50" fmla="*/ 33 w 97"/>
                <a:gd name="T51" fmla="*/ 82 h 90"/>
                <a:gd name="T52" fmla="*/ 33 w 97"/>
                <a:gd name="T53" fmla="*/ 87 h 90"/>
                <a:gd name="T54" fmla="*/ 0 w 97"/>
                <a:gd name="T55" fmla="*/ 87 h 90"/>
                <a:gd name="T56" fmla="*/ 0 w 97"/>
                <a:gd name="T57" fmla="*/ 82 h 90"/>
                <a:gd name="T58" fmla="*/ 0 w 97"/>
                <a:gd name="T59" fmla="*/ 82 h 90"/>
                <a:gd name="T60" fmla="*/ 7 w 97"/>
                <a:gd name="T61" fmla="*/ 82 h 90"/>
                <a:gd name="T62" fmla="*/ 10 w 97"/>
                <a:gd name="T63" fmla="*/ 81 h 90"/>
                <a:gd name="T64" fmla="*/ 11 w 97"/>
                <a:gd name="T65" fmla="*/ 80 h 90"/>
                <a:gd name="T66" fmla="*/ 14 w 97"/>
                <a:gd name="T67" fmla="*/ 75 h 90"/>
                <a:gd name="T68" fmla="*/ 14 w 97"/>
                <a:gd name="T69" fmla="*/ 66 h 90"/>
                <a:gd name="T70" fmla="*/ 14 w 97"/>
                <a:gd name="T71" fmla="*/ 21 h 90"/>
                <a:gd name="T72" fmla="*/ 14 w 97"/>
                <a:gd name="T73" fmla="*/ 21 h 90"/>
                <a:gd name="T74" fmla="*/ 14 w 97"/>
                <a:gd name="T75" fmla="*/ 12 h 90"/>
                <a:gd name="T76" fmla="*/ 11 w 97"/>
                <a:gd name="T77" fmla="*/ 8 h 90"/>
                <a:gd name="T78" fmla="*/ 10 w 97"/>
                <a:gd name="T79" fmla="*/ 6 h 90"/>
                <a:gd name="T80" fmla="*/ 7 w 97"/>
                <a:gd name="T81" fmla="*/ 5 h 90"/>
                <a:gd name="T82" fmla="*/ 0 w 97"/>
                <a:gd name="T83" fmla="*/ 5 h 90"/>
                <a:gd name="T84" fmla="*/ 0 w 97"/>
                <a:gd name="T85" fmla="*/ 0 h 90"/>
                <a:gd name="T86" fmla="*/ 28 w 97"/>
                <a:gd name="T87" fmla="*/ 0 h 90"/>
                <a:gd name="T88" fmla="*/ 76 w 97"/>
                <a:gd name="T89" fmla="*/ 58 h 90"/>
                <a:gd name="T90" fmla="*/ 76 w 97"/>
                <a:gd name="T91" fmla="*/ 21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7" h="90">
                  <a:moveTo>
                    <a:pt x="76" y="21"/>
                  </a:moveTo>
                  <a:lnTo>
                    <a:pt x="76" y="21"/>
                  </a:lnTo>
                  <a:lnTo>
                    <a:pt x="76" y="12"/>
                  </a:lnTo>
                  <a:lnTo>
                    <a:pt x="75" y="8"/>
                  </a:lnTo>
                  <a:lnTo>
                    <a:pt x="73" y="6"/>
                  </a:lnTo>
                  <a:lnTo>
                    <a:pt x="70" y="5"/>
                  </a:lnTo>
                  <a:lnTo>
                    <a:pt x="63" y="5"/>
                  </a:lnTo>
                  <a:lnTo>
                    <a:pt x="63" y="0"/>
                  </a:lnTo>
                  <a:lnTo>
                    <a:pt x="97" y="0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0" y="5"/>
                  </a:lnTo>
                  <a:lnTo>
                    <a:pt x="87" y="6"/>
                  </a:lnTo>
                  <a:lnTo>
                    <a:pt x="86" y="8"/>
                  </a:lnTo>
                  <a:lnTo>
                    <a:pt x="84" y="12"/>
                  </a:lnTo>
                  <a:lnTo>
                    <a:pt x="84" y="21"/>
                  </a:lnTo>
                  <a:lnTo>
                    <a:pt x="84" y="90"/>
                  </a:lnTo>
                  <a:lnTo>
                    <a:pt x="80" y="90"/>
                  </a:lnTo>
                  <a:lnTo>
                    <a:pt x="20" y="19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1" y="75"/>
                  </a:lnTo>
                  <a:lnTo>
                    <a:pt x="22" y="80"/>
                  </a:lnTo>
                  <a:lnTo>
                    <a:pt x="25" y="81"/>
                  </a:lnTo>
                  <a:lnTo>
                    <a:pt x="27" y="82"/>
                  </a:lnTo>
                  <a:lnTo>
                    <a:pt x="33" y="82"/>
                  </a:lnTo>
                  <a:lnTo>
                    <a:pt x="33" y="87"/>
                  </a:lnTo>
                  <a:lnTo>
                    <a:pt x="0" y="87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7" y="82"/>
                  </a:lnTo>
                  <a:lnTo>
                    <a:pt x="10" y="81"/>
                  </a:lnTo>
                  <a:lnTo>
                    <a:pt x="11" y="80"/>
                  </a:lnTo>
                  <a:lnTo>
                    <a:pt x="14" y="75"/>
                  </a:lnTo>
                  <a:lnTo>
                    <a:pt x="14" y="66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12"/>
                  </a:lnTo>
                  <a:lnTo>
                    <a:pt x="11" y="8"/>
                  </a:lnTo>
                  <a:lnTo>
                    <a:pt x="10" y="6"/>
                  </a:lnTo>
                  <a:lnTo>
                    <a:pt x="7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76" y="58"/>
                  </a:lnTo>
                  <a:lnTo>
                    <a:pt x="76" y="21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99" name="Freeform 12"/>
            <p:cNvSpPr>
              <a:spLocks/>
            </p:cNvSpPr>
            <p:nvPr userDrawn="1"/>
          </p:nvSpPr>
          <p:spPr bwMode="auto">
            <a:xfrm>
              <a:off x="2638425" y="892175"/>
              <a:ext cx="127000" cy="138113"/>
            </a:xfrm>
            <a:custGeom>
              <a:avLst/>
              <a:gdLst>
                <a:gd name="T0" fmla="*/ 0 w 80"/>
                <a:gd name="T1" fmla="*/ 82 h 87"/>
                <a:gd name="T2" fmla="*/ 0 w 80"/>
                <a:gd name="T3" fmla="*/ 82 h 87"/>
                <a:gd name="T4" fmla="*/ 6 w 80"/>
                <a:gd name="T5" fmla="*/ 82 h 87"/>
                <a:gd name="T6" fmla="*/ 9 w 80"/>
                <a:gd name="T7" fmla="*/ 81 h 87"/>
                <a:gd name="T8" fmla="*/ 11 w 80"/>
                <a:gd name="T9" fmla="*/ 80 h 87"/>
                <a:gd name="T10" fmla="*/ 13 w 80"/>
                <a:gd name="T11" fmla="*/ 75 h 87"/>
                <a:gd name="T12" fmla="*/ 14 w 80"/>
                <a:gd name="T13" fmla="*/ 66 h 87"/>
                <a:gd name="T14" fmla="*/ 14 w 80"/>
                <a:gd name="T15" fmla="*/ 21 h 87"/>
                <a:gd name="T16" fmla="*/ 14 w 80"/>
                <a:gd name="T17" fmla="*/ 21 h 87"/>
                <a:gd name="T18" fmla="*/ 13 w 80"/>
                <a:gd name="T19" fmla="*/ 12 h 87"/>
                <a:gd name="T20" fmla="*/ 11 w 80"/>
                <a:gd name="T21" fmla="*/ 8 h 87"/>
                <a:gd name="T22" fmla="*/ 9 w 80"/>
                <a:gd name="T23" fmla="*/ 6 h 87"/>
                <a:gd name="T24" fmla="*/ 6 w 80"/>
                <a:gd name="T25" fmla="*/ 5 h 87"/>
                <a:gd name="T26" fmla="*/ 0 w 80"/>
                <a:gd name="T27" fmla="*/ 5 h 87"/>
                <a:gd name="T28" fmla="*/ 0 w 80"/>
                <a:gd name="T29" fmla="*/ 0 h 87"/>
                <a:gd name="T30" fmla="*/ 74 w 80"/>
                <a:gd name="T31" fmla="*/ 0 h 87"/>
                <a:gd name="T32" fmla="*/ 75 w 80"/>
                <a:gd name="T33" fmla="*/ 21 h 87"/>
                <a:gd name="T34" fmla="*/ 72 w 80"/>
                <a:gd name="T35" fmla="*/ 21 h 87"/>
                <a:gd name="T36" fmla="*/ 70 w 80"/>
                <a:gd name="T37" fmla="*/ 19 h 87"/>
                <a:gd name="T38" fmla="*/ 70 w 80"/>
                <a:gd name="T39" fmla="*/ 19 h 87"/>
                <a:gd name="T40" fmla="*/ 69 w 80"/>
                <a:gd name="T41" fmla="*/ 12 h 87"/>
                <a:gd name="T42" fmla="*/ 67 w 80"/>
                <a:gd name="T43" fmla="*/ 10 h 87"/>
                <a:gd name="T44" fmla="*/ 62 w 80"/>
                <a:gd name="T45" fmla="*/ 8 h 87"/>
                <a:gd name="T46" fmla="*/ 53 w 80"/>
                <a:gd name="T47" fmla="*/ 8 h 87"/>
                <a:gd name="T48" fmla="*/ 31 w 80"/>
                <a:gd name="T49" fmla="*/ 8 h 87"/>
                <a:gd name="T50" fmla="*/ 31 w 80"/>
                <a:gd name="T51" fmla="*/ 38 h 87"/>
                <a:gd name="T52" fmla="*/ 40 w 80"/>
                <a:gd name="T53" fmla="*/ 38 h 87"/>
                <a:gd name="T54" fmla="*/ 40 w 80"/>
                <a:gd name="T55" fmla="*/ 38 h 87"/>
                <a:gd name="T56" fmla="*/ 48 w 80"/>
                <a:gd name="T57" fmla="*/ 37 h 87"/>
                <a:gd name="T58" fmla="*/ 53 w 80"/>
                <a:gd name="T59" fmla="*/ 36 h 87"/>
                <a:gd name="T60" fmla="*/ 54 w 80"/>
                <a:gd name="T61" fmla="*/ 33 h 87"/>
                <a:gd name="T62" fmla="*/ 56 w 80"/>
                <a:gd name="T63" fmla="*/ 31 h 87"/>
                <a:gd name="T64" fmla="*/ 56 w 80"/>
                <a:gd name="T65" fmla="*/ 25 h 87"/>
                <a:gd name="T66" fmla="*/ 60 w 80"/>
                <a:gd name="T67" fmla="*/ 25 h 87"/>
                <a:gd name="T68" fmla="*/ 60 w 80"/>
                <a:gd name="T69" fmla="*/ 58 h 87"/>
                <a:gd name="T70" fmla="*/ 56 w 80"/>
                <a:gd name="T71" fmla="*/ 58 h 87"/>
                <a:gd name="T72" fmla="*/ 56 w 80"/>
                <a:gd name="T73" fmla="*/ 58 h 87"/>
                <a:gd name="T74" fmla="*/ 56 w 80"/>
                <a:gd name="T75" fmla="*/ 50 h 87"/>
                <a:gd name="T76" fmla="*/ 54 w 80"/>
                <a:gd name="T77" fmla="*/ 49 h 87"/>
                <a:gd name="T78" fmla="*/ 53 w 80"/>
                <a:gd name="T79" fmla="*/ 47 h 87"/>
                <a:gd name="T80" fmla="*/ 48 w 80"/>
                <a:gd name="T81" fmla="*/ 46 h 87"/>
                <a:gd name="T82" fmla="*/ 40 w 80"/>
                <a:gd name="T83" fmla="*/ 44 h 87"/>
                <a:gd name="T84" fmla="*/ 31 w 80"/>
                <a:gd name="T85" fmla="*/ 44 h 87"/>
                <a:gd name="T86" fmla="*/ 31 w 80"/>
                <a:gd name="T87" fmla="*/ 64 h 87"/>
                <a:gd name="T88" fmla="*/ 31 w 80"/>
                <a:gd name="T89" fmla="*/ 64 h 87"/>
                <a:gd name="T90" fmla="*/ 32 w 80"/>
                <a:gd name="T91" fmla="*/ 73 h 87"/>
                <a:gd name="T92" fmla="*/ 33 w 80"/>
                <a:gd name="T93" fmla="*/ 77 h 87"/>
                <a:gd name="T94" fmla="*/ 36 w 80"/>
                <a:gd name="T95" fmla="*/ 79 h 87"/>
                <a:gd name="T96" fmla="*/ 38 w 80"/>
                <a:gd name="T97" fmla="*/ 80 h 87"/>
                <a:gd name="T98" fmla="*/ 46 w 80"/>
                <a:gd name="T99" fmla="*/ 81 h 87"/>
                <a:gd name="T100" fmla="*/ 58 w 80"/>
                <a:gd name="T101" fmla="*/ 81 h 87"/>
                <a:gd name="T102" fmla="*/ 58 w 80"/>
                <a:gd name="T103" fmla="*/ 81 h 87"/>
                <a:gd name="T104" fmla="*/ 67 w 80"/>
                <a:gd name="T105" fmla="*/ 80 h 87"/>
                <a:gd name="T106" fmla="*/ 72 w 80"/>
                <a:gd name="T107" fmla="*/ 77 h 87"/>
                <a:gd name="T108" fmla="*/ 74 w 80"/>
                <a:gd name="T109" fmla="*/ 75 h 87"/>
                <a:gd name="T110" fmla="*/ 75 w 80"/>
                <a:gd name="T111" fmla="*/ 70 h 87"/>
                <a:gd name="T112" fmla="*/ 75 w 80"/>
                <a:gd name="T113" fmla="*/ 66 h 87"/>
                <a:gd name="T114" fmla="*/ 80 w 80"/>
                <a:gd name="T115" fmla="*/ 66 h 87"/>
                <a:gd name="T116" fmla="*/ 79 w 80"/>
                <a:gd name="T117" fmla="*/ 87 h 87"/>
                <a:gd name="T118" fmla="*/ 0 w 80"/>
                <a:gd name="T119" fmla="*/ 87 h 87"/>
                <a:gd name="T120" fmla="*/ 0 w 80"/>
                <a:gd name="T121" fmla="*/ 8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0" h="87">
                  <a:moveTo>
                    <a:pt x="0" y="82"/>
                  </a:moveTo>
                  <a:lnTo>
                    <a:pt x="0" y="82"/>
                  </a:lnTo>
                  <a:lnTo>
                    <a:pt x="6" y="82"/>
                  </a:lnTo>
                  <a:lnTo>
                    <a:pt x="9" y="81"/>
                  </a:lnTo>
                  <a:lnTo>
                    <a:pt x="11" y="80"/>
                  </a:lnTo>
                  <a:lnTo>
                    <a:pt x="13" y="75"/>
                  </a:lnTo>
                  <a:lnTo>
                    <a:pt x="14" y="66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12"/>
                  </a:lnTo>
                  <a:lnTo>
                    <a:pt x="11" y="8"/>
                  </a:lnTo>
                  <a:lnTo>
                    <a:pt x="9" y="6"/>
                  </a:lnTo>
                  <a:lnTo>
                    <a:pt x="6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5" y="21"/>
                  </a:lnTo>
                  <a:lnTo>
                    <a:pt x="72" y="21"/>
                  </a:lnTo>
                  <a:lnTo>
                    <a:pt x="70" y="19"/>
                  </a:lnTo>
                  <a:lnTo>
                    <a:pt x="70" y="19"/>
                  </a:lnTo>
                  <a:lnTo>
                    <a:pt x="69" y="12"/>
                  </a:lnTo>
                  <a:lnTo>
                    <a:pt x="67" y="10"/>
                  </a:lnTo>
                  <a:lnTo>
                    <a:pt x="62" y="8"/>
                  </a:lnTo>
                  <a:lnTo>
                    <a:pt x="53" y="8"/>
                  </a:lnTo>
                  <a:lnTo>
                    <a:pt x="31" y="8"/>
                  </a:lnTo>
                  <a:lnTo>
                    <a:pt x="31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8" y="37"/>
                  </a:lnTo>
                  <a:lnTo>
                    <a:pt x="53" y="36"/>
                  </a:lnTo>
                  <a:lnTo>
                    <a:pt x="54" y="33"/>
                  </a:lnTo>
                  <a:lnTo>
                    <a:pt x="56" y="31"/>
                  </a:lnTo>
                  <a:lnTo>
                    <a:pt x="56" y="25"/>
                  </a:lnTo>
                  <a:lnTo>
                    <a:pt x="60" y="25"/>
                  </a:lnTo>
                  <a:lnTo>
                    <a:pt x="60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0"/>
                  </a:lnTo>
                  <a:lnTo>
                    <a:pt x="54" y="49"/>
                  </a:lnTo>
                  <a:lnTo>
                    <a:pt x="53" y="47"/>
                  </a:lnTo>
                  <a:lnTo>
                    <a:pt x="48" y="46"/>
                  </a:lnTo>
                  <a:lnTo>
                    <a:pt x="40" y="44"/>
                  </a:lnTo>
                  <a:lnTo>
                    <a:pt x="31" y="4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2" y="73"/>
                  </a:lnTo>
                  <a:lnTo>
                    <a:pt x="33" y="77"/>
                  </a:lnTo>
                  <a:lnTo>
                    <a:pt x="36" y="79"/>
                  </a:lnTo>
                  <a:lnTo>
                    <a:pt x="38" y="80"/>
                  </a:lnTo>
                  <a:lnTo>
                    <a:pt x="46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67" y="80"/>
                  </a:lnTo>
                  <a:lnTo>
                    <a:pt x="72" y="77"/>
                  </a:lnTo>
                  <a:lnTo>
                    <a:pt x="74" y="75"/>
                  </a:lnTo>
                  <a:lnTo>
                    <a:pt x="75" y="70"/>
                  </a:lnTo>
                  <a:lnTo>
                    <a:pt x="75" y="66"/>
                  </a:lnTo>
                  <a:lnTo>
                    <a:pt x="80" y="66"/>
                  </a:lnTo>
                  <a:lnTo>
                    <a:pt x="79" y="87"/>
                  </a:lnTo>
                  <a:lnTo>
                    <a:pt x="0" y="87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0" name="Freeform 13"/>
            <p:cNvSpPr>
              <a:spLocks/>
            </p:cNvSpPr>
            <p:nvPr userDrawn="1"/>
          </p:nvSpPr>
          <p:spPr bwMode="auto">
            <a:xfrm>
              <a:off x="2800350" y="892175"/>
              <a:ext cx="153988" cy="142875"/>
            </a:xfrm>
            <a:custGeom>
              <a:avLst/>
              <a:gdLst>
                <a:gd name="T0" fmla="*/ 62 w 97"/>
                <a:gd name="T1" fmla="*/ 0 h 90"/>
                <a:gd name="T2" fmla="*/ 97 w 97"/>
                <a:gd name="T3" fmla="*/ 5 h 90"/>
                <a:gd name="T4" fmla="*/ 90 w 97"/>
                <a:gd name="T5" fmla="*/ 5 h 90"/>
                <a:gd name="T6" fmla="*/ 86 w 97"/>
                <a:gd name="T7" fmla="*/ 8 h 90"/>
                <a:gd name="T8" fmla="*/ 84 w 97"/>
                <a:gd name="T9" fmla="*/ 21 h 90"/>
                <a:gd name="T10" fmla="*/ 84 w 97"/>
                <a:gd name="T11" fmla="*/ 55 h 90"/>
                <a:gd name="T12" fmla="*/ 80 w 97"/>
                <a:gd name="T13" fmla="*/ 70 h 90"/>
                <a:gd name="T14" fmla="*/ 73 w 97"/>
                <a:gd name="T15" fmla="*/ 81 h 90"/>
                <a:gd name="T16" fmla="*/ 62 w 97"/>
                <a:gd name="T17" fmla="*/ 87 h 90"/>
                <a:gd name="T18" fmla="*/ 48 w 97"/>
                <a:gd name="T19" fmla="*/ 90 h 90"/>
                <a:gd name="T20" fmla="*/ 42 w 97"/>
                <a:gd name="T21" fmla="*/ 89 h 90"/>
                <a:gd name="T22" fmla="*/ 30 w 97"/>
                <a:gd name="T23" fmla="*/ 85 h 90"/>
                <a:gd name="T24" fmla="*/ 20 w 97"/>
                <a:gd name="T25" fmla="*/ 76 h 90"/>
                <a:gd name="T26" fmla="*/ 15 w 97"/>
                <a:gd name="T27" fmla="*/ 63 h 90"/>
                <a:gd name="T28" fmla="*/ 14 w 97"/>
                <a:gd name="T29" fmla="*/ 21 h 90"/>
                <a:gd name="T30" fmla="*/ 14 w 97"/>
                <a:gd name="T31" fmla="*/ 12 h 90"/>
                <a:gd name="T32" fmla="*/ 10 w 97"/>
                <a:gd name="T33" fmla="*/ 6 h 90"/>
                <a:gd name="T34" fmla="*/ 0 w 97"/>
                <a:gd name="T35" fmla="*/ 5 h 90"/>
                <a:gd name="T36" fmla="*/ 46 w 97"/>
                <a:gd name="T37" fmla="*/ 0 h 90"/>
                <a:gd name="T38" fmla="*/ 46 w 97"/>
                <a:gd name="T39" fmla="*/ 5 h 90"/>
                <a:gd name="T40" fmla="*/ 36 w 97"/>
                <a:gd name="T41" fmla="*/ 6 h 90"/>
                <a:gd name="T42" fmla="*/ 32 w 97"/>
                <a:gd name="T43" fmla="*/ 12 h 90"/>
                <a:gd name="T44" fmla="*/ 32 w 97"/>
                <a:gd name="T45" fmla="*/ 53 h 90"/>
                <a:gd name="T46" fmla="*/ 32 w 97"/>
                <a:gd name="T47" fmla="*/ 60 h 90"/>
                <a:gd name="T48" fmla="*/ 36 w 97"/>
                <a:gd name="T49" fmla="*/ 70 h 90"/>
                <a:gd name="T50" fmla="*/ 42 w 97"/>
                <a:gd name="T51" fmla="*/ 76 h 90"/>
                <a:gd name="T52" fmla="*/ 49 w 97"/>
                <a:gd name="T53" fmla="*/ 80 h 90"/>
                <a:gd name="T54" fmla="*/ 54 w 97"/>
                <a:gd name="T55" fmla="*/ 81 h 90"/>
                <a:gd name="T56" fmla="*/ 63 w 97"/>
                <a:gd name="T57" fmla="*/ 79 h 90"/>
                <a:gd name="T58" fmla="*/ 69 w 97"/>
                <a:gd name="T59" fmla="*/ 74 h 90"/>
                <a:gd name="T60" fmla="*/ 74 w 97"/>
                <a:gd name="T61" fmla="*/ 65 h 90"/>
                <a:gd name="T62" fmla="*/ 75 w 97"/>
                <a:gd name="T63" fmla="*/ 53 h 90"/>
                <a:gd name="T64" fmla="*/ 75 w 97"/>
                <a:gd name="T65" fmla="*/ 21 h 90"/>
                <a:gd name="T66" fmla="*/ 73 w 97"/>
                <a:gd name="T67" fmla="*/ 8 h 90"/>
                <a:gd name="T68" fmla="*/ 69 w 97"/>
                <a:gd name="T69" fmla="*/ 5 h 90"/>
                <a:gd name="T70" fmla="*/ 62 w 97"/>
                <a:gd name="T71" fmla="*/ 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7" h="90">
                  <a:moveTo>
                    <a:pt x="62" y="5"/>
                  </a:moveTo>
                  <a:lnTo>
                    <a:pt x="62" y="0"/>
                  </a:lnTo>
                  <a:lnTo>
                    <a:pt x="97" y="0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0" y="5"/>
                  </a:lnTo>
                  <a:lnTo>
                    <a:pt x="88" y="6"/>
                  </a:lnTo>
                  <a:lnTo>
                    <a:pt x="86" y="8"/>
                  </a:lnTo>
                  <a:lnTo>
                    <a:pt x="84" y="12"/>
                  </a:lnTo>
                  <a:lnTo>
                    <a:pt x="84" y="21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3" y="63"/>
                  </a:lnTo>
                  <a:lnTo>
                    <a:pt x="80" y="70"/>
                  </a:lnTo>
                  <a:lnTo>
                    <a:pt x="78" y="76"/>
                  </a:lnTo>
                  <a:lnTo>
                    <a:pt x="73" y="81"/>
                  </a:lnTo>
                  <a:lnTo>
                    <a:pt x="68" y="85"/>
                  </a:lnTo>
                  <a:lnTo>
                    <a:pt x="62" y="87"/>
                  </a:lnTo>
                  <a:lnTo>
                    <a:pt x="56" y="89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2" y="89"/>
                  </a:lnTo>
                  <a:lnTo>
                    <a:pt x="35" y="87"/>
                  </a:lnTo>
                  <a:lnTo>
                    <a:pt x="30" y="85"/>
                  </a:lnTo>
                  <a:lnTo>
                    <a:pt x="24" y="81"/>
                  </a:lnTo>
                  <a:lnTo>
                    <a:pt x="20" y="76"/>
                  </a:lnTo>
                  <a:lnTo>
                    <a:pt x="16" y="70"/>
                  </a:lnTo>
                  <a:lnTo>
                    <a:pt x="15" y="63"/>
                  </a:lnTo>
                  <a:lnTo>
                    <a:pt x="14" y="55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12"/>
                  </a:lnTo>
                  <a:lnTo>
                    <a:pt x="11" y="8"/>
                  </a:lnTo>
                  <a:lnTo>
                    <a:pt x="10" y="6"/>
                  </a:lnTo>
                  <a:lnTo>
                    <a:pt x="8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46" y="0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38" y="5"/>
                  </a:lnTo>
                  <a:lnTo>
                    <a:pt x="36" y="6"/>
                  </a:lnTo>
                  <a:lnTo>
                    <a:pt x="35" y="8"/>
                  </a:lnTo>
                  <a:lnTo>
                    <a:pt x="32" y="12"/>
                  </a:lnTo>
                  <a:lnTo>
                    <a:pt x="32" y="21"/>
                  </a:lnTo>
                  <a:lnTo>
                    <a:pt x="32" y="53"/>
                  </a:lnTo>
                  <a:lnTo>
                    <a:pt x="32" y="53"/>
                  </a:lnTo>
                  <a:lnTo>
                    <a:pt x="32" y="60"/>
                  </a:lnTo>
                  <a:lnTo>
                    <a:pt x="33" y="65"/>
                  </a:lnTo>
                  <a:lnTo>
                    <a:pt x="36" y="70"/>
                  </a:lnTo>
                  <a:lnTo>
                    <a:pt x="38" y="74"/>
                  </a:lnTo>
                  <a:lnTo>
                    <a:pt x="42" y="76"/>
                  </a:lnTo>
                  <a:lnTo>
                    <a:pt x="46" y="79"/>
                  </a:lnTo>
                  <a:lnTo>
                    <a:pt x="49" y="80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9" y="80"/>
                  </a:lnTo>
                  <a:lnTo>
                    <a:pt x="63" y="79"/>
                  </a:lnTo>
                  <a:lnTo>
                    <a:pt x="67" y="76"/>
                  </a:lnTo>
                  <a:lnTo>
                    <a:pt x="69" y="74"/>
                  </a:lnTo>
                  <a:lnTo>
                    <a:pt x="73" y="70"/>
                  </a:lnTo>
                  <a:lnTo>
                    <a:pt x="74" y="65"/>
                  </a:lnTo>
                  <a:lnTo>
                    <a:pt x="75" y="60"/>
                  </a:lnTo>
                  <a:lnTo>
                    <a:pt x="75" y="53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5" y="12"/>
                  </a:lnTo>
                  <a:lnTo>
                    <a:pt x="73" y="8"/>
                  </a:lnTo>
                  <a:lnTo>
                    <a:pt x="72" y="6"/>
                  </a:lnTo>
                  <a:lnTo>
                    <a:pt x="69" y="5"/>
                  </a:lnTo>
                  <a:lnTo>
                    <a:pt x="62" y="5"/>
                  </a:lnTo>
                  <a:lnTo>
                    <a:pt x="62" y="5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1" name="Freeform 14"/>
            <p:cNvSpPr>
              <a:spLocks/>
            </p:cNvSpPr>
            <p:nvPr userDrawn="1"/>
          </p:nvSpPr>
          <p:spPr bwMode="auto">
            <a:xfrm>
              <a:off x="2965450" y="892175"/>
              <a:ext cx="158750" cy="142875"/>
            </a:xfrm>
            <a:custGeom>
              <a:avLst/>
              <a:gdLst>
                <a:gd name="T0" fmla="*/ 83 w 100"/>
                <a:gd name="T1" fmla="*/ 17 h 90"/>
                <a:gd name="T2" fmla="*/ 51 w 100"/>
                <a:gd name="T3" fmla="*/ 90 h 90"/>
                <a:gd name="T4" fmla="*/ 49 w 100"/>
                <a:gd name="T5" fmla="*/ 90 h 90"/>
                <a:gd name="T6" fmla="*/ 17 w 100"/>
                <a:gd name="T7" fmla="*/ 17 h 90"/>
                <a:gd name="T8" fmla="*/ 17 w 100"/>
                <a:gd name="T9" fmla="*/ 17 h 90"/>
                <a:gd name="T10" fmla="*/ 14 w 100"/>
                <a:gd name="T11" fmla="*/ 11 h 90"/>
                <a:gd name="T12" fmla="*/ 11 w 100"/>
                <a:gd name="T13" fmla="*/ 8 h 90"/>
                <a:gd name="T14" fmla="*/ 7 w 100"/>
                <a:gd name="T15" fmla="*/ 5 h 90"/>
                <a:gd name="T16" fmla="*/ 0 w 100"/>
                <a:gd name="T17" fmla="*/ 5 h 90"/>
                <a:gd name="T18" fmla="*/ 0 w 100"/>
                <a:gd name="T19" fmla="*/ 0 h 90"/>
                <a:gd name="T20" fmla="*/ 47 w 100"/>
                <a:gd name="T21" fmla="*/ 0 h 90"/>
                <a:gd name="T22" fmla="*/ 47 w 100"/>
                <a:gd name="T23" fmla="*/ 5 h 90"/>
                <a:gd name="T24" fmla="*/ 47 w 100"/>
                <a:gd name="T25" fmla="*/ 5 h 90"/>
                <a:gd name="T26" fmla="*/ 39 w 100"/>
                <a:gd name="T27" fmla="*/ 5 h 90"/>
                <a:gd name="T28" fmla="*/ 35 w 100"/>
                <a:gd name="T29" fmla="*/ 8 h 90"/>
                <a:gd name="T30" fmla="*/ 35 w 100"/>
                <a:gd name="T31" fmla="*/ 9 h 90"/>
                <a:gd name="T32" fmla="*/ 34 w 100"/>
                <a:gd name="T33" fmla="*/ 11 h 90"/>
                <a:gd name="T34" fmla="*/ 36 w 100"/>
                <a:gd name="T35" fmla="*/ 16 h 90"/>
                <a:gd name="T36" fmla="*/ 56 w 100"/>
                <a:gd name="T37" fmla="*/ 63 h 90"/>
                <a:gd name="T38" fmla="*/ 77 w 100"/>
                <a:gd name="T39" fmla="*/ 16 h 90"/>
                <a:gd name="T40" fmla="*/ 77 w 100"/>
                <a:gd name="T41" fmla="*/ 16 h 90"/>
                <a:gd name="T42" fmla="*/ 78 w 100"/>
                <a:gd name="T43" fmla="*/ 11 h 90"/>
                <a:gd name="T44" fmla="*/ 78 w 100"/>
                <a:gd name="T45" fmla="*/ 9 h 90"/>
                <a:gd name="T46" fmla="*/ 77 w 100"/>
                <a:gd name="T47" fmla="*/ 8 h 90"/>
                <a:gd name="T48" fmla="*/ 73 w 100"/>
                <a:gd name="T49" fmla="*/ 5 h 90"/>
                <a:gd name="T50" fmla="*/ 66 w 100"/>
                <a:gd name="T51" fmla="*/ 5 h 90"/>
                <a:gd name="T52" fmla="*/ 66 w 100"/>
                <a:gd name="T53" fmla="*/ 0 h 90"/>
                <a:gd name="T54" fmla="*/ 100 w 100"/>
                <a:gd name="T55" fmla="*/ 0 h 90"/>
                <a:gd name="T56" fmla="*/ 100 w 100"/>
                <a:gd name="T57" fmla="*/ 5 h 90"/>
                <a:gd name="T58" fmla="*/ 100 w 100"/>
                <a:gd name="T59" fmla="*/ 5 h 90"/>
                <a:gd name="T60" fmla="*/ 94 w 100"/>
                <a:gd name="T61" fmla="*/ 5 h 90"/>
                <a:gd name="T62" fmla="*/ 89 w 100"/>
                <a:gd name="T63" fmla="*/ 8 h 90"/>
                <a:gd name="T64" fmla="*/ 87 w 100"/>
                <a:gd name="T65" fmla="*/ 11 h 90"/>
                <a:gd name="T66" fmla="*/ 83 w 100"/>
                <a:gd name="T67" fmla="*/ 17 h 90"/>
                <a:gd name="T68" fmla="*/ 83 w 100"/>
                <a:gd name="T69" fmla="*/ 1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0" h="90">
                  <a:moveTo>
                    <a:pt x="83" y="17"/>
                  </a:moveTo>
                  <a:lnTo>
                    <a:pt x="51" y="90"/>
                  </a:lnTo>
                  <a:lnTo>
                    <a:pt x="49" y="90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4" y="11"/>
                  </a:lnTo>
                  <a:lnTo>
                    <a:pt x="11" y="8"/>
                  </a:lnTo>
                  <a:lnTo>
                    <a:pt x="7" y="5"/>
                  </a:lnTo>
                  <a:lnTo>
                    <a:pt x="0" y="5"/>
                  </a:lnTo>
                  <a:lnTo>
                    <a:pt x="0" y="0"/>
                  </a:lnTo>
                  <a:lnTo>
                    <a:pt x="47" y="0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39" y="5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11"/>
                  </a:lnTo>
                  <a:lnTo>
                    <a:pt x="36" y="16"/>
                  </a:lnTo>
                  <a:lnTo>
                    <a:pt x="56" y="63"/>
                  </a:lnTo>
                  <a:lnTo>
                    <a:pt x="77" y="16"/>
                  </a:lnTo>
                  <a:lnTo>
                    <a:pt x="77" y="16"/>
                  </a:lnTo>
                  <a:lnTo>
                    <a:pt x="78" y="11"/>
                  </a:lnTo>
                  <a:lnTo>
                    <a:pt x="78" y="9"/>
                  </a:lnTo>
                  <a:lnTo>
                    <a:pt x="77" y="8"/>
                  </a:lnTo>
                  <a:lnTo>
                    <a:pt x="73" y="5"/>
                  </a:lnTo>
                  <a:lnTo>
                    <a:pt x="66" y="5"/>
                  </a:lnTo>
                  <a:lnTo>
                    <a:pt x="66" y="0"/>
                  </a:lnTo>
                  <a:lnTo>
                    <a:pt x="100" y="0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94" y="5"/>
                  </a:lnTo>
                  <a:lnTo>
                    <a:pt x="89" y="8"/>
                  </a:lnTo>
                  <a:lnTo>
                    <a:pt x="87" y="11"/>
                  </a:lnTo>
                  <a:lnTo>
                    <a:pt x="83" y="17"/>
                  </a:lnTo>
                  <a:lnTo>
                    <a:pt x="83" y="17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2" name="Freeform 15"/>
            <p:cNvSpPr>
              <a:spLocks noEditPoints="1"/>
            </p:cNvSpPr>
            <p:nvPr userDrawn="1"/>
          </p:nvSpPr>
          <p:spPr bwMode="auto">
            <a:xfrm>
              <a:off x="3140075" y="889000"/>
              <a:ext cx="152400" cy="146050"/>
            </a:xfrm>
            <a:custGeom>
              <a:avLst/>
              <a:gdLst>
                <a:gd name="T0" fmla="*/ 48 w 96"/>
                <a:gd name="T1" fmla="*/ 92 h 92"/>
                <a:gd name="T2" fmla="*/ 30 w 96"/>
                <a:gd name="T3" fmla="*/ 88 h 92"/>
                <a:gd name="T4" fmla="*/ 14 w 96"/>
                <a:gd name="T5" fmla="*/ 78 h 92"/>
                <a:gd name="T6" fmla="*/ 4 w 96"/>
                <a:gd name="T7" fmla="*/ 64 h 92"/>
                <a:gd name="T8" fmla="*/ 0 w 96"/>
                <a:gd name="T9" fmla="*/ 46 h 92"/>
                <a:gd name="T10" fmla="*/ 0 w 96"/>
                <a:gd name="T11" fmla="*/ 37 h 92"/>
                <a:gd name="T12" fmla="*/ 8 w 96"/>
                <a:gd name="T13" fmla="*/ 21 h 92"/>
                <a:gd name="T14" fmla="*/ 21 w 96"/>
                <a:gd name="T15" fmla="*/ 8 h 92"/>
                <a:gd name="T16" fmla="*/ 38 w 96"/>
                <a:gd name="T17" fmla="*/ 1 h 92"/>
                <a:gd name="T18" fmla="*/ 48 w 96"/>
                <a:gd name="T19" fmla="*/ 0 h 92"/>
                <a:gd name="T20" fmla="*/ 67 w 96"/>
                <a:gd name="T21" fmla="*/ 3 h 92"/>
                <a:gd name="T22" fmla="*/ 81 w 96"/>
                <a:gd name="T23" fmla="*/ 13 h 92"/>
                <a:gd name="T24" fmla="*/ 92 w 96"/>
                <a:gd name="T25" fmla="*/ 28 h 92"/>
                <a:gd name="T26" fmla="*/ 96 w 96"/>
                <a:gd name="T27" fmla="*/ 46 h 92"/>
                <a:gd name="T28" fmla="*/ 95 w 96"/>
                <a:gd name="T29" fmla="*/ 55 h 92"/>
                <a:gd name="T30" fmla="*/ 87 w 96"/>
                <a:gd name="T31" fmla="*/ 71 h 92"/>
                <a:gd name="T32" fmla="*/ 75 w 96"/>
                <a:gd name="T33" fmla="*/ 83 h 92"/>
                <a:gd name="T34" fmla="*/ 58 w 96"/>
                <a:gd name="T35" fmla="*/ 91 h 92"/>
                <a:gd name="T36" fmla="*/ 48 w 96"/>
                <a:gd name="T37" fmla="*/ 92 h 92"/>
                <a:gd name="T38" fmla="*/ 48 w 96"/>
                <a:gd name="T39" fmla="*/ 7 h 92"/>
                <a:gd name="T40" fmla="*/ 35 w 96"/>
                <a:gd name="T41" fmla="*/ 11 h 92"/>
                <a:gd name="T42" fmla="*/ 26 w 96"/>
                <a:gd name="T43" fmla="*/ 19 h 92"/>
                <a:gd name="T44" fmla="*/ 21 w 96"/>
                <a:gd name="T45" fmla="*/ 33 h 92"/>
                <a:gd name="T46" fmla="*/ 19 w 96"/>
                <a:gd name="T47" fmla="*/ 46 h 92"/>
                <a:gd name="T48" fmla="*/ 20 w 96"/>
                <a:gd name="T49" fmla="*/ 52 h 92"/>
                <a:gd name="T50" fmla="*/ 22 w 96"/>
                <a:gd name="T51" fmla="*/ 66 h 92"/>
                <a:gd name="T52" fmla="*/ 30 w 96"/>
                <a:gd name="T53" fmla="*/ 77 h 92"/>
                <a:gd name="T54" fmla="*/ 41 w 96"/>
                <a:gd name="T55" fmla="*/ 83 h 92"/>
                <a:gd name="T56" fmla="*/ 48 w 96"/>
                <a:gd name="T57" fmla="*/ 84 h 92"/>
                <a:gd name="T58" fmla="*/ 62 w 96"/>
                <a:gd name="T59" fmla="*/ 81 h 92"/>
                <a:gd name="T60" fmla="*/ 70 w 96"/>
                <a:gd name="T61" fmla="*/ 72 h 92"/>
                <a:gd name="T62" fmla="*/ 75 w 96"/>
                <a:gd name="T63" fmla="*/ 59 h 92"/>
                <a:gd name="T64" fmla="*/ 76 w 96"/>
                <a:gd name="T65" fmla="*/ 46 h 92"/>
                <a:gd name="T66" fmla="*/ 76 w 96"/>
                <a:gd name="T67" fmla="*/ 39 h 92"/>
                <a:gd name="T68" fmla="*/ 73 w 96"/>
                <a:gd name="T69" fmla="*/ 25 h 92"/>
                <a:gd name="T70" fmla="*/ 67 w 96"/>
                <a:gd name="T71" fmla="*/ 14 h 92"/>
                <a:gd name="T72" fmla="*/ 55 w 96"/>
                <a:gd name="T73" fmla="*/ 8 h 92"/>
                <a:gd name="T74" fmla="*/ 48 w 96"/>
                <a:gd name="T75" fmla="*/ 7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" h="92">
                  <a:moveTo>
                    <a:pt x="48" y="92"/>
                  </a:moveTo>
                  <a:lnTo>
                    <a:pt x="48" y="92"/>
                  </a:lnTo>
                  <a:lnTo>
                    <a:pt x="38" y="91"/>
                  </a:lnTo>
                  <a:lnTo>
                    <a:pt x="30" y="88"/>
                  </a:lnTo>
                  <a:lnTo>
                    <a:pt x="21" y="83"/>
                  </a:lnTo>
                  <a:lnTo>
                    <a:pt x="14" y="78"/>
                  </a:lnTo>
                  <a:lnTo>
                    <a:pt x="8" y="71"/>
                  </a:lnTo>
                  <a:lnTo>
                    <a:pt x="4" y="64"/>
                  </a:lnTo>
                  <a:lnTo>
                    <a:pt x="0" y="55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37"/>
                  </a:lnTo>
                  <a:lnTo>
                    <a:pt x="4" y="28"/>
                  </a:lnTo>
                  <a:lnTo>
                    <a:pt x="8" y="21"/>
                  </a:lnTo>
                  <a:lnTo>
                    <a:pt x="14" y="13"/>
                  </a:lnTo>
                  <a:lnTo>
                    <a:pt x="21" y="8"/>
                  </a:lnTo>
                  <a:lnTo>
                    <a:pt x="30" y="3"/>
                  </a:lnTo>
                  <a:lnTo>
                    <a:pt x="38" y="1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8" y="1"/>
                  </a:lnTo>
                  <a:lnTo>
                    <a:pt x="67" y="3"/>
                  </a:lnTo>
                  <a:lnTo>
                    <a:pt x="75" y="8"/>
                  </a:lnTo>
                  <a:lnTo>
                    <a:pt x="81" y="13"/>
                  </a:lnTo>
                  <a:lnTo>
                    <a:pt x="87" y="21"/>
                  </a:lnTo>
                  <a:lnTo>
                    <a:pt x="92" y="28"/>
                  </a:lnTo>
                  <a:lnTo>
                    <a:pt x="95" y="37"/>
                  </a:lnTo>
                  <a:lnTo>
                    <a:pt x="96" y="46"/>
                  </a:lnTo>
                  <a:lnTo>
                    <a:pt x="96" y="46"/>
                  </a:lnTo>
                  <a:lnTo>
                    <a:pt x="95" y="55"/>
                  </a:lnTo>
                  <a:lnTo>
                    <a:pt x="92" y="64"/>
                  </a:lnTo>
                  <a:lnTo>
                    <a:pt x="87" y="71"/>
                  </a:lnTo>
                  <a:lnTo>
                    <a:pt x="81" y="78"/>
                  </a:lnTo>
                  <a:lnTo>
                    <a:pt x="75" y="83"/>
                  </a:lnTo>
                  <a:lnTo>
                    <a:pt x="67" y="88"/>
                  </a:lnTo>
                  <a:lnTo>
                    <a:pt x="58" y="91"/>
                  </a:lnTo>
                  <a:lnTo>
                    <a:pt x="48" y="92"/>
                  </a:lnTo>
                  <a:lnTo>
                    <a:pt x="48" y="92"/>
                  </a:lnTo>
                  <a:close/>
                  <a:moveTo>
                    <a:pt x="48" y="7"/>
                  </a:moveTo>
                  <a:lnTo>
                    <a:pt x="48" y="7"/>
                  </a:lnTo>
                  <a:lnTo>
                    <a:pt x="41" y="8"/>
                  </a:lnTo>
                  <a:lnTo>
                    <a:pt x="35" y="11"/>
                  </a:lnTo>
                  <a:lnTo>
                    <a:pt x="30" y="14"/>
                  </a:lnTo>
                  <a:lnTo>
                    <a:pt x="26" y="19"/>
                  </a:lnTo>
                  <a:lnTo>
                    <a:pt x="22" y="25"/>
                  </a:lnTo>
                  <a:lnTo>
                    <a:pt x="21" y="33"/>
                  </a:lnTo>
                  <a:lnTo>
                    <a:pt x="20" y="39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20" y="52"/>
                  </a:lnTo>
                  <a:lnTo>
                    <a:pt x="21" y="59"/>
                  </a:lnTo>
                  <a:lnTo>
                    <a:pt x="22" y="66"/>
                  </a:lnTo>
                  <a:lnTo>
                    <a:pt x="26" y="72"/>
                  </a:lnTo>
                  <a:lnTo>
                    <a:pt x="30" y="77"/>
                  </a:lnTo>
                  <a:lnTo>
                    <a:pt x="35" y="81"/>
                  </a:lnTo>
                  <a:lnTo>
                    <a:pt x="41" y="83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55" y="83"/>
                  </a:lnTo>
                  <a:lnTo>
                    <a:pt x="62" y="81"/>
                  </a:lnTo>
                  <a:lnTo>
                    <a:pt x="67" y="77"/>
                  </a:lnTo>
                  <a:lnTo>
                    <a:pt x="70" y="72"/>
                  </a:lnTo>
                  <a:lnTo>
                    <a:pt x="73" y="66"/>
                  </a:lnTo>
                  <a:lnTo>
                    <a:pt x="75" y="59"/>
                  </a:lnTo>
                  <a:lnTo>
                    <a:pt x="76" y="52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39"/>
                  </a:lnTo>
                  <a:lnTo>
                    <a:pt x="75" y="33"/>
                  </a:lnTo>
                  <a:lnTo>
                    <a:pt x="73" y="25"/>
                  </a:lnTo>
                  <a:lnTo>
                    <a:pt x="70" y="19"/>
                  </a:lnTo>
                  <a:lnTo>
                    <a:pt x="67" y="14"/>
                  </a:lnTo>
                  <a:lnTo>
                    <a:pt x="62" y="11"/>
                  </a:lnTo>
                  <a:lnTo>
                    <a:pt x="55" y="8"/>
                  </a:lnTo>
                  <a:lnTo>
                    <a:pt x="48" y="7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3" name="Freeform 16"/>
            <p:cNvSpPr>
              <a:spLocks/>
            </p:cNvSpPr>
            <p:nvPr userDrawn="1"/>
          </p:nvSpPr>
          <p:spPr bwMode="auto">
            <a:xfrm>
              <a:off x="3336925" y="889000"/>
              <a:ext cx="93663" cy="146050"/>
            </a:xfrm>
            <a:custGeom>
              <a:avLst/>
              <a:gdLst>
                <a:gd name="T0" fmla="*/ 0 w 59"/>
                <a:gd name="T1" fmla="*/ 92 h 92"/>
                <a:gd name="T2" fmla="*/ 4 w 59"/>
                <a:gd name="T3" fmla="*/ 60 h 92"/>
                <a:gd name="T4" fmla="*/ 5 w 59"/>
                <a:gd name="T5" fmla="*/ 65 h 92"/>
                <a:gd name="T6" fmla="*/ 10 w 59"/>
                <a:gd name="T7" fmla="*/ 75 h 92"/>
                <a:gd name="T8" fmla="*/ 18 w 59"/>
                <a:gd name="T9" fmla="*/ 81 h 92"/>
                <a:gd name="T10" fmla="*/ 26 w 59"/>
                <a:gd name="T11" fmla="*/ 84 h 92"/>
                <a:gd name="T12" fmla="*/ 31 w 59"/>
                <a:gd name="T13" fmla="*/ 86 h 92"/>
                <a:gd name="T14" fmla="*/ 41 w 59"/>
                <a:gd name="T15" fmla="*/ 82 h 92"/>
                <a:gd name="T16" fmla="*/ 45 w 59"/>
                <a:gd name="T17" fmla="*/ 71 h 92"/>
                <a:gd name="T18" fmla="*/ 45 w 59"/>
                <a:gd name="T19" fmla="*/ 67 h 92"/>
                <a:gd name="T20" fmla="*/ 38 w 59"/>
                <a:gd name="T21" fmla="*/ 59 h 92"/>
                <a:gd name="T22" fmla="*/ 21 w 59"/>
                <a:gd name="T23" fmla="*/ 49 h 92"/>
                <a:gd name="T24" fmla="*/ 13 w 59"/>
                <a:gd name="T25" fmla="*/ 44 h 92"/>
                <a:gd name="T26" fmla="*/ 4 w 59"/>
                <a:gd name="T27" fmla="*/ 35 h 92"/>
                <a:gd name="T28" fmla="*/ 2 w 59"/>
                <a:gd name="T29" fmla="*/ 27 h 92"/>
                <a:gd name="T30" fmla="*/ 2 w 59"/>
                <a:gd name="T31" fmla="*/ 22 h 92"/>
                <a:gd name="T32" fmla="*/ 3 w 59"/>
                <a:gd name="T33" fmla="*/ 13 h 92"/>
                <a:gd name="T34" fmla="*/ 9 w 59"/>
                <a:gd name="T35" fmla="*/ 7 h 92"/>
                <a:gd name="T36" fmla="*/ 16 w 59"/>
                <a:gd name="T37" fmla="*/ 2 h 92"/>
                <a:gd name="T38" fmla="*/ 26 w 59"/>
                <a:gd name="T39" fmla="*/ 0 h 92"/>
                <a:gd name="T40" fmla="*/ 32 w 59"/>
                <a:gd name="T41" fmla="*/ 1 h 92"/>
                <a:gd name="T42" fmla="*/ 43 w 59"/>
                <a:gd name="T43" fmla="*/ 6 h 92"/>
                <a:gd name="T44" fmla="*/ 46 w 59"/>
                <a:gd name="T45" fmla="*/ 3 h 92"/>
                <a:gd name="T46" fmla="*/ 52 w 59"/>
                <a:gd name="T47" fmla="*/ 0 h 92"/>
                <a:gd name="T48" fmla="*/ 48 w 59"/>
                <a:gd name="T49" fmla="*/ 32 h 92"/>
                <a:gd name="T50" fmla="*/ 46 w 59"/>
                <a:gd name="T51" fmla="*/ 22 h 92"/>
                <a:gd name="T52" fmla="*/ 40 w 59"/>
                <a:gd name="T53" fmla="*/ 11 h 92"/>
                <a:gd name="T54" fmla="*/ 32 w 59"/>
                <a:gd name="T55" fmla="*/ 7 h 92"/>
                <a:gd name="T56" fmla="*/ 27 w 59"/>
                <a:gd name="T57" fmla="*/ 6 h 92"/>
                <a:gd name="T58" fmla="*/ 19 w 59"/>
                <a:gd name="T59" fmla="*/ 10 h 92"/>
                <a:gd name="T60" fmla="*/ 15 w 59"/>
                <a:gd name="T61" fmla="*/ 18 h 92"/>
                <a:gd name="T62" fmla="*/ 16 w 59"/>
                <a:gd name="T63" fmla="*/ 22 h 92"/>
                <a:gd name="T64" fmla="*/ 22 w 59"/>
                <a:gd name="T65" fmla="*/ 29 h 92"/>
                <a:gd name="T66" fmla="*/ 41 w 59"/>
                <a:gd name="T67" fmla="*/ 40 h 92"/>
                <a:gd name="T68" fmla="*/ 48 w 59"/>
                <a:gd name="T69" fmla="*/ 44 h 92"/>
                <a:gd name="T70" fmla="*/ 58 w 59"/>
                <a:gd name="T71" fmla="*/ 57 h 92"/>
                <a:gd name="T72" fmla="*/ 59 w 59"/>
                <a:gd name="T73" fmla="*/ 65 h 92"/>
                <a:gd name="T74" fmla="*/ 59 w 59"/>
                <a:gd name="T75" fmla="*/ 71 h 92"/>
                <a:gd name="T76" fmla="*/ 54 w 59"/>
                <a:gd name="T77" fmla="*/ 81 h 92"/>
                <a:gd name="T78" fmla="*/ 46 w 59"/>
                <a:gd name="T79" fmla="*/ 87 h 92"/>
                <a:gd name="T80" fmla="*/ 36 w 59"/>
                <a:gd name="T81" fmla="*/ 91 h 92"/>
                <a:gd name="T82" fmla="*/ 31 w 59"/>
                <a:gd name="T83" fmla="*/ 92 h 92"/>
                <a:gd name="T84" fmla="*/ 18 w 59"/>
                <a:gd name="T85" fmla="*/ 88 h 92"/>
                <a:gd name="T86" fmla="*/ 8 w 59"/>
                <a:gd name="T87" fmla="*/ 84 h 92"/>
                <a:gd name="T88" fmla="*/ 4 w 59"/>
                <a:gd name="T8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9" h="92">
                  <a:moveTo>
                    <a:pt x="4" y="92"/>
                  </a:moveTo>
                  <a:lnTo>
                    <a:pt x="0" y="92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5" y="65"/>
                  </a:lnTo>
                  <a:lnTo>
                    <a:pt x="8" y="70"/>
                  </a:lnTo>
                  <a:lnTo>
                    <a:pt x="10" y="75"/>
                  </a:lnTo>
                  <a:lnTo>
                    <a:pt x="14" y="78"/>
                  </a:lnTo>
                  <a:lnTo>
                    <a:pt x="18" y="81"/>
                  </a:lnTo>
                  <a:lnTo>
                    <a:pt x="22" y="83"/>
                  </a:lnTo>
                  <a:lnTo>
                    <a:pt x="26" y="84"/>
                  </a:lnTo>
                  <a:lnTo>
                    <a:pt x="31" y="86"/>
                  </a:lnTo>
                  <a:lnTo>
                    <a:pt x="31" y="86"/>
                  </a:lnTo>
                  <a:lnTo>
                    <a:pt x="36" y="84"/>
                  </a:lnTo>
                  <a:lnTo>
                    <a:pt x="41" y="82"/>
                  </a:lnTo>
                  <a:lnTo>
                    <a:pt x="45" y="77"/>
                  </a:lnTo>
                  <a:lnTo>
                    <a:pt x="45" y="71"/>
                  </a:lnTo>
                  <a:lnTo>
                    <a:pt x="45" y="71"/>
                  </a:lnTo>
                  <a:lnTo>
                    <a:pt x="45" y="67"/>
                  </a:lnTo>
                  <a:lnTo>
                    <a:pt x="42" y="62"/>
                  </a:lnTo>
                  <a:lnTo>
                    <a:pt x="38" y="59"/>
                  </a:lnTo>
                  <a:lnTo>
                    <a:pt x="35" y="56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13" y="44"/>
                  </a:lnTo>
                  <a:lnTo>
                    <a:pt x="6" y="38"/>
                  </a:lnTo>
                  <a:lnTo>
                    <a:pt x="4" y="35"/>
                  </a:lnTo>
                  <a:lnTo>
                    <a:pt x="3" y="32"/>
                  </a:lnTo>
                  <a:lnTo>
                    <a:pt x="2" y="27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17"/>
                  </a:lnTo>
                  <a:lnTo>
                    <a:pt x="3" y="13"/>
                  </a:lnTo>
                  <a:lnTo>
                    <a:pt x="5" y="10"/>
                  </a:lnTo>
                  <a:lnTo>
                    <a:pt x="9" y="7"/>
                  </a:lnTo>
                  <a:lnTo>
                    <a:pt x="13" y="3"/>
                  </a:lnTo>
                  <a:lnTo>
                    <a:pt x="16" y="2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2" y="1"/>
                  </a:lnTo>
                  <a:lnTo>
                    <a:pt x="36" y="2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6" y="3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6" y="22"/>
                  </a:lnTo>
                  <a:lnTo>
                    <a:pt x="43" y="14"/>
                  </a:lnTo>
                  <a:lnTo>
                    <a:pt x="40" y="11"/>
                  </a:lnTo>
                  <a:lnTo>
                    <a:pt x="36" y="8"/>
                  </a:lnTo>
                  <a:lnTo>
                    <a:pt x="32" y="7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2" y="7"/>
                  </a:lnTo>
                  <a:lnTo>
                    <a:pt x="19" y="10"/>
                  </a:lnTo>
                  <a:lnTo>
                    <a:pt x="16" y="13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6" y="22"/>
                  </a:lnTo>
                  <a:lnTo>
                    <a:pt x="19" y="25"/>
                  </a:lnTo>
                  <a:lnTo>
                    <a:pt x="22" y="29"/>
                  </a:lnTo>
                  <a:lnTo>
                    <a:pt x="27" y="33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8" y="44"/>
                  </a:lnTo>
                  <a:lnTo>
                    <a:pt x="54" y="50"/>
                  </a:lnTo>
                  <a:lnTo>
                    <a:pt x="58" y="57"/>
                  </a:lnTo>
                  <a:lnTo>
                    <a:pt x="59" y="61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71"/>
                  </a:lnTo>
                  <a:lnTo>
                    <a:pt x="57" y="76"/>
                  </a:lnTo>
                  <a:lnTo>
                    <a:pt x="54" y="81"/>
                  </a:lnTo>
                  <a:lnTo>
                    <a:pt x="51" y="84"/>
                  </a:lnTo>
                  <a:lnTo>
                    <a:pt x="46" y="87"/>
                  </a:lnTo>
                  <a:lnTo>
                    <a:pt x="41" y="89"/>
                  </a:lnTo>
                  <a:lnTo>
                    <a:pt x="36" y="91"/>
                  </a:lnTo>
                  <a:lnTo>
                    <a:pt x="31" y="92"/>
                  </a:lnTo>
                  <a:lnTo>
                    <a:pt x="31" y="92"/>
                  </a:lnTo>
                  <a:lnTo>
                    <a:pt x="24" y="91"/>
                  </a:lnTo>
                  <a:lnTo>
                    <a:pt x="18" y="88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5" y="88"/>
                  </a:lnTo>
                  <a:lnTo>
                    <a:pt x="4" y="92"/>
                  </a:lnTo>
                  <a:lnTo>
                    <a:pt x="4" y="92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4" name="Freeform 17"/>
            <p:cNvSpPr>
              <a:spLocks/>
            </p:cNvSpPr>
            <p:nvPr userDrawn="1"/>
          </p:nvSpPr>
          <p:spPr bwMode="auto">
            <a:xfrm>
              <a:off x="3460750" y="892175"/>
              <a:ext cx="144463" cy="138113"/>
            </a:xfrm>
            <a:custGeom>
              <a:avLst/>
              <a:gdLst>
                <a:gd name="T0" fmla="*/ 91 w 91"/>
                <a:gd name="T1" fmla="*/ 21 h 87"/>
                <a:gd name="T2" fmla="*/ 86 w 91"/>
                <a:gd name="T3" fmla="*/ 21 h 87"/>
                <a:gd name="T4" fmla="*/ 86 w 91"/>
                <a:gd name="T5" fmla="*/ 19 h 87"/>
                <a:gd name="T6" fmla="*/ 86 w 91"/>
                <a:gd name="T7" fmla="*/ 19 h 87"/>
                <a:gd name="T8" fmla="*/ 85 w 91"/>
                <a:gd name="T9" fmla="*/ 12 h 87"/>
                <a:gd name="T10" fmla="*/ 81 w 91"/>
                <a:gd name="T11" fmla="*/ 10 h 87"/>
                <a:gd name="T12" fmla="*/ 77 w 91"/>
                <a:gd name="T13" fmla="*/ 8 h 87"/>
                <a:gd name="T14" fmla="*/ 69 w 91"/>
                <a:gd name="T15" fmla="*/ 8 h 87"/>
                <a:gd name="T16" fmla="*/ 54 w 91"/>
                <a:gd name="T17" fmla="*/ 8 h 87"/>
                <a:gd name="T18" fmla="*/ 54 w 91"/>
                <a:gd name="T19" fmla="*/ 66 h 87"/>
                <a:gd name="T20" fmla="*/ 54 w 91"/>
                <a:gd name="T21" fmla="*/ 66 h 87"/>
                <a:gd name="T22" fmla="*/ 55 w 91"/>
                <a:gd name="T23" fmla="*/ 75 h 87"/>
                <a:gd name="T24" fmla="*/ 56 w 91"/>
                <a:gd name="T25" fmla="*/ 80 h 87"/>
                <a:gd name="T26" fmla="*/ 59 w 91"/>
                <a:gd name="T27" fmla="*/ 81 h 87"/>
                <a:gd name="T28" fmla="*/ 61 w 91"/>
                <a:gd name="T29" fmla="*/ 82 h 87"/>
                <a:gd name="T30" fmla="*/ 69 w 91"/>
                <a:gd name="T31" fmla="*/ 82 h 87"/>
                <a:gd name="T32" fmla="*/ 69 w 91"/>
                <a:gd name="T33" fmla="*/ 87 h 87"/>
                <a:gd name="T34" fmla="*/ 23 w 91"/>
                <a:gd name="T35" fmla="*/ 87 h 87"/>
                <a:gd name="T36" fmla="*/ 23 w 91"/>
                <a:gd name="T37" fmla="*/ 82 h 87"/>
                <a:gd name="T38" fmla="*/ 23 w 91"/>
                <a:gd name="T39" fmla="*/ 82 h 87"/>
                <a:gd name="T40" fmla="*/ 29 w 91"/>
                <a:gd name="T41" fmla="*/ 82 h 87"/>
                <a:gd name="T42" fmla="*/ 32 w 91"/>
                <a:gd name="T43" fmla="*/ 81 h 87"/>
                <a:gd name="T44" fmla="*/ 34 w 91"/>
                <a:gd name="T45" fmla="*/ 80 h 87"/>
                <a:gd name="T46" fmla="*/ 35 w 91"/>
                <a:gd name="T47" fmla="*/ 75 h 87"/>
                <a:gd name="T48" fmla="*/ 37 w 91"/>
                <a:gd name="T49" fmla="*/ 66 h 87"/>
                <a:gd name="T50" fmla="*/ 37 w 91"/>
                <a:gd name="T51" fmla="*/ 8 h 87"/>
                <a:gd name="T52" fmla="*/ 22 w 91"/>
                <a:gd name="T53" fmla="*/ 8 h 87"/>
                <a:gd name="T54" fmla="*/ 22 w 91"/>
                <a:gd name="T55" fmla="*/ 8 h 87"/>
                <a:gd name="T56" fmla="*/ 14 w 91"/>
                <a:gd name="T57" fmla="*/ 8 h 87"/>
                <a:gd name="T58" fmla="*/ 10 w 91"/>
                <a:gd name="T59" fmla="*/ 10 h 87"/>
                <a:gd name="T60" fmla="*/ 7 w 91"/>
                <a:gd name="T61" fmla="*/ 12 h 87"/>
                <a:gd name="T62" fmla="*/ 5 w 91"/>
                <a:gd name="T63" fmla="*/ 19 h 87"/>
                <a:gd name="T64" fmla="*/ 5 w 91"/>
                <a:gd name="T65" fmla="*/ 21 h 87"/>
                <a:gd name="T66" fmla="*/ 0 w 91"/>
                <a:gd name="T67" fmla="*/ 21 h 87"/>
                <a:gd name="T68" fmla="*/ 1 w 91"/>
                <a:gd name="T69" fmla="*/ 0 h 87"/>
                <a:gd name="T70" fmla="*/ 89 w 91"/>
                <a:gd name="T71" fmla="*/ 0 h 87"/>
                <a:gd name="T72" fmla="*/ 91 w 91"/>
                <a:gd name="T73" fmla="*/ 2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1" h="87">
                  <a:moveTo>
                    <a:pt x="91" y="21"/>
                  </a:moveTo>
                  <a:lnTo>
                    <a:pt x="86" y="21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5" y="12"/>
                  </a:lnTo>
                  <a:lnTo>
                    <a:pt x="81" y="10"/>
                  </a:lnTo>
                  <a:lnTo>
                    <a:pt x="77" y="8"/>
                  </a:lnTo>
                  <a:lnTo>
                    <a:pt x="69" y="8"/>
                  </a:lnTo>
                  <a:lnTo>
                    <a:pt x="54" y="8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5" y="75"/>
                  </a:lnTo>
                  <a:lnTo>
                    <a:pt x="56" y="80"/>
                  </a:lnTo>
                  <a:lnTo>
                    <a:pt x="59" y="81"/>
                  </a:lnTo>
                  <a:lnTo>
                    <a:pt x="61" y="82"/>
                  </a:lnTo>
                  <a:lnTo>
                    <a:pt x="69" y="82"/>
                  </a:lnTo>
                  <a:lnTo>
                    <a:pt x="69" y="87"/>
                  </a:lnTo>
                  <a:lnTo>
                    <a:pt x="23" y="87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9" y="82"/>
                  </a:lnTo>
                  <a:lnTo>
                    <a:pt x="32" y="81"/>
                  </a:lnTo>
                  <a:lnTo>
                    <a:pt x="34" y="80"/>
                  </a:lnTo>
                  <a:lnTo>
                    <a:pt x="35" y="75"/>
                  </a:lnTo>
                  <a:lnTo>
                    <a:pt x="37" y="66"/>
                  </a:lnTo>
                  <a:lnTo>
                    <a:pt x="37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14" y="8"/>
                  </a:lnTo>
                  <a:lnTo>
                    <a:pt x="10" y="10"/>
                  </a:lnTo>
                  <a:lnTo>
                    <a:pt x="7" y="12"/>
                  </a:lnTo>
                  <a:lnTo>
                    <a:pt x="5" y="19"/>
                  </a:lnTo>
                  <a:lnTo>
                    <a:pt x="5" y="21"/>
                  </a:lnTo>
                  <a:lnTo>
                    <a:pt x="0" y="21"/>
                  </a:lnTo>
                  <a:lnTo>
                    <a:pt x="1" y="0"/>
                  </a:lnTo>
                  <a:lnTo>
                    <a:pt x="89" y="0"/>
                  </a:lnTo>
                  <a:lnTo>
                    <a:pt x="91" y="21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5" name="Freeform 18"/>
            <p:cNvSpPr>
              <a:spLocks noEditPoints="1"/>
            </p:cNvSpPr>
            <p:nvPr userDrawn="1"/>
          </p:nvSpPr>
          <p:spPr bwMode="auto">
            <a:xfrm>
              <a:off x="3633788" y="889000"/>
              <a:ext cx="152400" cy="146050"/>
            </a:xfrm>
            <a:custGeom>
              <a:avLst/>
              <a:gdLst>
                <a:gd name="T0" fmla="*/ 48 w 96"/>
                <a:gd name="T1" fmla="*/ 92 h 92"/>
                <a:gd name="T2" fmla="*/ 30 w 96"/>
                <a:gd name="T3" fmla="*/ 88 h 92"/>
                <a:gd name="T4" fmla="*/ 14 w 96"/>
                <a:gd name="T5" fmla="*/ 78 h 92"/>
                <a:gd name="T6" fmla="*/ 4 w 96"/>
                <a:gd name="T7" fmla="*/ 64 h 92"/>
                <a:gd name="T8" fmla="*/ 0 w 96"/>
                <a:gd name="T9" fmla="*/ 46 h 92"/>
                <a:gd name="T10" fmla="*/ 1 w 96"/>
                <a:gd name="T11" fmla="*/ 37 h 92"/>
                <a:gd name="T12" fmla="*/ 8 w 96"/>
                <a:gd name="T13" fmla="*/ 21 h 92"/>
                <a:gd name="T14" fmla="*/ 21 w 96"/>
                <a:gd name="T15" fmla="*/ 8 h 92"/>
                <a:gd name="T16" fmla="*/ 38 w 96"/>
                <a:gd name="T17" fmla="*/ 1 h 92"/>
                <a:gd name="T18" fmla="*/ 48 w 96"/>
                <a:gd name="T19" fmla="*/ 0 h 92"/>
                <a:gd name="T20" fmla="*/ 67 w 96"/>
                <a:gd name="T21" fmla="*/ 3 h 92"/>
                <a:gd name="T22" fmla="*/ 82 w 96"/>
                <a:gd name="T23" fmla="*/ 13 h 92"/>
                <a:gd name="T24" fmla="*/ 92 w 96"/>
                <a:gd name="T25" fmla="*/ 28 h 92"/>
                <a:gd name="T26" fmla="*/ 96 w 96"/>
                <a:gd name="T27" fmla="*/ 46 h 92"/>
                <a:gd name="T28" fmla="*/ 95 w 96"/>
                <a:gd name="T29" fmla="*/ 55 h 92"/>
                <a:gd name="T30" fmla="*/ 87 w 96"/>
                <a:gd name="T31" fmla="*/ 71 h 92"/>
                <a:gd name="T32" fmla="*/ 75 w 96"/>
                <a:gd name="T33" fmla="*/ 83 h 92"/>
                <a:gd name="T34" fmla="*/ 58 w 96"/>
                <a:gd name="T35" fmla="*/ 91 h 92"/>
                <a:gd name="T36" fmla="*/ 48 w 96"/>
                <a:gd name="T37" fmla="*/ 92 h 92"/>
                <a:gd name="T38" fmla="*/ 48 w 96"/>
                <a:gd name="T39" fmla="*/ 7 h 92"/>
                <a:gd name="T40" fmla="*/ 35 w 96"/>
                <a:gd name="T41" fmla="*/ 11 h 92"/>
                <a:gd name="T42" fmla="*/ 26 w 96"/>
                <a:gd name="T43" fmla="*/ 19 h 92"/>
                <a:gd name="T44" fmla="*/ 21 w 96"/>
                <a:gd name="T45" fmla="*/ 33 h 92"/>
                <a:gd name="T46" fmla="*/ 20 w 96"/>
                <a:gd name="T47" fmla="*/ 46 h 92"/>
                <a:gd name="T48" fmla="*/ 20 w 96"/>
                <a:gd name="T49" fmla="*/ 52 h 92"/>
                <a:gd name="T50" fmla="*/ 23 w 96"/>
                <a:gd name="T51" fmla="*/ 66 h 92"/>
                <a:gd name="T52" fmla="*/ 30 w 96"/>
                <a:gd name="T53" fmla="*/ 77 h 92"/>
                <a:gd name="T54" fmla="*/ 41 w 96"/>
                <a:gd name="T55" fmla="*/ 83 h 92"/>
                <a:gd name="T56" fmla="*/ 48 w 96"/>
                <a:gd name="T57" fmla="*/ 84 h 92"/>
                <a:gd name="T58" fmla="*/ 62 w 96"/>
                <a:gd name="T59" fmla="*/ 81 h 92"/>
                <a:gd name="T60" fmla="*/ 70 w 96"/>
                <a:gd name="T61" fmla="*/ 72 h 92"/>
                <a:gd name="T62" fmla="*/ 75 w 96"/>
                <a:gd name="T63" fmla="*/ 59 h 92"/>
                <a:gd name="T64" fmla="*/ 76 w 96"/>
                <a:gd name="T65" fmla="*/ 46 h 92"/>
                <a:gd name="T66" fmla="*/ 76 w 96"/>
                <a:gd name="T67" fmla="*/ 39 h 92"/>
                <a:gd name="T68" fmla="*/ 73 w 96"/>
                <a:gd name="T69" fmla="*/ 25 h 92"/>
                <a:gd name="T70" fmla="*/ 67 w 96"/>
                <a:gd name="T71" fmla="*/ 14 h 92"/>
                <a:gd name="T72" fmla="*/ 55 w 96"/>
                <a:gd name="T73" fmla="*/ 8 h 92"/>
                <a:gd name="T74" fmla="*/ 48 w 96"/>
                <a:gd name="T75" fmla="*/ 7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" h="92">
                  <a:moveTo>
                    <a:pt x="48" y="92"/>
                  </a:moveTo>
                  <a:lnTo>
                    <a:pt x="48" y="92"/>
                  </a:lnTo>
                  <a:lnTo>
                    <a:pt x="38" y="91"/>
                  </a:lnTo>
                  <a:lnTo>
                    <a:pt x="30" y="88"/>
                  </a:lnTo>
                  <a:lnTo>
                    <a:pt x="21" y="83"/>
                  </a:lnTo>
                  <a:lnTo>
                    <a:pt x="14" y="78"/>
                  </a:lnTo>
                  <a:lnTo>
                    <a:pt x="8" y="71"/>
                  </a:lnTo>
                  <a:lnTo>
                    <a:pt x="4" y="64"/>
                  </a:lnTo>
                  <a:lnTo>
                    <a:pt x="1" y="55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1" y="37"/>
                  </a:lnTo>
                  <a:lnTo>
                    <a:pt x="4" y="28"/>
                  </a:lnTo>
                  <a:lnTo>
                    <a:pt x="8" y="21"/>
                  </a:lnTo>
                  <a:lnTo>
                    <a:pt x="14" y="13"/>
                  </a:lnTo>
                  <a:lnTo>
                    <a:pt x="21" y="8"/>
                  </a:lnTo>
                  <a:lnTo>
                    <a:pt x="30" y="3"/>
                  </a:lnTo>
                  <a:lnTo>
                    <a:pt x="38" y="1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8" y="1"/>
                  </a:lnTo>
                  <a:lnTo>
                    <a:pt x="67" y="3"/>
                  </a:lnTo>
                  <a:lnTo>
                    <a:pt x="75" y="8"/>
                  </a:lnTo>
                  <a:lnTo>
                    <a:pt x="82" y="13"/>
                  </a:lnTo>
                  <a:lnTo>
                    <a:pt x="87" y="21"/>
                  </a:lnTo>
                  <a:lnTo>
                    <a:pt x="92" y="28"/>
                  </a:lnTo>
                  <a:lnTo>
                    <a:pt x="95" y="37"/>
                  </a:lnTo>
                  <a:lnTo>
                    <a:pt x="96" y="46"/>
                  </a:lnTo>
                  <a:lnTo>
                    <a:pt x="96" y="46"/>
                  </a:lnTo>
                  <a:lnTo>
                    <a:pt x="95" y="55"/>
                  </a:lnTo>
                  <a:lnTo>
                    <a:pt x="92" y="64"/>
                  </a:lnTo>
                  <a:lnTo>
                    <a:pt x="87" y="71"/>
                  </a:lnTo>
                  <a:lnTo>
                    <a:pt x="82" y="78"/>
                  </a:lnTo>
                  <a:lnTo>
                    <a:pt x="75" y="83"/>
                  </a:lnTo>
                  <a:lnTo>
                    <a:pt x="67" y="88"/>
                  </a:lnTo>
                  <a:lnTo>
                    <a:pt x="58" y="91"/>
                  </a:lnTo>
                  <a:lnTo>
                    <a:pt x="48" y="92"/>
                  </a:lnTo>
                  <a:lnTo>
                    <a:pt x="48" y="92"/>
                  </a:lnTo>
                  <a:close/>
                  <a:moveTo>
                    <a:pt x="48" y="7"/>
                  </a:moveTo>
                  <a:lnTo>
                    <a:pt x="48" y="7"/>
                  </a:lnTo>
                  <a:lnTo>
                    <a:pt x="41" y="8"/>
                  </a:lnTo>
                  <a:lnTo>
                    <a:pt x="35" y="11"/>
                  </a:lnTo>
                  <a:lnTo>
                    <a:pt x="30" y="14"/>
                  </a:lnTo>
                  <a:lnTo>
                    <a:pt x="26" y="19"/>
                  </a:lnTo>
                  <a:lnTo>
                    <a:pt x="23" y="25"/>
                  </a:lnTo>
                  <a:lnTo>
                    <a:pt x="21" y="33"/>
                  </a:lnTo>
                  <a:lnTo>
                    <a:pt x="20" y="39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52"/>
                  </a:lnTo>
                  <a:lnTo>
                    <a:pt x="21" y="59"/>
                  </a:lnTo>
                  <a:lnTo>
                    <a:pt x="23" y="66"/>
                  </a:lnTo>
                  <a:lnTo>
                    <a:pt x="26" y="72"/>
                  </a:lnTo>
                  <a:lnTo>
                    <a:pt x="30" y="77"/>
                  </a:lnTo>
                  <a:lnTo>
                    <a:pt x="35" y="81"/>
                  </a:lnTo>
                  <a:lnTo>
                    <a:pt x="41" y="83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55" y="83"/>
                  </a:lnTo>
                  <a:lnTo>
                    <a:pt x="62" y="81"/>
                  </a:lnTo>
                  <a:lnTo>
                    <a:pt x="67" y="77"/>
                  </a:lnTo>
                  <a:lnTo>
                    <a:pt x="70" y="72"/>
                  </a:lnTo>
                  <a:lnTo>
                    <a:pt x="73" y="66"/>
                  </a:lnTo>
                  <a:lnTo>
                    <a:pt x="75" y="59"/>
                  </a:lnTo>
                  <a:lnTo>
                    <a:pt x="76" y="52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39"/>
                  </a:lnTo>
                  <a:lnTo>
                    <a:pt x="75" y="33"/>
                  </a:lnTo>
                  <a:lnTo>
                    <a:pt x="73" y="25"/>
                  </a:lnTo>
                  <a:lnTo>
                    <a:pt x="70" y="19"/>
                  </a:lnTo>
                  <a:lnTo>
                    <a:pt x="67" y="14"/>
                  </a:lnTo>
                  <a:lnTo>
                    <a:pt x="62" y="11"/>
                  </a:lnTo>
                  <a:lnTo>
                    <a:pt x="55" y="8"/>
                  </a:lnTo>
                  <a:lnTo>
                    <a:pt x="48" y="7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6" name="Freeform 19"/>
            <p:cNvSpPr>
              <a:spLocks/>
            </p:cNvSpPr>
            <p:nvPr userDrawn="1"/>
          </p:nvSpPr>
          <p:spPr bwMode="auto">
            <a:xfrm>
              <a:off x="1549400" y="1154113"/>
              <a:ext cx="90488" cy="146050"/>
            </a:xfrm>
            <a:custGeom>
              <a:avLst/>
              <a:gdLst>
                <a:gd name="T0" fmla="*/ 3 w 57"/>
                <a:gd name="T1" fmla="*/ 60 h 92"/>
                <a:gd name="T2" fmla="*/ 3 w 57"/>
                <a:gd name="T3" fmla="*/ 63 h 92"/>
                <a:gd name="T4" fmla="*/ 7 w 57"/>
                <a:gd name="T5" fmla="*/ 73 h 92"/>
                <a:gd name="T6" fmla="*/ 14 w 57"/>
                <a:gd name="T7" fmla="*/ 82 h 92"/>
                <a:gd name="T8" fmla="*/ 30 w 57"/>
                <a:gd name="T9" fmla="*/ 86 h 92"/>
                <a:gd name="T10" fmla="*/ 36 w 57"/>
                <a:gd name="T11" fmla="*/ 84 h 92"/>
                <a:gd name="T12" fmla="*/ 46 w 57"/>
                <a:gd name="T13" fmla="*/ 76 h 92"/>
                <a:gd name="T14" fmla="*/ 47 w 57"/>
                <a:gd name="T15" fmla="*/ 70 h 92"/>
                <a:gd name="T16" fmla="*/ 43 w 57"/>
                <a:gd name="T17" fmla="*/ 61 h 92"/>
                <a:gd name="T18" fmla="*/ 31 w 57"/>
                <a:gd name="T19" fmla="*/ 52 h 92"/>
                <a:gd name="T20" fmla="*/ 18 w 57"/>
                <a:gd name="T21" fmla="*/ 45 h 92"/>
                <a:gd name="T22" fmla="*/ 7 w 57"/>
                <a:gd name="T23" fmla="*/ 36 h 92"/>
                <a:gd name="T24" fmla="*/ 2 w 57"/>
                <a:gd name="T25" fmla="*/ 22 h 92"/>
                <a:gd name="T26" fmla="*/ 2 w 57"/>
                <a:gd name="T27" fmla="*/ 17 h 92"/>
                <a:gd name="T28" fmla="*/ 5 w 57"/>
                <a:gd name="T29" fmla="*/ 9 h 92"/>
                <a:gd name="T30" fmla="*/ 11 w 57"/>
                <a:gd name="T31" fmla="*/ 3 h 92"/>
                <a:gd name="T32" fmla="*/ 20 w 57"/>
                <a:gd name="T33" fmla="*/ 1 h 92"/>
                <a:gd name="T34" fmla="*/ 25 w 57"/>
                <a:gd name="T35" fmla="*/ 0 h 92"/>
                <a:gd name="T36" fmla="*/ 35 w 57"/>
                <a:gd name="T37" fmla="*/ 2 h 92"/>
                <a:gd name="T38" fmla="*/ 42 w 57"/>
                <a:gd name="T39" fmla="*/ 6 h 92"/>
                <a:gd name="T40" fmla="*/ 47 w 57"/>
                <a:gd name="T41" fmla="*/ 0 h 92"/>
                <a:gd name="T42" fmla="*/ 50 w 57"/>
                <a:gd name="T43" fmla="*/ 32 h 92"/>
                <a:gd name="T44" fmla="*/ 47 w 57"/>
                <a:gd name="T45" fmla="*/ 32 h 92"/>
                <a:gd name="T46" fmla="*/ 43 w 57"/>
                <a:gd name="T47" fmla="*/ 18 h 92"/>
                <a:gd name="T48" fmla="*/ 38 w 57"/>
                <a:gd name="T49" fmla="*/ 11 h 92"/>
                <a:gd name="T50" fmla="*/ 30 w 57"/>
                <a:gd name="T51" fmla="*/ 7 h 92"/>
                <a:gd name="T52" fmla="*/ 25 w 57"/>
                <a:gd name="T53" fmla="*/ 6 h 92"/>
                <a:gd name="T54" fmla="*/ 15 w 57"/>
                <a:gd name="T55" fmla="*/ 9 h 92"/>
                <a:gd name="T56" fmla="*/ 10 w 57"/>
                <a:gd name="T57" fmla="*/ 19 h 92"/>
                <a:gd name="T58" fmla="*/ 11 w 57"/>
                <a:gd name="T59" fmla="*/ 24 h 92"/>
                <a:gd name="T60" fmla="*/ 20 w 57"/>
                <a:gd name="T61" fmla="*/ 32 h 92"/>
                <a:gd name="T62" fmla="*/ 42 w 57"/>
                <a:gd name="T63" fmla="*/ 44 h 92"/>
                <a:gd name="T64" fmla="*/ 50 w 57"/>
                <a:gd name="T65" fmla="*/ 49 h 92"/>
                <a:gd name="T66" fmla="*/ 56 w 57"/>
                <a:gd name="T67" fmla="*/ 60 h 92"/>
                <a:gd name="T68" fmla="*/ 57 w 57"/>
                <a:gd name="T69" fmla="*/ 66 h 92"/>
                <a:gd name="T70" fmla="*/ 54 w 57"/>
                <a:gd name="T71" fmla="*/ 76 h 92"/>
                <a:gd name="T72" fmla="*/ 48 w 57"/>
                <a:gd name="T73" fmla="*/ 84 h 92"/>
                <a:gd name="T74" fmla="*/ 40 w 57"/>
                <a:gd name="T75" fmla="*/ 89 h 92"/>
                <a:gd name="T76" fmla="*/ 30 w 57"/>
                <a:gd name="T77" fmla="*/ 92 h 92"/>
                <a:gd name="T78" fmla="*/ 23 w 57"/>
                <a:gd name="T79" fmla="*/ 90 h 92"/>
                <a:gd name="T80" fmla="*/ 7 w 57"/>
                <a:gd name="T81" fmla="*/ 84 h 92"/>
                <a:gd name="T82" fmla="*/ 4 w 57"/>
                <a:gd name="T83" fmla="*/ 88 h 92"/>
                <a:gd name="T84" fmla="*/ 0 w 57"/>
                <a:gd name="T8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" h="92">
                  <a:moveTo>
                    <a:pt x="0" y="60"/>
                  </a:moveTo>
                  <a:lnTo>
                    <a:pt x="3" y="60"/>
                  </a:lnTo>
                  <a:lnTo>
                    <a:pt x="3" y="60"/>
                  </a:lnTo>
                  <a:lnTo>
                    <a:pt x="3" y="63"/>
                  </a:lnTo>
                  <a:lnTo>
                    <a:pt x="4" y="68"/>
                  </a:lnTo>
                  <a:lnTo>
                    <a:pt x="7" y="73"/>
                  </a:lnTo>
                  <a:lnTo>
                    <a:pt x="9" y="77"/>
                  </a:lnTo>
                  <a:lnTo>
                    <a:pt x="14" y="82"/>
                  </a:lnTo>
                  <a:lnTo>
                    <a:pt x="21" y="84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6" y="84"/>
                  </a:lnTo>
                  <a:lnTo>
                    <a:pt x="42" y="82"/>
                  </a:lnTo>
                  <a:lnTo>
                    <a:pt x="46" y="76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6" y="65"/>
                  </a:lnTo>
                  <a:lnTo>
                    <a:pt x="43" y="61"/>
                  </a:lnTo>
                  <a:lnTo>
                    <a:pt x="37" y="56"/>
                  </a:lnTo>
                  <a:lnTo>
                    <a:pt x="31" y="52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1" y="41"/>
                  </a:lnTo>
                  <a:lnTo>
                    <a:pt x="7" y="36"/>
                  </a:lnTo>
                  <a:lnTo>
                    <a:pt x="3" y="29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17"/>
                  </a:lnTo>
                  <a:lnTo>
                    <a:pt x="3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5" y="2"/>
                  </a:lnTo>
                  <a:lnTo>
                    <a:pt x="20" y="1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1" y="1"/>
                  </a:lnTo>
                  <a:lnTo>
                    <a:pt x="35" y="2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5" y="3"/>
                  </a:lnTo>
                  <a:lnTo>
                    <a:pt x="47" y="0"/>
                  </a:lnTo>
                  <a:lnTo>
                    <a:pt x="50" y="0"/>
                  </a:lnTo>
                  <a:lnTo>
                    <a:pt x="50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5" y="22"/>
                  </a:lnTo>
                  <a:lnTo>
                    <a:pt x="43" y="18"/>
                  </a:lnTo>
                  <a:lnTo>
                    <a:pt x="41" y="14"/>
                  </a:lnTo>
                  <a:lnTo>
                    <a:pt x="38" y="11"/>
                  </a:lnTo>
                  <a:lnTo>
                    <a:pt x="35" y="8"/>
                  </a:lnTo>
                  <a:lnTo>
                    <a:pt x="30" y="7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1" y="13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24"/>
                  </a:lnTo>
                  <a:lnTo>
                    <a:pt x="15" y="28"/>
                  </a:lnTo>
                  <a:lnTo>
                    <a:pt x="20" y="32"/>
                  </a:lnTo>
                  <a:lnTo>
                    <a:pt x="29" y="36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50" y="49"/>
                  </a:lnTo>
                  <a:lnTo>
                    <a:pt x="53" y="54"/>
                  </a:lnTo>
                  <a:lnTo>
                    <a:pt x="56" y="60"/>
                  </a:lnTo>
                  <a:lnTo>
                    <a:pt x="57" y="66"/>
                  </a:lnTo>
                  <a:lnTo>
                    <a:pt x="57" y="66"/>
                  </a:lnTo>
                  <a:lnTo>
                    <a:pt x="57" y="71"/>
                  </a:lnTo>
                  <a:lnTo>
                    <a:pt x="54" y="76"/>
                  </a:lnTo>
                  <a:lnTo>
                    <a:pt x="52" y="81"/>
                  </a:lnTo>
                  <a:lnTo>
                    <a:pt x="48" y="84"/>
                  </a:lnTo>
                  <a:lnTo>
                    <a:pt x="45" y="88"/>
                  </a:lnTo>
                  <a:lnTo>
                    <a:pt x="40" y="89"/>
                  </a:lnTo>
                  <a:lnTo>
                    <a:pt x="35" y="90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23" y="90"/>
                  </a:lnTo>
                  <a:lnTo>
                    <a:pt x="16" y="88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4" y="88"/>
                  </a:lnTo>
                  <a:lnTo>
                    <a:pt x="3" y="92"/>
                  </a:lnTo>
                  <a:lnTo>
                    <a:pt x="0" y="92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7" name="Freeform 20"/>
            <p:cNvSpPr>
              <a:spLocks/>
            </p:cNvSpPr>
            <p:nvPr userDrawn="1"/>
          </p:nvSpPr>
          <p:spPr bwMode="auto">
            <a:xfrm>
              <a:off x="1666875" y="1157288"/>
              <a:ext cx="144463" cy="138113"/>
            </a:xfrm>
            <a:custGeom>
              <a:avLst/>
              <a:gdLst>
                <a:gd name="T0" fmla="*/ 26 w 91"/>
                <a:gd name="T1" fmla="*/ 84 h 87"/>
                <a:gd name="T2" fmla="*/ 26 w 91"/>
                <a:gd name="T3" fmla="*/ 84 h 87"/>
                <a:gd name="T4" fmla="*/ 33 w 91"/>
                <a:gd name="T5" fmla="*/ 84 h 87"/>
                <a:gd name="T6" fmla="*/ 36 w 91"/>
                <a:gd name="T7" fmla="*/ 82 h 87"/>
                <a:gd name="T8" fmla="*/ 37 w 91"/>
                <a:gd name="T9" fmla="*/ 81 h 87"/>
                <a:gd name="T10" fmla="*/ 39 w 91"/>
                <a:gd name="T11" fmla="*/ 76 h 87"/>
                <a:gd name="T12" fmla="*/ 39 w 91"/>
                <a:gd name="T13" fmla="*/ 68 h 87"/>
                <a:gd name="T14" fmla="*/ 39 w 91"/>
                <a:gd name="T15" fmla="*/ 6 h 87"/>
                <a:gd name="T16" fmla="*/ 21 w 91"/>
                <a:gd name="T17" fmla="*/ 6 h 87"/>
                <a:gd name="T18" fmla="*/ 21 w 91"/>
                <a:gd name="T19" fmla="*/ 6 h 87"/>
                <a:gd name="T20" fmla="*/ 14 w 91"/>
                <a:gd name="T21" fmla="*/ 6 h 87"/>
                <a:gd name="T22" fmla="*/ 9 w 91"/>
                <a:gd name="T23" fmla="*/ 9 h 87"/>
                <a:gd name="T24" fmla="*/ 6 w 91"/>
                <a:gd name="T25" fmla="*/ 12 h 87"/>
                <a:gd name="T26" fmla="*/ 4 w 91"/>
                <a:gd name="T27" fmla="*/ 17 h 87"/>
                <a:gd name="T28" fmla="*/ 4 w 91"/>
                <a:gd name="T29" fmla="*/ 20 h 87"/>
                <a:gd name="T30" fmla="*/ 0 w 91"/>
                <a:gd name="T31" fmla="*/ 20 h 87"/>
                <a:gd name="T32" fmla="*/ 1 w 91"/>
                <a:gd name="T33" fmla="*/ 0 h 87"/>
                <a:gd name="T34" fmla="*/ 90 w 91"/>
                <a:gd name="T35" fmla="*/ 0 h 87"/>
                <a:gd name="T36" fmla="*/ 91 w 91"/>
                <a:gd name="T37" fmla="*/ 20 h 87"/>
                <a:gd name="T38" fmla="*/ 87 w 91"/>
                <a:gd name="T39" fmla="*/ 20 h 87"/>
                <a:gd name="T40" fmla="*/ 87 w 91"/>
                <a:gd name="T41" fmla="*/ 17 h 87"/>
                <a:gd name="T42" fmla="*/ 87 w 91"/>
                <a:gd name="T43" fmla="*/ 17 h 87"/>
                <a:gd name="T44" fmla="*/ 85 w 91"/>
                <a:gd name="T45" fmla="*/ 12 h 87"/>
                <a:gd name="T46" fmla="*/ 82 w 91"/>
                <a:gd name="T47" fmla="*/ 9 h 87"/>
                <a:gd name="T48" fmla="*/ 78 w 91"/>
                <a:gd name="T49" fmla="*/ 6 h 87"/>
                <a:gd name="T50" fmla="*/ 70 w 91"/>
                <a:gd name="T51" fmla="*/ 6 h 87"/>
                <a:gd name="T52" fmla="*/ 52 w 91"/>
                <a:gd name="T53" fmla="*/ 6 h 87"/>
                <a:gd name="T54" fmla="*/ 52 w 91"/>
                <a:gd name="T55" fmla="*/ 68 h 87"/>
                <a:gd name="T56" fmla="*/ 52 w 91"/>
                <a:gd name="T57" fmla="*/ 68 h 87"/>
                <a:gd name="T58" fmla="*/ 52 w 91"/>
                <a:gd name="T59" fmla="*/ 76 h 87"/>
                <a:gd name="T60" fmla="*/ 54 w 91"/>
                <a:gd name="T61" fmla="*/ 81 h 87"/>
                <a:gd name="T62" fmla="*/ 55 w 91"/>
                <a:gd name="T63" fmla="*/ 82 h 87"/>
                <a:gd name="T64" fmla="*/ 58 w 91"/>
                <a:gd name="T65" fmla="*/ 84 h 87"/>
                <a:gd name="T66" fmla="*/ 65 w 91"/>
                <a:gd name="T67" fmla="*/ 84 h 87"/>
                <a:gd name="T68" fmla="*/ 65 w 91"/>
                <a:gd name="T69" fmla="*/ 87 h 87"/>
                <a:gd name="T70" fmla="*/ 26 w 91"/>
                <a:gd name="T71" fmla="*/ 87 h 87"/>
                <a:gd name="T72" fmla="*/ 26 w 91"/>
                <a:gd name="T73" fmla="*/ 8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1" h="87">
                  <a:moveTo>
                    <a:pt x="26" y="84"/>
                  </a:moveTo>
                  <a:lnTo>
                    <a:pt x="26" y="84"/>
                  </a:lnTo>
                  <a:lnTo>
                    <a:pt x="33" y="84"/>
                  </a:lnTo>
                  <a:lnTo>
                    <a:pt x="36" y="82"/>
                  </a:lnTo>
                  <a:lnTo>
                    <a:pt x="37" y="81"/>
                  </a:lnTo>
                  <a:lnTo>
                    <a:pt x="39" y="76"/>
                  </a:lnTo>
                  <a:lnTo>
                    <a:pt x="39" y="68"/>
                  </a:lnTo>
                  <a:lnTo>
                    <a:pt x="39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14" y="6"/>
                  </a:lnTo>
                  <a:lnTo>
                    <a:pt x="9" y="9"/>
                  </a:lnTo>
                  <a:lnTo>
                    <a:pt x="6" y="12"/>
                  </a:lnTo>
                  <a:lnTo>
                    <a:pt x="4" y="17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1" y="0"/>
                  </a:lnTo>
                  <a:lnTo>
                    <a:pt x="90" y="0"/>
                  </a:lnTo>
                  <a:lnTo>
                    <a:pt x="91" y="20"/>
                  </a:lnTo>
                  <a:lnTo>
                    <a:pt x="87" y="20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5" y="12"/>
                  </a:lnTo>
                  <a:lnTo>
                    <a:pt x="82" y="9"/>
                  </a:lnTo>
                  <a:lnTo>
                    <a:pt x="78" y="6"/>
                  </a:lnTo>
                  <a:lnTo>
                    <a:pt x="70" y="6"/>
                  </a:lnTo>
                  <a:lnTo>
                    <a:pt x="52" y="6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76"/>
                  </a:lnTo>
                  <a:lnTo>
                    <a:pt x="54" y="81"/>
                  </a:lnTo>
                  <a:lnTo>
                    <a:pt x="55" y="82"/>
                  </a:lnTo>
                  <a:lnTo>
                    <a:pt x="58" y="84"/>
                  </a:lnTo>
                  <a:lnTo>
                    <a:pt x="65" y="84"/>
                  </a:lnTo>
                  <a:lnTo>
                    <a:pt x="65" y="87"/>
                  </a:lnTo>
                  <a:lnTo>
                    <a:pt x="26" y="87"/>
                  </a:lnTo>
                  <a:lnTo>
                    <a:pt x="26" y="8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8" name="Freeform 21"/>
            <p:cNvSpPr>
              <a:spLocks noEditPoints="1"/>
            </p:cNvSpPr>
            <p:nvPr userDrawn="1"/>
          </p:nvSpPr>
          <p:spPr bwMode="auto">
            <a:xfrm>
              <a:off x="1808163" y="1154113"/>
              <a:ext cx="158750" cy="141288"/>
            </a:xfrm>
            <a:custGeom>
              <a:avLst/>
              <a:gdLst>
                <a:gd name="T0" fmla="*/ 0 w 100"/>
                <a:gd name="T1" fmla="*/ 86 h 89"/>
                <a:gd name="T2" fmla="*/ 0 w 100"/>
                <a:gd name="T3" fmla="*/ 86 h 89"/>
                <a:gd name="T4" fmla="*/ 7 w 100"/>
                <a:gd name="T5" fmla="*/ 86 h 89"/>
                <a:gd name="T6" fmla="*/ 12 w 100"/>
                <a:gd name="T7" fmla="*/ 83 h 89"/>
                <a:gd name="T8" fmla="*/ 14 w 100"/>
                <a:gd name="T9" fmla="*/ 79 h 89"/>
                <a:gd name="T10" fmla="*/ 17 w 100"/>
                <a:gd name="T11" fmla="*/ 73 h 89"/>
                <a:gd name="T12" fmla="*/ 49 w 100"/>
                <a:gd name="T13" fmla="*/ 0 h 89"/>
                <a:gd name="T14" fmla="*/ 51 w 100"/>
                <a:gd name="T15" fmla="*/ 0 h 89"/>
                <a:gd name="T16" fmla="*/ 83 w 100"/>
                <a:gd name="T17" fmla="*/ 73 h 89"/>
                <a:gd name="T18" fmla="*/ 83 w 100"/>
                <a:gd name="T19" fmla="*/ 73 h 89"/>
                <a:gd name="T20" fmla="*/ 86 w 100"/>
                <a:gd name="T21" fmla="*/ 79 h 89"/>
                <a:gd name="T22" fmla="*/ 88 w 100"/>
                <a:gd name="T23" fmla="*/ 83 h 89"/>
                <a:gd name="T24" fmla="*/ 93 w 100"/>
                <a:gd name="T25" fmla="*/ 86 h 89"/>
                <a:gd name="T26" fmla="*/ 100 w 100"/>
                <a:gd name="T27" fmla="*/ 86 h 89"/>
                <a:gd name="T28" fmla="*/ 100 w 100"/>
                <a:gd name="T29" fmla="*/ 89 h 89"/>
                <a:gd name="T30" fmla="*/ 60 w 100"/>
                <a:gd name="T31" fmla="*/ 89 h 89"/>
                <a:gd name="T32" fmla="*/ 60 w 100"/>
                <a:gd name="T33" fmla="*/ 86 h 89"/>
                <a:gd name="T34" fmla="*/ 60 w 100"/>
                <a:gd name="T35" fmla="*/ 86 h 89"/>
                <a:gd name="T36" fmla="*/ 67 w 100"/>
                <a:gd name="T37" fmla="*/ 86 h 89"/>
                <a:gd name="T38" fmla="*/ 71 w 100"/>
                <a:gd name="T39" fmla="*/ 83 h 89"/>
                <a:gd name="T40" fmla="*/ 72 w 100"/>
                <a:gd name="T41" fmla="*/ 82 h 89"/>
                <a:gd name="T42" fmla="*/ 72 w 100"/>
                <a:gd name="T43" fmla="*/ 81 h 89"/>
                <a:gd name="T44" fmla="*/ 71 w 100"/>
                <a:gd name="T45" fmla="*/ 74 h 89"/>
                <a:gd name="T46" fmla="*/ 65 w 100"/>
                <a:gd name="T47" fmla="*/ 59 h 89"/>
                <a:gd name="T48" fmla="*/ 29 w 100"/>
                <a:gd name="T49" fmla="*/ 59 h 89"/>
                <a:gd name="T50" fmla="*/ 23 w 100"/>
                <a:gd name="T51" fmla="*/ 74 h 89"/>
                <a:gd name="T52" fmla="*/ 23 w 100"/>
                <a:gd name="T53" fmla="*/ 74 h 89"/>
                <a:gd name="T54" fmla="*/ 21 w 100"/>
                <a:gd name="T55" fmla="*/ 81 h 89"/>
                <a:gd name="T56" fmla="*/ 22 w 100"/>
                <a:gd name="T57" fmla="*/ 82 h 89"/>
                <a:gd name="T58" fmla="*/ 22 w 100"/>
                <a:gd name="T59" fmla="*/ 83 h 89"/>
                <a:gd name="T60" fmla="*/ 27 w 100"/>
                <a:gd name="T61" fmla="*/ 86 h 89"/>
                <a:gd name="T62" fmla="*/ 34 w 100"/>
                <a:gd name="T63" fmla="*/ 86 h 89"/>
                <a:gd name="T64" fmla="*/ 34 w 100"/>
                <a:gd name="T65" fmla="*/ 89 h 89"/>
                <a:gd name="T66" fmla="*/ 0 w 100"/>
                <a:gd name="T67" fmla="*/ 89 h 89"/>
                <a:gd name="T68" fmla="*/ 0 w 100"/>
                <a:gd name="T69" fmla="*/ 86 h 89"/>
                <a:gd name="T70" fmla="*/ 62 w 100"/>
                <a:gd name="T71" fmla="*/ 54 h 89"/>
                <a:gd name="T72" fmla="*/ 46 w 100"/>
                <a:gd name="T73" fmla="*/ 19 h 89"/>
                <a:gd name="T74" fmla="*/ 32 w 100"/>
                <a:gd name="T75" fmla="*/ 54 h 89"/>
                <a:gd name="T76" fmla="*/ 62 w 100"/>
                <a:gd name="T77" fmla="*/ 5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0" h="89">
                  <a:moveTo>
                    <a:pt x="0" y="86"/>
                  </a:moveTo>
                  <a:lnTo>
                    <a:pt x="0" y="86"/>
                  </a:lnTo>
                  <a:lnTo>
                    <a:pt x="7" y="86"/>
                  </a:lnTo>
                  <a:lnTo>
                    <a:pt x="12" y="83"/>
                  </a:lnTo>
                  <a:lnTo>
                    <a:pt x="14" y="79"/>
                  </a:lnTo>
                  <a:lnTo>
                    <a:pt x="17" y="73"/>
                  </a:lnTo>
                  <a:lnTo>
                    <a:pt x="49" y="0"/>
                  </a:lnTo>
                  <a:lnTo>
                    <a:pt x="51" y="0"/>
                  </a:lnTo>
                  <a:lnTo>
                    <a:pt x="83" y="73"/>
                  </a:lnTo>
                  <a:lnTo>
                    <a:pt x="83" y="73"/>
                  </a:lnTo>
                  <a:lnTo>
                    <a:pt x="86" y="79"/>
                  </a:lnTo>
                  <a:lnTo>
                    <a:pt x="88" y="83"/>
                  </a:lnTo>
                  <a:lnTo>
                    <a:pt x="93" y="86"/>
                  </a:lnTo>
                  <a:lnTo>
                    <a:pt x="100" y="86"/>
                  </a:lnTo>
                  <a:lnTo>
                    <a:pt x="100" y="89"/>
                  </a:lnTo>
                  <a:lnTo>
                    <a:pt x="60" y="89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7" y="86"/>
                  </a:lnTo>
                  <a:lnTo>
                    <a:pt x="71" y="83"/>
                  </a:lnTo>
                  <a:lnTo>
                    <a:pt x="72" y="82"/>
                  </a:lnTo>
                  <a:lnTo>
                    <a:pt x="72" y="81"/>
                  </a:lnTo>
                  <a:lnTo>
                    <a:pt x="71" y="74"/>
                  </a:lnTo>
                  <a:lnTo>
                    <a:pt x="65" y="59"/>
                  </a:lnTo>
                  <a:lnTo>
                    <a:pt x="29" y="59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1" y="81"/>
                  </a:lnTo>
                  <a:lnTo>
                    <a:pt x="22" y="82"/>
                  </a:lnTo>
                  <a:lnTo>
                    <a:pt x="22" y="83"/>
                  </a:lnTo>
                  <a:lnTo>
                    <a:pt x="27" y="86"/>
                  </a:lnTo>
                  <a:lnTo>
                    <a:pt x="34" y="86"/>
                  </a:lnTo>
                  <a:lnTo>
                    <a:pt x="34" y="89"/>
                  </a:lnTo>
                  <a:lnTo>
                    <a:pt x="0" y="89"/>
                  </a:lnTo>
                  <a:lnTo>
                    <a:pt x="0" y="86"/>
                  </a:lnTo>
                  <a:close/>
                  <a:moveTo>
                    <a:pt x="62" y="54"/>
                  </a:moveTo>
                  <a:lnTo>
                    <a:pt x="46" y="19"/>
                  </a:lnTo>
                  <a:lnTo>
                    <a:pt x="32" y="54"/>
                  </a:lnTo>
                  <a:lnTo>
                    <a:pt x="62" y="5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09" name="Freeform 22"/>
            <p:cNvSpPr>
              <a:spLocks/>
            </p:cNvSpPr>
            <p:nvPr userDrawn="1"/>
          </p:nvSpPr>
          <p:spPr bwMode="auto">
            <a:xfrm>
              <a:off x="1965325" y="1157288"/>
              <a:ext cx="142875" cy="138113"/>
            </a:xfrm>
            <a:custGeom>
              <a:avLst/>
              <a:gdLst>
                <a:gd name="T0" fmla="*/ 26 w 90"/>
                <a:gd name="T1" fmla="*/ 84 h 87"/>
                <a:gd name="T2" fmla="*/ 26 w 90"/>
                <a:gd name="T3" fmla="*/ 84 h 87"/>
                <a:gd name="T4" fmla="*/ 33 w 90"/>
                <a:gd name="T5" fmla="*/ 84 h 87"/>
                <a:gd name="T6" fmla="*/ 36 w 90"/>
                <a:gd name="T7" fmla="*/ 82 h 87"/>
                <a:gd name="T8" fmla="*/ 37 w 90"/>
                <a:gd name="T9" fmla="*/ 81 h 87"/>
                <a:gd name="T10" fmla="*/ 40 w 90"/>
                <a:gd name="T11" fmla="*/ 76 h 87"/>
                <a:gd name="T12" fmla="*/ 40 w 90"/>
                <a:gd name="T13" fmla="*/ 68 h 87"/>
                <a:gd name="T14" fmla="*/ 40 w 90"/>
                <a:gd name="T15" fmla="*/ 6 h 87"/>
                <a:gd name="T16" fmla="*/ 21 w 90"/>
                <a:gd name="T17" fmla="*/ 6 h 87"/>
                <a:gd name="T18" fmla="*/ 21 w 90"/>
                <a:gd name="T19" fmla="*/ 6 h 87"/>
                <a:gd name="T20" fmla="*/ 12 w 90"/>
                <a:gd name="T21" fmla="*/ 6 h 87"/>
                <a:gd name="T22" fmla="*/ 9 w 90"/>
                <a:gd name="T23" fmla="*/ 9 h 87"/>
                <a:gd name="T24" fmla="*/ 5 w 90"/>
                <a:gd name="T25" fmla="*/ 12 h 87"/>
                <a:gd name="T26" fmla="*/ 4 w 90"/>
                <a:gd name="T27" fmla="*/ 17 h 87"/>
                <a:gd name="T28" fmla="*/ 4 w 90"/>
                <a:gd name="T29" fmla="*/ 20 h 87"/>
                <a:gd name="T30" fmla="*/ 0 w 90"/>
                <a:gd name="T31" fmla="*/ 20 h 87"/>
                <a:gd name="T32" fmla="*/ 1 w 90"/>
                <a:gd name="T33" fmla="*/ 0 h 87"/>
                <a:gd name="T34" fmla="*/ 89 w 90"/>
                <a:gd name="T35" fmla="*/ 0 h 87"/>
                <a:gd name="T36" fmla="*/ 90 w 90"/>
                <a:gd name="T37" fmla="*/ 20 h 87"/>
                <a:gd name="T38" fmla="*/ 87 w 90"/>
                <a:gd name="T39" fmla="*/ 20 h 87"/>
                <a:gd name="T40" fmla="*/ 86 w 90"/>
                <a:gd name="T41" fmla="*/ 17 h 87"/>
                <a:gd name="T42" fmla="*/ 86 w 90"/>
                <a:gd name="T43" fmla="*/ 17 h 87"/>
                <a:gd name="T44" fmla="*/ 85 w 90"/>
                <a:gd name="T45" fmla="*/ 12 h 87"/>
                <a:gd name="T46" fmla="*/ 83 w 90"/>
                <a:gd name="T47" fmla="*/ 9 h 87"/>
                <a:gd name="T48" fmla="*/ 78 w 90"/>
                <a:gd name="T49" fmla="*/ 6 h 87"/>
                <a:gd name="T50" fmla="*/ 70 w 90"/>
                <a:gd name="T51" fmla="*/ 6 h 87"/>
                <a:gd name="T52" fmla="*/ 51 w 90"/>
                <a:gd name="T53" fmla="*/ 6 h 87"/>
                <a:gd name="T54" fmla="*/ 51 w 90"/>
                <a:gd name="T55" fmla="*/ 68 h 87"/>
                <a:gd name="T56" fmla="*/ 51 w 90"/>
                <a:gd name="T57" fmla="*/ 68 h 87"/>
                <a:gd name="T58" fmla="*/ 52 w 90"/>
                <a:gd name="T59" fmla="*/ 76 h 87"/>
                <a:gd name="T60" fmla="*/ 53 w 90"/>
                <a:gd name="T61" fmla="*/ 81 h 87"/>
                <a:gd name="T62" fmla="*/ 56 w 90"/>
                <a:gd name="T63" fmla="*/ 82 h 87"/>
                <a:gd name="T64" fmla="*/ 58 w 90"/>
                <a:gd name="T65" fmla="*/ 84 h 87"/>
                <a:gd name="T66" fmla="*/ 65 w 90"/>
                <a:gd name="T67" fmla="*/ 84 h 87"/>
                <a:gd name="T68" fmla="*/ 65 w 90"/>
                <a:gd name="T69" fmla="*/ 87 h 87"/>
                <a:gd name="T70" fmla="*/ 26 w 90"/>
                <a:gd name="T71" fmla="*/ 87 h 87"/>
                <a:gd name="T72" fmla="*/ 26 w 90"/>
                <a:gd name="T73" fmla="*/ 8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87">
                  <a:moveTo>
                    <a:pt x="26" y="84"/>
                  </a:moveTo>
                  <a:lnTo>
                    <a:pt x="26" y="84"/>
                  </a:lnTo>
                  <a:lnTo>
                    <a:pt x="33" y="84"/>
                  </a:lnTo>
                  <a:lnTo>
                    <a:pt x="36" y="82"/>
                  </a:lnTo>
                  <a:lnTo>
                    <a:pt x="37" y="81"/>
                  </a:lnTo>
                  <a:lnTo>
                    <a:pt x="40" y="76"/>
                  </a:lnTo>
                  <a:lnTo>
                    <a:pt x="40" y="68"/>
                  </a:lnTo>
                  <a:lnTo>
                    <a:pt x="40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12" y="6"/>
                  </a:lnTo>
                  <a:lnTo>
                    <a:pt x="9" y="9"/>
                  </a:lnTo>
                  <a:lnTo>
                    <a:pt x="5" y="12"/>
                  </a:lnTo>
                  <a:lnTo>
                    <a:pt x="4" y="17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1" y="0"/>
                  </a:lnTo>
                  <a:lnTo>
                    <a:pt x="89" y="0"/>
                  </a:lnTo>
                  <a:lnTo>
                    <a:pt x="90" y="20"/>
                  </a:lnTo>
                  <a:lnTo>
                    <a:pt x="87" y="20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5" y="12"/>
                  </a:lnTo>
                  <a:lnTo>
                    <a:pt x="83" y="9"/>
                  </a:lnTo>
                  <a:lnTo>
                    <a:pt x="78" y="6"/>
                  </a:lnTo>
                  <a:lnTo>
                    <a:pt x="70" y="6"/>
                  </a:lnTo>
                  <a:lnTo>
                    <a:pt x="51" y="6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2" y="76"/>
                  </a:lnTo>
                  <a:lnTo>
                    <a:pt x="53" y="81"/>
                  </a:lnTo>
                  <a:lnTo>
                    <a:pt x="56" y="82"/>
                  </a:lnTo>
                  <a:lnTo>
                    <a:pt x="58" y="84"/>
                  </a:lnTo>
                  <a:lnTo>
                    <a:pt x="65" y="84"/>
                  </a:lnTo>
                  <a:lnTo>
                    <a:pt x="65" y="87"/>
                  </a:lnTo>
                  <a:lnTo>
                    <a:pt x="26" y="87"/>
                  </a:lnTo>
                  <a:lnTo>
                    <a:pt x="26" y="8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10" name="Freeform 23"/>
            <p:cNvSpPr>
              <a:spLocks/>
            </p:cNvSpPr>
            <p:nvPr userDrawn="1"/>
          </p:nvSpPr>
          <p:spPr bwMode="auto">
            <a:xfrm>
              <a:off x="2139950" y="1154113"/>
              <a:ext cx="90488" cy="146050"/>
            </a:xfrm>
            <a:custGeom>
              <a:avLst/>
              <a:gdLst>
                <a:gd name="T0" fmla="*/ 3 w 57"/>
                <a:gd name="T1" fmla="*/ 60 h 92"/>
                <a:gd name="T2" fmla="*/ 3 w 57"/>
                <a:gd name="T3" fmla="*/ 63 h 92"/>
                <a:gd name="T4" fmla="*/ 6 w 57"/>
                <a:gd name="T5" fmla="*/ 73 h 92"/>
                <a:gd name="T6" fmla="*/ 14 w 57"/>
                <a:gd name="T7" fmla="*/ 82 h 92"/>
                <a:gd name="T8" fmla="*/ 29 w 57"/>
                <a:gd name="T9" fmla="*/ 86 h 92"/>
                <a:gd name="T10" fmla="*/ 36 w 57"/>
                <a:gd name="T11" fmla="*/ 84 h 92"/>
                <a:gd name="T12" fmla="*/ 46 w 57"/>
                <a:gd name="T13" fmla="*/ 76 h 92"/>
                <a:gd name="T14" fmla="*/ 48 w 57"/>
                <a:gd name="T15" fmla="*/ 70 h 92"/>
                <a:gd name="T16" fmla="*/ 43 w 57"/>
                <a:gd name="T17" fmla="*/ 61 h 92"/>
                <a:gd name="T18" fmla="*/ 32 w 57"/>
                <a:gd name="T19" fmla="*/ 52 h 92"/>
                <a:gd name="T20" fmla="*/ 17 w 57"/>
                <a:gd name="T21" fmla="*/ 45 h 92"/>
                <a:gd name="T22" fmla="*/ 6 w 57"/>
                <a:gd name="T23" fmla="*/ 36 h 92"/>
                <a:gd name="T24" fmla="*/ 1 w 57"/>
                <a:gd name="T25" fmla="*/ 22 h 92"/>
                <a:gd name="T26" fmla="*/ 2 w 57"/>
                <a:gd name="T27" fmla="*/ 17 h 92"/>
                <a:gd name="T28" fmla="*/ 5 w 57"/>
                <a:gd name="T29" fmla="*/ 9 h 92"/>
                <a:gd name="T30" fmla="*/ 12 w 57"/>
                <a:gd name="T31" fmla="*/ 3 h 92"/>
                <a:gd name="T32" fmla="*/ 20 w 57"/>
                <a:gd name="T33" fmla="*/ 1 h 92"/>
                <a:gd name="T34" fmla="*/ 25 w 57"/>
                <a:gd name="T35" fmla="*/ 0 h 92"/>
                <a:gd name="T36" fmla="*/ 35 w 57"/>
                <a:gd name="T37" fmla="*/ 2 h 92"/>
                <a:gd name="T38" fmla="*/ 43 w 57"/>
                <a:gd name="T39" fmla="*/ 6 h 92"/>
                <a:gd name="T40" fmla="*/ 46 w 57"/>
                <a:gd name="T41" fmla="*/ 0 h 92"/>
                <a:gd name="T42" fmla="*/ 50 w 57"/>
                <a:gd name="T43" fmla="*/ 32 h 92"/>
                <a:gd name="T44" fmla="*/ 46 w 57"/>
                <a:gd name="T45" fmla="*/ 32 h 92"/>
                <a:gd name="T46" fmla="*/ 44 w 57"/>
                <a:gd name="T47" fmla="*/ 18 h 92"/>
                <a:gd name="T48" fmla="*/ 39 w 57"/>
                <a:gd name="T49" fmla="*/ 11 h 92"/>
                <a:gd name="T50" fmla="*/ 30 w 57"/>
                <a:gd name="T51" fmla="*/ 7 h 92"/>
                <a:gd name="T52" fmla="*/ 24 w 57"/>
                <a:gd name="T53" fmla="*/ 6 h 92"/>
                <a:gd name="T54" fmla="*/ 14 w 57"/>
                <a:gd name="T55" fmla="*/ 9 h 92"/>
                <a:gd name="T56" fmla="*/ 11 w 57"/>
                <a:gd name="T57" fmla="*/ 19 h 92"/>
                <a:gd name="T58" fmla="*/ 12 w 57"/>
                <a:gd name="T59" fmla="*/ 24 h 92"/>
                <a:gd name="T60" fmla="*/ 20 w 57"/>
                <a:gd name="T61" fmla="*/ 32 h 92"/>
                <a:gd name="T62" fmla="*/ 41 w 57"/>
                <a:gd name="T63" fmla="*/ 44 h 92"/>
                <a:gd name="T64" fmla="*/ 49 w 57"/>
                <a:gd name="T65" fmla="*/ 49 h 92"/>
                <a:gd name="T66" fmla="*/ 56 w 57"/>
                <a:gd name="T67" fmla="*/ 60 h 92"/>
                <a:gd name="T68" fmla="*/ 57 w 57"/>
                <a:gd name="T69" fmla="*/ 66 h 92"/>
                <a:gd name="T70" fmla="*/ 55 w 57"/>
                <a:gd name="T71" fmla="*/ 76 h 92"/>
                <a:gd name="T72" fmla="*/ 49 w 57"/>
                <a:gd name="T73" fmla="*/ 84 h 92"/>
                <a:gd name="T74" fmla="*/ 40 w 57"/>
                <a:gd name="T75" fmla="*/ 89 h 92"/>
                <a:gd name="T76" fmla="*/ 29 w 57"/>
                <a:gd name="T77" fmla="*/ 92 h 92"/>
                <a:gd name="T78" fmla="*/ 22 w 57"/>
                <a:gd name="T79" fmla="*/ 90 h 92"/>
                <a:gd name="T80" fmla="*/ 7 w 57"/>
                <a:gd name="T81" fmla="*/ 84 h 92"/>
                <a:gd name="T82" fmla="*/ 5 w 57"/>
                <a:gd name="T83" fmla="*/ 88 h 92"/>
                <a:gd name="T84" fmla="*/ 0 w 57"/>
                <a:gd name="T8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" h="92">
                  <a:moveTo>
                    <a:pt x="0" y="60"/>
                  </a:moveTo>
                  <a:lnTo>
                    <a:pt x="3" y="60"/>
                  </a:lnTo>
                  <a:lnTo>
                    <a:pt x="3" y="60"/>
                  </a:lnTo>
                  <a:lnTo>
                    <a:pt x="3" y="63"/>
                  </a:lnTo>
                  <a:lnTo>
                    <a:pt x="5" y="68"/>
                  </a:lnTo>
                  <a:lnTo>
                    <a:pt x="6" y="73"/>
                  </a:lnTo>
                  <a:lnTo>
                    <a:pt x="9" y="77"/>
                  </a:lnTo>
                  <a:lnTo>
                    <a:pt x="14" y="82"/>
                  </a:lnTo>
                  <a:lnTo>
                    <a:pt x="20" y="84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36" y="84"/>
                  </a:lnTo>
                  <a:lnTo>
                    <a:pt x="43" y="82"/>
                  </a:lnTo>
                  <a:lnTo>
                    <a:pt x="46" y="76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6" y="65"/>
                  </a:lnTo>
                  <a:lnTo>
                    <a:pt x="43" y="61"/>
                  </a:lnTo>
                  <a:lnTo>
                    <a:pt x="38" y="56"/>
                  </a:lnTo>
                  <a:lnTo>
                    <a:pt x="32" y="52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1" y="41"/>
                  </a:lnTo>
                  <a:lnTo>
                    <a:pt x="6" y="36"/>
                  </a:lnTo>
                  <a:lnTo>
                    <a:pt x="2" y="29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2" y="17"/>
                  </a:lnTo>
                  <a:lnTo>
                    <a:pt x="3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2" y="3"/>
                  </a:lnTo>
                  <a:lnTo>
                    <a:pt x="16" y="2"/>
                  </a:lnTo>
                  <a:lnTo>
                    <a:pt x="20" y="1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2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5" y="3"/>
                  </a:lnTo>
                  <a:lnTo>
                    <a:pt x="46" y="0"/>
                  </a:lnTo>
                  <a:lnTo>
                    <a:pt x="50" y="0"/>
                  </a:lnTo>
                  <a:lnTo>
                    <a:pt x="50" y="32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5" y="22"/>
                  </a:lnTo>
                  <a:lnTo>
                    <a:pt x="44" y="18"/>
                  </a:lnTo>
                  <a:lnTo>
                    <a:pt x="41" y="14"/>
                  </a:lnTo>
                  <a:lnTo>
                    <a:pt x="39" y="11"/>
                  </a:lnTo>
                  <a:lnTo>
                    <a:pt x="35" y="8"/>
                  </a:lnTo>
                  <a:lnTo>
                    <a:pt x="30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19" y="7"/>
                  </a:lnTo>
                  <a:lnTo>
                    <a:pt x="14" y="9"/>
                  </a:lnTo>
                  <a:lnTo>
                    <a:pt x="12" y="13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2" y="24"/>
                  </a:lnTo>
                  <a:lnTo>
                    <a:pt x="14" y="28"/>
                  </a:lnTo>
                  <a:lnTo>
                    <a:pt x="20" y="32"/>
                  </a:lnTo>
                  <a:lnTo>
                    <a:pt x="28" y="36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9" y="49"/>
                  </a:lnTo>
                  <a:lnTo>
                    <a:pt x="54" y="54"/>
                  </a:lnTo>
                  <a:lnTo>
                    <a:pt x="56" y="60"/>
                  </a:lnTo>
                  <a:lnTo>
                    <a:pt x="57" y="66"/>
                  </a:lnTo>
                  <a:lnTo>
                    <a:pt x="57" y="66"/>
                  </a:lnTo>
                  <a:lnTo>
                    <a:pt x="56" y="71"/>
                  </a:lnTo>
                  <a:lnTo>
                    <a:pt x="55" y="76"/>
                  </a:lnTo>
                  <a:lnTo>
                    <a:pt x="52" y="81"/>
                  </a:lnTo>
                  <a:lnTo>
                    <a:pt x="49" y="84"/>
                  </a:lnTo>
                  <a:lnTo>
                    <a:pt x="45" y="88"/>
                  </a:lnTo>
                  <a:lnTo>
                    <a:pt x="40" y="89"/>
                  </a:lnTo>
                  <a:lnTo>
                    <a:pt x="35" y="90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2" y="90"/>
                  </a:lnTo>
                  <a:lnTo>
                    <a:pt x="16" y="88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5" y="88"/>
                  </a:lnTo>
                  <a:lnTo>
                    <a:pt x="3" y="92"/>
                  </a:lnTo>
                  <a:lnTo>
                    <a:pt x="0" y="92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11" name="Freeform 24"/>
            <p:cNvSpPr>
              <a:spLocks noEditPoints="1"/>
            </p:cNvSpPr>
            <p:nvPr userDrawn="1"/>
          </p:nvSpPr>
          <p:spPr bwMode="auto">
            <a:xfrm>
              <a:off x="2270125" y="1157288"/>
              <a:ext cx="133350" cy="138113"/>
            </a:xfrm>
            <a:custGeom>
              <a:avLst/>
              <a:gdLst>
                <a:gd name="T0" fmla="*/ 0 w 84"/>
                <a:gd name="T1" fmla="*/ 84 h 87"/>
                <a:gd name="T2" fmla="*/ 9 w 84"/>
                <a:gd name="T3" fmla="*/ 82 h 87"/>
                <a:gd name="T4" fmla="*/ 12 w 84"/>
                <a:gd name="T5" fmla="*/ 76 h 87"/>
                <a:gd name="T6" fmla="*/ 13 w 84"/>
                <a:gd name="T7" fmla="*/ 20 h 87"/>
                <a:gd name="T8" fmla="*/ 12 w 84"/>
                <a:gd name="T9" fmla="*/ 11 h 87"/>
                <a:gd name="T10" fmla="*/ 9 w 84"/>
                <a:gd name="T11" fmla="*/ 5 h 87"/>
                <a:gd name="T12" fmla="*/ 0 w 84"/>
                <a:gd name="T13" fmla="*/ 4 h 87"/>
                <a:gd name="T14" fmla="*/ 38 w 84"/>
                <a:gd name="T15" fmla="*/ 0 h 87"/>
                <a:gd name="T16" fmla="*/ 44 w 84"/>
                <a:gd name="T17" fmla="*/ 1 h 87"/>
                <a:gd name="T18" fmla="*/ 56 w 84"/>
                <a:gd name="T19" fmla="*/ 5 h 87"/>
                <a:gd name="T20" fmla="*/ 64 w 84"/>
                <a:gd name="T21" fmla="*/ 11 h 87"/>
                <a:gd name="T22" fmla="*/ 68 w 84"/>
                <a:gd name="T23" fmla="*/ 20 h 87"/>
                <a:gd name="T24" fmla="*/ 69 w 84"/>
                <a:gd name="T25" fmla="*/ 25 h 87"/>
                <a:gd name="T26" fmla="*/ 66 w 84"/>
                <a:gd name="T27" fmla="*/ 33 h 87"/>
                <a:gd name="T28" fmla="*/ 61 w 84"/>
                <a:gd name="T29" fmla="*/ 41 h 87"/>
                <a:gd name="T30" fmla="*/ 54 w 84"/>
                <a:gd name="T31" fmla="*/ 47 h 87"/>
                <a:gd name="T32" fmla="*/ 43 w 84"/>
                <a:gd name="T33" fmla="*/ 49 h 87"/>
                <a:gd name="T34" fmla="*/ 56 w 84"/>
                <a:gd name="T35" fmla="*/ 65 h 87"/>
                <a:gd name="T36" fmla="*/ 70 w 84"/>
                <a:gd name="T37" fmla="*/ 79 h 87"/>
                <a:gd name="T38" fmla="*/ 84 w 84"/>
                <a:gd name="T39" fmla="*/ 84 h 87"/>
                <a:gd name="T40" fmla="*/ 60 w 84"/>
                <a:gd name="T41" fmla="*/ 87 h 87"/>
                <a:gd name="T42" fmla="*/ 25 w 84"/>
                <a:gd name="T43" fmla="*/ 49 h 87"/>
                <a:gd name="T44" fmla="*/ 25 w 84"/>
                <a:gd name="T45" fmla="*/ 68 h 87"/>
                <a:gd name="T46" fmla="*/ 27 w 84"/>
                <a:gd name="T47" fmla="*/ 81 h 87"/>
                <a:gd name="T48" fmla="*/ 31 w 84"/>
                <a:gd name="T49" fmla="*/ 84 h 87"/>
                <a:gd name="T50" fmla="*/ 38 w 84"/>
                <a:gd name="T51" fmla="*/ 87 h 87"/>
                <a:gd name="T52" fmla="*/ 0 w 84"/>
                <a:gd name="T53" fmla="*/ 84 h 87"/>
                <a:gd name="T54" fmla="*/ 37 w 84"/>
                <a:gd name="T55" fmla="*/ 44 h 87"/>
                <a:gd name="T56" fmla="*/ 45 w 84"/>
                <a:gd name="T57" fmla="*/ 43 h 87"/>
                <a:gd name="T58" fmla="*/ 52 w 84"/>
                <a:gd name="T59" fmla="*/ 38 h 87"/>
                <a:gd name="T60" fmla="*/ 55 w 84"/>
                <a:gd name="T61" fmla="*/ 25 h 87"/>
                <a:gd name="T62" fmla="*/ 54 w 84"/>
                <a:gd name="T63" fmla="*/ 17 h 87"/>
                <a:gd name="T64" fmla="*/ 49 w 84"/>
                <a:gd name="T65" fmla="*/ 9 h 87"/>
                <a:gd name="T66" fmla="*/ 42 w 84"/>
                <a:gd name="T67" fmla="*/ 6 h 87"/>
                <a:gd name="T68" fmla="*/ 25 w 84"/>
                <a:gd name="T69" fmla="*/ 6 h 87"/>
                <a:gd name="T70" fmla="*/ 37 w 84"/>
                <a:gd name="T71" fmla="*/ 4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4" h="87">
                  <a:moveTo>
                    <a:pt x="0" y="84"/>
                  </a:moveTo>
                  <a:lnTo>
                    <a:pt x="0" y="84"/>
                  </a:lnTo>
                  <a:lnTo>
                    <a:pt x="6" y="84"/>
                  </a:lnTo>
                  <a:lnTo>
                    <a:pt x="9" y="82"/>
                  </a:lnTo>
                  <a:lnTo>
                    <a:pt x="11" y="81"/>
                  </a:lnTo>
                  <a:lnTo>
                    <a:pt x="12" y="76"/>
                  </a:lnTo>
                  <a:lnTo>
                    <a:pt x="13" y="68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2" y="11"/>
                  </a:lnTo>
                  <a:lnTo>
                    <a:pt x="11" y="6"/>
                  </a:lnTo>
                  <a:lnTo>
                    <a:pt x="9" y="5"/>
                  </a:lnTo>
                  <a:lnTo>
                    <a:pt x="6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4" y="1"/>
                  </a:lnTo>
                  <a:lnTo>
                    <a:pt x="50" y="3"/>
                  </a:lnTo>
                  <a:lnTo>
                    <a:pt x="56" y="5"/>
                  </a:lnTo>
                  <a:lnTo>
                    <a:pt x="60" y="7"/>
                  </a:lnTo>
                  <a:lnTo>
                    <a:pt x="64" y="11"/>
                  </a:lnTo>
                  <a:lnTo>
                    <a:pt x="66" y="16"/>
                  </a:lnTo>
                  <a:lnTo>
                    <a:pt x="68" y="20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8" y="30"/>
                  </a:lnTo>
                  <a:lnTo>
                    <a:pt x="66" y="33"/>
                  </a:lnTo>
                  <a:lnTo>
                    <a:pt x="65" y="38"/>
                  </a:lnTo>
                  <a:lnTo>
                    <a:pt x="61" y="41"/>
                  </a:lnTo>
                  <a:lnTo>
                    <a:pt x="58" y="44"/>
                  </a:lnTo>
                  <a:lnTo>
                    <a:pt x="54" y="47"/>
                  </a:lnTo>
                  <a:lnTo>
                    <a:pt x="49" y="48"/>
                  </a:lnTo>
                  <a:lnTo>
                    <a:pt x="43" y="49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64" y="72"/>
                  </a:lnTo>
                  <a:lnTo>
                    <a:pt x="70" y="79"/>
                  </a:lnTo>
                  <a:lnTo>
                    <a:pt x="77" y="82"/>
                  </a:lnTo>
                  <a:lnTo>
                    <a:pt x="84" y="84"/>
                  </a:lnTo>
                  <a:lnTo>
                    <a:pt x="84" y="87"/>
                  </a:lnTo>
                  <a:lnTo>
                    <a:pt x="60" y="87"/>
                  </a:lnTo>
                  <a:lnTo>
                    <a:pt x="32" y="49"/>
                  </a:lnTo>
                  <a:lnTo>
                    <a:pt x="25" y="49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76"/>
                  </a:lnTo>
                  <a:lnTo>
                    <a:pt x="27" y="81"/>
                  </a:lnTo>
                  <a:lnTo>
                    <a:pt x="28" y="82"/>
                  </a:lnTo>
                  <a:lnTo>
                    <a:pt x="31" y="84"/>
                  </a:lnTo>
                  <a:lnTo>
                    <a:pt x="38" y="84"/>
                  </a:lnTo>
                  <a:lnTo>
                    <a:pt x="38" y="87"/>
                  </a:lnTo>
                  <a:lnTo>
                    <a:pt x="0" y="87"/>
                  </a:lnTo>
                  <a:lnTo>
                    <a:pt x="0" y="84"/>
                  </a:lnTo>
                  <a:close/>
                  <a:moveTo>
                    <a:pt x="37" y="44"/>
                  </a:moveTo>
                  <a:lnTo>
                    <a:pt x="37" y="44"/>
                  </a:lnTo>
                  <a:lnTo>
                    <a:pt x="42" y="43"/>
                  </a:lnTo>
                  <a:lnTo>
                    <a:pt x="45" y="43"/>
                  </a:lnTo>
                  <a:lnTo>
                    <a:pt x="49" y="41"/>
                  </a:lnTo>
                  <a:lnTo>
                    <a:pt x="52" y="38"/>
                  </a:lnTo>
                  <a:lnTo>
                    <a:pt x="54" y="32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4" y="17"/>
                  </a:lnTo>
                  <a:lnTo>
                    <a:pt x="52" y="11"/>
                  </a:lnTo>
                  <a:lnTo>
                    <a:pt x="49" y="9"/>
                  </a:lnTo>
                  <a:lnTo>
                    <a:pt x="45" y="7"/>
                  </a:lnTo>
                  <a:lnTo>
                    <a:pt x="42" y="6"/>
                  </a:lnTo>
                  <a:lnTo>
                    <a:pt x="37" y="6"/>
                  </a:lnTo>
                  <a:lnTo>
                    <a:pt x="25" y="6"/>
                  </a:lnTo>
                  <a:lnTo>
                    <a:pt x="25" y="44"/>
                  </a:lnTo>
                  <a:lnTo>
                    <a:pt x="37" y="4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12" name="Freeform 25"/>
            <p:cNvSpPr>
              <a:spLocks noEditPoints="1"/>
            </p:cNvSpPr>
            <p:nvPr userDrawn="1"/>
          </p:nvSpPr>
          <p:spPr bwMode="auto">
            <a:xfrm>
              <a:off x="2409825" y="1103313"/>
              <a:ext cx="160338" cy="192088"/>
            </a:xfrm>
            <a:custGeom>
              <a:avLst/>
              <a:gdLst>
                <a:gd name="T0" fmla="*/ 0 w 101"/>
                <a:gd name="T1" fmla="*/ 118 h 121"/>
                <a:gd name="T2" fmla="*/ 13 w 101"/>
                <a:gd name="T3" fmla="*/ 115 h 121"/>
                <a:gd name="T4" fmla="*/ 18 w 101"/>
                <a:gd name="T5" fmla="*/ 105 h 121"/>
                <a:gd name="T6" fmla="*/ 52 w 101"/>
                <a:gd name="T7" fmla="*/ 32 h 121"/>
                <a:gd name="T8" fmla="*/ 84 w 101"/>
                <a:gd name="T9" fmla="*/ 105 h 121"/>
                <a:gd name="T10" fmla="*/ 89 w 101"/>
                <a:gd name="T11" fmla="*/ 115 h 121"/>
                <a:gd name="T12" fmla="*/ 101 w 101"/>
                <a:gd name="T13" fmla="*/ 118 h 121"/>
                <a:gd name="T14" fmla="*/ 61 w 101"/>
                <a:gd name="T15" fmla="*/ 121 h 121"/>
                <a:gd name="T16" fmla="*/ 61 w 101"/>
                <a:gd name="T17" fmla="*/ 118 h 121"/>
                <a:gd name="T18" fmla="*/ 72 w 101"/>
                <a:gd name="T19" fmla="*/ 115 h 121"/>
                <a:gd name="T20" fmla="*/ 73 w 101"/>
                <a:gd name="T21" fmla="*/ 113 h 121"/>
                <a:gd name="T22" fmla="*/ 66 w 101"/>
                <a:gd name="T23" fmla="*/ 91 h 121"/>
                <a:gd name="T24" fmla="*/ 24 w 101"/>
                <a:gd name="T25" fmla="*/ 106 h 121"/>
                <a:gd name="T26" fmla="*/ 21 w 101"/>
                <a:gd name="T27" fmla="*/ 113 h 121"/>
                <a:gd name="T28" fmla="*/ 23 w 101"/>
                <a:gd name="T29" fmla="*/ 115 h 121"/>
                <a:gd name="T30" fmla="*/ 35 w 101"/>
                <a:gd name="T31" fmla="*/ 118 h 121"/>
                <a:gd name="T32" fmla="*/ 0 w 101"/>
                <a:gd name="T33" fmla="*/ 121 h 121"/>
                <a:gd name="T34" fmla="*/ 63 w 101"/>
                <a:gd name="T35" fmla="*/ 86 h 121"/>
                <a:gd name="T36" fmla="*/ 32 w 101"/>
                <a:gd name="T37" fmla="*/ 86 h 121"/>
                <a:gd name="T38" fmla="*/ 39 w 101"/>
                <a:gd name="T39" fmla="*/ 12 h 121"/>
                <a:gd name="T40" fmla="*/ 40 w 101"/>
                <a:gd name="T41" fmla="*/ 7 h 121"/>
                <a:gd name="T42" fmla="*/ 46 w 101"/>
                <a:gd name="T43" fmla="*/ 1 h 121"/>
                <a:gd name="T44" fmla="*/ 51 w 101"/>
                <a:gd name="T45" fmla="*/ 0 h 121"/>
                <a:gd name="T46" fmla="*/ 58 w 101"/>
                <a:gd name="T47" fmla="*/ 3 h 121"/>
                <a:gd name="T48" fmla="*/ 62 w 101"/>
                <a:gd name="T49" fmla="*/ 12 h 121"/>
                <a:gd name="T50" fmla="*/ 62 w 101"/>
                <a:gd name="T51" fmla="*/ 17 h 121"/>
                <a:gd name="T52" fmla="*/ 55 w 101"/>
                <a:gd name="T53" fmla="*/ 23 h 121"/>
                <a:gd name="T54" fmla="*/ 51 w 101"/>
                <a:gd name="T55" fmla="*/ 24 h 121"/>
                <a:gd name="T56" fmla="*/ 42 w 101"/>
                <a:gd name="T57" fmla="*/ 21 h 121"/>
                <a:gd name="T58" fmla="*/ 39 w 101"/>
                <a:gd name="T59" fmla="*/ 12 h 121"/>
                <a:gd name="T60" fmla="*/ 57 w 101"/>
                <a:gd name="T61" fmla="*/ 12 h 121"/>
                <a:gd name="T62" fmla="*/ 57 w 101"/>
                <a:gd name="T63" fmla="*/ 10 h 121"/>
                <a:gd name="T64" fmla="*/ 53 w 101"/>
                <a:gd name="T65" fmla="*/ 6 h 121"/>
                <a:gd name="T66" fmla="*/ 51 w 101"/>
                <a:gd name="T67" fmla="*/ 6 h 121"/>
                <a:gd name="T68" fmla="*/ 46 w 101"/>
                <a:gd name="T69" fmla="*/ 7 h 121"/>
                <a:gd name="T70" fmla="*/ 43 w 101"/>
                <a:gd name="T71" fmla="*/ 12 h 121"/>
                <a:gd name="T72" fmla="*/ 45 w 101"/>
                <a:gd name="T73" fmla="*/ 14 h 121"/>
                <a:gd name="T74" fmla="*/ 47 w 101"/>
                <a:gd name="T75" fmla="*/ 18 h 121"/>
                <a:gd name="T76" fmla="*/ 51 w 101"/>
                <a:gd name="T77" fmla="*/ 18 h 121"/>
                <a:gd name="T78" fmla="*/ 55 w 101"/>
                <a:gd name="T79" fmla="*/ 17 h 121"/>
                <a:gd name="T80" fmla="*/ 57 w 101"/>
                <a:gd name="T81" fmla="*/ 1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1" h="121">
                  <a:moveTo>
                    <a:pt x="0" y="118"/>
                  </a:moveTo>
                  <a:lnTo>
                    <a:pt x="0" y="118"/>
                  </a:lnTo>
                  <a:lnTo>
                    <a:pt x="8" y="118"/>
                  </a:lnTo>
                  <a:lnTo>
                    <a:pt x="13" y="115"/>
                  </a:lnTo>
                  <a:lnTo>
                    <a:pt x="15" y="111"/>
                  </a:lnTo>
                  <a:lnTo>
                    <a:pt x="18" y="105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84" y="105"/>
                  </a:lnTo>
                  <a:lnTo>
                    <a:pt x="84" y="105"/>
                  </a:lnTo>
                  <a:lnTo>
                    <a:pt x="86" y="111"/>
                  </a:lnTo>
                  <a:lnTo>
                    <a:pt x="89" y="115"/>
                  </a:lnTo>
                  <a:lnTo>
                    <a:pt x="94" y="118"/>
                  </a:lnTo>
                  <a:lnTo>
                    <a:pt x="101" y="118"/>
                  </a:lnTo>
                  <a:lnTo>
                    <a:pt x="101" y="121"/>
                  </a:lnTo>
                  <a:lnTo>
                    <a:pt x="61" y="121"/>
                  </a:lnTo>
                  <a:lnTo>
                    <a:pt x="61" y="118"/>
                  </a:lnTo>
                  <a:lnTo>
                    <a:pt x="61" y="118"/>
                  </a:lnTo>
                  <a:lnTo>
                    <a:pt x="68" y="118"/>
                  </a:lnTo>
                  <a:lnTo>
                    <a:pt x="72" y="115"/>
                  </a:lnTo>
                  <a:lnTo>
                    <a:pt x="73" y="114"/>
                  </a:lnTo>
                  <a:lnTo>
                    <a:pt x="73" y="113"/>
                  </a:lnTo>
                  <a:lnTo>
                    <a:pt x="72" y="106"/>
                  </a:lnTo>
                  <a:lnTo>
                    <a:pt x="66" y="91"/>
                  </a:lnTo>
                  <a:lnTo>
                    <a:pt x="30" y="91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1" y="113"/>
                  </a:lnTo>
                  <a:lnTo>
                    <a:pt x="23" y="114"/>
                  </a:lnTo>
                  <a:lnTo>
                    <a:pt x="23" y="115"/>
                  </a:lnTo>
                  <a:lnTo>
                    <a:pt x="27" y="118"/>
                  </a:lnTo>
                  <a:lnTo>
                    <a:pt x="35" y="118"/>
                  </a:lnTo>
                  <a:lnTo>
                    <a:pt x="35" y="121"/>
                  </a:lnTo>
                  <a:lnTo>
                    <a:pt x="0" y="121"/>
                  </a:lnTo>
                  <a:lnTo>
                    <a:pt x="0" y="118"/>
                  </a:lnTo>
                  <a:close/>
                  <a:moveTo>
                    <a:pt x="63" y="86"/>
                  </a:moveTo>
                  <a:lnTo>
                    <a:pt x="47" y="51"/>
                  </a:lnTo>
                  <a:lnTo>
                    <a:pt x="32" y="86"/>
                  </a:lnTo>
                  <a:lnTo>
                    <a:pt x="63" y="86"/>
                  </a:lnTo>
                  <a:close/>
                  <a:moveTo>
                    <a:pt x="39" y="12"/>
                  </a:moveTo>
                  <a:lnTo>
                    <a:pt x="39" y="12"/>
                  </a:lnTo>
                  <a:lnTo>
                    <a:pt x="40" y="7"/>
                  </a:lnTo>
                  <a:lnTo>
                    <a:pt x="42" y="3"/>
                  </a:lnTo>
                  <a:lnTo>
                    <a:pt x="46" y="1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5" y="1"/>
                  </a:lnTo>
                  <a:lnTo>
                    <a:pt x="58" y="3"/>
                  </a:lnTo>
                  <a:lnTo>
                    <a:pt x="62" y="7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7"/>
                  </a:lnTo>
                  <a:lnTo>
                    <a:pt x="58" y="21"/>
                  </a:lnTo>
                  <a:lnTo>
                    <a:pt x="55" y="23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46" y="23"/>
                  </a:lnTo>
                  <a:lnTo>
                    <a:pt x="42" y="21"/>
                  </a:lnTo>
                  <a:lnTo>
                    <a:pt x="40" y="17"/>
                  </a:lnTo>
                  <a:lnTo>
                    <a:pt x="39" y="12"/>
                  </a:lnTo>
                  <a:lnTo>
                    <a:pt x="39" y="12"/>
                  </a:lnTo>
                  <a:close/>
                  <a:moveTo>
                    <a:pt x="57" y="12"/>
                  </a:moveTo>
                  <a:lnTo>
                    <a:pt x="57" y="12"/>
                  </a:lnTo>
                  <a:lnTo>
                    <a:pt x="57" y="10"/>
                  </a:lnTo>
                  <a:lnTo>
                    <a:pt x="55" y="7"/>
                  </a:lnTo>
                  <a:lnTo>
                    <a:pt x="53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47" y="6"/>
                  </a:lnTo>
                  <a:lnTo>
                    <a:pt x="46" y="7"/>
                  </a:lnTo>
                  <a:lnTo>
                    <a:pt x="45" y="10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5" y="14"/>
                  </a:lnTo>
                  <a:lnTo>
                    <a:pt x="46" y="17"/>
                  </a:lnTo>
                  <a:lnTo>
                    <a:pt x="47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3" y="18"/>
                  </a:lnTo>
                  <a:lnTo>
                    <a:pt x="55" y="17"/>
                  </a:lnTo>
                  <a:lnTo>
                    <a:pt x="57" y="14"/>
                  </a:lnTo>
                  <a:lnTo>
                    <a:pt x="57" y="12"/>
                  </a:lnTo>
                  <a:lnTo>
                    <a:pt x="57" y="12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13" name="Freeform 26"/>
            <p:cNvSpPr>
              <a:spLocks noEditPoints="1"/>
            </p:cNvSpPr>
            <p:nvPr userDrawn="1"/>
          </p:nvSpPr>
          <p:spPr bwMode="auto">
            <a:xfrm>
              <a:off x="2586038" y="1157288"/>
              <a:ext cx="141288" cy="138113"/>
            </a:xfrm>
            <a:custGeom>
              <a:avLst/>
              <a:gdLst>
                <a:gd name="T0" fmla="*/ 0 w 89"/>
                <a:gd name="T1" fmla="*/ 84 h 87"/>
                <a:gd name="T2" fmla="*/ 10 w 89"/>
                <a:gd name="T3" fmla="*/ 82 h 87"/>
                <a:gd name="T4" fmla="*/ 14 w 89"/>
                <a:gd name="T5" fmla="*/ 76 h 87"/>
                <a:gd name="T6" fmla="*/ 15 w 89"/>
                <a:gd name="T7" fmla="*/ 20 h 87"/>
                <a:gd name="T8" fmla="*/ 14 w 89"/>
                <a:gd name="T9" fmla="*/ 11 h 87"/>
                <a:gd name="T10" fmla="*/ 10 w 89"/>
                <a:gd name="T11" fmla="*/ 5 h 87"/>
                <a:gd name="T12" fmla="*/ 0 w 89"/>
                <a:gd name="T13" fmla="*/ 4 h 87"/>
                <a:gd name="T14" fmla="*/ 39 w 89"/>
                <a:gd name="T15" fmla="*/ 0 h 87"/>
                <a:gd name="T16" fmla="*/ 52 w 89"/>
                <a:gd name="T17" fmla="*/ 1 h 87"/>
                <a:gd name="T18" fmla="*/ 70 w 89"/>
                <a:gd name="T19" fmla="*/ 7 h 87"/>
                <a:gd name="T20" fmla="*/ 81 w 89"/>
                <a:gd name="T21" fmla="*/ 20 h 87"/>
                <a:gd name="T22" fmla="*/ 87 w 89"/>
                <a:gd name="T23" fmla="*/ 36 h 87"/>
                <a:gd name="T24" fmla="*/ 89 w 89"/>
                <a:gd name="T25" fmla="*/ 44 h 87"/>
                <a:gd name="T26" fmla="*/ 85 w 89"/>
                <a:gd name="T27" fmla="*/ 60 h 87"/>
                <a:gd name="T28" fmla="*/ 76 w 89"/>
                <a:gd name="T29" fmla="*/ 75 h 87"/>
                <a:gd name="T30" fmla="*/ 62 w 89"/>
                <a:gd name="T31" fmla="*/ 84 h 87"/>
                <a:gd name="T32" fmla="*/ 39 w 89"/>
                <a:gd name="T33" fmla="*/ 87 h 87"/>
                <a:gd name="T34" fmla="*/ 0 w 89"/>
                <a:gd name="T35" fmla="*/ 84 h 87"/>
                <a:gd name="T36" fmla="*/ 39 w 89"/>
                <a:gd name="T37" fmla="*/ 82 h 87"/>
                <a:gd name="T38" fmla="*/ 57 w 89"/>
                <a:gd name="T39" fmla="*/ 79 h 87"/>
                <a:gd name="T40" fmla="*/ 68 w 89"/>
                <a:gd name="T41" fmla="*/ 69 h 87"/>
                <a:gd name="T42" fmla="*/ 73 w 89"/>
                <a:gd name="T43" fmla="*/ 57 h 87"/>
                <a:gd name="T44" fmla="*/ 74 w 89"/>
                <a:gd name="T45" fmla="*/ 44 h 87"/>
                <a:gd name="T46" fmla="*/ 74 w 89"/>
                <a:gd name="T47" fmla="*/ 37 h 87"/>
                <a:gd name="T48" fmla="*/ 71 w 89"/>
                <a:gd name="T49" fmla="*/ 25 h 87"/>
                <a:gd name="T50" fmla="*/ 63 w 89"/>
                <a:gd name="T51" fmla="*/ 14 h 87"/>
                <a:gd name="T52" fmla="*/ 49 w 89"/>
                <a:gd name="T53" fmla="*/ 6 h 87"/>
                <a:gd name="T54" fmla="*/ 26 w 89"/>
                <a:gd name="T55" fmla="*/ 6 h 87"/>
                <a:gd name="T56" fmla="*/ 26 w 89"/>
                <a:gd name="T57" fmla="*/ 65 h 87"/>
                <a:gd name="T58" fmla="*/ 28 w 89"/>
                <a:gd name="T59" fmla="*/ 79 h 87"/>
                <a:gd name="T60" fmla="*/ 32 w 89"/>
                <a:gd name="T61" fmla="*/ 81 h 87"/>
                <a:gd name="T62" fmla="*/ 39 w 89"/>
                <a:gd name="T63" fmla="*/ 8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9" h="87">
                  <a:moveTo>
                    <a:pt x="0" y="84"/>
                  </a:moveTo>
                  <a:lnTo>
                    <a:pt x="0" y="84"/>
                  </a:lnTo>
                  <a:lnTo>
                    <a:pt x="7" y="84"/>
                  </a:lnTo>
                  <a:lnTo>
                    <a:pt x="10" y="82"/>
                  </a:lnTo>
                  <a:lnTo>
                    <a:pt x="12" y="81"/>
                  </a:lnTo>
                  <a:lnTo>
                    <a:pt x="14" y="76"/>
                  </a:lnTo>
                  <a:lnTo>
                    <a:pt x="15" y="68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11"/>
                  </a:lnTo>
                  <a:lnTo>
                    <a:pt x="12" y="6"/>
                  </a:lnTo>
                  <a:lnTo>
                    <a:pt x="10" y="5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52" y="1"/>
                  </a:lnTo>
                  <a:lnTo>
                    <a:pt x="62" y="4"/>
                  </a:lnTo>
                  <a:lnTo>
                    <a:pt x="70" y="7"/>
                  </a:lnTo>
                  <a:lnTo>
                    <a:pt x="76" y="14"/>
                  </a:lnTo>
                  <a:lnTo>
                    <a:pt x="81" y="20"/>
                  </a:lnTo>
                  <a:lnTo>
                    <a:pt x="85" y="27"/>
                  </a:lnTo>
                  <a:lnTo>
                    <a:pt x="87" y="36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7" y="53"/>
                  </a:lnTo>
                  <a:lnTo>
                    <a:pt x="85" y="60"/>
                  </a:lnTo>
                  <a:lnTo>
                    <a:pt x="81" y="68"/>
                  </a:lnTo>
                  <a:lnTo>
                    <a:pt x="76" y="75"/>
                  </a:lnTo>
                  <a:lnTo>
                    <a:pt x="70" y="80"/>
                  </a:lnTo>
                  <a:lnTo>
                    <a:pt x="62" y="84"/>
                  </a:lnTo>
                  <a:lnTo>
                    <a:pt x="52" y="86"/>
                  </a:lnTo>
                  <a:lnTo>
                    <a:pt x="39" y="87"/>
                  </a:lnTo>
                  <a:lnTo>
                    <a:pt x="0" y="87"/>
                  </a:lnTo>
                  <a:lnTo>
                    <a:pt x="0" y="84"/>
                  </a:lnTo>
                  <a:close/>
                  <a:moveTo>
                    <a:pt x="39" y="82"/>
                  </a:moveTo>
                  <a:lnTo>
                    <a:pt x="39" y="82"/>
                  </a:lnTo>
                  <a:lnTo>
                    <a:pt x="49" y="81"/>
                  </a:lnTo>
                  <a:lnTo>
                    <a:pt x="57" y="79"/>
                  </a:lnTo>
                  <a:lnTo>
                    <a:pt x="63" y="74"/>
                  </a:lnTo>
                  <a:lnTo>
                    <a:pt x="68" y="69"/>
                  </a:lnTo>
                  <a:lnTo>
                    <a:pt x="71" y="63"/>
                  </a:lnTo>
                  <a:lnTo>
                    <a:pt x="73" y="57"/>
                  </a:lnTo>
                  <a:lnTo>
                    <a:pt x="74" y="50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74" y="37"/>
                  </a:lnTo>
                  <a:lnTo>
                    <a:pt x="73" y="31"/>
                  </a:lnTo>
                  <a:lnTo>
                    <a:pt x="71" y="25"/>
                  </a:lnTo>
                  <a:lnTo>
                    <a:pt x="68" y="18"/>
                  </a:lnTo>
                  <a:lnTo>
                    <a:pt x="63" y="14"/>
                  </a:lnTo>
                  <a:lnTo>
                    <a:pt x="57" y="10"/>
                  </a:lnTo>
                  <a:lnTo>
                    <a:pt x="49" y="6"/>
                  </a:lnTo>
                  <a:lnTo>
                    <a:pt x="39" y="6"/>
                  </a:lnTo>
                  <a:lnTo>
                    <a:pt x="26" y="6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74"/>
                  </a:lnTo>
                  <a:lnTo>
                    <a:pt x="28" y="79"/>
                  </a:lnTo>
                  <a:lnTo>
                    <a:pt x="30" y="80"/>
                  </a:lnTo>
                  <a:lnTo>
                    <a:pt x="32" y="81"/>
                  </a:lnTo>
                  <a:lnTo>
                    <a:pt x="39" y="82"/>
                  </a:lnTo>
                  <a:lnTo>
                    <a:pt x="39" y="82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14" name="Freeform 27"/>
            <p:cNvSpPr>
              <a:spLocks/>
            </p:cNvSpPr>
            <p:nvPr userDrawn="1"/>
          </p:nvSpPr>
          <p:spPr bwMode="auto">
            <a:xfrm>
              <a:off x="2762250" y="1157288"/>
              <a:ext cx="114300" cy="138113"/>
            </a:xfrm>
            <a:custGeom>
              <a:avLst/>
              <a:gdLst>
                <a:gd name="T0" fmla="*/ 0 w 72"/>
                <a:gd name="T1" fmla="*/ 84 h 87"/>
                <a:gd name="T2" fmla="*/ 0 w 72"/>
                <a:gd name="T3" fmla="*/ 84 h 87"/>
                <a:gd name="T4" fmla="*/ 7 w 72"/>
                <a:gd name="T5" fmla="*/ 84 h 87"/>
                <a:gd name="T6" fmla="*/ 10 w 72"/>
                <a:gd name="T7" fmla="*/ 82 h 87"/>
                <a:gd name="T8" fmla="*/ 11 w 72"/>
                <a:gd name="T9" fmla="*/ 81 h 87"/>
                <a:gd name="T10" fmla="*/ 13 w 72"/>
                <a:gd name="T11" fmla="*/ 76 h 87"/>
                <a:gd name="T12" fmla="*/ 13 w 72"/>
                <a:gd name="T13" fmla="*/ 68 h 87"/>
                <a:gd name="T14" fmla="*/ 13 w 72"/>
                <a:gd name="T15" fmla="*/ 20 h 87"/>
                <a:gd name="T16" fmla="*/ 13 w 72"/>
                <a:gd name="T17" fmla="*/ 20 h 87"/>
                <a:gd name="T18" fmla="*/ 13 w 72"/>
                <a:gd name="T19" fmla="*/ 11 h 87"/>
                <a:gd name="T20" fmla="*/ 11 w 72"/>
                <a:gd name="T21" fmla="*/ 6 h 87"/>
                <a:gd name="T22" fmla="*/ 10 w 72"/>
                <a:gd name="T23" fmla="*/ 5 h 87"/>
                <a:gd name="T24" fmla="*/ 7 w 72"/>
                <a:gd name="T25" fmla="*/ 4 h 87"/>
                <a:gd name="T26" fmla="*/ 0 w 72"/>
                <a:gd name="T27" fmla="*/ 4 h 87"/>
                <a:gd name="T28" fmla="*/ 0 w 72"/>
                <a:gd name="T29" fmla="*/ 0 h 87"/>
                <a:gd name="T30" fmla="*/ 66 w 72"/>
                <a:gd name="T31" fmla="*/ 0 h 87"/>
                <a:gd name="T32" fmla="*/ 67 w 72"/>
                <a:gd name="T33" fmla="*/ 20 h 87"/>
                <a:gd name="T34" fmla="*/ 64 w 72"/>
                <a:gd name="T35" fmla="*/ 20 h 87"/>
                <a:gd name="T36" fmla="*/ 64 w 72"/>
                <a:gd name="T37" fmla="*/ 17 h 87"/>
                <a:gd name="T38" fmla="*/ 64 w 72"/>
                <a:gd name="T39" fmla="*/ 17 h 87"/>
                <a:gd name="T40" fmla="*/ 61 w 72"/>
                <a:gd name="T41" fmla="*/ 12 h 87"/>
                <a:gd name="T42" fmla="*/ 59 w 72"/>
                <a:gd name="T43" fmla="*/ 9 h 87"/>
                <a:gd name="T44" fmla="*/ 55 w 72"/>
                <a:gd name="T45" fmla="*/ 6 h 87"/>
                <a:gd name="T46" fmla="*/ 46 w 72"/>
                <a:gd name="T47" fmla="*/ 6 h 87"/>
                <a:gd name="T48" fmla="*/ 26 w 72"/>
                <a:gd name="T49" fmla="*/ 6 h 87"/>
                <a:gd name="T50" fmla="*/ 26 w 72"/>
                <a:gd name="T51" fmla="*/ 38 h 87"/>
                <a:gd name="T52" fmla="*/ 33 w 72"/>
                <a:gd name="T53" fmla="*/ 38 h 87"/>
                <a:gd name="T54" fmla="*/ 33 w 72"/>
                <a:gd name="T55" fmla="*/ 38 h 87"/>
                <a:gd name="T56" fmla="*/ 41 w 72"/>
                <a:gd name="T57" fmla="*/ 38 h 87"/>
                <a:gd name="T58" fmla="*/ 46 w 72"/>
                <a:gd name="T59" fmla="*/ 36 h 87"/>
                <a:gd name="T60" fmla="*/ 48 w 72"/>
                <a:gd name="T61" fmla="*/ 34 h 87"/>
                <a:gd name="T62" fmla="*/ 49 w 72"/>
                <a:gd name="T63" fmla="*/ 32 h 87"/>
                <a:gd name="T64" fmla="*/ 49 w 72"/>
                <a:gd name="T65" fmla="*/ 25 h 87"/>
                <a:gd name="T66" fmla="*/ 53 w 72"/>
                <a:gd name="T67" fmla="*/ 25 h 87"/>
                <a:gd name="T68" fmla="*/ 53 w 72"/>
                <a:gd name="T69" fmla="*/ 58 h 87"/>
                <a:gd name="T70" fmla="*/ 49 w 72"/>
                <a:gd name="T71" fmla="*/ 58 h 87"/>
                <a:gd name="T72" fmla="*/ 49 w 72"/>
                <a:gd name="T73" fmla="*/ 58 h 87"/>
                <a:gd name="T74" fmla="*/ 49 w 72"/>
                <a:gd name="T75" fmla="*/ 50 h 87"/>
                <a:gd name="T76" fmla="*/ 48 w 72"/>
                <a:gd name="T77" fmla="*/ 48 h 87"/>
                <a:gd name="T78" fmla="*/ 46 w 72"/>
                <a:gd name="T79" fmla="*/ 47 h 87"/>
                <a:gd name="T80" fmla="*/ 41 w 72"/>
                <a:gd name="T81" fmla="*/ 44 h 87"/>
                <a:gd name="T82" fmla="*/ 33 w 72"/>
                <a:gd name="T83" fmla="*/ 44 h 87"/>
                <a:gd name="T84" fmla="*/ 26 w 72"/>
                <a:gd name="T85" fmla="*/ 44 h 87"/>
                <a:gd name="T86" fmla="*/ 26 w 72"/>
                <a:gd name="T87" fmla="*/ 65 h 87"/>
                <a:gd name="T88" fmla="*/ 26 w 72"/>
                <a:gd name="T89" fmla="*/ 65 h 87"/>
                <a:gd name="T90" fmla="*/ 26 w 72"/>
                <a:gd name="T91" fmla="*/ 74 h 87"/>
                <a:gd name="T92" fmla="*/ 28 w 72"/>
                <a:gd name="T93" fmla="*/ 79 h 87"/>
                <a:gd name="T94" fmla="*/ 29 w 72"/>
                <a:gd name="T95" fmla="*/ 80 h 87"/>
                <a:gd name="T96" fmla="*/ 32 w 72"/>
                <a:gd name="T97" fmla="*/ 81 h 87"/>
                <a:gd name="T98" fmla="*/ 39 w 72"/>
                <a:gd name="T99" fmla="*/ 82 h 87"/>
                <a:gd name="T100" fmla="*/ 51 w 72"/>
                <a:gd name="T101" fmla="*/ 82 h 87"/>
                <a:gd name="T102" fmla="*/ 51 w 72"/>
                <a:gd name="T103" fmla="*/ 82 h 87"/>
                <a:gd name="T104" fmla="*/ 59 w 72"/>
                <a:gd name="T105" fmla="*/ 81 h 87"/>
                <a:gd name="T106" fmla="*/ 64 w 72"/>
                <a:gd name="T107" fmla="*/ 79 h 87"/>
                <a:gd name="T108" fmla="*/ 66 w 72"/>
                <a:gd name="T109" fmla="*/ 76 h 87"/>
                <a:gd name="T110" fmla="*/ 69 w 72"/>
                <a:gd name="T111" fmla="*/ 71 h 87"/>
                <a:gd name="T112" fmla="*/ 69 w 72"/>
                <a:gd name="T113" fmla="*/ 68 h 87"/>
                <a:gd name="T114" fmla="*/ 72 w 72"/>
                <a:gd name="T115" fmla="*/ 68 h 87"/>
                <a:gd name="T116" fmla="*/ 71 w 72"/>
                <a:gd name="T117" fmla="*/ 87 h 87"/>
                <a:gd name="T118" fmla="*/ 0 w 72"/>
                <a:gd name="T119" fmla="*/ 87 h 87"/>
                <a:gd name="T120" fmla="*/ 0 w 72"/>
                <a:gd name="T121" fmla="*/ 8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2" h="87">
                  <a:moveTo>
                    <a:pt x="0" y="84"/>
                  </a:moveTo>
                  <a:lnTo>
                    <a:pt x="0" y="84"/>
                  </a:lnTo>
                  <a:lnTo>
                    <a:pt x="7" y="84"/>
                  </a:lnTo>
                  <a:lnTo>
                    <a:pt x="10" y="82"/>
                  </a:lnTo>
                  <a:lnTo>
                    <a:pt x="11" y="81"/>
                  </a:lnTo>
                  <a:lnTo>
                    <a:pt x="13" y="76"/>
                  </a:lnTo>
                  <a:lnTo>
                    <a:pt x="13" y="68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11"/>
                  </a:lnTo>
                  <a:lnTo>
                    <a:pt x="11" y="6"/>
                  </a:lnTo>
                  <a:lnTo>
                    <a:pt x="10" y="5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66" y="0"/>
                  </a:lnTo>
                  <a:lnTo>
                    <a:pt x="67" y="20"/>
                  </a:lnTo>
                  <a:lnTo>
                    <a:pt x="64" y="20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1" y="12"/>
                  </a:lnTo>
                  <a:lnTo>
                    <a:pt x="59" y="9"/>
                  </a:lnTo>
                  <a:lnTo>
                    <a:pt x="55" y="6"/>
                  </a:lnTo>
                  <a:lnTo>
                    <a:pt x="46" y="6"/>
                  </a:lnTo>
                  <a:lnTo>
                    <a:pt x="26" y="6"/>
                  </a:lnTo>
                  <a:lnTo>
                    <a:pt x="26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41" y="38"/>
                  </a:lnTo>
                  <a:lnTo>
                    <a:pt x="46" y="36"/>
                  </a:lnTo>
                  <a:lnTo>
                    <a:pt x="48" y="34"/>
                  </a:lnTo>
                  <a:lnTo>
                    <a:pt x="49" y="32"/>
                  </a:lnTo>
                  <a:lnTo>
                    <a:pt x="49" y="25"/>
                  </a:lnTo>
                  <a:lnTo>
                    <a:pt x="53" y="25"/>
                  </a:lnTo>
                  <a:lnTo>
                    <a:pt x="53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0"/>
                  </a:lnTo>
                  <a:lnTo>
                    <a:pt x="48" y="48"/>
                  </a:lnTo>
                  <a:lnTo>
                    <a:pt x="46" y="47"/>
                  </a:lnTo>
                  <a:lnTo>
                    <a:pt x="41" y="44"/>
                  </a:lnTo>
                  <a:lnTo>
                    <a:pt x="33" y="44"/>
                  </a:lnTo>
                  <a:lnTo>
                    <a:pt x="26" y="44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74"/>
                  </a:lnTo>
                  <a:lnTo>
                    <a:pt x="28" y="79"/>
                  </a:lnTo>
                  <a:lnTo>
                    <a:pt x="29" y="80"/>
                  </a:lnTo>
                  <a:lnTo>
                    <a:pt x="32" y="81"/>
                  </a:lnTo>
                  <a:lnTo>
                    <a:pt x="39" y="82"/>
                  </a:lnTo>
                  <a:lnTo>
                    <a:pt x="51" y="82"/>
                  </a:lnTo>
                  <a:lnTo>
                    <a:pt x="51" y="82"/>
                  </a:lnTo>
                  <a:lnTo>
                    <a:pt x="59" y="81"/>
                  </a:lnTo>
                  <a:lnTo>
                    <a:pt x="64" y="79"/>
                  </a:lnTo>
                  <a:lnTo>
                    <a:pt x="66" y="76"/>
                  </a:lnTo>
                  <a:lnTo>
                    <a:pt x="69" y="71"/>
                  </a:lnTo>
                  <a:lnTo>
                    <a:pt x="69" y="68"/>
                  </a:lnTo>
                  <a:lnTo>
                    <a:pt x="72" y="68"/>
                  </a:lnTo>
                  <a:lnTo>
                    <a:pt x="71" y="87"/>
                  </a:lnTo>
                  <a:lnTo>
                    <a:pt x="0" y="87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15" name="Freeform 28"/>
            <p:cNvSpPr>
              <a:spLocks/>
            </p:cNvSpPr>
            <p:nvPr userDrawn="1"/>
          </p:nvSpPr>
          <p:spPr bwMode="auto">
            <a:xfrm>
              <a:off x="2906713" y="1157288"/>
              <a:ext cx="141288" cy="138113"/>
            </a:xfrm>
            <a:custGeom>
              <a:avLst/>
              <a:gdLst>
                <a:gd name="T0" fmla="*/ 25 w 89"/>
                <a:gd name="T1" fmla="*/ 84 h 87"/>
                <a:gd name="T2" fmla="*/ 25 w 89"/>
                <a:gd name="T3" fmla="*/ 84 h 87"/>
                <a:gd name="T4" fmla="*/ 32 w 89"/>
                <a:gd name="T5" fmla="*/ 84 h 87"/>
                <a:gd name="T6" fmla="*/ 34 w 89"/>
                <a:gd name="T7" fmla="*/ 82 h 87"/>
                <a:gd name="T8" fmla="*/ 37 w 89"/>
                <a:gd name="T9" fmla="*/ 81 h 87"/>
                <a:gd name="T10" fmla="*/ 38 w 89"/>
                <a:gd name="T11" fmla="*/ 76 h 87"/>
                <a:gd name="T12" fmla="*/ 39 w 89"/>
                <a:gd name="T13" fmla="*/ 68 h 87"/>
                <a:gd name="T14" fmla="*/ 39 w 89"/>
                <a:gd name="T15" fmla="*/ 6 h 87"/>
                <a:gd name="T16" fmla="*/ 21 w 89"/>
                <a:gd name="T17" fmla="*/ 6 h 87"/>
                <a:gd name="T18" fmla="*/ 21 w 89"/>
                <a:gd name="T19" fmla="*/ 6 h 87"/>
                <a:gd name="T20" fmla="*/ 12 w 89"/>
                <a:gd name="T21" fmla="*/ 6 h 87"/>
                <a:gd name="T22" fmla="*/ 7 w 89"/>
                <a:gd name="T23" fmla="*/ 9 h 87"/>
                <a:gd name="T24" fmla="*/ 5 w 89"/>
                <a:gd name="T25" fmla="*/ 12 h 87"/>
                <a:gd name="T26" fmla="*/ 3 w 89"/>
                <a:gd name="T27" fmla="*/ 17 h 87"/>
                <a:gd name="T28" fmla="*/ 2 w 89"/>
                <a:gd name="T29" fmla="*/ 20 h 87"/>
                <a:gd name="T30" fmla="*/ 0 w 89"/>
                <a:gd name="T31" fmla="*/ 20 h 87"/>
                <a:gd name="T32" fmla="*/ 1 w 89"/>
                <a:gd name="T33" fmla="*/ 0 h 87"/>
                <a:gd name="T34" fmla="*/ 88 w 89"/>
                <a:gd name="T35" fmla="*/ 0 h 87"/>
                <a:gd name="T36" fmla="*/ 89 w 89"/>
                <a:gd name="T37" fmla="*/ 20 h 87"/>
                <a:gd name="T38" fmla="*/ 87 w 89"/>
                <a:gd name="T39" fmla="*/ 20 h 87"/>
                <a:gd name="T40" fmla="*/ 86 w 89"/>
                <a:gd name="T41" fmla="*/ 17 h 87"/>
                <a:gd name="T42" fmla="*/ 86 w 89"/>
                <a:gd name="T43" fmla="*/ 17 h 87"/>
                <a:gd name="T44" fmla="*/ 84 w 89"/>
                <a:gd name="T45" fmla="*/ 12 h 87"/>
                <a:gd name="T46" fmla="*/ 82 w 89"/>
                <a:gd name="T47" fmla="*/ 9 h 87"/>
                <a:gd name="T48" fmla="*/ 77 w 89"/>
                <a:gd name="T49" fmla="*/ 6 h 87"/>
                <a:gd name="T50" fmla="*/ 70 w 89"/>
                <a:gd name="T51" fmla="*/ 6 h 87"/>
                <a:gd name="T52" fmla="*/ 50 w 89"/>
                <a:gd name="T53" fmla="*/ 6 h 87"/>
                <a:gd name="T54" fmla="*/ 50 w 89"/>
                <a:gd name="T55" fmla="*/ 68 h 87"/>
                <a:gd name="T56" fmla="*/ 50 w 89"/>
                <a:gd name="T57" fmla="*/ 68 h 87"/>
                <a:gd name="T58" fmla="*/ 51 w 89"/>
                <a:gd name="T59" fmla="*/ 76 h 87"/>
                <a:gd name="T60" fmla="*/ 53 w 89"/>
                <a:gd name="T61" fmla="*/ 81 h 87"/>
                <a:gd name="T62" fmla="*/ 55 w 89"/>
                <a:gd name="T63" fmla="*/ 82 h 87"/>
                <a:gd name="T64" fmla="*/ 57 w 89"/>
                <a:gd name="T65" fmla="*/ 84 h 87"/>
                <a:gd name="T66" fmla="*/ 65 w 89"/>
                <a:gd name="T67" fmla="*/ 84 h 87"/>
                <a:gd name="T68" fmla="*/ 65 w 89"/>
                <a:gd name="T69" fmla="*/ 87 h 87"/>
                <a:gd name="T70" fmla="*/ 25 w 89"/>
                <a:gd name="T71" fmla="*/ 87 h 87"/>
                <a:gd name="T72" fmla="*/ 25 w 89"/>
                <a:gd name="T73" fmla="*/ 8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9" h="87">
                  <a:moveTo>
                    <a:pt x="25" y="84"/>
                  </a:moveTo>
                  <a:lnTo>
                    <a:pt x="25" y="84"/>
                  </a:lnTo>
                  <a:lnTo>
                    <a:pt x="32" y="84"/>
                  </a:lnTo>
                  <a:lnTo>
                    <a:pt x="34" y="82"/>
                  </a:lnTo>
                  <a:lnTo>
                    <a:pt x="37" y="81"/>
                  </a:lnTo>
                  <a:lnTo>
                    <a:pt x="38" y="76"/>
                  </a:lnTo>
                  <a:lnTo>
                    <a:pt x="39" y="68"/>
                  </a:lnTo>
                  <a:lnTo>
                    <a:pt x="39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12" y="6"/>
                  </a:lnTo>
                  <a:lnTo>
                    <a:pt x="7" y="9"/>
                  </a:lnTo>
                  <a:lnTo>
                    <a:pt x="5" y="12"/>
                  </a:lnTo>
                  <a:lnTo>
                    <a:pt x="3" y="17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1" y="0"/>
                  </a:lnTo>
                  <a:lnTo>
                    <a:pt x="88" y="0"/>
                  </a:lnTo>
                  <a:lnTo>
                    <a:pt x="89" y="20"/>
                  </a:lnTo>
                  <a:lnTo>
                    <a:pt x="87" y="20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4" y="12"/>
                  </a:lnTo>
                  <a:lnTo>
                    <a:pt x="82" y="9"/>
                  </a:lnTo>
                  <a:lnTo>
                    <a:pt x="77" y="6"/>
                  </a:lnTo>
                  <a:lnTo>
                    <a:pt x="70" y="6"/>
                  </a:lnTo>
                  <a:lnTo>
                    <a:pt x="50" y="6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1" y="76"/>
                  </a:lnTo>
                  <a:lnTo>
                    <a:pt x="53" y="81"/>
                  </a:lnTo>
                  <a:lnTo>
                    <a:pt x="55" y="82"/>
                  </a:lnTo>
                  <a:lnTo>
                    <a:pt x="57" y="84"/>
                  </a:lnTo>
                  <a:lnTo>
                    <a:pt x="65" y="84"/>
                  </a:lnTo>
                  <a:lnTo>
                    <a:pt x="65" y="87"/>
                  </a:lnTo>
                  <a:lnTo>
                    <a:pt x="25" y="87"/>
                  </a:lnTo>
                  <a:lnTo>
                    <a:pt x="25" y="8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16" name="Freeform 29"/>
            <p:cNvSpPr>
              <a:spLocks noEditPoints="1"/>
            </p:cNvSpPr>
            <p:nvPr userDrawn="1"/>
          </p:nvSpPr>
          <p:spPr bwMode="auto">
            <a:xfrm>
              <a:off x="695325" y="625475"/>
              <a:ext cx="661988" cy="900113"/>
            </a:xfrm>
            <a:custGeom>
              <a:avLst/>
              <a:gdLst>
                <a:gd name="T0" fmla="*/ 325 w 417"/>
                <a:gd name="T1" fmla="*/ 531 h 567"/>
                <a:gd name="T2" fmla="*/ 124 w 417"/>
                <a:gd name="T3" fmla="*/ 506 h 567"/>
                <a:gd name="T4" fmla="*/ 214 w 417"/>
                <a:gd name="T5" fmla="*/ 335 h 567"/>
                <a:gd name="T6" fmla="*/ 194 w 417"/>
                <a:gd name="T7" fmla="*/ 374 h 567"/>
                <a:gd name="T8" fmla="*/ 80 w 417"/>
                <a:gd name="T9" fmla="*/ 400 h 567"/>
                <a:gd name="T10" fmla="*/ 74 w 417"/>
                <a:gd name="T11" fmla="*/ 419 h 567"/>
                <a:gd name="T12" fmla="*/ 112 w 417"/>
                <a:gd name="T13" fmla="*/ 441 h 567"/>
                <a:gd name="T14" fmla="*/ 93 w 417"/>
                <a:gd name="T15" fmla="*/ 468 h 567"/>
                <a:gd name="T16" fmla="*/ 138 w 417"/>
                <a:gd name="T17" fmla="*/ 471 h 567"/>
                <a:gd name="T18" fmla="*/ 182 w 417"/>
                <a:gd name="T19" fmla="*/ 427 h 567"/>
                <a:gd name="T20" fmla="*/ 247 w 417"/>
                <a:gd name="T21" fmla="*/ 412 h 567"/>
                <a:gd name="T22" fmla="*/ 28 w 417"/>
                <a:gd name="T23" fmla="*/ 496 h 567"/>
                <a:gd name="T24" fmla="*/ 91 w 417"/>
                <a:gd name="T25" fmla="*/ 547 h 567"/>
                <a:gd name="T26" fmla="*/ 122 w 417"/>
                <a:gd name="T27" fmla="*/ 518 h 567"/>
                <a:gd name="T28" fmla="*/ 119 w 417"/>
                <a:gd name="T29" fmla="*/ 481 h 567"/>
                <a:gd name="T30" fmla="*/ 33 w 417"/>
                <a:gd name="T31" fmla="*/ 476 h 567"/>
                <a:gd name="T32" fmla="*/ 92 w 417"/>
                <a:gd name="T33" fmla="*/ 71 h 567"/>
                <a:gd name="T34" fmla="*/ 58 w 417"/>
                <a:gd name="T35" fmla="*/ 45 h 567"/>
                <a:gd name="T36" fmla="*/ 77 w 417"/>
                <a:gd name="T37" fmla="*/ 80 h 567"/>
                <a:gd name="T38" fmla="*/ 103 w 417"/>
                <a:gd name="T39" fmla="*/ 48 h 567"/>
                <a:gd name="T40" fmla="*/ 63 w 417"/>
                <a:gd name="T41" fmla="*/ 110 h 567"/>
                <a:gd name="T42" fmla="*/ 118 w 417"/>
                <a:gd name="T43" fmla="*/ 223 h 567"/>
                <a:gd name="T44" fmla="*/ 109 w 417"/>
                <a:gd name="T45" fmla="*/ 74 h 567"/>
                <a:gd name="T46" fmla="*/ 140 w 417"/>
                <a:gd name="T47" fmla="*/ 54 h 567"/>
                <a:gd name="T48" fmla="*/ 284 w 417"/>
                <a:gd name="T49" fmla="*/ 42 h 567"/>
                <a:gd name="T50" fmla="*/ 251 w 417"/>
                <a:gd name="T51" fmla="*/ 47 h 567"/>
                <a:gd name="T52" fmla="*/ 235 w 417"/>
                <a:gd name="T53" fmla="*/ 26 h 567"/>
                <a:gd name="T54" fmla="*/ 202 w 417"/>
                <a:gd name="T55" fmla="*/ 28 h 567"/>
                <a:gd name="T56" fmla="*/ 238 w 417"/>
                <a:gd name="T57" fmla="*/ 55 h 567"/>
                <a:gd name="T58" fmla="*/ 312 w 417"/>
                <a:gd name="T59" fmla="*/ 144 h 567"/>
                <a:gd name="T60" fmla="*/ 365 w 417"/>
                <a:gd name="T61" fmla="*/ 110 h 567"/>
                <a:gd name="T62" fmla="*/ 177 w 417"/>
                <a:gd name="T63" fmla="*/ 90 h 567"/>
                <a:gd name="T64" fmla="*/ 371 w 417"/>
                <a:gd name="T65" fmla="*/ 191 h 567"/>
                <a:gd name="T66" fmla="*/ 311 w 417"/>
                <a:gd name="T67" fmla="*/ 107 h 567"/>
                <a:gd name="T68" fmla="*/ 313 w 417"/>
                <a:gd name="T69" fmla="*/ 257 h 567"/>
                <a:gd name="T70" fmla="*/ 343 w 417"/>
                <a:gd name="T71" fmla="*/ 196 h 567"/>
                <a:gd name="T72" fmla="*/ 348 w 417"/>
                <a:gd name="T73" fmla="*/ 287 h 567"/>
                <a:gd name="T74" fmla="*/ 256 w 417"/>
                <a:gd name="T75" fmla="*/ 179 h 567"/>
                <a:gd name="T76" fmla="*/ 278 w 417"/>
                <a:gd name="T77" fmla="*/ 139 h 567"/>
                <a:gd name="T78" fmla="*/ 235 w 417"/>
                <a:gd name="T79" fmla="*/ 61 h 567"/>
                <a:gd name="T80" fmla="*/ 151 w 417"/>
                <a:gd name="T81" fmla="*/ 117 h 567"/>
                <a:gd name="T82" fmla="*/ 195 w 417"/>
                <a:gd name="T83" fmla="*/ 125 h 567"/>
                <a:gd name="T84" fmla="*/ 135 w 417"/>
                <a:gd name="T85" fmla="*/ 144 h 567"/>
                <a:gd name="T86" fmla="*/ 168 w 417"/>
                <a:gd name="T87" fmla="*/ 141 h 567"/>
                <a:gd name="T88" fmla="*/ 176 w 417"/>
                <a:gd name="T89" fmla="*/ 191 h 567"/>
                <a:gd name="T90" fmla="*/ 16 w 417"/>
                <a:gd name="T91" fmla="*/ 231 h 567"/>
                <a:gd name="T92" fmla="*/ 15 w 417"/>
                <a:gd name="T93" fmla="*/ 245 h 567"/>
                <a:gd name="T94" fmla="*/ 47 w 417"/>
                <a:gd name="T95" fmla="*/ 266 h 567"/>
                <a:gd name="T96" fmla="*/ 53 w 417"/>
                <a:gd name="T97" fmla="*/ 284 h 567"/>
                <a:gd name="T98" fmla="*/ 87 w 417"/>
                <a:gd name="T99" fmla="*/ 286 h 567"/>
                <a:gd name="T100" fmla="*/ 172 w 417"/>
                <a:gd name="T101" fmla="*/ 263 h 567"/>
                <a:gd name="T102" fmla="*/ 301 w 417"/>
                <a:gd name="T103" fmla="*/ 330 h 567"/>
                <a:gd name="T104" fmla="*/ 318 w 417"/>
                <a:gd name="T105" fmla="*/ 421 h 567"/>
                <a:gd name="T106" fmla="*/ 332 w 417"/>
                <a:gd name="T107" fmla="*/ 468 h 567"/>
                <a:gd name="T108" fmla="*/ 348 w 417"/>
                <a:gd name="T109" fmla="*/ 492 h 567"/>
                <a:gd name="T110" fmla="*/ 325 w 417"/>
                <a:gd name="T111" fmla="*/ 519 h 567"/>
                <a:gd name="T112" fmla="*/ 352 w 417"/>
                <a:gd name="T113" fmla="*/ 535 h 567"/>
                <a:gd name="T114" fmla="*/ 386 w 417"/>
                <a:gd name="T115" fmla="*/ 504 h 567"/>
                <a:gd name="T116" fmla="*/ 392 w 417"/>
                <a:gd name="T117" fmla="*/ 461 h 567"/>
                <a:gd name="T118" fmla="*/ 404 w 417"/>
                <a:gd name="T119" fmla="*/ 400 h 567"/>
                <a:gd name="T120" fmla="*/ 370 w 417"/>
                <a:gd name="T121" fmla="*/ 365 h 567"/>
                <a:gd name="T122" fmla="*/ 390 w 417"/>
                <a:gd name="T123" fmla="*/ 292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7" h="567">
                  <a:moveTo>
                    <a:pt x="114" y="529"/>
                  </a:moveTo>
                  <a:lnTo>
                    <a:pt x="114" y="529"/>
                  </a:lnTo>
                  <a:lnTo>
                    <a:pt x="128" y="539"/>
                  </a:lnTo>
                  <a:lnTo>
                    <a:pt x="140" y="546"/>
                  </a:lnTo>
                  <a:lnTo>
                    <a:pt x="140" y="546"/>
                  </a:lnTo>
                  <a:lnTo>
                    <a:pt x="161" y="554"/>
                  </a:lnTo>
                  <a:lnTo>
                    <a:pt x="175" y="558"/>
                  </a:lnTo>
                  <a:lnTo>
                    <a:pt x="189" y="562"/>
                  </a:lnTo>
                  <a:lnTo>
                    <a:pt x="207" y="565"/>
                  </a:lnTo>
                  <a:lnTo>
                    <a:pt x="225" y="567"/>
                  </a:lnTo>
                  <a:lnTo>
                    <a:pt x="245" y="567"/>
                  </a:lnTo>
                  <a:lnTo>
                    <a:pt x="267" y="566"/>
                  </a:lnTo>
                  <a:lnTo>
                    <a:pt x="267" y="566"/>
                  </a:lnTo>
                  <a:lnTo>
                    <a:pt x="286" y="563"/>
                  </a:lnTo>
                  <a:lnTo>
                    <a:pt x="302" y="560"/>
                  </a:lnTo>
                  <a:lnTo>
                    <a:pt x="317" y="556"/>
                  </a:lnTo>
                  <a:lnTo>
                    <a:pt x="328" y="552"/>
                  </a:lnTo>
                  <a:lnTo>
                    <a:pt x="344" y="544"/>
                  </a:lnTo>
                  <a:lnTo>
                    <a:pt x="349" y="541"/>
                  </a:lnTo>
                  <a:lnTo>
                    <a:pt x="349" y="541"/>
                  </a:lnTo>
                  <a:lnTo>
                    <a:pt x="342" y="539"/>
                  </a:lnTo>
                  <a:lnTo>
                    <a:pt x="336" y="535"/>
                  </a:lnTo>
                  <a:lnTo>
                    <a:pt x="326" y="527"/>
                  </a:lnTo>
                  <a:lnTo>
                    <a:pt x="326" y="527"/>
                  </a:lnTo>
                  <a:lnTo>
                    <a:pt x="325" y="531"/>
                  </a:lnTo>
                  <a:lnTo>
                    <a:pt x="325" y="531"/>
                  </a:lnTo>
                  <a:lnTo>
                    <a:pt x="323" y="540"/>
                  </a:lnTo>
                  <a:lnTo>
                    <a:pt x="323" y="540"/>
                  </a:lnTo>
                  <a:lnTo>
                    <a:pt x="318" y="539"/>
                  </a:lnTo>
                  <a:lnTo>
                    <a:pt x="318" y="539"/>
                  </a:lnTo>
                  <a:lnTo>
                    <a:pt x="315" y="536"/>
                  </a:lnTo>
                  <a:lnTo>
                    <a:pt x="311" y="533"/>
                  </a:lnTo>
                  <a:lnTo>
                    <a:pt x="309" y="528"/>
                  </a:lnTo>
                  <a:lnTo>
                    <a:pt x="307" y="522"/>
                  </a:lnTo>
                  <a:lnTo>
                    <a:pt x="307" y="522"/>
                  </a:lnTo>
                  <a:lnTo>
                    <a:pt x="307" y="520"/>
                  </a:lnTo>
                  <a:lnTo>
                    <a:pt x="307" y="520"/>
                  </a:lnTo>
                  <a:lnTo>
                    <a:pt x="297" y="524"/>
                  </a:lnTo>
                  <a:lnTo>
                    <a:pt x="284" y="528"/>
                  </a:lnTo>
                  <a:lnTo>
                    <a:pt x="268" y="531"/>
                  </a:lnTo>
                  <a:lnTo>
                    <a:pt x="252" y="533"/>
                  </a:lnTo>
                  <a:lnTo>
                    <a:pt x="252" y="533"/>
                  </a:lnTo>
                  <a:lnTo>
                    <a:pt x="222" y="531"/>
                  </a:lnTo>
                  <a:lnTo>
                    <a:pt x="208" y="530"/>
                  </a:lnTo>
                  <a:lnTo>
                    <a:pt x="193" y="528"/>
                  </a:lnTo>
                  <a:lnTo>
                    <a:pt x="178" y="525"/>
                  </a:lnTo>
                  <a:lnTo>
                    <a:pt x="163" y="520"/>
                  </a:lnTo>
                  <a:lnTo>
                    <a:pt x="149" y="515"/>
                  </a:lnTo>
                  <a:lnTo>
                    <a:pt x="135" y="511"/>
                  </a:lnTo>
                  <a:lnTo>
                    <a:pt x="135" y="511"/>
                  </a:lnTo>
                  <a:lnTo>
                    <a:pt x="124" y="506"/>
                  </a:lnTo>
                  <a:lnTo>
                    <a:pt x="124" y="506"/>
                  </a:lnTo>
                  <a:lnTo>
                    <a:pt x="124" y="507"/>
                  </a:lnTo>
                  <a:lnTo>
                    <a:pt x="124" y="509"/>
                  </a:lnTo>
                  <a:lnTo>
                    <a:pt x="127" y="515"/>
                  </a:lnTo>
                  <a:lnTo>
                    <a:pt x="132" y="523"/>
                  </a:lnTo>
                  <a:lnTo>
                    <a:pt x="132" y="523"/>
                  </a:lnTo>
                  <a:lnTo>
                    <a:pt x="125" y="522"/>
                  </a:lnTo>
                  <a:lnTo>
                    <a:pt x="119" y="524"/>
                  </a:lnTo>
                  <a:lnTo>
                    <a:pt x="119" y="524"/>
                  </a:lnTo>
                  <a:lnTo>
                    <a:pt x="116" y="527"/>
                  </a:lnTo>
                  <a:lnTo>
                    <a:pt x="114" y="529"/>
                  </a:lnTo>
                  <a:close/>
                  <a:moveTo>
                    <a:pt x="293" y="329"/>
                  </a:moveTo>
                  <a:lnTo>
                    <a:pt x="293" y="329"/>
                  </a:lnTo>
                  <a:lnTo>
                    <a:pt x="286" y="324"/>
                  </a:lnTo>
                  <a:lnTo>
                    <a:pt x="280" y="322"/>
                  </a:lnTo>
                  <a:lnTo>
                    <a:pt x="269" y="317"/>
                  </a:lnTo>
                  <a:lnTo>
                    <a:pt x="269" y="317"/>
                  </a:lnTo>
                  <a:lnTo>
                    <a:pt x="274" y="313"/>
                  </a:lnTo>
                  <a:lnTo>
                    <a:pt x="277" y="311"/>
                  </a:lnTo>
                  <a:lnTo>
                    <a:pt x="277" y="309"/>
                  </a:lnTo>
                  <a:lnTo>
                    <a:pt x="277" y="309"/>
                  </a:lnTo>
                  <a:lnTo>
                    <a:pt x="273" y="308"/>
                  </a:lnTo>
                  <a:lnTo>
                    <a:pt x="270" y="308"/>
                  </a:lnTo>
                  <a:lnTo>
                    <a:pt x="270" y="308"/>
                  </a:lnTo>
                  <a:lnTo>
                    <a:pt x="250" y="317"/>
                  </a:lnTo>
                  <a:lnTo>
                    <a:pt x="231" y="325"/>
                  </a:lnTo>
                  <a:lnTo>
                    <a:pt x="214" y="335"/>
                  </a:lnTo>
                  <a:lnTo>
                    <a:pt x="202" y="344"/>
                  </a:lnTo>
                  <a:lnTo>
                    <a:pt x="202" y="344"/>
                  </a:lnTo>
                  <a:lnTo>
                    <a:pt x="200" y="344"/>
                  </a:lnTo>
                  <a:lnTo>
                    <a:pt x="200" y="344"/>
                  </a:lnTo>
                  <a:lnTo>
                    <a:pt x="197" y="346"/>
                  </a:lnTo>
                  <a:lnTo>
                    <a:pt x="193" y="346"/>
                  </a:lnTo>
                  <a:lnTo>
                    <a:pt x="186" y="345"/>
                  </a:lnTo>
                  <a:lnTo>
                    <a:pt x="179" y="344"/>
                  </a:lnTo>
                  <a:lnTo>
                    <a:pt x="178" y="342"/>
                  </a:lnTo>
                  <a:lnTo>
                    <a:pt x="176" y="353"/>
                  </a:lnTo>
                  <a:lnTo>
                    <a:pt x="176" y="353"/>
                  </a:lnTo>
                  <a:lnTo>
                    <a:pt x="183" y="356"/>
                  </a:lnTo>
                  <a:lnTo>
                    <a:pt x="188" y="358"/>
                  </a:lnTo>
                  <a:lnTo>
                    <a:pt x="188" y="358"/>
                  </a:lnTo>
                  <a:lnTo>
                    <a:pt x="181" y="360"/>
                  </a:lnTo>
                  <a:lnTo>
                    <a:pt x="177" y="361"/>
                  </a:lnTo>
                  <a:lnTo>
                    <a:pt x="175" y="363"/>
                  </a:lnTo>
                  <a:lnTo>
                    <a:pt x="178" y="373"/>
                  </a:lnTo>
                  <a:lnTo>
                    <a:pt x="178" y="373"/>
                  </a:lnTo>
                  <a:lnTo>
                    <a:pt x="183" y="371"/>
                  </a:lnTo>
                  <a:lnTo>
                    <a:pt x="188" y="369"/>
                  </a:lnTo>
                  <a:lnTo>
                    <a:pt x="194" y="368"/>
                  </a:lnTo>
                  <a:lnTo>
                    <a:pt x="194" y="368"/>
                  </a:lnTo>
                  <a:lnTo>
                    <a:pt x="194" y="369"/>
                  </a:lnTo>
                  <a:lnTo>
                    <a:pt x="194" y="369"/>
                  </a:lnTo>
                  <a:lnTo>
                    <a:pt x="194" y="374"/>
                  </a:lnTo>
                  <a:lnTo>
                    <a:pt x="192" y="379"/>
                  </a:lnTo>
                  <a:lnTo>
                    <a:pt x="188" y="385"/>
                  </a:lnTo>
                  <a:lnTo>
                    <a:pt x="183" y="390"/>
                  </a:lnTo>
                  <a:lnTo>
                    <a:pt x="172" y="400"/>
                  </a:lnTo>
                  <a:lnTo>
                    <a:pt x="166" y="404"/>
                  </a:lnTo>
                  <a:lnTo>
                    <a:pt x="160" y="406"/>
                  </a:lnTo>
                  <a:lnTo>
                    <a:pt x="160" y="406"/>
                  </a:lnTo>
                  <a:lnTo>
                    <a:pt x="148" y="410"/>
                  </a:lnTo>
                  <a:lnTo>
                    <a:pt x="136" y="412"/>
                  </a:lnTo>
                  <a:lnTo>
                    <a:pt x="129" y="412"/>
                  </a:lnTo>
                  <a:lnTo>
                    <a:pt x="125" y="411"/>
                  </a:lnTo>
                  <a:lnTo>
                    <a:pt x="125" y="411"/>
                  </a:lnTo>
                  <a:lnTo>
                    <a:pt x="118" y="405"/>
                  </a:lnTo>
                  <a:lnTo>
                    <a:pt x="114" y="400"/>
                  </a:lnTo>
                  <a:lnTo>
                    <a:pt x="111" y="395"/>
                  </a:lnTo>
                  <a:lnTo>
                    <a:pt x="109" y="393"/>
                  </a:lnTo>
                  <a:lnTo>
                    <a:pt x="107" y="393"/>
                  </a:lnTo>
                  <a:lnTo>
                    <a:pt x="107" y="393"/>
                  </a:lnTo>
                  <a:lnTo>
                    <a:pt x="104" y="393"/>
                  </a:lnTo>
                  <a:lnTo>
                    <a:pt x="102" y="394"/>
                  </a:lnTo>
                  <a:lnTo>
                    <a:pt x="102" y="394"/>
                  </a:lnTo>
                  <a:lnTo>
                    <a:pt x="95" y="393"/>
                  </a:lnTo>
                  <a:lnTo>
                    <a:pt x="89" y="394"/>
                  </a:lnTo>
                  <a:lnTo>
                    <a:pt x="84" y="396"/>
                  </a:lnTo>
                  <a:lnTo>
                    <a:pt x="81" y="398"/>
                  </a:lnTo>
                  <a:lnTo>
                    <a:pt x="80" y="400"/>
                  </a:lnTo>
                  <a:lnTo>
                    <a:pt x="80" y="400"/>
                  </a:lnTo>
                  <a:lnTo>
                    <a:pt x="89" y="400"/>
                  </a:lnTo>
                  <a:lnTo>
                    <a:pt x="93" y="401"/>
                  </a:lnTo>
                  <a:lnTo>
                    <a:pt x="93" y="403"/>
                  </a:lnTo>
                  <a:lnTo>
                    <a:pt x="92" y="404"/>
                  </a:lnTo>
                  <a:lnTo>
                    <a:pt x="92" y="404"/>
                  </a:lnTo>
                  <a:lnTo>
                    <a:pt x="90" y="406"/>
                  </a:lnTo>
                  <a:lnTo>
                    <a:pt x="91" y="409"/>
                  </a:lnTo>
                  <a:lnTo>
                    <a:pt x="92" y="411"/>
                  </a:lnTo>
                  <a:lnTo>
                    <a:pt x="96" y="414"/>
                  </a:lnTo>
                  <a:lnTo>
                    <a:pt x="112" y="422"/>
                  </a:lnTo>
                  <a:lnTo>
                    <a:pt x="112" y="422"/>
                  </a:lnTo>
                  <a:lnTo>
                    <a:pt x="112" y="422"/>
                  </a:lnTo>
                  <a:lnTo>
                    <a:pt x="112" y="423"/>
                  </a:lnTo>
                  <a:lnTo>
                    <a:pt x="112" y="423"/>
                  </a:lnTo>
                  <a:lnTo>
                    <a:pt x="112" y="423"/>
                  </a:lnTo>
                  <a:lnTo>
                    <a:pt x="107" y="423"/>
                  </a:lnTo>
                  <a:lnTo>
                    <a:pt x="101" y="421"/>
                  </a:lnTo>
                  <a:lnTo>
                    <a:pt x="87" y="416"/>
                  </a:lnTo>
                  <a:lnTo>
                    <a:pt x="87" y="416"/>
                  </a:lnTo>
                  <a:lnTo>
                    <a:pt x="85" y="416"/>
                  </a:lnTo>
                  <a:lnTo>
                    <a:pt x="82" y="416"/>
                  </a:lnTo>
                  <a:lnTo>
                    <a:pt x="80" y="419"/>
                  </a:lnTo>
                  <a:lnTo>
                    <a:pt x="80" y="419"/>
                  </a:lnTo>
                  <a:lnTo>
                    <a:pt x="77" y="419"/>
                  </a:lnTo>
                  <a:lnTo>
                    <a:pt x="74" y="419"/>
                  </a:lnTo>
                  <a:lnTo>
                    <a:pt x="69" y="421"/>
                  </a:lnTo>
                  <a:lnTo>
                    <a:pt x="66" y="423"/>
                  </a:lnTo>
                  <a:lnTo>
                    <a:pt x="63" y="426"/>
                  </a:lnTo>
                  <a:lnTo>
                    <a:pt x="61" y="430"/>
                  </a:lnTo>
                  <a:lnTo>
                    <a:pt x="61" y="433"/>
                  </a:lnTo>
                  <a:lnTo>
                    <a:pt x="63" y="438"/>
                  </a:lnTo>
                  <a:lnTo>
                    <a:pt x="63" y="438"/>
                  </a:lnTo>
                  <a:lnTo>
                    <a:pt x="66" y="433"/>
                  </a:lnTo>
                  <a:lnTo>
                    <a:pt x="70" y="430"/>
                  </a:lnTo>
                  <a:lnTo>
                    <a:pt x="73" y="430"/>
                  </a:lnTo>
                  <a:lnTo>
                    <a:pt x="75" y="430"/>
                  </a:lnTo>
                  <a:lnTo>
                    <a:pt x="75" y="430"/>
                  </a:lnTo>
                  <a:lnTo>
                    <a:pt x="76" y="431"/>
                  </a:lnTo>
                  <a:lnTo>
                    <a:pt x="76" y="434"/>
                  </a:lnTo>
                  <a:lnTo>
                    <a:pt x="76" y="437"/>
                  </a:lnTo>
                  <a:lnTo>
                    <a:pt x="77" y="439"/>
                  </a:lnTo>
                  <a:lnTo>
                    <a:pt x="79" y="441"/>
                  </a:lnTo>
                  <a:lnTo>
                    <a:pt x="79" y="441"/>
                  </a:lnTo>
                  <a:lnTo>
                    <a:pt x="81" y="442"/>
                  </a:lnTo>
                  <a:lnTo>
                    <a:pt x="86" y="442"/>
                  </a:lnTo>
                  <a:lnTo>
                    <a:pt x="96" y="441"/>
                  </a:lnTo>
                  <a:lnTo>
                    <a:pt x="106" y="439"/>
                  </a:lnTo>
                  <a:lnTo>
                    <a:pt x="111" y="439"/>
                  </a:lnTo>
                  <a:lnTo>
                    <a:pt x="112" y="439"/>
                  </a:lnTo>
                  <a:lnTo>
                    <a:pt x="112" y="439"/>
                  </a:lnTo>
                  <a:lnTo>
                    <a:pt x="112" y="441"/>
                  </a:lnTo>
                  <a:lnTo>
                    <a:pt x="109" y="442"/>
                  </a:lnTo>
                  <a:lnTo>
                    <a:pt x="101" y="443"/>
                  </a:lnTo>
                  <a:lnTo>
                    <a:pt x="91" y="444"/>
                  </a:lnTo>
                  <a:lnTo>
                    <a:pt x="87" y="447"/>
                  </a:lnTo>
                  <a:lnTo>
                    <a:pt x="86" y="448"/>
                  </a:lnTo>
                  <a:lnTo>
                    <a:pt x="86" y="448"/>
                  </a:lnTo>
                  <a:lnTo>
                    <a:pt x="86" y="452"/>
                  </a:lnTo>
                  <a:lnTo>
                    <a:pt x="86" y="452"/>
                  </a:lnTo>
                  <a:lnTo>
                    <a:pt x="86" y="453"/>
                  </a:lnTo>
                  <a:lnTo>
                    <a:pt x="84" y="455"/>
                  </a:lnTo>
                  <a:lnTo>
                    <a:pt x="81" y="460"/>
                  </a:lnTo>
                  <a:lnTo>
                    <a:pt x="80" y="465"/>
                  </a:lnTo>
                  <a:lnTo>
                    <a:pt x="80" y="465"/>
                  </a:lnTo>
                  <a:lnTo>
                    <a:pt x="80" y="468"/>
                  </a:lnTo>
                  <a:lnTo>
                    <a:pt x="81" y="471"/>
                  </a:lnTo>
                  <a:lnTo>
                    <a:pt x="85" y="475"/>
                  </a:lnTo>
                  <a:lnTo>
                    <a:pt x="89" y="479"/>
                  </a:lnTo>
                  <a:lnTo>
                    <a:pt x="89" y="479"/>
                  </a:lnTo>
                  <a:lnTo>
                    <a:pt x="90" y="477"/>
                  </a:lnTo>
                  <a:lnTo>
                    <a:pt x="89" y="473"/>
                  </a:lnTo>
                  <a:lnTo>
                    <a:pt x="89" y="469"/>
                  </a:lnTo>
                  <a:lnTo>
                    <a:pt x="90" y="468"/>
                  </a:lnTo>
                  <a:lnTo>
                    <a:pt x="90" y="466"/>
                  </a:lnTo>
                  <a:lnTo>
                    <a:pt x="90" y="466"/>
                  </a:lnTo>
                  <a:lnTo>
                    <a:pt x="92" y="466"/>
                  </a:lnTo>
                  <a:lnTo>
                    <a:pt x="93" y="468"/>
                  </a:lnTo>
                  <a:lnTo>
                    <a:pt x="96" y="470"/>
                  </a:lnTo>
                  <a:lnTo>
                    <a:pt x="98" y="471"/>
                  </a:lnTo>
                  <a:lnTo>
                    <a:pt x="98" y="471"/>
                  </a:lnTo>
                  <a:lnTo>
                    <a:pt x="101" y="470"/>
                  </a:lnTo>
                  <a:lnTo>
                    <a:pt x="103" y="469"/>
                  </a:lnTo>
                  <a:lnTo>
                    <a:pt x="109" y="464"/>
                  </a:lnTo>
                  <a:lnTo>
                    <a:pt x="116" y="458"/>
                  </a:lnTo>
                  <a:lnTo>
                    <a:pt x="119" y="454"/>
                  </a:lnTo>
                  <a:lnTo>
                    <a:pt x="124" y="452"/>
                  </a:lnTo>
                  <a:lnTo>
                    <a:pt x="124" y="452"/>
                  </a:lnTo>
                  <a:lnTo>
                    <a:pt x="130" y="449"/>
                  </a:lnTo>
                  <a:lnTo>
                    <a:pt x="133" y="448"/>
                  </a:lnTo>
                  <a:lnTo>
                    <a:pt x="134" y="449"/>
                  </a:lnTo>
                  <a:lnTo>
                    <a:pt x="134" y="450"/>
                  </a:lnTo>
                  <a:lnTo>
                    <a:pt x="134" y="454"/>
                  </a:lnTo>
                  <a:lnTo>
                    <a:pt x="134" y="457"/>
                  </a:lnTo>
                  <a:lnTo>
                    <a:pt x="135" y="458"/>
                  </a:lnTo>
                  <a:lnTo>
                    <a:pt x="135" y="458"/>
                  </a:lnTo>
                  <a:lnTo>
                    <a:pt x="139" y="459"/>
                  </a:lnTo>
                  <a:lnTo>
                    <a:pt x="140" y="460"/>
                  </a:lnTo>
                  <a:lnTo>
                    <a:pt x="140" y="463"/>
                  </a:lnTo>
                  <a:lnTo>
                    <a:pt x="139" y="465"/>
                  </a:lnTo>
                  <a:lnTo>
                    <a:pt x="136" y="469"/>
                  </a:lnTo>
                  <a:lnTo>
                    <a:pt x="134" y="471"/>
                  </a:lnTo>
                  <a:lnTo>
                    <a:pt x="134" y="471"/>
                  </a:lnTo>
                  <a:lnTo>
                    <a:pt x="138" y="471"/>
                  </a:lnTo>
                  <a:lnTo>
                    <a:pt x="143" y="470"/>
                  </a:lnTo>
                  <a:lnTo>
                    <a:pt x="148" y="465"/>
                  </a:lnTo>
                  <a:lnTo>
                    <a:pt x="150" y="463"/>
                  </a:lnTo>
                  <a:lnTo>
                    <a:pt x="152" y="459"/>
                  </a:lnTo>
                  <a:lnTo>
                    <a:pt x="152" y="459"/>
                  </a:lnTo>
                  <a:lnTo>
                    <a:pt x="152" y="457"/>
                  </a:lnTo>
                  <a:lnTo>
                    <a:pt x="154" y="457"/>
                  </a:lnTo>
                  <a:lnTo>
                    <a:pt x="156" y="455"/>
                  </a:lnTo>
                  <a:lnTo>
                    <a:pt x="157" y="454"/>
                  </a:lnTo>
                  <a:lnTo>
                    <a:pt x="157" y="454"/>
                  </a:lnTo>
                  <a:lnTo>
                    <a:pt x="159" y="453"/>
                  </a:lnTo>
                  <a:lnTo>
                    <a:pt x="159" y="450"/>
                  </a:lnTo>
                  <a:lnTo>
                    <a:pt x="159" y="448"/>
                  </a:lnTo>
                  <a:lnTo>
                    <a:pt x="159" y="446"/>
                  </a:lnTo>
                  <a:lnTo>
                    <a:pt x="159" y="446"/>
                  </a:lnTo>
                  <a:lnTo>
                    <a:pt x="160" y="443"/>
                  </a:lnTo>
                  <a:lnTo>
                    <a:pt x="162" y="442"/>
                  </a:lnTo>
                  <a:lnTo>
                    <a:pt x="167" y="441"/>
                  </a:lnTo>
                  <a:lnTo>
                    <a:pt x="172" y="439"/>
                  </a:lnTo>
                  <a:lnTo>
                    <a:pt x="173" y="438"/>
                  </a:lnTo>
                  <a:lnTo>
                    <a:pt x="173" y="437"/>
                  </a:lnTo>
                  <a:lnTo>
                    <a:pt x="173" y="437"/>
                  </a:lnTo>
                  <a:lnTo>
                    <a:pt x="173" y="433"/>
                  </a:lnTo>
                  <a:lnTo>
                    <a:pt x="176" y="430"/>
                  </a:lnTo>
                  <a:lnTo>
                    <a:pt x="179" y="428"/>
                  </a:lnTo>
                  <a:lnTo>
                    <a:pt x="182" y="427"/>
                  </a:lnTo>
                  <a:lnTo>
                    <a:pt x="182" y="427"/>
                  </a:lnTo>
                  <a:lnTo>
                    <a:pt x="183" y="428"/>
                  </a:lnTo>
                  <a:lnTo>
                    <a:pt x="184" y="432"/>
                  </a:lnTo>
                  <a:lnTo>
                    <a:pt x="188" y="436"/>
                  </a:lnTo>
                  <a:lnTo>
                    <a:pt x="192" y="438"/>
                  </a:lnTo>
                  <a:lnTo>
                    <a:pt x="195" y="441"/>
                  </a:lnTo>
                  <a:lnTo>
                    <a:pt x="195" y="441"/>
                  </a:lnTo>
                  <a:lnTo>
                    <a:pt x="210" y="433"/>
                  </a:lnTo>
                  <a:lnTo>
                    <a:pt x="210" y="433"/>
                  </a:lnTo>
                  <a:lnTo>
                    <a:pt x="216" y="431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6" y="425"/>
                  </a:lnTo>
                  <a:lnTo>
                    <a:pt x="214" y="422"/>
                  </a:lnTo>
                  <a:lnTo>
                    <a:pt x="213" y="419"/>
                  </a:lnTo>
                  <a:lnTo>
                    <a:pt x="213" y="419"/>
                  </a:lnTo>
                  <a:lnTo>
                    <a:pt x="211" y="415"/>
                  </a:lnTo>
                  <a:lnTo>
                    <a:pt x="211" y="412"/>
                  </a:lnTo>
                  <a:lnTo>
                    <a:pt x="211" y="412"/>
                  </a:lnTo>
                  <a:lnTo>
                    <a:pt x="215" y="417"/>
                  </a:lnTo>
                  <a:lnTo>
                    <a:pt x="220" y="421"/>
                  </a:lnTo>
                  <a:lnTo>
                    <a:pt x="226" y="425"/>
                  </a:lnTo>
                  <a:lnTo>
                    <a:pt x="226" y="425"/>
                  </a:lnTo>
                  <a:lnTo>
                    <a:pt x="243" y="414"/>
                  </a:lnTo>
                  <a:lnTo>
                    <a:pt x="243" y="414"/>
                  </a:lnTo>
                  <a:lnTo>
                    <a:pt x="247" y="412"/>
                  </a:lnTo>
                  <a:lnTo>
                    <a:pt x="247" y="412"/>
                  </a:lnTo>
                  <a:lnTo>
                    <a:pt x="247" y="412"/>
                  </a:lnTo>
                  <a:lnTo>
                    <a:pt x="247" y="412"/>
                  </a:lnTo>
                  <a:lnTo>
                    <a:pt x="245" y="409"/>
                  </a:lnTo>
                  <a:lnTo>
                    <a:pt x="241" y="405"/>
                  </a:lnTo>
                  <a:lnTo>
                    <a:pt x="237" y="400"/>
                  </a:lnTo>
                  <a:lnTo>
                    <a:pt x="237" y="398"/>
                  </a:lnTo>
                  <a:lnTo>
                    <a:pt x="238" y="396"/>
                  </a:lnTo>
                  <a:lnTo>
                    <a:pt x="238" y="396"/>
                  </a:lnTo>
                  <a:lnTo>
                    <a:pt x="240" y="395"/>
                  </a:lnTo>
                  <a:lnTo>
                    <a:pt x="240" y="393"/>
                  </a:lnTo>
                  <a:lnTo>
                    <a:pt x="237" y="385"/>
                  </a:lnTo>
                  <a:lnTo>
                    <a:pt x="235" y="379"/>
                  </a:lnTo>
                  <a:lnTo>
                    <a:pt x="235" y="376"/>
                  </a:lnTo>
                  <a:lnTo>
                    <a:pt x="237" y="374"/>
                  </a:lnTo>
                  <a:lnTo>
                    <a:pt x="237" y="374"/>
                  </a:lnTo>
                  <a:lnTo>
                    <a:pt x="272" y="357"/>
                  </a:lnTo>
                  <a:lnTo>
                    <a:pt x="301" y="342"/>
                  </a:lnTo>
                  <a:lnTo>
                    <a:pt x="301" y="342"/>
                  </a:lnTo>
                  <a:lnTo>
                    <a:pt x="299" y="339"/>
                  </a:lnTo>
                  <a:lnTo>
                    <a:pt x="296" y="334"/>
                  </a:lnTo>
                  <a:lnTo>
                    <a:pt x="293" y="329"/>
                  </a:lnTo>
                  <a:close/>
                  <a:moveTo>
                    <a:pt x="27" y="490"/>
                  </a:moveTo>
                  <a:lnTo>
                    <a:pt x="27" y="490"/>
                  </a:lnTo>
                  <a:lnTo>
                    <a:pt x="27" y="493"/>
                  </a:lnTo>
                  <a:lnTo>
                    <a:pt x="28" y="496"/>
                  </a:lnTo>
                  <a:lnTo>
                    <a:pt x="30" y="500"/>
                  </a:lnTo>
                  <a:lnTo>
                    <a:pt x="30" y="500"/>
                  </a:lnTo>
                  <a:lnTo>
                    <a:pt x="34" y="501"/>
                  </a:lnTo>
                  <a:lnTo>
                    <a:pt x="37" y="502"/>
                  </a:lnTo>
                  <a:lnTo>
                    <a:pt x="39" y="501"/>
                  </a:lnTo>
                  <a:lnTo>
                    <a:pt x="39" y="501"/>
                  </a:lnTo>
                  <a:lnTo>
                    <a:pt x="41" y="498"/>
                  </a:lnTo>
                  <a:lnTo>
                    <a:pt x="41" y="496"/>
                  </a:lnTo>
                  <a:lnTo>
                    <a:pt x="41" y="493"/>
                  </a:lnTo>
                  <a:lnTo>
                    <a:pt x="42" y="491"/>
                  </a:lnTo>
                  <a:lnTo>
                    <a:pt x="42" y="491"/>
                  </a:lnTo>
                  <a:lnTo>
                    <a:pt x="43" y="490"/>
                  </a:lnTo>
                  <a:lnTo>
                    <a:pt x="44" y="490"/>
                  </a:lnTo>
                  <a:lnTo>
                    <a:pt x="44" y="490"/>
                  </a:lnTo>
                  <a:lnTo>
                    <a:pt x="45" y="488"/>
                  </a:lnTo>
                  <a:lnTo>
                    <a:pt x="45" y="488"/>
                  </a:lnTo>
                  <a:lnTo>
                    <a:pt x="59" y="495"/>
                  </a:lnTo>
                  <a:lnTo>
                    <a:pt x="73" y="502"/>
                  </a:lnTo>
                  <a:lnTo>
                    <a:pt x="98" y="519"/>
                  </a:lnTo>
                  <a:lnTo>
                    <a:pt x="98" y="519"/>
                  </a:lnTo>
                  <a:lnTo>
                    <a:pt x="102" y="522"/>
                  </a:lnTo>
                  <a:lnTo>
                    <a:pt x="102" y="522"/>
                  </a:lnTo>
                  <a:lnTo>
                    <a:pt x="98" y="529"/>
                  </a:lnTo>
                  <a:lnTo>
                    <a:pt x="98" y="529"/>
                  </a:lnTo>
                  <a:lnTo>
                    <a:pt x="92" y="541"/>
                  </a:lnTo>
                  <a:lnTo>
                    <a:pt x="91" y="547"/>
                  </a:lnTo>
                  <a:lnTo>
                    <a:pt x="90" y="552"/>
                  </a:lnTo>
                  <a:lnTo>
                    <a:pt x="90" y="552"/>
                  </a:lnTo>
                  <a:lnTo>
                    <a:pt x="91" y="555"/>
                  </a:lnTo>
                  <a:lnTo>
                    <a:pt x="92" y="557"/>
                  </a:lnTo>
                  <a:lnTo>
                    <a:pt x="95" y="558"/>
                  </a:lnTo>
                  <a:lnTo>
                    <a:pt x="97" y="558"/>
                  </a:lnTo>
                  <a:lnTo>
                    <a:pt x="97" y="558"/>
                  </a:lnTo>
                  <a:lnTo>
                    <a:pt x="101" y="558"/>
                  </a:lnTo>
                  <a:lnTo>
                    <a:pt x="103" y="557"/>
                  </a:lnTo>
                  <a:lnTo>
                    <a:pt x="106" y="555"/>
                  </a:lnTo>
                  <a:lnTo>
                    <a:pt x="107" y="552"/>
                  </a:lnTo>
                  <a:lnTo>
                    <a:pt x="107" y="552"/>
                  </a:lnTo>
                  <a:lnTo>
                    <a:pt x="107" y="550"/>
                  </a:lnTo>
                  <a:lnTo>
                    <a:pt x="107" y="549"/>
                  </a:lnTo>
                  <a:lnTo>
                    <a:pt x="104" y="545"/>
                  </a:lnTo>
                  <a:lnTo>
                    <a:pt x="102" y="544"/>
                  </a:lnTo>
                  <a:lnTo>
                    <a:pt x="101" y="544"/>
                  </a:lnTo>
                  <a:lnTo>
                    <a:pt x="101" y="544"/>
                  </a:lnTo>
                  <a:lnTo>
                    <a:pt x="104" y="535"/>
                  </a:lnTo>
                  <a:lnTo>
                    <a:pt x="104" y="535"/>
                  </a:lnTo>
                  <a:lnTo>
                    <a:pt x="107" y="529"/>
                  </a:lnTo>
                  <a:lnTo>
                    <a:pt x="109" y="524"/>
                  </a:lnTo>
                  <a:lnTo>
                    <a:pt x="113" y="522"/>
                  </a:lnTo>
                  <a:lnTo>
                    <a:pt x="116" y="519"/>
                  </a:lnTo>
                  <a:lnTo>
                    <a:pt x="119" y="518"/>
                  </a:lnTo>
                  <a:lnTo>
                    <a:pt x="122" y="518"/>
                  </a:lnTo>
                  <a:lnTo>
                    <a:pt x="122" y="518"/>
                  </a:lnTo>
                  <a:lnTo>
                    <a:pt x="120" y="515"/>
                  </a:lnTo>
                  <a:lnTo>
                    <a:pt x="118" y="512"/>
                  </a:lnTo>
                  <a:lnTo>
                    <a:pt x="118" y="508"/>
                  </a:lnTo>
                  <a:lnTo>
                    <a:pt x="118" y="504"/>
                  </a:lnTo>
                  <a:lnTo>
                    <a:pt x="119" y="500"/>
                  </a:lnTo>
                  <a:lnTo>
                    <a:pt x="122" y="495"/>
                  </a:lnTo>
                  <a:lnTo>
                    <a:pt x="122" y="495"/>
                  </a:lnTo>
                  <a:lnTo>
                    <a:pt x="127" y="482"/>
                  </a:lnTo>
                  <a:lnTo>
                    <a:pt x="129" y="474"/>
                  </a:lnTo>
                  <a:lnTo>
                    <a:pt x="129" y="474"/>
                  </a:lnTo>
                  <a:lnTo>
                    <a:pt x="129" y="470"/>
                  </a:lnTo>
                  <a:lnTo>
                    <a:pt x="128" y="468"/>
                  </a:lnTo>
                  <a:lnTo>
                    <a:pt x="125" y="465"/>
                  </a:lnTo>
                  <a:lnTo>
                    <a:pt x="122" y="464"/>
                  </a:lnTo>
                  <a:lnTo>
                    <a:pt x="122" y="464"/>
                  </a:lnTo>
                  <a:lnTo>
                    <a:pt x="119" y="465"/>
                  </a:lnTo>
                  <a:lnTo>
                    <a:pt x="116" y="466"/>
                  </a:lnTo>
                  <a:lnTo>
                    <a:pt x="114" y="469"/>
                  </a:lnTo>
                  <a:lnTo>
                    <a:pt x="113" y="471"/>
                  </a:lnTo>
                  <a:lnTo>
                    <a:pt x="113" y="471"/>
                  </a:lnTo>
                  <a:lnTo>
                    <a:pt x="113" y="475"/>
                  </a:lnTo>
                  <a:lnTo>
                    <a:pt x="114" y="477"/>
                  </a:lnTo>
                  <a:lnTo>
                    <a:pt x="117" y="480"/>
                  </a:lnTo>
                  <a:lnTo>
                    <a:pt x="119" y="481"/>
                  </a:lnTo>
                  <a:lnTo>
                    <a:pt x="119" y="481"/>
                  </a:lnTo>
                  <a:lnTo>
                    <a:pt x="119" y="481"/>
                  </a:lnTo>
                  <a:lnTo>
                    <a:pt x="116" y="492"/>
                  </a:lnTo>
                  <a:lnTo>
                    <a:pt x="111" y="498"/>
                  </a:lnTo>
                  <a:lnTo>
                    <a:pt x="111" y="498"/>
                  </a:lnTo>
                  <a:lnTo>
                    <a:pt x="106" y="496"/>
                  </a:lnTo>
                  <a:lnTo>
                    <a:pt x="106" y="496"/>
                  </a:lnTo>
                  <a:lnTo>
                    <a:pt x="81" y="482"/>
                  </a:lnTo>
                  <a:lnTo>
                    <a:pt x="68" y="477"/>
                  </a:lnTo>
                  <a:lnTo>
                    <a:pt x="54" y="474"/>
                  </a:lnTo>
                  <a:lnTo>
                    <a:pt x="54" y="474"/>
                  </a:lnTo>
                  <a:lnTo>
                    <a:pt x="55" y="470"/>
                  </a:lnTo>
                  <a:lnTo>
                    <a:pt x="55" y="470"/>
                  </a:lnTo>
                  <a:lnTo>
                    <a:pt x="59" y="464"/>
                  </a:lnTo>
                  <a:lnTo>
                    <a:pt x="60" y="461"/>
                  </a:lnTo>
                  <a:lnTo>
                    <a:pt x="60" y="461"/>
                  </a:lnTo>
                  <a:lnTo>
                    <a:pt x="58" y="463"/>
                  </a:lnTo>
                  <a:lnTo>
                    <a:pt x="53" y="465"/>
                  </a:lnTo>
                  <a:lnTo>
                    <a:pt x="53" y="465"/>
                  </a:lnTo>
                  <a:lnTo>
                    <a:pt x="47" y="468"/>
                  </a:lnTo>
                  <a:lnTo>
                    <a:pt x="43" y="469"/>
                  </a:lnTo>
                  <a:lnTo>
                    <a:pt x="43" y="469"/>
                  </a:lnTo>
                  <a:lnTo>
                    <a:pt x="39" y="469"/>
                  </a:lnTo>
                  <a:lnTo>
                    <a:pt x="37" y="469"/>
                  </a:lnTo>
                  <a:lnTo>
                    <a:pt x="37" y="469"/>
                  </a:lnTo>
                  <a:lnTo>
                    <a:pt x="36" y="470"/>
                  </a:lnTo>
                  <a:lnTo>
                    <a:pt x="33" y="476"/>
                  </a:lnTo>
                  <a:lnTo>
                    <a:pt x="33" y="476"/>
                  </a:lnTo>
                  <a:lnTo>
                    <a:pt x="31" y="484"/>
                  </a:lnTo>
                  <a:lnTo>
                    <a:pt x="31" y="484"/>
                  </a:lnTo>
                  <a:lnTo>
                    <a:pt x="28" y="487"/>
                  </a:lnTo>
                  <a:lnTo>
                    <a:pt x="27" y="490"/>
                  </a:lnTo>
                  <a:close/>
                  <a:moveTo>
                    <a:pt x="33" y="81"/>
                  </a:moveTo>
                  <a:lnTo>
                    <a:pt x="33" y="81"/>
                  </a:lnTo>
                  <a:lnTo>
                    <a:pt x="43" y="80"/>
                  </a:lnTo>
                  <a:lnTo>
                    <a:pt x="49" y="79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0" y="53"/>
                  </a:lnTo>
                  <a:lnTo>
                    <a:pt x="27" y="54"/>
                  </a:lnTo>
                  <a:lnTo>
                    <a:pt x="26" y="56"/>
                  </a:lnTo>
                  <a:lnTo>
                    <a:pt x="25" y="60"/>
                  </a:lnTo>
                  <a:lnTo>
                    <a:pt x="25" y="63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6" y="75"/>
                  </a:lnTo>
                  <a:lnTo>
                    <a:pt x="28" y="79"/>
                  </a:lnTo>
                  <a:lnTo>
                    <a:pt x="31" y="80"/>
                  </a:lnTo>
                  <a:lnTo>
                    <a:pt x="33" y="81"/>
                  </a:lnTo>
                  <a:close/>
                  <a:moveTo>
                    <a:pt x="92" y="71"/>
                  </a:moveTo>
                  <a:lnTo>
                    <a:pt x="92" y="71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48"/>
                  </a:lnTo>
                  <a:lnTo>
                    <a:pt x="92" y="47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84" y="50"/>
                  </a:lnTo>
                  <a:lnTo>
                    <a:pt x="82" y="45"/>
                  </a:lnTo>
                  <a:lnTo>
                    <a:pt x="82" y="45"/>
                  </a:lnTo>
                  <a:lnTo>
                    <a:pt x="75" y="45"/>
                  </a:lnTo>
                  <a:lnTo>
                    <a:pt x="75" y="45"/>
                  </a:lnTo>
                  <a:lnTo>
                    <a:pt x="74" y="50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4" y="50"/>
                  </a:lnTo>
                  <a:lnTo>
                    <a:pt x="63" y="45"/>
                  </a:lnTo>
                  <a:lnTo>
                    <a:pt x="63" y="45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7" y="47"/>
                  </a:lnTo>
                  <a:lnTo>
                    <a:pt x="55" y="48"/>
                  </a:lnTo>
                  <a:lnTo>
                    <a:pt x="55" y="50"/>
                  </a:lnTo>
                  <a:lnTo>
                    <a:pt x="55" y="50"/>
                  </a:lnTo>
                  <a:lnTo>
                    <a:pt x="55" y="64"/>
                  </a:lnTo>
                  <a:lnTo>
                    <a:pt x="55" y="64"/>
                  </a:lnTo>
                  <a:lnTo>
                    <a:pt x="55" y="79"/>
                  </a:lnTo>
                  <a:lnTo>
                    <a:pt x="55" y="79"/>
                  </a:lnTo>
                  <a:lnTo>
                    <a:pt x="59" y="79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3" y="74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6" y="81"/>
                  </a:lnTo>
                  <a:lnTo>
                    <a:pt x="69" y="80"/>
                  </a:lnTo>
                  <a:lnTo>
                    <a:pt x="71" y="79"/>
                  </a:lnTo>
                  <a:lnTo>
                    <a:pt x="71" y="79"/>
                  </a:lnTo>
                  <a:lnTo>
                    <a:pt x="73" y="75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7" y="80"/>
                  </a:lnTo>
                  <a:lnTo>
                    <a:pt x="81" y="79"/>
                  </a:lnTo>
                  <a:lnTo>
                    <a:pt x="81" y="79"/>
                  </a:lnTo>
                  <a:lnTo>
                    <a:pt x="84" y="75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9"/>
                  </a:lnTo>
                  <a:lnTo>
                    <a:pt x="84" y="79"/>
                  </a:lnTo>
                  <a:lnTo>
                    <a:pt x="86" y="77"/>
                  </a:lnTo>
                  <a:lnTo>
                    <a:pt x="86" y="77"/>
                  </a:lnTo>
                  <a:lnTo>
                    <a:pt x="90" y="76"/>
                  </a:lnTo>
                  <a:lnTo>
                    <a:pt x="90" y="76"/>
                  </a:lnTo>
                  <a:lnTo>
                    <a:pt x="91" y="75"/>
                  </a:lnTo>
                  <a:lnTo>
                    <a:pt x="92" y="71"/>
                  </a:lnTo>
                  <a:close/>
                  <a:moveTo>
                    <a:pt x="106" y="85"/>
                  </a:moveTo>
                  <a:lnTo>
                    <a:pt x="106" y="76"/>
                  </a:lnTo>
                  <a:lnTo>
                    <a:pt x="106" y="76"/>
                  </a:lnTo>
                  <a:lnTo>
                    <a:pt x="104" y="75"/>
                  </a:lnTo>
                  <a:lnTo>
                    <a:pt x="103" y="71"/>
                  </a:lnTo>
                  <a:lnTo>
                    <a:pt x="103" y="66"/>
                  </a:lnTo>
                  <a:lnTo>
                    <a:pt x="103" y="66"/>
                  </a:lnTo>
                  <a:lnTo>
                    <a:pt x="103" y="64"/>
                  </a:lnTo>
                  <a:lnTo>
                    <a:pt x="104" y="60"/>
                  </a:lnTo>
                  <a:lnTo>
                    <a:pt x="106" y="58"/>
                  </a:lnTo>
                  <a:lnTo>
                    <a:pt x="106" y="50"/>
                  </a:lnTo>
                  <a:lnTo>
                    <a:pt x="106" y="50"/>
                  </a:lnTo>
                  <a:lnTo>
                    <a:pt x="103" y="48"/>
                  </a:lnTo>
                  <a:lnTo>
                    <a:pt x="101" y="47"/>
                  </a:lnTo>
                  <a:lnTo>
                    <a:pt x="98" y="47"/>
                  </a:lnTo>
                  <a:lnTo>
                    <a:pt x="98" y="74"/>
                  </a:lnTo>
                  <a:lnTo>
                    <a:pt x="98" y="74"/>
                  </a:lnTo>
                  <a:lnTo>
                    <a:pt x="97" y="77"/>
                  </a:lnTo>
                  <a:lnTo>
                    <a:pt x="95" y="81"/>
                  </a:lnTo>
                  <a:lnTo>
                    <a:pt x="91" y="83"/>
                  </a:lnTo>
                  <a:lnTo>
                    <a:pt x="86" y="85"/>
                  </a:lnTo>
                  <a:lnTo>
                    <a:pt x="86" y="85"/>
                  </a:lnTo>
                  <a:lnTo>
                    <a:pt x="76" y="86"/>
                  </a:lnTo>
                  <a:lnTo>
                    <a:pt x="68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4" y="97"/>
                  </a:lnTo>
                  <a:lnTo>
                    <a:pt x="65" y="98"/>
                  </a:lnTo>
                  <a:lnTo>
                    <a:pt x="97" y="98"/>
                  </a:lnTo>
                  <a:lnTo>
                    <a:pt x="106" y="85"/>
                  </a:lnTo>
                  <a:close/>
                  <a:moveTo>
                    <a:pt x="65" y="117"/>
                  </a:moveTo>
                  <a:lnTo>
                    <a:pt x="97" y="117"/>
                  </a:lnTo>
                  <a:lnTo>
                    <a:pt x="97" y="117"/>
                  </a:lnTo>
                  <a:lnTo>
                    <a:pt x="100" y="110"/>
                  </a:lnTo>
                  <a:lnTo>
                    <a:pt x="98" y="104"/>
                  </a:lnTo>
                  <a:lnTo>
                    <a:pt x="65" y="104"/>
                  </a:lnTo>
                  <a:lnTo>
                    <a:pt x="63" y="110"/>
                  </a:lnTo>
                  <a:lnTo>
                    <a:pt x="65" y="117"/>
                  </a:lnTo>
                  <a:close/>
                  <a:moveTo>
                    <a:pt x="97" y="123"/>
                  </a:moveTo>
                  <a:lnTo>
                    <a:pt x="65" y="123"/>
                  </a:lnTo>
                  <a:lnTo>
                    <a:pt x="65" y="164"/>
                  </a:lnTo>
                  <a:lnTo>
                    <a:pt x="93" y="166"/>
                  </a:lnTo>
                  <a:lnTo>
                    <a:pt x="102" y="158"/>
                  </a:lnTo>
                  <a:lnTo>
                    <a:pt x="97" y="123"/>
                  </a:lnTo>
                  <a:close/>
                  <a:moveTo>
                    <a:pt x="113" y="176"/>
                  </a:moveTo>
                  <a:lnTo>
                    <a:pt x="113" y="176"/>
                  </a:lnTo>
                  <a:lnTo>
                    <a:pt x="107" y="171"/>
                  </a:lnTo>
                  <a:lnTo>
                    <a:pt x="107" y="171"/>
                  </a:lnTo>
                  <a:lnTo>
                    <a:pt x="106" y="164"/>
                  </a:lnTo>
                  <a:lnTo>
                    <a:pt x="96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4" y="183"/>
                  </a:lnTo>
                  <a:lnTo>
                    <a:pt x="64" y="195"/>
                  </a:lnTo>
                  <a:lnTo>
                    <a:pt x="64" y="195"/>
                  </a:lnTo>
                  <a:lnTo>
                    <a:pt x="71" y="201"/>
                  </a:lnTo>
                  <a:lnTo>
                    <a:pt x="80" y="207"/>
                  </a:lnTo>
                  <a:lnTo>
                    <a:pt x="101" y="182"/>
                  </a:lnTo>
                  <a:lnTo>
                    <a:pt x="113" y="176"/>
                  </a:lnTo>
                  <a:close/>
                  <a:moveTo>
                    <a:pt x="106" y="185"/>
                  </a:moveTo>
                  <a:lnTo>
                    <a:pt x="87" y="210"/>
                  </a:lnTo>
                  <a:lnTo>
                    <a:pt x="118" y="223"/>
                  </a:lnTo>
                  <a:lnTo>
                    <a:pt x="118" y="223"/>
                  </a:lnTo>
                  <a:lnTo>
                    <a:pt x="132" y="215"/>
                  </a:lnTo>
                  <a:lnTo>
                    <a:pt x="145" y="206"/>
                  </a:lnTo>
                  <a:lnTo>
                    <a:pt x="160" y="196"/>
                  </a:lnTo>
                  <a:lnTo>
                    <a:pt x="117" y="180"/>
                  </a:lnTo>
                  <a:lnTo>
                    <a:pt x="106" y="185"/>
                  </a:lnTo>
                  <a:close/>
                  <a:moveTo>
                    <a:pt x="123" y="59"/>
                  </a:moveTo>
                  <a:lnTo>
                    <a:pt x="123" y="59"/>
                  </a:lnTo>
                  <a:lnTo>
                    <a:pt x="123" y="33"/>
                  </a:lnTo>
                  <a:lnTo>
                    <a:pt x="123" y="33"/>
                  </a:lnTo>
                  <a:lnTo>
                    <a:pt x="124" y="31"/>
                  </a:lnTo>
                  <a:lnTo>
                    <a:pt x="124" y="31"/>
                  </a:lnTo>
                  <a:lnTo>
                    <a:pt x="124" y="28"/>
                  </a:lnTo>
                  <a:lnTo>
                    <a:pt x="124" y="26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09" y="32"/>
                  </a:lnTo>
                  <a:lnTo>
                    <a:pt x="111" y="33"/>
                  </a:lnTo>
                  <a:lnTo>
                    <a:pt x="111" y="59"/>
                  </a:lnTo>
                  <a:lnTo>
                    <a:pt x="111" y="59"/>
                  </a:lnTo>
                  <a:lnTo>
                    <a:pt x="109" y="60"/>
                  </a:lnTo>
                  <a:lnTo>
                    <a:pt x="108" y="66"/>
                  </a:lnTo>
                  <a:lnTo>
                    <a:pt x="108" y="66"/>
                  </a:lnTo>
                  <a:lnTo>
                    <a:pt x="108" y="70"/>
                  </a:lnTo>
                  <a:lnTo>
                    <a:pt x="109" y="74"/>
                  </a:lnTo>
                  <a:lnTo>
                    <a:pt x="112" y="76"/>
                  </a:lnTo>
                  <a:lnTo>
                    <a:pt x="111" y="97"/>
                  </a:lnTo>
                  <a:lnTo>
                    <a:pt x="111" y="97"/>
                  </a:lnTo>
                  <a:lnTo>
                    <a:pt x="111" y="98"/>
                  </a:lnTo>
                  <a:lnTo>
                    <a:pt x="109" y="101"/>
                  </a:lnTo>
                  <a:lnTo>
                    <a:pt x="109" y="101"/>
                  </a:lnTo>
                  <a:lnTo>
                    <a:pt x="109" y="104"/>
                  </a:lnTo>
                  <a:lnTo>
                    <a:pt x="124" y="104"/>
                  </a:lnTo>
                  <a:lnTo>
                    <a:pt x="124" y="104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23" y="97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5" y="72"/>
                  </a:lnTo>
                  <a:lnTo>
                    <a:pt x="125" y="70"/>
                  </a:lnTo>
                  <a:lnTo>
                    <a:pt x="127" y="68"/>
                  </a:lnTo>
                  <a:lnTo>
                    <a:pt x="127" y="68"/>
                  </a:lnTo>
                  <a:lnTo>
                    <a:pt x="124" y="61"/>
                  </a:lnTo>
                  <a:lnTo>
                    <a:pt x="123" y="59"/>
                  </a:lnTo>
                  <a:close/>
                  <a:moveTo>
                    <a:pt x="155" y="80"/>
                  </a:moveTo>
                  <a:lnTo>
                    <a:pt x="178" y="55"/>
                  </a:lnTo>
                  <a:lnTo>
                    <a:pt x="178" y="55"/>
                  </a:lnTo>
                  <a:lnTo>
                    <a:pt x="144" y="55"/>
                  </a:lnTo>
                  <a:lnTo>
                    <a:pt x="144" y="55"/>
                  </a:lnTo>
                  <a:lnTo>
                    <a:pt x="140" y="54"/>
                  </a:lnTo>
                  <a:lnTo>
                    <a:pt x="136" y="52"/>
                  </a:lnTo>
                  <a:lnTo>
                    <a:pt x="132" y="49"/>
                  </a:lnTo>
                  <a:lnTo>
                    <a:pt x="130" y="49"/>
                  </a:lnTo>
                  <a:lnTo>
                    <a:pt x="130" y="49"/>
                  </a:lnTo>
                  <a:lnTo>
                    <a:pt x="127" y="56"/>
                  </a:lnTo>
                  <a:lnTo>
                    <a:pt x="127" y="56"/>
                  </a:lnTo>
                  <a:lnTo>
                    <a:pt x="129" y="60"/>
                  </a:lnTo>
                  <a:lnTo>
                    <a:pt x="130" y="63"/>
                  </a:lnTo>
                  <a:lnTo>
                    <a:pt x="132" y="68"/>
                  </a:lnTo>
                  <a:lnTo>
                    <a:pt x="132" y="68"/>
                  </a:lnTo>
                  <a:lnTo>
                    <a:pt x="132" y="71"/>
                  </a:lnTo>
                  <a:lnTo>
                    <a:pt x="129" y="75"/>
                  </a:lnTo>
                  <a:lnTo>
                    <a:pt x="127" y="77"/>
                  </a:lnTo>
                  <a:lnTo>
                    <a:pt x="127" y="77"/>
                  </a:lnTo>
                  <a:lnTo>
                    <a:pt x="132" y="86"/>
                  </a:lnTo>
                  <a:lnTo>
                    <a:pt x="132" y="86"/>
                  </a:lnTo>
                  <a:lnTo>
                    <a:pt x="135" y="83"/>
                  </a:lnTo>
                  <a:lnTo>
                    <a:pt x="145" y="80"/>
                  </a:lnTo>
                  <a:lnTo>
                    <a:pt x="145" y="80"/>
                  </a:lnTo>
                  <a:lnTo>
                    <a:pt x="155" y="80"/>
                  </a:lnTo>
                  <a:close/>
                  <a:moveTo>
                    <a:pt x="262" y="80"/>
                  </a:moveTo>
                  <a:lnTo>
                    <a:pt x="293" y="41"/>
                  </a:lnTo>
                  <a:lnTo>
                    <a:pt x="293" y="41"/>
                  </a:lnTo>
                  <a:lnTo>
                    <a:pt x="290" y="39"/>
                  </a:lnTo>
                  <a:lnTo>
                    <a:pt x="288" y="41"/>
                  </a:lnTo>
                  <a:lnTo>
                    <a:pt x="284" y="42"/>
                  </a:lnTo>
                  <a:lnTo>
                    <a:pt x="284" y="42"/>
                  </a:lnTo>
                  <a:lnTo>
                    <a:pt x="281" y="43"/>
                  </a:lnTo>
                  <a:lnTo>
                    <a:pt x="280" y="47"/>
                  </a:lnTo>
                  <a:lnTo>
                    <a:pt x="280" y="50"/>
                  </a:lnTo>
                  <a:lnTo>
                    <a:pt x="280" y="50"/>
                  </a:lnTo>
                  <a:lnTo>
                    <a:pt x="278" y="48"/>
                  </a:lnTo>
                  <a:lnTo>
                    <a:pt x="277" y="47"/>
                  </a:lnTo>
                  <a:lnTo>
                    <a:pt x="272" y="47"/>
                  </a:lnTo>
                  <a:lnTo>
                    <a:pt x="268" y="47"/>
                  </a:lnTo>
                  <a:lnTo>
                    <a:pt x="267" y="48"/>
                  </a:lnTo>
                  <a:lnTo>
                    <a:pt x="267" y="48"/>
                  </a:lnTo>
                  <a:lnTo>
                    <a:pt x="269" y="54"/>
                  </a:lnTo>
                  <a:lnTo>
                    <a:pt x="269" y="58"/>
                  </a:lnTo>
                  <a:lnTo>
                    <a:pt x="267" y="60"/>
                  </a:lnTo>
                  <a:lnTo>
                    <a:pt x="264" y="60"/>
                  </a:lnTo>
                  <a:lnTo>
                    <a:pt x="264" y="60"/>
                  </a:lnTo>
                  <a:lnTo>
                    <a:pt x="261" y="59"/>
                  </a:lnTo>
                  <a:lnTo>
                    <a:pt x="259" y="56"/>
                  </a:lnTo>
                  <a:lnTo>
                    <a:pt x="259" y="53"/>
                  </a:lnTo>
                  <a:lnTo>
                    <a:pt x="259" y="53"/>
                  </a:lnTo>
                  <a:lnTo>
                    <a:pt x="256" y="55"/>
                  </a:lnTo>
                  <a:lnTo>
                    <a:pt x="253" y="55"/>
                  </a:lnTo>
                  <a:lnTo>
                    <a:pt x="250" y="53"/>
                  </a:lnTo>
                  <a:lnTo>
                    <a:pt x="250" y="53"/>
                  </a:lnTo>
                  <a:lnTo>
                    <a:pt x="248" y="50"/>
                  </a:lnTo>
                  <a:lnTo>
                    <a:pt x="251" y="47"/>
                  </a:lnTo>
                  <a:lnTo>
                    <a:pt x="254" y="45"/>
                  </a:lnTo>
                  <a:lnTo>
                    <a:pt x="261" y="44"/>
                  </a:lnTo>
                  <a:lnTo>
                    <a:pt x="261" y="44"/>
                  </a:lnTo>
                  <a:lnTo>
                    <a:pt x="259" y="41"/>
                  </a:lnTo>
                  <a:lnTo>
                    <a:pt x="258" y="38"/>
                  </a:lnTo>
                  <a:lnTo>
                    <a:pt x="256" y="36"/>
                  </a:lnTo>
                  <a:lnTo>
                    <a:pt x="256" y="36"/>
                  </a:lnTo>
                  <a:lnTo>
                    <a:pt x="252" y="34"/>
                  </a:lnTo>
                  <a:lnTo>
                    <a:pt x="250" y="34"/>
                  </a:lnTo>
                  <a:lnTo>
                    <a:pt x="246" y="36"/>
                  </a:lnTo>
                  <a:lnTo>
                    <a:pt x="246" y="36"/>
                  </a:lnTo>
                  <a:lnTo>
                    <a:pt x="248" y="34"/>
                  </a:lnTo>
                  <a:lnTo>
                    <a:pt x="250" y="32"/>
                  </a:lnTo>
                  <a:lnTo>
                    <a:pt x="251" y="29"/>
                  </a:lnTo>
                  <a:lnTo>
                    <a:pt x="251" y="29"/>
                  </a:lnTo>
                  <a:lnTo>
                    <a:pt x="251" y="23"/>
                  </a:lnTo>
                  <a:lnTo>
                    <a:pt x="250" y="21"/>
                  </a:lnTo>
                  <a:lnTo>
                    <a:pt x="247" y="17"/>
                  </a:lnTo>
                  <a:lnTo>
                    <a:pt x="247" y="17"/>
                  </a:lnTo>
                  <a:lnTo>
                    <a:pt x="247" y="17"/>
                  </a:lnTo>
                  <a:lnTo>
                    <a:pt x="247" y="17"/>
                  </a:lnTo>
                  <a:lnTo>
                    <a:pt x="243" y="18"/>
                  </a:lnTo>
                  <a:lnTo>
                    <a:pt x="240" y="20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5" y="26"/>
                  </a:lnTo>
                  <a:lnTo>
                    <a:pt x="235" y="28"/>
                  </a:lnTo>
                  <a:lnTo>
                    <a:pt x="235" y="31"/>
                  </a:lnTo>
                  <a:lnTo>
                    <a:pt x="235" y="31"/>
                  </a:lnTo>
                  <a:lnTo>
                    <a:pt x="232" y="27"/>
                  </a:lnTo>
                  <a:lnTo>
                    <a:pt x="231" y="25"/>
                  </a:lnTo>
                  <a:lnTo>
                    <a:pt x="227" y="23"/>
                  </a:lnTo>
                  <a:lnTo>
                    <a:pt x="227" y="23"/>
                  </a:lnTo>
                  <a:lnTo>
                    <a:pt x="224" y="23"/>
                  </a:lnTo>
                  <a:lnTo>
                    <a:pt x="221" y="25"/>
                  </a:lnTo>
                  <a:lnTo>
                    <a:pt x="219" y="26"/>
                  </a:lnTo>
                  <a:lnTo>
                    <a:pt x="219" y="26"/>
                  </a:lnTo>
                  <a:lnTo>
                    <a:pt x="222" y="31"/>
                  </a:lnTo>
                  <a:lnTo>
                    <a:pt x="222" y="36"/>
                  </a:lnTo>
                  <a:lnTo>
                    <a:pt x="222" y="38"/>
                  </a:lnTo>
                  <a:lnTo>
                    <a:pt x="219" y="39"/>
                  </a:lnTo>
                  <a:lnTo>
                    <a:pt x="219" y="39"/>
                  </a:lnTo>
                  <a:lnTo>
                    <a:pt x="215" y="38"/>
                  </a:lnTo>
                  <a:lnTo>
                    <a:pt x="214" y="36"/>
                  </a:lnTo>
                  <a:lnTo>
                    <a:pt x="213" y="32"/>
                  </a:lnTo>
                  <a:lnTo>
                    <a:pt x="213" y="32"/>
                  </a:lnTo>
                  <a:lnTo>
                    <a:pt x="210" y="34"/>
                  </a:lnTo>
                  <a:lnTo>
                    <a:pt x="208" y="36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2" y="32"/>
                  </a:lnTo>
                  <a:lnTo>
                    <a:pt x="202" y="28"/>
                  </a:lnTo>
                  <a:lnTo>
                    <a:pt x="205" y="26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0" y="22"/>
                  </a:lnTo>
                  <a:lnTo>
                    <a:pt x="209" y="18"/>
                  </a:lnTo>
                  <a:lnTo>
                    <a:pt x="205" y="16"/>
                  </a:lnTo>
                  <a:lnTo>
                    <a:pt x="203" y="15"/>
                  </a:lnTo>
                  <a:lnTo>
                    <a:pt x="200" y="16"/>
                  </a:lnTo>
                  <a:lnTo>
                    <a:pt x="200" y="16"/>
                  </a:lnTo>
                  <a:lnTo>
                    <a:pt x="203" y="12"/>
                  </a:lnTo>
                  <a:lnTo>
                    <a:pt x="204" y="10"/>
                  </a:lnTo>
                  <a:lnTo>
                    <a:pt x="204" y="6"/>
                  </a:lnTo>
                  <a:lnTo>
                    <a:pt x="204" y="6"/>
                  </a:lnTo>
                  <a:lnTo>
                    <a:pt x="203" y="4"/>
                  </a:lnTo>
                  <a:lnTo>
                    <a:pt x="202" y="1"/>
                  </a:lnTo>
                  <a:lnTo>
                    <a:pt x="199" y="0"/>
                  </a:lnTo>
                  <a:lnTo>
                    <a:pt x="191" y="49"/>
                  </a:lnTo>
                  <a:lnTo>
                    <a:pt x="214" y="59"/>
                  </a:lnTo>
                  <a:lnTo>
                    <a:pt x="214" y="59"/>
                  </a:lnTo>
                  <a:lnTo>
                    <a:pt x="221" y="55"/>
                  </a:lnTo>
                  <a:lnTo>
                    <a:pt x="221" y="55"/>
                  </a:lnTo>
                  <a:lnTo>
                    <a:pt x="225" y="53"/>
                  </a:lnTo>
                  <a:lnTo>
                    <a:pt x="230" y="53"/>
                  </a:lnTo>
                  <a:lnTo>
                    <a:pt x="235" y="54"/>
                  </a:lnTo>
                  <a:lnTo>
                    <a:pt x="238" y="55"/>
                  </a:lnTo>
                  <a:lnTo>
                    <a:pt x="238" y="55"/>
                  </a:lnTo>
                  <a:lnTo>
                    <a:pt x="243" y="58"/>
                  </a:lnTo>
                  <a:lnTo>
                    <a:pt x="246" y="60"/>
                  </a:lnTo>
                  <a:lnTo>
                    <a:pt x="247" y="64"/>
                  </a:lnTo>
                  <a:lnTo>
                    <a:pt x="247" y="66"/>
                  </a:lnTo>
                  <a:lnTo>
                    <a:pt x="247" y="66"/>
                  </a:lnTo>
                  <a:lnTo>
                    <a:pt x="247" y="70"/>
                  </a:lnTo>
                  <a:lnTo>
                    <a:pt x="245" y="74"/>
                  </a:lnTo>
                  <a:lnTo>
                    <a:pt x="262" y="80"/>
                  </a:lnTo>
                  <a:close/>
                  <a:moveTo>
                    <a:pt x="375" y="74"/>
                  </a:moveTo>
                  <a:lnTo>
                    <a:pt x="395" y="65"/>
                  </a:lnTo>
                  <a:lnTo>
                    <a:pt x="375" y="56"/>
                  </a:lnTo>
                  <a:lnTo>
                    <a:pt x="375" y="56"/>
                  </a:lnTo>
                  <a:lnTo>
                    <a:pt x="342" y="56"/>
                  </a:lnTo>
                  <a:lnTo>
                    <a:pt x="289" y="55"/>
                  </a:lnTo>
                  <a:lnTo>
                    <a:pt x="273" y="76"/>
                  </a:lnTo>
                  <a:lnTo>
                    <a:pt x="273" y="76"/>
                  </a:lnTo>
                  <a:lnTo>
                    <a:pt x="375" y="74"/>
                  </a:lnTo>
                  <a:close/>
                  <a:moveTo>
                    <a:pt x="349" y="179"/>
                  </a:moveTo>
                  <a:lnTo>
                    <a:pt x="349" y="179"/>
                  </a:lnTo>
                  <a:lnTo>
                    <a:pt x="338" y="173"/>
                  </a:lnTo>
                  <a:lnTo>
                    <a:pt x="329" y="168"/>
                  </a:lnTo>
                  <a:lnTo>
                    <a:pt x="321" y="162"/>
                  </a:lnTo>
                  <a:lnTo>
                    <a:pt x="315" y="155"/>
                  </a:lnTo>
                  <a:lnTo>
                    <a:pt x="315" y="155"/>
                  </a:lnTo>
                  <a:lnTo>
                    <a:pt x="312" y="150"/>
                  </a:lnTo>
                  <a:lnTo>
                    <a:pt x="312" y="144"/>
                  </a:lnTo>
                  <a:lnTo>
                    <a:pt x="312" y="139"/>
                  </a:lnTo>
                  <a:lnTo>
                    <a:pt x="312" y="133"/>
                  </a:lnTo>
                  <a:lnTo>
                    <a:pt x="315" y="126"/>
                  </a:lnTo>
                  <a:lnTo>
                    <a:pt x="317" y="122"/>
                  </a:lnTo>
                  <a:lnTo>
                    <a:pt x="322" y="117"/>
                  </a:lnTo>
                  <a:lnTo>
                    <a:pt x="327" y="113"/>
                  </a:lnTo>
                  <a:lnTo>
                    <a:pt x="327" y="113"/>
                  </a:lnTo>
                  <a:lnTo>
                    <a:pt x="329" y="115"/>
                  </a:lnTo>
                  <a:lnTo>
                    <a:pt x="331" y="118"/>
                  </a:lnTo>
                  <a:lnTo>
                    <a:pt x="331" y="120"/>
                  </a:lnTo>
                  <a:lnTo>
                    <a:pt x="331" y="120"/>
                  </a:lnTo>
                  <a:lnTo>
                    <a:pt x="347" y="119"/>
                  </a:lnTo>
                  <a:lnTo>
                    <a:pt x="347" y="119"/>
                  </a:lnTo>
                  <a:lnTo>
                    <a:pt x="347" y="114"/>
                  </a:lnTo>
                  <a:lnTo>
                    <a:pt x="347" y="110"/>
                  </a:lnTo>
                  <a:lnTo>
                    <a:pt x="345" y="108"/>
                  </a:lnTo>
                  <a:lnTo>
                    <a:pt x="345" y="108"/>
                  </a:lnTo>
                  <a:lnTo>
                    <a:pt x="350" y="112"/>
                  </a:lnTo>
                  <a:lnTo>
                    <a:pt x="352" y="115"/>
                  </a:lnTo>
                  <a:lnTo>
                    <a:pt x="353" y="119"/>
                  </a:lnTo>
                  <a:lnTo>
                    <a:pt x="353" y="119"/>
                  </a:lnTo>
                  <a:lnTo>
                    <a:pt x="368" y="120"/>
                  </a:lnTo>
                  <a:lnTo>
                    <a:pt x="368" y="120"/>
                  </a:lnTo>
                  <a:lnTo>
                    <a:pt x="368" y="115"/>
                  </a:lnTo>
                  <a:lnTo>
                    <a:pt x="365" y="110"/>
                  </a:lnTo>
                  <a:lnTo>
                    <a:pt x="365" y="110"/>
                  </a:lnTo>
                  <a:lnTo>
                    <a:pt x="370" y="114"/>
                  </a:lnTo>
                  <a:lnTo>
                    <a:pt x="375" y="117"/>
                  </a:lnTo>
                  <a:lnTo>
                    <a:pt x="379" y="122"/>
                  </a:lnTo>
                  <a:lnTo>
                    <a:pt x="381" y="125"/>
                  </a:lnTo>
                  <a:lnTo>
                    <a:pt x="384" y="134"/>
                  </a:lnTo>
                  <a:lnTo>
                    <a:pt x="385" y="141"/>
                  </a:lnTo>
                  <a:lnTo>
                    <a:pt x="385" y="141"/>
                  </a:lnTo>
                  <a:lnTo>
                    <a:pt x="384" y="150"/>
                  </a:lnTo>
                  <a:lnTo>
                    <a:pt x="381" y="157"/>
                  </a:lnTo>
                  <a:lnTo>
                    <a:pt x="376" y="163"/>
                  </a:lnTo>
                  <a:lnTo>
                    <a:pt x="370" y="168"/>
                  </a:lnTo>
                  <a:lnTo>
                    <a:pt x="370" y="168"/>
                  </a:lnTo>
                  <a:lnTo>
                    <a:pt x="359" y="174"/>
                  </a:lnTo>
                  <a:lnTo>
                    <a:pt x="349" y="179"/>
                  </a:lnTo>
                  <a:close/>
                  <a:moveTo>
                    <a:pt x="334" y="284"/>
                  </a:moveTo>
                  <a:lnTo>
                    <a:pt x="334" y="284"/>
                  </a:lnTo>
                  <a:lnTo>
                    <a:pt x="333" y="282"/>
                  </a:lnTo>
                  <a:lnTo>
                    <a:pt x="333" y="282"/>
                  </a:lnTo>
                  <a:lnTo>
                    <a:pt x="332" y="282"/>
                  </a:lnTo>
                  <a:lnTo>
                    <a:pt x="332" y="282"/>
                  </a:lnTo>
                  <a:lnTo>
                    <a:pt x="334" y="284"/>
                  </a:lnTo>
                  <a:close/>
                  <a:moveTo>
                    <a:pt x="189" y="88"/>
                  </a:moveTo>
                  <a:lnTo>
                    <a:pt x="189" y="88"/>
                  </a:lnTo>
                  <a:lnTo>
                    <a:pt x="188" y="88"/>
                  </a:lnTo>
                  <a:lnTo>
                    <a:pt x="183" y="90"/>
                  </a:lnTo>
                  <a:lnTo>
                    <a:pt x="177" y="90"/>
                  </a:lnTo>
                  <a:lnTo>
                    <a:pt x="177" y="90"/>
                  </a:lnTo>
                  <a:lnTo>
                    <a:pt x="176" y="87"/>
                  </a:lnTo>
                  <a:lnTo>
                    <a:pt x="176" y="82"/>
                  </a:lnTo>
                  <a:lnTo>
                    <a:pt x="176" y="82"/>
                  </a:lnTo>
                  <a:lnTo>
                    <a:pt x="178" y="82"/>
                  </a:lnTo>
                  <a:lnTo>
                    <a:pt x="183" y="83"/>
                  </a:lnTo>
                  <a:lnTo>
                    <a:pt x="187" y="85"/>
                  </a:lnTo>
                  <a:lnTo>
                    <a:pt x="189" y="88"/>
                  </a:lnTo>
                  <a:close/>
                  <a:moveTo>
                    <a:pt x="406" y="243"/>
                  </a:moveTo>
                  <a:lnTo>
                    <a:pt x="406" y="243"/>
                  </a:lnTo>
                  <a:lnTo>
                    <a:pt x="412" y="244"/>
                  </a:lnTo>
                  <a:lnTo>
                    <a:pt x="417" y="243"/>
                  </a:lnTo>
                  <a:lnTo>
                    <a:pt x="417" y="243"/>
                  </a:lnTo>
                  <a:lnTo>
                    <a:pt x="415" y="236"/>
                  </a:lnTo>
                  <a:lnTo>
                    <a:pt x="414" y="225"/>
                  </a:lnTo>
                  <a:lnTo>
                    <a:pt x="414" y="225"/>
                  </a:lnTo>
                  <a:lnTo>
                    <a:pt x="411" y="225"/>
                  </a:lnTo>
                  <a:lnTo>
                    <a:pt x="407" y="225"/>
                  </a:lnTo>
                  <a:lnTo>
                    <a:pt x="403" y="223"/>
                  </a:lnTo>
                  <a:lnTo>
                    <a:pt x="398" y="220"/>
                  </a:lnTo>
                  <a:lnTo>
                    <a:pt x="398" y="220"/>
                  </a:lnTo>
                  <a:lnTo>
                    <a:pt x="396" y="215"/>
                  </a:lnTo>
                  <a:lnTo>
                    <a:pt x="396" y="215"/>
                  </a:lnTo>
                  <a:lnTo>
                    <a:pt x="388" y="205"/>
                  </a:lnTo>
                  <a:lnTo>
                    <a:pt x="380" y="198"/>
                  </a:lnTo>
                  <a:lnTo>
                    <a:pt x="371" y="191"/>
                  </a:lnTo>
                  <a:lnTo>
                    <a:pt x="364" y="187"/>
                  </a:lnTo>
                  <a:lnTo>
                    <a:pt x="364" y="187"/>
                  </a:lnTo>
                  <a:lnTo>
                    <a:pt x="376" y="179"/>
                  </a:lnTo>
                  <a:lnTo>
                    <a:pt x="385" y="172"/>
                  </a:lnTo>
                  <a:lnTo>
                    <a:pt x="391" y="166"/>
                  </a:lnTo>
                  <a:lnTo>
                    <a:pt x="393" y="161"/>
                  </a:lnTo>
                  <a:lnTo>
                    <a:pt x="393" y="161"/>
                  </a:lnTo>
                  <a:lnTo>
                    <a:pt x="396" y="156"/>
                  </a:lnTo>
                  <a:lnTo>
                    <a:pt x="398" y="149"/>
                  </a:lnTo>
                  <a:lnTo>
                    <a:pt x="398" y="141"/>
                  </a:lnTo>
                  <a:lnTo>
                    <a:pt x="398" y="133"/>
                  </a:lnTo>
                  <a:lnTo>
                    <a:pt x="396" y="124"/>
                  </a:lnTo>
                  <a:lnTo>
                    <a:pt x="392" y="115"/>
                  </a:lnTo>
                  <a:lnTo>
                    <a:pt x="386" y="108"/>
                  </a:lnTo>
                  <a:lnTo>
                    <a:pt x="381" y="104"/>
                  </a:lnTo>
                  <a:lnTo>
                    <a:pt x="376" y="101"/>
                  </a:lnTo>
                  <a:lnTo>
                    <a:pt x="376" y="101"/>
                  </a:lnTo>
                  <a:lnTo>
                    <a:pt x="369" y="97"/>
                  </a:lnTo>
                  <a:lnTo>
                    <a:pt x="360" y="95"/>
                  </a:lnTo>
                  <a:lnTo>
                    <a:pt x="353" y="93"/>
                  </a:lnTo>
                  <a:lnTo>
                    <a:pt x="345" y="93"/>
                  </a:lnTo>
                  <a:lnTo>
                    <a:pt x="333" y="96"/>
                  </a:lnTo>
                  <a:lnTo>
                    <a:pt x="323" y="98"/>
                  </a:lnTo>
                  <a:lnTo>
                    <a:pt x="323" y="98"/>
                  </a:lnTo>
                  <a:lnTo>
                    <a:pt x="317" y="102"/>
                  </a:lnTo>
                  <a:lnTo>
                    <a:pt x="311" y="107"/>
                  </a:lnTo>
                  <a:lnTo>
                    <a:pt x="306" y="112"/>
                  </a:lnTo>
                  <a:lnTo>
                    <a:pt x="302" y="118"/>
                  </a:lnTo>
                  <a:lnTo>
                    <a:pt x="300" y="125"/>
                  </a:lnTo>
                  <a:lnTo>
                    <a:pt x="297" y="133"/>
                  </a:lnTo>
                  <a:lnTo>
                    <a:pt x="297" y="140"/>
                  </a:lnTo>
                  <a:lnTo>
                    <a:pt x="297" y="150"/>
                  </a:lnTo>
                  <a:lnTo>
                    <a:pt x="297" y="150"/>
                  </a:lnTo>
                  <a:lnTo>
                    <a:pt x="300" y="156"/>
                  </a:lnTo>
                  <a:lnTo>
                    <a:pt x="302" y="162"/>
                  </a:lnTo>
                  <a:lnTo>
                    <a:pt x="306" y="168"/>
                  </a:lnTo>
                  <a:lnTo>
                    <a:pt x="310" y="172"/>
                  </a:lnTo>
                  <a:lnTo>
                    <a:pt x="321" y="179"/>
                  </a:lnTo>
                  <a:lnTo>
                    <a:pt x="333" y="187"/>
                  </a:lnTo>
                  <a:lnTo>
                    <a:pt x="333" y="187"/>
                  </a:lnTo>
                  <a:lnTo>
                    <a:pt x="323" y="191"/>
                  </a:lnTo>
                  <a:lnTo>
                    <a:pt x="316" y="199"/>
                  </a:lnTo>
                  <a:lnTo>
                    <a:pt x="313" y="203"/>
                  </a:lnTo>
                  <a:lnTo>
                    <a:pt x="312" y="207"/>
                  </a:lnTo>
                  <a:lnTo>
                    <a:pt x="311" y="212"/>
                  </a:lnTo>
                  <a:lnTo>
                    <a:pt x="310" y="218"/>
                  </a:lnTo>
                  <a:lnTo>
                    <a:pt x="310" y="218"/>
                  </a:lnTo>
                  <a:lnTo>
                    <a:pt x="311" y="226"/>
                  </a:lnTo>
                  <a:lnTo>
                    <a:pt x="313" y="234"/>
                  </a:lnTo>
                  <a:lnTo>
                    <a:pt x="315" y="244"/>
                  </a:lnTo>
                  <a:lnTo>
                    <a:pt x="315" y="250"/>
                  </a:lnTo>
                  <a:lnTo>
                    <a:pt x="313" y="257"/>
                  </a:lnTo>
                  <a:lnTo>
                    <a:pt x="313" y="257"/>
                  </a:lnTo>
                  <a:lnTo>
                    <a:pt x="315" y="257"/>
                  </a:lnTo>
                  <a:lnTo>
                    <a:pt x="320" y="255"/>
                  </a:lnTo>
                  <a:lnTo>
                    <a:pt x="326" y="250"/>
                  </a:lnTo>
                  <a:lnTo>
                    <a:pt x="326" y="250"/>
                  </a:lnTo>
                  <a:lnTo>
                    <a:pt x="328" y="243"/>
                  </a:lnTo>
                  <a:lnTo>
                    <a:pt x="329" y="236"/>
                  </a:lnTo>
                  <a:lnTo>
                    <a:pt x="329" y="227"/>
                  </a:lnTo>
                  <a:lnTo>
                    <a:pt x="329" y="227"/>
                  </a:lnTo>
                  <a:lnTo>
                    <a:pt x="332" y="231"/>
                  </a:lnTo>
                  <a:lnTo>
                    <a:pt x="333" y="237"/>
                  </a:lnTo>
                  <a:lnTo>
                    <a:pt x="333" y="242"/>
                  </a:lnTo>
                  <a:lnTo>
                    <a:pt x="332" y="247"/>
                  </a:lnTo>
                  <a:lnTo>
                    <a:pt x="332" y="247"/>
                  </a:lnTo>
                  <a:lnTo>
                    <a:pt x="337" y="244"/>
                  </a:lnTo>
                  <a:lnTo>
                    <a:pt x="339" y="242"/>
                  </a:lnTo>
                  <a:lnTo>
                    <a:pt x="342" y="239"/>
                  </a:lnTo>
                  <a:lnTo>
                    <a:pt x="342" y="239"/>
                  </a:lnTo>
                  <a:lnTo>
                    <a:pt x="343" y="231"/>
                  </a:lnTo>
                  <a:lnTo>
                    <a:pt x="343" y="222"/>
                  </a:lnTo>
                  <a:lnTo>
                    <a:pt x="340" y="216"/>
                  </a:lnTo>
                  <a:lnTo>
                    <a:pt x="339" y="211"/>
                  </a:lnTo>
                  <a:lnTo>
                    <a:pt x="339" y="211"/>
                  </a:lnTo>
                  <a:lnTo>
                    <a:pt x="338" y="206"/>
                  </a:lnTo>
                  <a:lnTo>
                    <a:pt x="339" y="201"/>
                  </a:lnTo>
                  <a:lnTo>
                    <a:pt x="343" y="196"/>
                  </a:lnTo>
                  <a:lnTo>
                    <a:pt x="347" y="194"/>
                  </a:lnTo>
                  <a:lnTo>
                    <a:pt x="347" y="194"/>
                  </a:lnTo>
                  <a:lnTo>
                    <a:pt x="359" y="200"/>
                  </a:lnTo>
                  <a:lnTo>
                    <a:pt x="359" y="200"/>
                  </a:lnTo>
                  <a:lnTo>
                    <a:pt x="364" y="204"/>
                  </a:lnTo>
                  <a:lnTo>
                    <a:pt x="371" y="210"/>
                  </a:lnTo>
                  <a:lnTo>
                    <a:pt x="379" y="218"/>
                  </a:lnTo>
                  <a:lnTo>
                    <a:pt x="382" y="223"/>
                  </a:lnTo>
                  <a:lnTo>
                    <a:pt x="385" y="230"/>
                  </a:lnTo>
                  <a:lnTo>
                    <a:pt x="385" y="230"/>
                  </a:lnTo>
                  <a:lnTo>
                    <a:pt x="388" y="237"/>
                  </a:lnTo>
                  <a:lnTo>
                    <a:pt x="390" y="244"/>
                  </a:lnTo>
                  <a:lnTo>
                    <a:pt x="390" y="250"/>
                  </a:lnTo>
                  <a:lnTo>
                    <a:pt x="390" y="257"/>
                  </a:lnTo>
                  <a:lnTo>
                    <a:pt x="387" y="265"/>
                  </a:lnTo>
                  <a:lnTo>
                    <a:pt x="385" y="270"/>
                  </a:lnTo>
                  <a:lnTo>
                    <a:pt x="385" y="270"/>
                  </a:lnTo>
                  <a:lnTo>
                    <a:pt x="380" y="276"/>
                  </a:lnTo>
                  <a:lnTo>
                    <a:pt x="375" y="282"/>
                  </a:lnTo>
                  <a:lnTo>
                    <a:pt x="368" y="286"/>
                  </a:lnTo>
                  <a:lnTo>
                    <a:pt x="359" y="287"/>
                  </a:lnTo>
                  <a:lnTo>
                    <a:pt x="359" y="287"/>
                  </a:lnTo>
                  <a:lnTo>
                    <a:pt x="358" y="287"/>
                  </a:lnTo>
                  <a:lnTo>
                    <a:pt x="358" y="287"/>
                  </a:lnTo>
                  <a:lnTo>
                    <a:pt x="348" y="287"/>
                  </a:lnTo>
                  <a:lnTo>
                    <a:pt x="348" y="287"/>
                  </a:lnTo>
                  <a:lnTo>
                    <a:pt x="339" y="285"/>
                  </a:lnTo>
                  <a:lnTo>
                    <a:pt x="339" y="285"/>
                  </a:lnTo>
                  <a:lnTo>
                    <a:pt x="332" y="282"/>
                  </a:lnTo>
                  <a:lnTo>
                    <a:pt x="332" y="282"/>
                  </a:lnTo>
                  <a:lnTo>
                    <a:pt x="325" y="279"/>
                  </a:lnTo>
                  <a:lnTo>
                    <a:pt x="313" y="271"/>
                  </a:lnTo>
                  <a:lnTo>
                    <a:pt x="301" y="263"/>
                  </a:lnTo>
                  <a:lnTo>
                    <a:pt x="289" y="250"/>
                  </a:lnTo>
                  <a:lnTo>
                    <a:pt x="289" y="250"/>
                  </a:lnTo>
                  <a:lnTo>
                    <a:pt x="273" y="231"/>
                  </a:lnTo>
                  <a:lnTo>
                    <a:pt x="262" y="217"/>
                  </a:lnTo>
                  <a:lnTo>
                    <a:pt x="262" y="217"/>
                  </a:lnTo>
                  <a:lnTo>
                    <a:pt x="268" y="220"/>
                  </a:lnTo>
                  <a:lnTo>
                    <a:pt x="273" y="220"/>
                  </a:lnTo>
                  <a:lnTo>
                    <a:pt x="279" y="220"/>
                  </a:lnTo>
                  <a:lnTo>
                    <a:pt x="279" y="220"/>
                  </a:lnTo>
                  <a:lnTo>
                    <a:pt x="280" y="209"/>
                  </a:lnTo>
                  <a:lnTo>
                    <a:pt x="280" y="198"/>
                  </a:lnTo>
                  <a:lnTo>
                    <a:pt x="280" y="198"/>
                  </a:lnTo>
                  <a:lnTo>
                    <a:pt x="280" y="188"/>
                  </a:lnTo>
                  <a:lnTo>
                    <a:pt x="280" y="188"/>
                  </a:lnTo>
                  <a:lnTo>
                    <a:pt x="277" y="188"/>
                  </a:lnTo>
                  <a:lnTo>
                    <a:pt x="268" y="185"/>
                  </a:lnTo>
                  <a:lnTo>
                    <a:pt x="264" y="184"/>
                  </a:lnTo>
                  <a:lnTo>
                    <a:pt x="259" y="182"/>
                  </a:lnTo>
                  <a:lnTo>
                    <a:pt x="256" y="179"/>
                  </a:lnTo>
                  <a:lnTo>
                    <a:pt x="253" y="176"/>
                  </a:lnTo>
                  <a:lnTo>
                    <a:pt x="253" y="176"/>
                  </a:lnTo>
                  <a:lnTo>
                    <a:pt x="257" y="177"/>
                  </a:lnTo>
                  <a:lnTo>
                    <a:pt x="261" y="178"/>
                  </a:lnTo>
                  <a:lnTo>
                    <a:pt x="266" y="179"/>
                  </a:lnTo>
                  <a:lnTo>
                    <a:pt x="266" y="179"/>
                  </a:lnTo>
                  <a:lnTo>
                    <a:pt x="277" y="178"/>
                  </a:lnTo>
                  <a:lnTo>
                    <a:pt x="281" y="178"/>
                  </a:lnTo>
                  <a:lnTo>
                    <a:pt x="281" y="178"/>
                  </a:lnTo>
                  <a:lnTo>
                    <a:pt x="283" y="167"/>
                  </a:lnTo>
                  <a:lnTo>
                    <a:pt x="283" y="157"/>
                  </a:lnTo>
                  <a:lnTo>
                    <a:pt x="283" y="157"/>
                  </a:lnTo>
                  <a:lnTo>
                    <a:pt x="283" y="147"/>
                  </a:lnTo>
                  <a:lnTo>
                    <a:pt x="283" y="147"/>
                  </a:lnTo>
                  <a:lnTo>
                    <a:pt x="275" y="147"/>
                  </a:lnTo>
                  <a:lnTo>
                    <a:pt x="267" y="146"/>
                  </a:lnTo>
                  <a:lnTo>
                    <a:pt x="267" y="146"/>
                  </a:lnTo>
                  <a:lnTo>
                    <a:pt x="258" y="142"/>
                  </a:lnTo>
                  <a:lnTo>
                    <a:pt x="254" y="140"/>
                  </a:lnTo>
                  <a:lnTo>
                    <a:pt x="252" y="136"/>
                  </a:lnTo>
                  <a:lnTo>
                    <a:pt x="252" y="136"/>
                  </a:lnTo>
                  <a:lnTo>
                    <a:pt x="256" y="137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72" y="140"/>
                  </a:lnTo>
                  <a:lnTo>
                    <a:pt x="278" y="139"/>
                  </a:lnTo>
                  <a:lnTo>
                    <a:pt x="283" y="139"/>
                  </a:lnTo>
                  <a:lnTo>
                    <a:pt x="284" y="137"/>
                  </a:lnTo>
                  <a:lnTo>
                    <a:pt x="284" y="137"/>
                  </a:lnTo>
                  <a:lnTo>
                    <a:pt x="284" y="118"/>
                  </a:lnTo>
                  <a:lnTo>
                    <a:pt x="284" y="118"/>
                  </a:lnTo>
                  <a:lnTo>
                    <a:pt x="285" y="113"/>
                  </a:lnTo>
                  <a:lnTo>
                    <a:pt x="285" y="107"/>
                  </a:lnTo>
                  <a:lnTo>
                    <a:pt x="285" y="107"/>
                  </a:lnTo>
                  <a:lnTo>
                    <a:pt x="281" y="107"/>
                  </a:lnTo>
                  <a:lnTo>
                    <a:pt x="274" y="106"/>
                  </a:lnTo>
                  <a:lnTo>
                    <a:pt x="266" y="102"/>
                  </a:lnTo>
                  <a:lnTo>
                    <a:pt x="262" y="99"/>
                  </a:lnTo>
                  <a:lnTo>
                    <a:pt x="257" y="96"/>
                  </a:lnTo>
                  <a:lnTo>
                    <a:pt x="257" y="96"/>
                  </a:lnTo>
                  <a:lnTo>
                    <a:pt x="256" y="93"/>
                  </a:lnTo>
                  <a:lnTo>
                    <a:pt x="256" y="91"/>
                  </a:lnTo>
                  <a:lnTo>
                    <a:pt x="257" y="86"/>
                  </a:lnTo>
                  <a:lnTo>
                    <a:pt x="257" y="86"/>
                  </a:lnTo>
                  <a:lnTo>
                    <a:pt x="235" y="76"/>
                  </a:lnTo>
                  <a:lnTo>
                    <a:pt x="235" y="76"/>
                  </a:lnTo>
                  <a:lnTo>
                    <a:pt x="237" y="74"/>
                  </a:lnTo>
                  <a:lnTo>
                    <a:pt x="240" y="70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38" y="64"/>
                  </a:lnTo>
                  <a:lnTo>
                    <a:pt x="235" y="61"/>
                  </a:lnTo>
                  <a:lnTo>
                    <a:pt x="231" y="60"/>
                  </a:lnTo>
                  <a:lnTo>
                    <a:pt x="226" y="60"/>
                  </a:lnTo>
                  <a:lnTo>
                    <a:pt x="226" y="60"/>
                  </a:lnTo>
                  <a:lnTo>
                    <a:pt x="221" y="61"/>
                  </a:lnTo>
                  <a:lnTo>
                    <a:pt x="219" y="64"/>
                  </a:lnTo>
                  <a:lnTo>
                    <a:pt x="215" y="68"/>
                  </a:lnTo>
                  <a:lnTo>
                    <a:pt x="188" y="55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5" y="79"/>
                  </a:lnTo>
                  <a:lnTo>
                    <a:pt x="165" y="81"/>
                  </a:lnTo>
                  <a:lnTo>
                    <a:pt x="165" y="83"/>
                  </a:lnTo>
                  <a:lnTo>
                    <a:pt x="165" y="83"/>
                  </a:lnTo>
                  <a:lnTo>
                    <a:pt x="165" y="85"/>
                  </a:lnTo>
                  <a:lnTo>
                    <a:pt x="163" y="86"/>
                  </a:lnTo>
                  <a:lnTo>
                    <a:pt x="163" y="86"/>
                  </a:lnTo>
                  <a:lnTo>
                    <a:pt x="157" y="93"/>
                  </a:lnTo>
                  <a:lnTo>
                    <a:pt x="157" y="93"/>
                  </a:lnTo>
                  <a:lnTo>
                    <a:pt x="154" y="99"/>
                  </a:lnTo>
                  <a:lnTo>
                    <a:pt x="154" y="99"/>
                  </a:lnTo>
                  <a:lnTo>
                    <a:pt x="151" y="104"/>
                  </a:lnTo>
                  <a:lnTo>
                    <a:pt x="150" y="108"/>
                  </a:lnTo>
                  <a:lnTo>
                    <a:pt x="150" y="108"/>
                  </a:lnTo>
                  <a:lnTo>
                    <a:pt x="149" y="109"/>
                  </a:lnTo>
                  <a:lnTo>
                    <a:pt x="149" y="112"/>
                  </a:lnTo>
                  <a:lnTo>
                    <a:pt x="151" y="117"/>
                  </a:lnTo>
                  <a:lnTo>
                    <a:pt x="157" y="122"/>
                  </a:lnTo>
                  <a:lnTo>
                    <a:pt x="157" y="123"/>
                  </a:lnTo>
                  <a:lnTo>
                    <a:pt x="157" y="123"/>
                  </a:lnTo>
                  <a:lnTo>
                    <a:pt x="159" y="122"/>
                  </a:lnTo>
                  <a:lnTo>
                    <a:pt x="160" y="122"/>
                  </a:lnTo>
                  <a:lnTo>
                    <a:pt x="160" y="122"/>
                  </a:lnTo>
                  <a:lnTo>
                    <a:pt x="163" y="125"/>
                  </a:lnTo>
                  <a:lnTo>
                    <a:pt x="163" y="125"/>
                  </a:lnTo>
                  <a:lnTo>
                    <a:pt x="165" y="123"/>
                  </a:lnTo>
                  <a:lnTo>
                    <a:pt x="167" y="119"/>
                  </a:lnTo>
                  <a:lnTo>
                    <a:pt x="167" y="119"/>
                  </a:lnTo>
                  <a:lnTo>
                    <a:pt x="171" y="114"/>
                  </a:lnTo>
                  <a:lnTo>
                    <a:pt x="176" y="110"/>
                  </a:lnTo>
                  <a:lnTo>
                    <a:pt x="176" y="110"/>
                  </a:lnTo>
                  <a:lnTo>
                    <a:pt x="181" y="108"/>
                  </a:lnTo>
                  <a:lnTo>
                    <a:pt x="186" y="108"/>
                  </a:lnTo>
                  <a:lnTo>
                    <a:pt x="186" y="108"/>
                  </a:lnTo>
                  <a:lnTo>
                    <a:pt x="191" y="108"/>
                  </a:lnTo>
                  <a:lnTo>
                    <a:pt x="194" y="110"/>
                  </a:lnTo>
                  <a:lnTo>
                    <a:pt x="194" y="110"/>
                  </a:lnTo>
                  <a:lnTo>
                    <a:pt x="197" y="114"/>
                  </a:lnTo>
                  <a:lnTo>
                    <a:pt x="198" y="119"/>
                  </a:lnTo>
                  <a:lnTo>
                    <a:pt x="198" y="124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5" y="125"/>
                  </a:lnTo>
                  <a:lnTo>
                    <a:pt x="195" y="125"/>
                  </a:lnTo>
                  <a:lnTo>
                    <a:pt x="192" y="124"/>
                  </a:lnTo>
                  <a:lnTo>
                    <a:pt x="186" y="123"/>
                  </a:lnTo>
                  <a:lnTo>
                    <a:pt x="178" y="123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62" y="128"/>
                  </a:lnTo>
                  <a:lnTo>
                    <a:pt x="148" y="133"/>
                  </a:lnTo>
                  <a:lnTo>
                    <a:pt x="148" y="133"/>
                  </a:lnTo>
                  <a:lnTo>
                    <a:pt x="144" y="134"/>
                  </a:lnTo>
                  <a:lnTo>
                    <a:pt x="140" y="134"/>
                  </a:lnTo>
                  <a:lnTo>
                    <a:pt x="138" y="131"/>
                  </a:lnTo>
                  <a:lnTo>
                    <a:pt x="136" y="129"/>
                  </a:lnTo>
                  <a:lnTo>
                    <a:pt x="136" y="129"/>
                  </a:lnTo>
                  <a:lnTo>
                    <a:pt x="136" y="125"/>
                  </a:lnTo>
                  <a:lnTo>
                    <a:pt x="136" y="123"/>
                  </a:lnTo>
                  <a:lnTo>
                    <a:pt x="138" y="120"/>
                  </a:lnTo>
                  <a:lnTo>
                    <a:pt x="138" y="120"/>
                  </a:lnTo>
                  <a:lnTo>
                    <a:pt x="134" y="123"/>
                  </a:lnTo>
                  <a:lnTo>
                    <a:pt x="130" y="125"/>
                  </a:lnTo>
                  <a:lnTo>
                    <a:pt x="128" y="129"/>
                  </a:lnTo>
                  <a:lnTo>
                    <a:pt x="128" y="129"/>
                  </a:lnTo>
                  <a:lnTo>
                    <a:pt x="128" y="134"/>
                  </a:lnTo>
                  <a:lnTo>
                    <a:pt x="129" y="139"/>
                  </a:lnTo>
                  <a:lnTo>
                    <a:pt x="132" y="141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40" y="144"/>
                  </a:lnTo>
                  <a:lnTo>
                    <a:pt x="146" y="142"/>
                  </a:lnTo>
                  <a:lnTo>
                    <a:pt x="157" y="137"/>
                  </a:lnTo>
                  <a:lnTo>
                    <a:pt x="157" y="137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73" y="130"/>
                  </a:lnTo>
                  <a:lnTo>
                    <a:pt x="177" y="129"/>
                  </a:lnTo>
                  <a:lnTo>
                    <a:pt x="182" y="130"/>
                  </a:lnTo>
                  <a:lnTo>
                    <a:pt x="187" y="131"/>
                  </a:lnTo>
                  <a:lnTo>
                    <a:pt x="187" y="131"/>
                  </a:lnTo>
                  <a:lnTo>
                    <a:pt x="192" y="135"/>
                  </a:lnTo>
                  <a:lnTo>
                    <a:pt x="194" y="136"/>
                  </a:lnTo>
                  <a:lnTo>
                    <a:pt x="194" y="136"/>
                  </a:lnTo>
                  <a:lnTo>
                    <a:pt x="192" y="140"/>
                  </a:lnTo>
                  <a:lnTo>
                    <a:pt x="189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79" y="142"/>
                  </a:lnTo>
                  <a:lnTo>
                    <a:pt x="176" y="141"/>
                  </a:lnTo>
                  <a:lnTo>
                    <a:pt x="172" y="139"/>
                  </a:lnTo>
                  <a:lnTo>
                    <a:pt x="171" y="136"/>
                  </a:lnTo>
                  <a:lnTo>
                    <a:pt x="171" y="136"/>
                  </a:lnTo>
                  <a:lnTo>
                    <a:pt x="168" y="141"/>
                  </a:lnTo>
                  <a:lnTo>
                    <a:pt x="168" y="141"/>
                  </a:lnTo>
                  <a:lnTo>
                    <a:pt x="167" y="144"/>
                  </a:lnTo>
                  <a:lnTo>
                    <a:pt x="167" y="146"/>
                  </a:lnTo>
                  <a:lnTo>
                    <a:pt x="168" y="147"/>
                  </a:lnTo>
                  <a:lnTo>
                    <a:pt x="167" y="150"/>
                  </a:lnTo>
                  <a:lnTo>
                    <a:pt x="167" y="150"/>
                  </a:lnTo>
                  <a:lnTo>
                    <a:pt x="166" y="151"/>
                  </a:lnTo>
                  <a:lnTo>
                    <a:pt x="165" y="153"/>
                  </a:lnTo>
                  <a:lnTo>
                    <a:pt x="160" y="157"/>
                  </a:lnTo>
                  <a:lnTo>
                    <a:pt x="160" y="157"/>
                  </a:lnTo>
                  <a:lnTo>
                    <a:pt x="152" y="161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52" y="173"/>
                  </a:lnTo>
                  <a:lnTo>
                    <a:pt x="152" y="173"/>
                  </a:lnTo>
                  <a:lnTo>
                    <a:pt x="156" y="180"/>
                  </a:lnTo>
                  <a:lnTo>
                    <a:pt x="159" y="185"/>
                  </a:lnTo>
                  <a:lnTo>
                    <a:pt x="161" y="189"/>
                  </a:lnTo>
                  <a:lnTo>
                    <a:pt x="161" y="189"/>
                  </a:lnTo>
                  <a:lnTo>
                    <a:pt x="166" y="188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81" y="179"/>
                  </a:lnTo>
                  <a:lnTo>
                    <a:pt x="184" y="174"/>
                  </a:lnTo>
                  <a:lnTo>
                    <a:pt x="184" y="174"/>
                  </a:lnTo>
                  <a:lnTo>
                    <a:pt x="179" y="185"/>
                  </a:lnTo>
                  <a:lnTo>
                    <a:pt x="176" y="191"/>
                  </a:lnTo>
                  <a:lnTo>
                    <a:pt x="171" y="196"/>
                  </a:lnTo>
                  <a:lnTo>
                    <a:pt x="167" y="200"/>
                  </a:lnTo>
                  <a:lnTo>
                    <a:pt x="167" y="200"/>
                  </a:lnTo>
                  <a:lnTo>
                    <a:pt x="151" y="211"/>
                  </a:lnTo>
                  <a:lnTo>
                    <a:pt x="129" y="223"/>
                  </a:lnTo>
                  <a:lnTo>
                    <a:pt x="116" y="231"/>
                  </a:lnTo>
                  <a:lnTo>
                    <a:pt x="103" y="236"/>
                  </a:lnTo>
                  <a:lnTo>
                    <a:pt x="90" y="241"/>
                  </a:lnTo>
                  <a:lnTo>
                    <a:pt x="76" y="243"/>
                  </a:lnTo>
                  <a:lnTo>
                    <a:pt x="76" y="243"/>
                  </a:lnTo>
                  <a:lnTo>
                    <a:pt x="73" y="242"/>
                  </a:lnTo>
                  <a:lnTo>
                    <a:pt x="68" y="241"/>
                  </a:lnTo>
                  <a:lnTo>
                    <a:pt x="59" y="234"/>
                  </a:lnTo>
                  <a:lnTo>
                    <a:pt x="50" y="228"/>
                  </a:lnTo>
                  <a:lnTo>
                    <a:pt x="45" y="222"/>
                  </a:lnTo>
                  <a:lnTo>
                    <a:pt x="45" y="222"/>
                  </a:lnTo>
                  <a:lnTo>
                    <a:pt x="44" y="222"/>
                  </a:lnTo>
                  <a:lnTo>
                    <a:pt x="42" y="221"/>
                  </a:lnTo>
                  <a:lnTo>
                    <a:pt x="39" y="222"/>
                  </a:lnTo>
                  <a:lnTo>
                    <a:pt x="36" y="225"/>
                  </a:lnTo>
                  <a:lnTo>
                    <a:pt x="36" y="225"/>
                  </a:lnTo>
                  <a:lnTo>
                    <a:pt x="33" y="225"/>
                  </a:lnTo>
                  <a:lnTo>
                    <a:pt x="28" y="225"/>
                  </a:lnTo>
                  <a:lnTo>
                    <a:pt x="21" y="226"/>
                  </a:lnTo>
                  <a:lnTo>
                    <a:pt x="18" y="228"/>
                  </a:lnTo>
                  <a:lnTo>
                    <a:pt x="16" y="231"/>
                  </a:lnTo>
                  <a:lnTo>
                    <a:pt x="16" y="231"/>
                  </a:lnTo>
                  <a:lnTo>
                    <a:pt x="16" y="232"/>
                  </a:lnTo>
                  <a:lnTo>
                    <a:pt x="20" y="232"/>
                  </a:lnTo>
                  <a:lnTo>
                    <a:pt x="23" y="231"/>
                  </a:lnTo>
                  <a:lnTo>
                    <a:pt x="28" y="232"/>
                  </a:lnTo>
                  <a:lnTo>
                    <a:pt x="28" y="232"/>
                  </a:lnTo>
                  <a:lnTo>
                    <a:pt x="30" y="233"/>
                  </a:lnTo>
                  <a:lnTo>
                    <a:pt x="28" y="234"/>
                  </a:lnTo>
                  <a:lnTo>
                    <a:pt x="27" y="236"/>
                  </a:lnTo>
                  <a:lnTo>
                    <a:pt x="27" y="238"/>
                  </a:lnTo>
                  <a:lnTo>
                    <a:pt x="27" y="238"/>
                  </a:lnTo>
                  <a:lnTo>
                    <a:pt x="27" y="239"/>
                  </a:lnTo>
                  <a:lnTo>
                    <a:pt x="30" y="242"/>
                  </a:lnTo>
                  <a:lnTo>
                    <a:pt x="36" y="244"/>
                  </a:lnTo>
                  <a:lnTo>
                    <a:pt x="48" y="249"/>
                  </a:lnTo>
                  <a:lnTo>
                    <a:pt x="48" y="249"/>
                  </a:lnTo>
                  <a:lnTo>
                    <a:pt x="49" y="250"/>
                  </a:lnTo>
                  <a:lnTo>
                    <a:pt x="49" y="252"/>
                  </a:lnTo>
                  <a:lnTo>
                    <a:pt x="49" y="252"/>
                  </a:lnTo>
                  <a:lnTo>
                    <a:pt x="41" y="250"/>
                  </a:lnTo>
                  <a:lnTo>
                    <a:pt x="34" y="248"/>
                  </a:lnTo>
                  <a:lnTo>
                    <a:pt x="26" y="244"/>
                  </a:lnTo>
                  <a:lnTo>
                    <a:pt x="26" y="244"/>
                  </a:lnTo>
                  <a:lnTo>
                    <a:pt x="20" y="243"/>
                  </a:lnTo>
                  <a:lnTo>
                    <a:pt x="16" y="243"/>
                  </a:lnTo>
                  <a:lnTo>
                    <a:pt x="15" y="245"/>
                  </a:lnTo>
                  <a:lnTo>
                    <a:pt x="14" y="248"/>
                  </a:lnTo>
                  <a:lnTo>
                    <a:pt x="14" y="248"/>
                  </a:lnTo>
                  <a:lnTo>
                    <a:pt x="12" y="249"/>
                  </a:lnTo>
                  <a:lnTo>
                    <a:pt x="11" y="249"/>
                  </a:lnTo>
                  <a:lnTo>
                    <a:pt x="7" y="252"/>
                  </a:lnTo>
                  <a:lnTo>
                    <a:pt x="5" y="253"/>
                  </a:lnTo>
                  <a:lnTo>
                    <a:pt x="2" y="257"/>
                  </a:lnTo>
                  <a:lnTo>
                    <a:pt x="1" y="260"/>
                  </a:lnTo>
                  <a:lnTo>
                    <a:pt x="0" y="266"/>
                  </a:lnTo>
                  <a:lnTo>
                    <a:pt x="0" y="266"/>
                  </a:lnTo>
                  <a:lnTo>
                    <a:pt x="2" y="265"/>
                  </a:lnTo>
                  <a:lnTo>
                    <a:pt x="6" y="261"/>
                  </a:lnTo>
                  <a:lnTo>
                    <a:pt x="10" y="259"/>
                  </a:lnTo>
                  <a:lnTo>
                    <a:pt x="12" y="258"/>
                  </a:lnTo>
                  <a:lnTo>
                    <a:pt x="12" y="259"/>
                  </a:lnTo>
                  <a:lnTo>
                    <a:pt x="12" y="259"/>
                  </a:lnTo>
                  <a:lnTo>
                    <a:pt x="15" y="264"/>
                  </a:lnTo>
                  <a:lnTo>
                    <a:pt x="18" y="266"/>
                  </a:lnTo>
                  <a:lnTo>
                    <a:pt x="23" y="266"/>
                  </a:lnTo>
                  <a:lnTo>
                    <a:pt x="28" y="266"/>
                  </a:lnTo>
                  <a:lnTo>
                    <a:pt x="39" y="265"/>
                  </a:lnTo>
                  <a:lnTo>
                    <a:pt x="44" y="265"/>
                  </a:lnTo>
                  <a:lnTo>
                    <a:pt x="47" y="265"/>
                  </a:lnTo>
                  <a:lnTo>
                    <a:pt x="47" y="265"/>
                  </a:lnTo>
                  <a:lnTo>
                    <a:pt x="47" y="266"/>
                  </a:lnTo>
                  <a:lnTo>
                    <a:pt x="47" y="266"/>
                  </a:lnTo>
                  <a:lnTo>
                    <a:pt x="44" y="268"/>
                  </a:lnTo>
                  <a:lnTo>
                    <a:pt x="36" y="269"/>
                  </a:lnTo>
                  <a:lnTo>
                    <a:pt x="31" y="270"/>
                  </a:lnTo>
                  <a:lnTo>
                    <a:pt x="26" y="272"/>
                  </a:lnTo>
                  <a:lnTo>
                    <a:pt x="25" y="274"/>
                  </a:lnTo>
                  <a:lnTo>
                    <a:pt x="23" y="276"/>
                  </a:lnTo>
                  <a:lnTo>
                    <a:pt x="25" y="277"/>
                  </a:lnTo>
                  <a:lnTo>
                    <a:pt x="25" y="277"/>
                  </a:lnTo>
                  <a:lnTo>
                    <a:pt x="22" y="280"/>
                  </a:lnTo>
                  <a:lnTo>
                    <a:pt x="20" y="285"/>
                  </a:lnTo>
                  <a:lnTo>
                    <a:pt x="18" y="287"/>
                  </a:lnTo>
                  <a:lnTo>
                    <a:pt x="18" y="291"/>
                  </a:lnTo>
                  <a:lnTo>
                    <a:pt x="20" y="295"/>
                  </a:lnTo>
                  <a:lnTo>
                    <a:pt x="23" y="299"/>
                  </a:lnTo>
                  <a:lnTo>
                    <a:pt x="23" y="299"/>
                  </a:lnTo>
                  <a:lnTo>
                    <a:pt x="25" y="292"/>
                  </a:lnTo>
                  <a:lnTo>
                    <a:pt x="27" y="288"/>
                  </a:lnTo>
                  <a:lnTo>
                    <a:pt x="28" y="287"/>
                  </a:lnTo>
                  <a:lnTo>
                    <a:pt x="31" y="287"/>
                  </a:lnTo>
                  <a:lnTo>
                    <a:pt x="31" y="287"/>
                  </a:lnTo>
                  <a:lnTo>
                    <a:pt x="36" y="287"/>
                  </a:lnTo>
                  <a:lnTo>
                    <a:pt x="39" y="290"/>
                  </a:lnTo>
                  <a:lnTo>
                    <a:pt x="43" y="290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53" y="284"/>
                  </a:lnTo>
                  <a:lnTo>
                    <a:pt x="57" y="281"/>
                  </a:lnTo>
                  <a:lnTo>
                    <a:pt x="64" y="279"/>
                  </a:lnTo>
                  <a:lnTo>
                    <a:pt x="64" y="279"/>
                  </a:lnTo>
                  <a:lnTo>
                    <a:pt x="64" y="281"/>
                  </a:lnTo>
                  <a:lnTo>
                    <a:pt x="66" y="285"/>
                  </a:lnTo>
                  <a:lnTo>
                    <a:pt x="66" y="285"/>
                  </a:lnTo>
                  <a:lnTo>
                    <a:pt x="69" y="286"/>
                  </a:lnTo>
                  <a:lnTo>
                    <a:pt x="70" y="287"/>
                  </a:lnTo>
                  <a:lnTo>
                    <a:pt x="70" y="287"/>
                  </a:lnTo>
                  <a:lnTo>
                    <a:pt x="70" y="287"/>
                  </a:lnTo>
                  <a:lnTo>
                    <a:pt x="69" y="291"/>
                  </a:lnTo>
                  <a:lnTo>
                    <a:pt x="66" y="295"/>
                  </a:lnTo>
                  <a:lnTo>
                    <a:pt x="64" y="297"/>
                  </a:lnTo>
                  <a:lnTo>
                    <a:pt x="64" y="297"/>
                  </a:lnTo>
                  <a:lnTo>
                    <a:pt x="65" y="297"/>
                  </a:lnTo>
                  <a:lnTo>
                    <a:pt x="69" y="297"/>
                  </a:lnTo>
                  <a:lnTo>
                    <a:pt x="73" y="296"/>
                  </a:lnTo>
                  <a:lnTo>
                    <a:pt x="75" y="293"/>
                  </a:lnTo>
                  <a:lnTo>
                    <a:pt x="77" y="290"/>
                  </a:lnTo>
                  <a:lnTo>
                    <a:pt x="77" y="290"/>
                  </a:lnTo>
                  <a:lnTo>
                    <a:pt x="79" y="288"/>
                  </a:lnTo>
                  <a:lnTo>
                    <a:pt x="80" y="288"/>
                  </a:lnTo>
                  <a:lnTo>
                    <a:pt x="84" y="288"/>
                  </a:lnTo>
                  <a:lnTo>
                    <a:pt x="84" y="288"/>
                  </a:lnTo>
                  <a:lnTo>
                    <a:pt x="86" y="287"/>
                  </a:lnTo>
                  <a:lnTo>
                    <a:pt x="87" y="286"/>
                  </a:lnTo>
                  <a:lnTo>
                    <a:pt x="87" y="282"/>
                  </a:lnTo>
                  <a:lnTo>
                    <a:pt x="87" y="279"/>
                  </a:lnTo>
                  <a:lnTo>
                    <a:pt x="87" y="276"/>
                  </a:lnTo>
                  <a:lnTo>
                    <a:pt x="89" y="275"/>
                  </a:lnTo>
                  <a:lnTo>
                    <a:pt x="89" y="275"/>
                  </a:lnTo>
                  <a:lnTo>
                    <a:pt x="93" y="271"/>
                  </a:lnTo>
                  <a:lnTo>
                    <a:pt x="98" y="268"/>
                  </a:lnTo>
                  <a:lnTo>
                    <a:pt x="109" y="263"/>
                  </a:lnTo>
                  <a:lnTo>
                    <a:pt x="109" y="263"/>
                  </a:lnTo>
                  <a:lnTo>
                    <a:pt x="108" y="268"/>
                  </a:lnTo>
                  <a:lnTo>
                    <a:pt x="108" y="272"/>
                  </a:lnTo>
                  <a:lnTo>
                    <a:pt x="111" y="279"/>
                  </a:lnTo>
                  <a:lnTo>
                    <a:pt x="138" y="271"/>
                  </a:lnTo>
                  <a:lnTo>
                    <a:pt x="138" y="271"/>
                  </a:lnTo>
                  <a:lnTo>
                    <a:pt x="136" y="265"/>
                  </a:lnTo>
                  <a:lnTo>
                    <a:pt x="138" y="260"/>
                  </a:lnTo>
                  <a:lnTo>
                    <a:pt x="141" y="254"/>
                  </a:lnTo>
                  <a:lnTo>
                    <a:pt x="145" y="248"/>
                  </a:lnTo>
                  <a:lnTo>
                    <a:pt x="145" y="248"/>
                  </a:lnTo>
                  <a:lnTo>
                    <a:pt x="145" y="250"/>
                  </a:lnTo>
                  <a:lnTo>
                    <a:pt x="144" y="257"/>
                  </a:lnTo>
                  <a:lnTo>
                    <a:pt x="144" y="264"/>
                  </a:lnTo>
                  <a:lnTo>
                    <a:pt x="144" y="268"/>
                  </a:lnTo>
                  <a:lnTo>
                    <a:pt x="145" y="269"/>
                  </a:lnTo>
                  <a:lnTo>
                    <a:pt x="172" y="263"/>
                  </a:lnTo>
                  <a:lnTo>
                    <a:pt x="172" y="263"/>
                  </a:lnTo>
                  <a:lnTo>
                    <a:pt x="171" y="259"/>
                  </a:lnTo>
                  <a:lnTo>
                    <a:pt x="171" y="254"/>
                  </a:lnTo>
                  <a:lnTo>
                    <a:pt x="173" y="245"/>
                  </a:lnTo>
                  <a:lnTo>
                    <a:pt x="173" y="245"/>
                  </a:lnTo>
                  <a:lnTo>
                    <a:pt x="176" y="255"/>
                  </a:lnTo>
                  <a:lnTo>
                    <a:pt x="181" y="264"/>
                  </a:lnTo>
                  <a:lnTo>
                    <a:pt x="187" y="271"/>
                  </a:lnTo>
                  <a:lnTo>
                    <a:pt x="191" y="274"/>
                  </a:lnTo>
                  <a:lnTo>
                    <a:pt x="194" y="276"/>
                  </a:lnTo>
                  <a:lnTo>
                    <a:pt x="194" y="276"/>
                  </a:lnTo>
                  <a:lnTo>
                    <a:pt x="209" y="282"/>
                  </a:lnTo>
                  <a:lnTo>
                    <a:pt x="225" y="287"/>
                  </a:lnTo>
                  <a:lnTo>
                    <a:pt x="263" y="298"/>
                  </a:lnTo>
                  <a:lnTo>
                    <a:pt x="263" y="298"/>
                  </a:lnTo>
                  <a:lnTo>
                    <a:pt x="274" y="302"/>
                  </a:lnTo>
                  <a:lnTo>
                    <a:pt x="283" y="306"/>
                  </a:lnTo>
                  <a:lnTo>
                    <a:pt x="283" y="306"/>
                  </a:lnTo>
                  <a:lnTo>
                    <a:pt x="285" y="307"/>
                  </a:lnTo>
                  <a:lnTo>
                    <a:pt x="285" y="308"/>
                  </a:lnTo>
                  <a:lnTo>
                    <a:pt x="284" y="312"/>
                  </a:lnTo>
                  <a:lnTo>
                    <a:pt x="280" y="314"/>
                  </a:lnTo>
                  <a:lnTo>
                    <a:pt x="280" y="314"/>
                  </a:lnTo>
                  <a:lnTo>
                    <a:pt x="285" y="318"/>
                  </a:lnTo>
                  <a:lnTo>
                    <a:pt x="295" y="324"/>
                  </a:lnTo>
                  <a:lnTo>
                    <a:pt x="295" y="324"/>
                  </a:lnTo>
                  <a:lnTo>
                    <a:pt x="301" y="330"/>
                  </a:lnTo>
                  <a:lnTo>
                    <a:pt x="305" y="338"/>
                  </a:lnTo>
                  <a:lnTo>
                    <a:pt x="309" y="347"/>
                  </a:lnTo>
                  <a:lnTo>
                    <a:pt x="311" y="357"/>
                  </a:lnTo>
                  <a:lnTo>
                    <a:pt x="311" y="357"/>
                  </a:lnTo>
                  <a:lnTo>
                    <a:pt x="313" y="366"/>
                  </a:lnTo>
                  <a:lnTo>
                    <a:pt x="313" y="374"/>
                  </a:lnTo>
                  <a:lnTo>
                    <a:pt x="313" y="382"/>
                  </a:lnTo>
                  <a:lnTo>
                    <a:pt x="313" y="385"/>
                  </a:lnTo>
                  <a:lnTo>
                    <a:pt x="312" y="387"/>
                  </a:lnTo>
                  <a:lnTo>
                    <a:pt x="312" y="387"/>
                  </a:lnTo>
                  <a:lnTo>
                    <a:pt x="310" y="389"/>
                  </a:lnTo>
                  <a:lnTo>
                    <a:pt x="307" y="390"/>
                  </a:lnTo>
                  <a:lnTo>
                    <a:pt x="304" y="392"/>
                  </a:lnTo>
                  <a:lnTo>
                    <a:pt x="296" y="394"/>
                  </a:lnTo>
                  <a:lnTo>
                    <a:pt x="299" y="404"/>
                  </a:lnTo>
                  <a:lnTo>
                    <a:pt x="299" y="404"/>
                  </a:lnTo>
                  <a:lnTo>
                    <a:pt x="304" y="404"/>
                  </a:lnTo>
                  <a:lnTo>
                    <a:pt x="309" y="403"/>
                  </a:lnTo>
                  <a:lnTo>
                    <a:pt x="313" y="401"/>
                  </a:lnTo>
                  <a:lnTo>
                    <a:pt x="313" y="401"/>
                  </a:lnTo>
                  <a:lnTo>
                    <a:pt x="312" y="403"/>
                  </a:lnTo>
                  <a:lnTo>
                    <a:pt x="312" y="403"/>
                  </a:lnTo>
                  <a:lnTo>
                    <a:pt x="309" y="409"/>
                  </a:lnTo>
                  <a:lnTo>
                    <a:pt x="307" y="414"/>
                  </a:lnTo>
                  <a:lnTo>
                    <a:pt x="318" y="421"/>
                  </a:lnTo>
                  <a:lnTo>
                    <a:pt x="318" y="421"/>
                  </a:lnTo>
                  <a:lnTo>
                    <a:pt x="323" y="409"/>
                  </a:lnTo>
                  <a:lnTo>
                    <a:pt x="326" y="405"/>
                  </a:lnTo>
                  <a:lnTo>
                    <a:pt x="328" y="403"/>
                  </a:lnTo>
                  <a:lnTo>
                    <a:pt x="328" y="403"/>
                  </a:lnTo>
                  <a:lnTo>
                    <a:pt x="331" y="403"/>
                  </a:lnTo>
                  <a:lnTo>
                    <a:pt x="334" y="404"/>
                  </a:lnTo>
                  <a:lnTo>
                    <a:pt x="339" y="406"/>
                  </a:lnTo>
                  <a:lnTo>
                    <a:pt x="344" y="409"/>
                  </a:lnTo>
                  <a:lnTo>
                    <a:pt x="350" y="414"/>
                  </a:lnTo>
                  <a:lnTo>
                    <a:pt x="355" y="420"/>
                  </a:lnTo>
                  <a:lnTo>
                    <a:pt x="360" y="426"/>
                  </a:lnTo>
                  <a:lnTo>
                    <a:pt x="364" y="433"/>
                  </a:lnTo>
                  <a:lnTo>
                    <a:pt x="364" y="433"/>
                  </a:lnTo>
                  <a:lnTo>
                    <a:pt x="365" y="439"/>
                  </a:lnTo>
                  <a:lnTo>
                    <a:pt x="366" y="446"/>
                  </a:lnTo>
                  <a:lnTo>
                    <a:pt x="366" y="452"/>
                  </a:lnTo>
                  <a:lnTo>
                    <a:pt x="365" y="459"/>
                  </a:lnTo>
                  <a:lnTo>
                    <a:pt x="364" y="465"/>
                  </a:lnTo>
                  <a:lnTo>
                    <a:pt x="361" y="470"/>
                  </a:lnTo>
                  <a:lnTo>
                    <a:pt x="358" y="474"/>
                  </a:lnTo>
                  <a:lnTo>
                    <a:pt x="354" y="476"/>
                  </a:lnTo>
                  <a:lnTo>
                    <a:pt x="354" y="476"/>
                  </a:lnTo>
                  <a:lnTo>
                    <a:pt x="350" y="476"/>
                  </a:lnTo>
                  <a:lnTo>
                    <a:pt x="348" y="475"/>
                  </a:lnTo>
                  <a:lnTo>
                    <a:pt x="339" y="471"/>
                  </a:lnTo>
                  <a:lnTo>
                    <a:pt x="332" y="468"/>
                  </a:lnTo>
                  <a:lnTo>
                    <a:pt x="329" y="468"/>
                  </a:lnTo>
                  <a:lnTo>
                    <a:pt x="327" y="470"/>
                  </a:lnTo>
                  <a:lnTo>
                    <a:pt x="327" y="470"/>
                  </a:lnTo>
                  <a:lnTo>
                    <a:pt x="326" y="471"/>
                  </a:lnTo>
                  <a:lnTo>
                    <a:pt x="322" y="474"/>
                  </a:lnTo>
                  <a:lnTo>
                    <a:pt x="316" y="477"/>
                  </a:lnTo>
                  <a:lnTo>
                    <a:pt x="313" y="480"/>
                  </a:lnTo>
                  <a:lnTo>
                    <a:pt x="311" y="484"/>
                  </a:lnTo>
                  <a:lnTo>
                    <a:pt x="311" y="488"/>
                  </a:lnTo>
                  <a:lnTo>
                    <a:pt x="312" y="495"/>
                  </a:lnTo>
                  <a:lnTo>
                    <a:pt x="312" y="495"/>
                  </a:lnTo>
                  <a:lnTo>
                    <a:pt x="318" y="488"/>
                  </a:lnTo>
                  <a:lnTo>
                    <a:pt x="321" y="486"/>
                  </a:lnTo>
                  <a:lnTo>
                    <a:pt x="323" y="486"/>
                  </a:lnTo>
                  <a:lnTo>
                    <a:pt x="323" y="486"/>
                  </a:lnTo>
                  <a:lnTo>
                    <a:pt x="325" y="487"/>
                  </a:lnTo>
                  <a:lnTo>
                    <a:pt x="325" y="488"/>
                  </a:lnTo>
                  <a:lnTo>
                    <a:pt x="327" y="491"/>
                  </a:lnTo>
                  <a:lnTo>
                    <a:pt x="327" y="491"/>
                  </a:lnTo>
                  <a:lnTo>
                    <a:pt x="328" y="492"/>
                  </a:lnTo>
                  <a:lnTo>
                    <a:pt x="331" y="492"/>
                  </a:lnTo>
                  <a:lnTo>
                    <a:pt x="338" y="492"/>
                  </a:lnTo>
                  <a:lnTo>
                    <a:pt x="344" y="491"/>
                  </a:lnTo>
                  <a:lnTo>
                    <a:pt x="347" y="491"/>
                  </a:lnTo>
                  <a:lnTo>
                    <a:pt x="348" y="492"/>
                  </a:lnTo>
                  <a:lnTo>
                    <a:pt x="348" y="492"/>
                  </a:lnTo>
                  <a:lnTo>
                    <a:pt x="348" y="493"/>
                  </a:lnTo>
                  <a:lnTo>
                    <a:pt x="347" y="493"/>
                  </a:lnTo>
                  <a:lnTo>
                    <a:pt x="343" y="493"/>
                  </a:lnTo>
                  <a:lnTo>
                    <a:pt x="343" y="493"/>
                  </a:lnTo>
                  <a:lnTo>
                    <a:pt x="331" y="496"/>
                  </a:lnTo>
                  <a:lnTo>
                    <a:pt x="326" y="498"/>
                  </a:lnTo>
                  <a:lnTo>
                    <a:pt x="322" y="501"/>
                  </a:lnTo>
                  <a:lnTo>
                    <a:pt x="322" y="501"/>
                  </a:lnTo>
                  <a:lnTo>
                    <a:pt x="322" y="502"/>
                  </a:lnTo>
                  <a:lnTo>
                    <a:pt x="322" y="504"/>
                  </a:lnTo>
                  <a:lnTo>
                    <a:pt x="322" y="504"/>
                  </a:lnTo>
                  <a:lnTo>
                    <a:pt x="320" y="508"/>
                  </a:lnTo>
                  <a:lnTo>
                    <a:pt x="316" y="511"/>
                  </a:lnTo>
                  <a:lnTo>
                    <a:pt x="313" y="514"/>
                  </a:lnTo>
                  <a:lnTo>
                    <a:pt x="312" y="518"/>
                  </a:lnTo>
                  <a:lnTo>
                    <a:pt x="312" y="522"/>
                  </a:lnTo>
                  <a:lnTo>
                    <a:pt x="312" y="522"/>
                  </a:lnTo>
                  <a:lnTo>
                    <a:pt x="313" y="527"/>
                  </a:lnTo>
                  <a:lnTo>
                    <a:pt x="316" y="529"/>
                  </a:lnTo>
                  <a:lnTo>
                    <a:pt x="320" y="533"/>
                  </a:lnTo>
                  <a:lnTo>
                    <a:pt x="320" y="533"/>
                  </a:lnTo>
                  <a:lnTo>
                    <a:pt x="320" y="530"/>
                  </a:lnTo>
                  <a:lnTo>
                    <a:pt x="321" y="527"/>
                  </a:lnTo>
                  <a:lnTo>
                    <a:pt x="322" y="522"/>
                  </a:lnTo>
                  <a:lnTo>
                    <a:pt x="322" y="519"/>
                  </a:lnTo>
                  <a:lnTo>
                    <a:pt x="325" y="519"/>
                  </a:lnTo>
                  <a:lnTo>
                    <a:pt x="325" y="519"/>
                  </a:lnTo>
                  <a:lnTo>
                    <a:pt x="326" y="519"/>
                  </a:lnTo>
                  <a:lnTo>
                    <a:pt x="328" y="520"/>
                  </a:lnTo>
                  <a:lnTo>
                    <a:pt x="329" y="523"/>
                  </a:lnTo>
                  <a:lnTo>
                    <a:pt x="332" y="523"/>
                  </a:lnTo>
                  <a:lnTo>
                    <a:pt x="332" y="523"/>
                  </a:lnTo>
                  <a:lnTo>
                    <a:pt x="334" y="523"/>
                  </a:lnTo>
                  <a:lnTo>
                    <a:pt x="338" y="520"/>
                  </a:lnTo>
                  <a:lnTo>
                    <a:pt x="345" y="513"/>
                  </a:lnTo>
                  <a:lnTo>
                    <a:pt x="353" y="507"/>
                  </a:lnTo>
                  <a:lnTo>
                    <a:pt x="355" y="504"/>
                  </a:lnTo>
                  <a:lnTo>
                    <a:pt x="358" y="504"/>
                  </a:lnTo>
                  <a:lnTo>
                    <a:pt x="358" y="504"/>
                  </a:lnTo>
                  <a:lnTo>
                    <a:pt x="359" y="506"/>
                  </a:lnTo>
                  <a:lnTo>
                    <a:pt x="358" y="507"/>
                  </a:lnTo>
                  <a:lnTo>
                    <a:pt x="353" y="511"/>
                  </a:lnTo>
                  <a:lnTo>
                    <a:pt x="348" y="515"/>
                  </a:lnTo>
                  <a:lnTo>
                    <a:pt x="345" y="518"/>
                  </a:lnTo>
                  <a:lnTo>
                    <a:pt x="344" y="522"/>
                  </a:lnTo>
                  <a:lnTo>
                    <a:pt x="344" y="522"/>
                  </a:lnTo>
                  <a:lnTo>
                    <a:pt x="345" y="525"/>
                  </a:lnTo>
                  <a:lnTo>
                    <a:pt x="347" y="528"/>
                  </a:lnTo>
                  <a:lnTo>
                    <a:pt x="349" y="530"/>
                  </a:lnTo>
                  <a:lnTo>
                    <a:pt x="350" y="533"/>
                  </a:lnTo>
                  <a:lnTo>
                    <a:pt x="350" y="533"/>
                  </a:lnTo>
                  <a:lnTo>
                    <a:pt x="352" y="535"/>
                  </a:lnTo>
                  <a:lnTo>
                    <a:pt x="354" y="539"/>
                  </a:lnTo>
                  <a:lnTo>
                    <a:pt x="356" y="541"/>
                  </a:lnTo>
                  <a:lnTo>
                    <a:pt x="360" y="542"/>
                  </a:lnTo>
                  <a:lnTo>
                    <a:pt x="368" y="545"/>
                  </a:lnTo>
                  <a:lnTo>
                    <a:pt x="371" y="545"/>
                  </a:lnTo>
                  <a:lnTo>
                    <a:pt x="371" y="545"/>
                  </a:lnTo>
                  <a:lnTo>
                    <a:pt x="370" y="542"/>
                  </a:lnTo>
                  <a:lnTo>
                    <a:pt x="366" y="539"/>
                  </a:lnTo>
                  <a:lnTo>
                    <a:pt x="363" y="534"/>
                  </a:lnTo>
                  <a:lnTo>
                    <a:pt x="363" y="533"/>
                  </a:lnTo>
                  <a:lnTo>
                    <a:pt x="363" y="530"/>
                  </a:lnTo>
                  <a:lnTo>
                    <a:pt x="363" y="530"/>
                  </a:lnTo>
                  <a:lnTo>
                    <a:pt x="364" y="529"/>
                  </a:lnTo>
                  <a:lnTo>
                    <a:pt x="366" y="530"/>
                  </a:lnTo>
                  <a:lnTo>
                    <a:pt x="369" y="530"/>
                  </a:lnTo>
                  <a:lnTo>
                    <a:pt x="371" y="529"/>
                  </a:lnTo>
                  <a:lnTo>
                    <a:pt x="371" y="529"/>
                  </a:lnTo>
                  <a:lnTo>
                    <a:pt x="371" y="527"/>
                  </a:lnTo>
                  <a:lnTo>
                    <a:pt x="371" y="519"/>
                  </a:lnTo>
                  <a:lnTo>
                    <a:pt x="371" y="515"/>
                  </a:lnTo>
                  <a:lnTo>
                    <a:pt x="372" y="511"/>
                  </a:lnTo>
                  <a:lnTo>
                    <a:pt x="376" y="506"/>
                  </a:lnTo>
                  <a:lnTo>
                    <a:pt x="381" y="500"/>
                  </a:lnTo>
                  <a:lnTo>
                    <a:pt x="381" y="500"/>
                  </a:lnTo>
                  <a:lnTo>
                    <a:pt x="384" y="503"/>
                  </a:lnTo>
                  <a:lnTo>
                    <a:pt x="386" y="504"/>
                  </a:lnTo>
                  <a:lnTo>
                    <a:pt x="391" y="506"/>
                  </a:lnTo>
                  <a:lnTo>
                    <a:pt x="391" y="506"/>
                  </a:lnTo>
                  <a:lnTo>
                    <a:pt x="392" y="507"/>
                  </a:lnTo>
                  <a:lnTo>
                    <a:pt x="393" y="508"/>
                  </a:lnTo>
                  <a:lnTo>
                    <a:pt x="393" y="513"/>
                  </a:lnTo>
                  <a:lnTo>
                    <a:pt x="393" y="519"/>
                  </a:lnTo>
                  <a:lnTo>
                    <a:pt x="393" y="519"/>
                  </a:lnTo>
                  <a:lnTo>
                    <a:pt x="395" y="518"/>
                  </a:lnTo>
                  <a:lnTo>
                    <a:pt x="397" y="514"/>
                  </a:lnTo>
                  <a:lnTo>
                    <a:pt x="399" y="508"/>
                  </a:lnTo>
                  <a:lnTo>
                    <a:pt x="399" y="501"/>
                  </a:lnTo>
                  <a:lnTo>
                    <a:pt x="399" y="501"/>
                  </a:lnTo>
                  <a:lnTo>
                    <a:pt x="402" y="500"/>
                  </a:lnTo>
                  <a:lnTo>
                    <a:pt x="404" y="495"/>
                  </a:lnTo>
                  <a:lnTo>
                    <a:pt x="404" y="495"/>
                  </a:lnTo>
                  <a:lnTo>
                    <a:pt x="406" y="492"/>
                  </a:lnTo>
                  <a:lnTo>
                    <a:pt x="404" y="491"/>
                  </a:lnTo>
                  <a:lnTo>
                    <a:pt x="401" y="487"/>
                  </a:lnTo>
                  <a:lnTo>
                    <a:pt x="399" y="485"/>
                  </a:lnTo>
                  <a:lnTo>
                    <a:pt x="398" y="481"/>
                  </a:lnTo>
                  <a:lnTo>
                    <a:pt x="397" y="475"/>
                  </a:lnTo>
                  <a:lnTo>
                    <a:pt x="397" y="468"/>
                  </a:lnTo>
                  <a:lnTo>
                    <a:pt x="397" y="468"/>
                  </a:lnTo>
                  <a:lnTo>
                    <a:pt x="397" y="465"/>
                  </a:lnTo>
                  <a:lnTo>
                    <a:pt x="396" y="464"/>
                  </a:lnTo>
                  <a:lnTo>
                    <a:pt x="392" y="461"/>
                  </a:lnTo>
                  <a:lnTo>
                    <a:pt x="392" y="461"/>
                  </a:lnTo>
                  <a:lnTo>
                    <a:pt x="390" y="458"/>
                  </a:lnTo>
                  <a:lnTo>
                    <a:pt x="390" y="457"/>
                  </a:lnTo>
                  <a:lnTo>
                    <a:pt x="391" y="457"/>
                  </a:lnTo>
                  <a:lnTo>
                    <a:pt x="391" y="457"/>
                  </a:lnTo>
                  <a:lnTo>
                    <a:pt x="396" y="458"/>
                  </a:lnTo>
                  <a:lnTo>
                    <a:pt x="401" y="458"/>
                  </a:lnTo>
                  <a:lnTo>
                    <a:pt x="406" y="457"/>
                  </a:lnTo>
                  <a:lnTo>
                    <a:pt x="406" y="457"/>
                  </a:lnTo>
                  <a:lnTo>
                    <a:pt x="406" y="442"/>
                  </a:lnTo>
                  <a:lnTo>
                    <a:pt x="407" y="434"/>
                  </a:lnTo>
                  <a:lnTo>
                    <a:pt x="406" y="431"/>
                  </a:lnTo>
                  <a:lnTo>
                    <a:pt x="406" y="431"/>
                  </a:lnTo>
                  <a:lnTo>
                    <a:pt x="401" y="431"/>
                  </a:lnTo>
                  <a:lnTo>
                    <a:pt x="396" y="430"/>
                  </a:lnTo>
                  <a:lnTo>
                    <a:pt x="393" y="428"/>
                  </a:lnTo>
                  <a:lnTo>
                    <a:pt x="391" y="426"/>
                  </a:lnTo>
                  <a:lnTo>
                    <a:pt x="391" y="426"/>
                  </a:lnTo>
                  <a:lnTo>
                    <a:pt x="395" y="426"/>
                  </a:lnTo>
                  <a:lnTo>
                    <a:pt x="399" y="426"/>
                  </a:lnTo>
                  <a:lnTo>
                    <a:pt x="403" y="426"/>
                  </a:lnTo>
                  <a:lnTo>
                    <a:pt x="406" y="423"/>
                  </a:lnTo>
                  <a:lnTo>
                    <a:pt x="406" y="423"/>
                  </a:lnTo>
                  <a:lnTo>
                    <a:pt x="406" y="411"/>
                  </a:lnTo>
                  <a:lnTo>
                    <a:pt x="404" y="403"/>
                  </a:lnTo>
                  <a:lnTo>
                    <a:pt x="404" y="400"/>
                  </a:lnTo>
                  <a:lnTo>
                    <a:pt x="403" y="399"/>
                  </a:lnTo>
                  <a:lnTo>
                    <a:pt x="403" y="399"/>
                  </a:lnTo>
                  <a:lnTo>
                    <a:pt x="398" y="400"/>
                  </a:lnTo>
                  <a:lnTo>
                    <a:pt x="395" y="400"/>
                  </a:lnTo>
                  <a:lnTo>
                    <a:pt x="391" y="399"/>
                  </a:lnTo>
                  <a:lnTo>
                    <a:pt x="387" y="398"/>
                  </a:lnTo>
                  <a:lnTo>
                    <a:pt x="387" y="398"/>
                  </a:lnTo>
                  <a:lnTo>
                    <a:pt x="386" y="396"/>
                  </a:lnTo>
                  <a:lnTo>
                    <a:pt x="385" y="394"/>
                  </a:lnTo>
                  <a:lnTo>
                    <a:pt x="385" y="390"/>
                  </a:lnTo>
                  <a:lnTo>
                    <a:pt x="384" y="388"/>
                  </a:lnTo>
                  <a:lnTo>
                    <a:pt x="384" y="387"/>
                  </a:lnTo>
                  <a:lnTo>
                    <a:pt x="382" y="385"/>
                  </a:lnTo>
                  <a:lnTo>
                    <a:pt x="382" y="385"/>
                  </a:lnTo>
                  <a:lnTo>
                    <a:pt x="375" y="383"/>
                  </a:lnTo>
                  <a:lnTo>
                    <a:pt x="368" y="379"/>
                  </a:lnTo>
                  <a:lnTo>
                    <a:pt x="364" y="376"/>
                  </a:lnTo>
                  <a:lnTo>
                    <a:pt x="360" y="373"/>
                  </a:lnTo>
                  <a:lnTo>
                    <a:pt x="360" y="373"/>
                  </a:lnTo>
                  <a:lnTo>
                    <a:pt x="358" y="369"/>
                  </a:lnTo>
                  <a:lnTo>
                    <a:pt x="358" y="366"/>
                  </a:lnTo>
                  <a:lnTo>
                    <a:pt x="358" y="363"/>
                  </a:lnTo>
                  <a:lnTo>
                    <a:pt x="358" y="363"/>
                  </a:lnTo>
                  <a:lnTo>
                    <a:pt x="364" y="366"/>
                  </a:lnTo>
                  <a:lnTo>
                    <a:pt x="366" y="366"/>
                  </a:lnTo>
                  <a:lnTo>
                    <a:pt x="370" y="365"/>
                  </a:lnTo>
                  <a:lnTo>
                    <a:pt x="371" y="345"/>
                  </a:lnTo>
                  <a:lnTo>
                    <a:pt x="371" y="345"/>
                  </a:lnTo>
                  <a:lnTo>
                    <a:pt x="369" y="345"/>
                  </a:lnTo>
                  <a:lnTo>
                    <a:pt x="364" y="344"/>
                  </a:lnTo>
                  <a:lnTo>
                    <a:pt x="364" y="344"/>
                  </a:lnTo>
                  <a:lnTo>
                    <a:pt x="361" y="341"/>
                  </a:lnTo>
                  <a:lnTo>
                    <a:pt x="359" y="339"/>
                  </a:lnTo>
                  <a:lnTo>
                    <a:pt x="358" y="336"/>
                  </a:lnTo>
                  <a:lnTo>
                    <a:pt x="358" y="336"/>
                  </a:lnTo>
                  <a:lnTo>
                    <a:pt x="360" y="338"/>
                  </a:lnTo>
                  <a:lnTo>
                    <a:pt x="365" y="339"/>
                  </a:lnTo>
                  <a:lnTo>
                    <a:pt x="365" y="339"/>
                  </a:lnTo>
                  <a:lnTo>
                    <a:pt x="370" y="339"/>
                  </a:lnTo>
                  <a:lnTo>
                    <a:pt x="372" y="338"/>
                  </a:lnTo>
                  <a:lnTo>
                    <a:pt x="375" y="315"/>
                  </a:lnTo>
                  <a:lnTo>
                    <a:pt x="375" y="315"/>
                  </a:lnTo>
                  <a:lnTo>
                    <a:pt x="371" y="315"/>
                  </a:lnTo>
                  <a:lnTo>
                    <a:pt x="368" y="314"/>
                  </a:lnTo>
                  <a:lnTo>
                    <a:pt x="364" y="313"/>
                  </a:lnTo>
                  <a:lnTo>
                    <a:pt x="363" y="309"/>
                  </a:lnTo>
                  <a:lnTo>
                    <a:pt x="363" y="308"/>
                  </a:lnTo>
                  <a:lnTo>
                    <a:pt x="363" y="308"/>
                  </a:lnTo>
                  <a:lnTo>
                    <a:pt x="371" y="306"/>
                  </a:lnTo>
                  <a:lnTo>
                    <a:pt x="379" y="302"/>
                  </a:lnTo>
                  <a:lnTo>
                    <a:pt x="385" y="297"/>
                  </a:lnTo>
                  <a:lnTo>
                    <a:pt x="390" y="292"/>
                  </a:lnTo>
                  <a:lnTo>
                    <a:pt x="395" y="286"/>
                  </a:lnTo>
                  <a:lnTo>
                    <a:pt x="398" y="279"/>
                  </a:lnTo>
                  <a:lnTo>
                    <a:pt x="402" y="272"/>
                  </a:lnTo>
                  <a:lnTo>
                    <a:pt x="403" y="265"/>
                  </a:lnTo>
                  <a:lnTo>
                    <a:pt x="403" y="265"/>
                  </a:lnTo>
                  <a:lnTo>
                    <a:pt x="409" y="268"/>
                  </a:lnTo>
                  <a:lnTo>
                    <a:pt x="413" y="268"/>
                  </a:lnTo>
                  <a:lnTo>
                    <a:pt x="415" y="268"/>
                  </a:lnTo>
                  <a:lnTo>
                    <a:pt x="415" y="268"/>
                  </a:lnTo>
                  <a:lnTo>
                    <a:pt x="417" y="259"/>
                  </a:lnTo>
                  <a:lnTo>
                    <a:pt x="417" y="249"/>
                  </a:lnTo>
                  <a:lnTo>
                    <a:pt x="417" y="249"/>
                  </a:lnTo>
                  <a:lnTo>
                    <a:pt x="411" y="248"/>
                  </a:lnTo>
                  <a:lnTo>
                    <a:pt x="408" y="247"/>
                  </a:lnTo>
                  <a:lnTo>
                    <a:pt x="406" y="243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17" name="Freeform 30"/>
            <p:cNvSpPr>
              <a:spLocks/>
            </p:cNvSpPr>
            <p:nvPr userDrawn="1"/>
          </p:nvSpPr>
          <p:spPr bwMode="auto">
            <a:xfrm>
              <a:off x="876300" y="1428750"/>
              <a:ext cx="373063" cy="96838"/>
            </a:xfrm>
            <a:custGeom>
              <a:avLst/>
              <a:gdLst>
                <a:gd name="T0" fmla="*/ 0 w 235"/>
                <a:gd name="T1" fmla="*/ 23 h 61"/>
                <a:gd name="T2" fmla="*/ 0 w 235"/>
                <a:gd name="T3" fmla="*/ 23 h 61"/>
                <a:gd name="T4" fmla="*/ 14 w 235"/>
                <a:gd name="T5" fmla="*/ 33 h 61"/>
                <a:gd name="T6" fmla="*/ 26 w 235"/>
                <a:gd name="T7" fmla="*/ 40 h 61"/>
                <a:gd name="T8" fmla="*/ 26 w 235"/>
                <a:gd name="T9" fmla="*/ 40 h 61"/>
                <a:gd name="T10" fmla="*/ 47 w 235"/>
                <a:gd name="T11" fmla="*/ 48 h 61"/>
                <a:gd name="T12" fmla="*/ 61 w 235"/>
                <a:gd name="T13" fmla="*/ 52 h 61"/>
                <a:gd name="T14" fmla="*/ 75 w 235"/>
                <a:gd name="T15" fmla="*/ 56 h 61"/>
                <a:gd name="T16" fmla="*/ 93 w 235"/>
                <a:gd name="T17" fmla="*/ 59 h 61"/>
                <a:gd name="T18" fmla="*/ 111 w 235"/>
                <a:gd name="T19" fmla="*/ 61 h 61"/>
                <a:gd name="T20" fmla="*/ 131 w 235"/>
                <a:gd name="T21" fmla="*/ 61 h 61"/>
                <a:gd name="T22" fmla="*/ 153 w 235"/>
                <a:gd name="T23" fmla="*/ 60 h 61"/>
                <a:gd name="T24" fmla="*/ 153 w 235"/>
                <a:gd name="T25" fmla="*/ 60 h 61"/>
                <a:gd name="T26" fmla="*/ 172 w 235"/>
                <a:gd name="T27" fmla="*/ 57 h 61"/>
                <a:gd name="T28" fmla="*/ 188 w 235"/>
                <a:gd name="T29" fmla="*/ 54 h 61"/>
                <a:gd name="T30" fmla="*/ 203 w 235"/>
                <a:gd name="T31" fmla="*/ 50 h 61"/>
                <a:gd name="T32" fmla="*/ 214 w 235"/>
                <a:gd name="T33" fmla="*/ 46 h 61"/>
                <a:gd name="T34" fmla="*/ 230 w 235"/>
                <a:gd name="T35" fmla="*/ 38 h 61"/>
                <a:gd name="T36" fmla="*/ 235 w 235"/>
                <a:gd name="T37" fmla="*/ 35 h 61"/>
                <a:gd name="T38" fmla="*/ 235 w 235"/>
                <a:gd name="T39" fmla="*/ 35 h 61"/>
                <a:gd name="T40" fmla="*/ 228 w 235"/>
                <a:gd name="T41" fmla="*/ 33 h 61"/>
                <a:gd name="T42" fmla="*/ 222 w 235"/>
                <a:gd name="T43" fmla="*/ 29 h 61"/>
                <a:gd name="T44" fmla="*/ 212 w 235"/>
                <a:gd name="T45" fmla="*/ 21 h 61"/>
                <a:gd name="T46" fmla="*/ 212 w 235"/>
                <a:gd name="T47" fmla="*/ 21 h 61"/>
                <a:gd name="T48" fmla="*/ 211 w 235"/>
                <a:gd name="T49" fmla="*/ 25 h 61"/>
                <a:gd name="T50" fmla="*/ 211 w 235"/>
                <a:gd name="T51" fmla="*/ 25 h 61"/>
                <a:gd name="T52" fmla="*/ 209 w 235"/>
                <a:gd name="T53" fmla="*/ 34 h 61"/>
                <a:gd name="T54" fmla="*/ 209 w 235"/>
                <a:gd name="T55" fmla="*/ 34 h 61"/>
                <a:gd name="T56" fmla="*/ 204 w 235"/>
                <a:gd name="T57" fmla="*/ 33 h 61"/>
                <a:gd name="T58" fmla="*/ 204 w 235"/>
                <a:gd name="T59" fmla="*/ 33 h 61"/>
                <a:gd name="T60" fmla="*/ 201 w 235"/>
                <a:gd name="T61" fmla="*/ 30 h 61"/>
                <a:gd name="T62" fmla="*/ 197 w 235"/>
                <a:gd name="T63" fmla="*/ 27 h 61"/>
                <a:gd name="T64" fmla="*/ 195 w 235"/>
                <a:gd name="T65" fmla="*/ 22 h 61"/>
                <a:gd name="T66" fmla="*/ 193 w 235"/>
                <a:gd name="T67" fmla="*/ 16 h 61"/>
                <a:gd name="T68" fmla="*/ 193 w 235"/>
                <a:gd name="T69" fmla="*/ 16 h 61"/>
                <a:gd name="T70" fmla="*/ 193 w 235"/>
                <a:gd name="T71" fmla="*/ 14 h 61"/>
                <a:gd name="T72" fmla="*/ 193 w 235"/>
                <a:gd name="T73" fmla="*/ 14 h 61"/>
                <a:gd name="T74" fmla="*/ 183 w 235"/>
                <a:gd name="T75" fmla="*/ 18 h 61"/>
                <a:gd name="T76" fmla="*/ 170 w 235"/>
                <a:gd name="T77" fmla="*/ 22 h 61"/>
                <a:gd name="T78" fmla="*/ 154 w 235"/>
                <a:gd name="T79" fmla="*/ 25 h 61"/>
                <a:gd name="T80" fmla="*/ 138 w 235"/>
                <a:gd name="T81" fmla="*/ 27 h 61"/>
                <a:gd name="T82" fmla="*/ 138 w 235"/>
                <a:gd name="T83" fmla="*/ 27 h 61"/>
                <a:gd name="T84" fmla="*/ 108 w 235"/>
                <a:gd name="T85" fmla="*/ 25 h 61"/>
                <a:gd name="T86" fmla="*/ 94 w 235"/>
                <a:gd name="T87" fmla="*/ 24 h 61"/>
                <a:gd name="T88" fmla="*/ 79 w 235"/>
                <a:gd name="T89" fmla="*/ 22 h 61"/>
                <a:gd name="T90" fmla="*/ 64 w 235"/>
                <a:gd name="T91" fmla="*/ 19 h 61"/>
                <a:gd name="T92" fmla="*/ 49 w 235"/>
                <a:gd name="T93" fmla="*/ 14 h 61"/>
                <a:gd name="T94" fmla="*/ 35 w 235"/>
                <a:gd name="T95" fmla="*/ 9 h 61"/>
                <a:gd name="T96" fmla="*/ 21 w 235"/>
                <a:gd name="T97" fmla="*/ 5 h 61"/>
                <a:gd name="T98" fmla="*/ 21 w 235"/>
                <a:gd name="T99" fmla="*/ 5 h 61"/>
                <a:gd name="T100" fmla="*/ 10 w 235"/>
                <a:gd name="T101" fmla="*/ 0 h 61"/>
                <a:gd name="T102" fmla="*/ 10 w 235"/>
                <a:gd name="T103" fmla="*/ 0 h 61"/>
                <a:gd name="T104" fmla="*/ 10 w 235"/>
                <a:gd name="T105" fmla="*/ 1 h 61"/>
                <a:gd name="T106" fmla="*/ 10 w 235"/>
                <a:gd name="T107" fmla="*/ 3 h 61"/>
                <a:gd name="T108" fmla="*/ 13 w 235"/>
                <a:gd name="T109" fmla="*/ 9 h 61"/>
                <a:gd name="T110" fmla="*/ 18 w 235"/>
                <a:gd name="T111" fmla="*/ 17 h 61"/>
                <a:gd name="T112" fmla="*/ 18 w 235"/>
                <a:gd name="T113" fmla="*/ 17 h 61"/>
                <a:gd name="T114" fmla="*/ 11 w 235"/>
                <a:gd name="T115" fmla="*/ 16 h 61"/>
                <a:gd name="T116" fmla="*/ 5 w 235"/>
                <a:gd name="T117" fmla="*/ 18 h 61"/>
                <a:gd name="T118" fmla="*/ 5 w 235"/>
                <a:gd name="T119" fmla="*/ 18 h 61"/>
                <a:gd name="T120" fmla="*/ 2 w 235"/>
                <a:gd name="T121" fmla="*/ 21 h 61"/>
                <a:gd name="T122" fmla="*/ 0 w 235"/>
                <a:gd name="T123" fmla="*/ 2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5" h="61">
                  <a:moveTo>
                    <a:pt x="0" y="23"/>
                  </a:moveTo>
                  <a:lnTo>
                    <a:pt x="0" y="23"/>
                  </a:lnTo>
                  <a:lnTo>
                    <a:pt x="14" y="33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47" y="48"/>
                  </a:lnTo>
                  <a:lnTo>
                    <a:pt x="61" y="52"/>
                  </a:lnTo>
                  <a:lnTo>
                    <a:pt x="75" y="56"/>
                  </a:lnTo>
                  <a:lnTo>
                    <a:pt x="93" y="59"/>
                  </a:lnTo>
                  <a:lnTo>
                    <a:pt x="111" y="61"/>
                  </a:lnTo>
                  <a:lnTo>
                    <a:pt x="131" y="61"/>
                  </a:lnTo>
                  <a:lnTo>
                    <a:pt x="153" y="60"/>
                  </a:lnTo>
                  <a:lnTo>
                    <a:pt x="153" y="60"/>
                  </a:lnTo>
                  <a:lnTo>
                    <a:pt x="172" y="57"/>
                  </a:lnTo>
                  <a:lnTo>
                    <a:pt x="188" y="54"/>
                  </a:lnTo>
                  <a:lnTo>
                    <a:pt x="203" y="50"/>
                  </a:lnTo>
                  <a:lnTo>
                    <a:pt x="214" y="46"/>
                  </a:lnTo>
                  <a:lnTo>
                    <a:pt x="230" y="38"/>
                  </a:lnTo>
                  <a:lnTo>
                    <a:pt x="235" y="35"/>
                  </a:lnTo>
                  <a:lnTo>
                    <a:pt x="235" y="35"/>
                  </a:lnTo>
                  <a:lnTo>
                    <a:pt x="228" y="33"/>
                  </a:lnTo>
                  <a:lnTo>
                    <a:pt x="222" y="29"/>
                  </a:lnTo>
                  <a:lnTo>
                    <a:pt x="212" y="21"/>
                  </a:lnTo>
                  <a:lnTo>
                    <a:pt x="212" y="21"/>
                  </a:lnTo>
                  <a:lnTo>
                    <a:pt x="211" y="25"/>
                  </a:lnTo>
                  <a:lnTo>
                    <a:pt x="211" y="25"/>
                  </a:lnTo>
                  <a:lnTo>
                    <a:pt x="209" y="34"/>
                  </a:lnTo>
                  <a:lnTo>
                    <a:pt x="209" y="34"/>
                  </a:lnTo>
                  <a:lnTo>
                    <a:pt x="204" y="33"/>
                  </a:lnTo>
                  <a:lnTo>
                    <a:pt x="204" y="33"/>
                  </a:lnTo>
                  <a:lnTo>
                    <a:pt x="201" y="30"/>
                  </a:lnTo>
                  <a:lnTo>
                    <a:pt x="197" y="27"/>
                  </a:lnTo>
                  <a:lnTo>
                    <a:pt x="195" y="22"/>
                  </a:lnTo>
                  <a:lnTo>
                    <a:pt x="193" y="16"/>
                  </a:lnTo>
                  <a:lnTo>
                    <a:pt x="193" y="16"/>
                  </a:lnTo>
                  <a:lnTo>
                    <a:pt x="193" y="14"/>
                  </a:lnTo>
                  <a:lnTo>
                    <a:pt x="193" y="14"/>
                  </a:lnTo>
                  <a:lnTo>
                    <a:pt x="183" y="18"/>
                  </a:lnTo>
                  <a:lnTo>
                    <a:pt x="170" y="22"/>
                  </a:lnTo>
                  <a:lnTo>
                    <a:pt x="154" y="25"/>
                  </a:lnTo>
                  <a:lnTo>
                    <a:pt x="138" y="27"/>
                  </a:lnTo>
                  <a:lnTo>
                    <a:pt x="138" y="27"/>
                  </a:lnTo>
                  <a:lnTo>
                    <a:pt x="108" y="25"/>
                  </a:lnTo>
                  <a:lnTo>
                    <a:pt x="94" y="24"/>
                  </a:lnTo>
                  <a:lnTo>
                    <a:pt x="79" y="22"/>
                  </a:lnTo>
                  <a:lnTo>
                    <a:pt x="64" y="19"/>
                  </a:lnTo>
                  <a:lnTo>
                    <a:pt x="49" y="14"/>
                  </a:lnTo>
                  <a:lnTo>
                    <a:pt x="35" y="9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1"/>
                  </a:lnTo>
                  <a:lnTo>
                    <a:pt x="10" y="3"/>
                  </a:lnTo>
                  <a:lnTo>
                    <a:pt x="13" y="9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1" y="16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2" y="21"/>
                  </a:lnTo>
                  <a:lnTo>
                    <a:pt x="0" y="2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18" name="Freeform 31"/>
            <p:cNvSpPr>
              <a:spLocks/>
            </p:cNvSpPr>
            <p:nvPr userDrawn="1"/>
          </p:nvSpPr>
          <p:spPr bwMode="auto">
            <a:xfrm>
              <a:off x="792163" y="1114425"/>
              <a:ext cx="381000" cy="271463"/>
            </a:xfrm>
            <a:custGeom>
              <a:avLst/>
              <a:gdLst>
                <a:gd name="T0" fmla="*/ 219 w 240"/>
                <a:gd name="T1" fmla="*/ 14 h 171"/>
                <a:gd name="T2" fmla="*/ 216 w 240"/>
                <a:gd name="T3" fmla="*/ 3 h 171"/>
                <a:gd name="T4" fmla="*/ 209 w 240"/>
                <a:gd name="T5" fmla="*/ 0 h 171"/>
                <a:gd name="T6" fmla="*/ 153 w 240"/>
                <a:gd name="T7" fmla="*/ 27 h 171"/>
                <a:gd name="T8" fmla="*/ 139 w 240"/>
                <a:gd name="T9" fmla="*/ 36 h 171"/>
                <a:gd name="T10" fmla="*/ 118 w 240"/>
                <a:gd name="T11" fmla="*/ 36 h 171"/>
                <a:gd name="T12" fmla="*/ 122 w 240"/>
                <a:gd name="T13" fmla="*/ 48 h 171"/>
                <a:gd name="T14" fmla="*/ 116 w 240"/>
                <a:gd name="T15" fmla="*/ 53 h 171"/>
                <a:gd name="T16" fmla="*/ 122 w 240"/>
                <a:gd name="T17" fmla="*/ 63 h 171"/>
                <a:gd name="T18" fmla="*/ 133 w 240"/>
                <a:gd name="T19" fmla="*/ 61 h 171"/>
                <a:gd name="T20" fmla="*/ 127 w 240"/>
                <a:gd name="T21" fmla="*/ 77 h 171"/>
                <a:gd name="T22" fmla="*/ 99 w 240"/>
                <a:gd name="T23" fmla="*/ 98 h 171"/>
                <a:gd name="T24" fmla="*/ 68 w 240"/>
                <a:gd name="T25" fmla="*/ 104 h 171"/>
                <a:gd name="T26" fmla="*/ 53 w 240"/>
                <a:gd name="T27" fmla="*/ 92 h 171"/>
                <a:gd name="T28" fmla="*/ 46 w 240"/>
                <a:gd name="T29" fmla="*/ 85 h 171"/>
                <a:gd name="T30" fmla="*/ 34 w 240"/>
                <a:gd name="T31" fmla="*/ 85 h 171"/>
                <a:gd name="T32" fmla="*/ 19 w 240"/>
                <a:gd name="T33" fmla="*/ 92 h 171"/>
                <a:gd name="T34" fmla="*/ 32 w 240"/>
                <a:gd name="T35" fmla="*/ 95 h 171"/>
                <a:gd name="T36" fmla="*/ 30 w 240"/>
                <a:gd name="T37" fmla="*/ 101 h 171"/>
                <a:gd name="T38" fmla="*/ 51 w 240"/>
                <a:gd name="T39" fmla="*/ 114 h 171"/>
                <a:gd name="T40" fmla="*/ 51 w 240"/>
                <a:gd name="T41" fmla="*/ 115 h 171"/>
                <a:gd name="T42" fmla="*/ 26 w 240"/>
                <a:gd name="T43" fmla="*/ 108 h 171"/>
                <a:gd name="T44" fmla="*/ 19 w 240"/>
                <a:gd name="T45" fmla="*/ 111 h 171"/>
                <a:gd name="T46" fmla="*/ 5 w 240"/>
                <a:gd name="T47" fmla="*/ 115 h 171"/>
                <a:gd name="T48" fmla="*/ 2 w 240"/>
                <a:gd name="T49" fmla="*/ 130 h 171"/>
                <a:gd name="T50" fmla="*/ 12 w 240"/>
                <a:gd name="T51" fmla="*/ 122 h 171"/>
                <a:gd name="T52" fmla="*/ 15 w 240"/>
                <a:gd name="T53" fmla="*/ 126 h 171"/>
                <a:gd name="T54" fmla="*/ 18 w 240"/>
                <a:gd name="T55" fmla="*/ 133 h 171"/>
                <a:gd name="T56" fmla="*/ 45 w 240"/>
                <a:gd name="T57" fmla="*/ 131 h 171"/>
                <a:gd name="T58" fmla="*/ 51 w 240"/>
                <a:gd name="T59" fmla="*/ 133 h 171"/>
                <a:gd name="T60" fmla="*/ 26 w 240"/>
                <a:gd name="T61" fmla="*/ 139 h 171"/>
                <a:gd name="T62" fmla="*/ 25 w 240"/>
                <a:gd name="T63" fmla="*/ 144 h 171"/>
                <a:gd name="T64" fmla="*/ 19 w 240"/>
                <a:gd name="T65" fmla="*/ 157 h 171"/>
                <a:gd name="T66" fmla="*/ 24 w 240"/>
                <a:gd name="T67" fmla="*/ 167 h 171"/>
                <a:gd name="T68" fmla="*/ 28 w 240"/>
                <a:gd name="T69" fmla="*/ 165 h 171"/>
                <a:gd name="T70" fmla="*/ 29 w 240"/>
                <a:gd name="T71" fmla="*/ 158 h 171"/>
                <a:gd name="T72" fmla="*/ 37 w 240"/>
                <a:gd name="T73" fmla="*/ 163 h 171"/>
                <a:gd name="T74" fmla="*/ 48 w 240"/>
                <a:gd name="T75" fmla="*/ 156 h 171"/>
                <a:gd name="T76" fmla="*/ 63 w 240"/>
                <a:gd name="T77" fmla="*/ 144 h 171"/>
                <a:gd name="T78" fmla="*/ 73 w 240"/>
                <a:gd name="T79" fmla="*/ 142 h 171"/>
                <a:gd name="T80" fmla="*/ 74 w 240"/>
                <a:gd name="T81" fmla="*/ 150 h 171"/>
                <a:gd name="T82" fmla="*/ 78 w 240"/>
                <a:gd name="T83" fmla="*/ 157 h 171"/>
                <a:gd name="T84" fmla="*/ 77 w 240"/>
                <a:gd name="T85" fmla="*/ 163 h 171"/>
                <a:gd name="T86" fmla="*/ 91 w 240"/>
                <a:gd name="T87" fmla="*/ 151 h 171"/>
                <a:gd name="T88" fmla="*/ 95 w 240"/>
                <a:gd name="T89" fmla="*/ 147 h 171"/>
                <a:gd name="T90" fmla="*/ 98 w 240"/>
                <a:gd name="T91" fmla="*/ 142 h 171"/>
                <a:gd name="T92" fmla="*/ 99 w 240"/>
                <a:gd name="T93" fmla="*/ 135 h 171"/>
                <a:gd name="T94" fmla="*/ 112 w 240"/>
                <a:gd name="T95" fmla="*/ 130 h 171"/>
                <a:gd name="T96" fmla="*/ 115 w 240"/>
                <a:gd name="T97" fmla="*/ 122 h 171"/>
                <a:gd name="T98" fmla="*/ 122 w 240"/>
                <a:gd name="T99" fmla="*/ 120 h 171"/>
                <a:gd name="T100" fmla="*/ 134 w 240"/>
                <a:gd name="T101" fmla="*/ 133 h 171"/>
                <a:gd name="T102" fmla="*/ 155 w 240"/>
                <a:gd name="T103" fmla="*/ 123 h 171"/>
                <a:gd name="T104" fmla="*/ 153 w 240"/>
                <a:gd name="T105" fmla="*/ 114 h 171"/>
                <a:gd name="T106" fmla="*/ 150 w 240"/>
                <a:gd name="T107" fmla="*/ 104 h 171"/>
                <a:gd name="T108" fmla="*/ 165 w 240"/>
                <a:gd name="T109" fmla="*/ 117 h 171"/>
                <a:gd name="T110" fmla="*/ 186 w 240"/>
                <a:gd name="T111" fmla="*/ 104 h 171"/>
                <a:gd name="T112" fmla="*/ 184 w 240"/>
                <a:gd name="T113" fmla="*/ 101 h 171"/>
                <a:gd name="T114" fmla="*/ 177 w 240"/>
                <a:gd name="T115" fmla="*/ 88 h 171"/>
                <a:gd name="T116" fmla="*/ 176 w 240"/>
                <a:gd name="T117" fmla="*/ 77 h 171"/>
                <a:gd name="T118" fmla="*/ 176 w 240"/>
                <a:gd name="T119" fmla="*/ 66 h 171"/>
                <a:gd name="T120" fmla="*/ 238 w 240"/>
                <a:gd name="T121" fmla="*/ 3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0" h="171">
                  <a:moveTo>
                    <a:pt x="232" y="21"/>
                  </a:moveTo>
                  <a:lnTo>
                    <a:pt x="232" y="21"/>
                  </a:lnTo>
                  <a:lnTo>
                    <a:pt x="225" y="16"/>
                  </a:lnTo>
                  <a:lnTo>
                    <a:pt x="219" y="14"/>
                  </a:lnTo>
                  <a:lnTo>
                    <a:pt x="208" y="9"/>
                  </a:lnTo>
                  <a:lnTo>
                    <a:pt x="208" y="9"/>
                  </a:lnTo>
                  <a:lnTo>
                    <a:pt x="213" y="5"/>
                  </a:lnTo>
                  <a:lnTo>
                    <a:pt x="216" y="3"/>
                  </a:lnTo>
                  <a:lnTo>
                    <a:pt x="216" y="1"/>
                  </a:lnTo>
                  <a:lnTo>
                    <a:pt x="216" y="1"/>
                  </a:lnTo>
                  <a:lnTo>
                    <a:pt x="212" y="0"/>
                  </a:lnTo>
                  <a:lnTo>
                    <a:pt x="209" y="0"/>
                  </a:lnTo>
                  <a:lnTo>
                    <a:pt x="209" y="0"/>
                  </a:lnTo>
                  <a:lnTo>
                    <a:pt x="189" y="9"/>
                  </a:lnTo>
                  <a:lnTo>
                    <a:pt x="170" y="17"/>
                  </a:lnTo>
                  <a:lnTo>
                    <a:pt x="153" y="27"/>
                  </a:lnTo>
                  <a:lnTo>
                    <a:pt x="141" y="36"/>
                  </a:lnTo>
                  <a:lnTo>
                    <a:pt x="141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36" y="38"/>
                  </a:lnTo>
                  <a:lnTo>
                    <a:pt x="132" y="38"/>
                  </a:lnTo>
                  <a:lnTo>
                    <a:pt x="125" y="37"/>
                  </a:lnTo>
                  <a:lnTo>
                    <a:pt x="118" y="36"/>
                  </a:lnTo>
                  <a:lnTo>
                    <a:pt x="117" y="34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22" y="48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0" y="52"/>
                  </a:lnTo>
                  <a:lnTo>
                    <a:pt x="116" y="53"/>
                  </a:lnTo>
                  <a:lnTo>
                    <a:pt x="114" y="55"/>
                  </a:lnTo>
                  <a:lnTo>
                    <a:pt x="117" y="65"/>
                  </a:lnTo>
                  <a:lnTo>
                    <a:pt x="117" y="65"/>
                  </a:lnTo>
                  <a:lnTo>
                    <a:pt x="122" y="63"/>
                  </a:lnTo>
                  <a:lnTo>
                    <a:pt x="127" y="61"/>
                  </a:lnTo>
                  <a:lnTo>
                    <a:pt x="133" y="60"/>
                  </a:lnTo>
                  <a:lnTo>
                    <a:pt x="133" y="60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6"/>
                  </a:lnTo>
                  <a:lnTo>
                    <a:pt x="131" y="71"/>
                  </a:lnTo>
                  <a:lnTo>
                    <a:pt x="127" y="77"/>
                  </a:lnTo>
                  <a:lnTo>
                    <a:pt x="122" y="82"/>
                  </a:lnTo>
                  <a:lnTo>
                    <a:pt x="111" y="92"/>
                  </a:lnTo>
                  <a:lnTo>
                    <a:pt x="105" y="96"/>
                  </a:lnTo>
                  <a:lnTo>
                    <a:pt x="99" y="98"/>
                  </a:lnTo>
                  <a:lnTo>
                    <a:pt x="99" y="98"/>
                  </a:lnTo>
                  <a:lnTo>
                    <a:pt x="87" y="102"/>
                  </a:lnTo>
                  <a:lnTo>
                    <a:pt x="75" y="104"/>
                  </a:lnTo>
                  <a:lnTo>
                    <a:pt x="68" y="104"/>
                  </a:lnTo>
                  <a:lnTo>
                    <a:pt x="64" y="103"/>
                  </a:lnTo>
                  <a:lnTo>
                    <a:pt x="64" y="103"/>
                  </a:lnTo>
                  <a:lnTo>
                    <a:pt x="57" y="97"/>
                  </a:lnTo>
                  <a:lnTo>
                    <a:pt x="53" y="92"/>
                  </a:lnTo>
                  <a:lnTo>
                    <a:pt x="50" y="87"/>
                  </a:lnTo>
                  <a:lnTo>
                    <a:pt x="48" y="85"/>
                  </a:lnTo>
                  <a:lnTo>
                    <a:pt x="46" y="85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34" y="85"/>
                  </a:lnTo>
                  <a:lnTo>
                    <a:pt x="28" y="86"/>
                  </a:lnTo>
                  <a:lnTo>
                    <a:pt x="23" y="88"/>
                  </a:lnTo>
                  <a:lnTo>
                    <a:pt x="20" y="90"/>
                  </a:lnTo>
                  <a:lnTo>
                    <a:pt x="19" y="92"/>
                  </a:lnTo>
                  <a:lnTo>
                    <a:pt x="19" y="92"/>
                  </a:lnTo>
                  <a:lnTo>
                    <a:pt x="28" y="92"/>
                  </a:lnTo>
                  <a:lnTo>
                    <a:pt x="32" y="93"/>
                  </a:lnTo>
                  <a:lnTo>
                    <a:pt x="32" y="95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29" y="98"/>
                  </a:lnTo>
                  <a:lnTo>
                    <a:pt x="30" y="101"/>
                  </a:lnTo>
                  <a:lnTo>
                    <a:pt x="31" y="103"/>
                  </a:lnTo>
                  <a:lnTo>
                    <a:pt x="35" y="106"/>
                  </a:lnTo>
                  <a:lnTo>
                    <a:pt x="51" y="114"/>
                  </a:lnTo>
                  <a:lnTo>
                    <a:pt x="51" y="114"/>
                  </a:lnTo>
                  <a:lnTo>
                    <a:pt x="51" y="114"/>
                  </a:lnTo>
                  <a:lnTo>
                    <a:pt x="51" y="115"/>
                  </a:lnTo>
                  <a:lnTo>
                    <a:pt x="51" y="115"/>
                  </a:lnTo>
                  <a:lnTo>
                    <a:pt x="51" y="115"/>
                  </a:lnTo>
                  <a:lnTo>
                    <a:pt x="46" y="115"/>
                  </a:lnTo>
                  <a:lnTo>
                    <a:pt x="40" y="113"/>
                  </a:lnTo>
                  <a:lnTo>
                    <a:pt x="26" y="108"/>
                  </a:lnTo>
                  <a:lnTo>
                    <a:pt x="26" y="108"/>
                  </a:lnTo>
                  <a:lnTo>
                    <a:pt x="24" y="108"/>
                  </a:lnTo>
                  <a:lnTo>
                    <a:pt x="21" y="108"/>
                  </a:lnTo>
                  <a:lnTo>
                    <a:pt x="19" y="111"/>
                  </a:lnTo>
                  <a:lnTo>
                    <a:pt x="19" y="111"/>
                  </a:lnTo>
                  <a:lnTo>
                    <a:pt x="16" y="111"/>
                  </a:lnTo>
                  <a:lnTo>
                    <a:pt x="13" y="111"/>
                  </a:lnTo>
                  <a:lnTo>
                    <a:pt x="8" y="113"/>
                  </a:lnTo>
                  <a:lnTo>
                    <a:pt x="5" y="115"/>
                  </a:lnTo>
                  <a:lnTo>
                    <a:pt x="2" y="118"/>
                  </a:lnTo>
                  <a:lnTo>
                    <a:pt x="0" y="122"/>
                  </a:lnTo>
                  <a:lnTo>
                    <a:pt x="0" y="125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5" y="125"/>
                  </a:lnTo>
                  <a:lnTo>
                    <a:pt x="9" y="122"/>
                  </a:lnTo>
                  <a:lnTo>
                    <a:pt x="12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5" y="123"/>
                  </a:lnTo>
                  <a:lnTo>
                    <a:pt x="15" y="126"/>
                  </a:lnTo>
                  <a:lnTo>
                    <a:pt x="15" y="129"/>
                  </a:lnTo>
                  <a:lnTo>
                    <a:pt x="16" y="131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20" y="134"/>
                  </a:lnTo>
                  <a:lnTo>
                    <a:pt x="25" y="134"/>
                  </a:lnTo>
                  <a:lnTo>
                    <a:pt x="35" y="133"/>
                  </a:lnTo>
                  <a:lnTo>
                    <a:pt x="45" y="131"/>
                  </a:lnTo>
                  <a:lnTo>
                    <a:pt x="50" y="131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1" y="133"/>
                  </a:lnTo>
                  <a:lnTo>
                    <a:pt x="48" y="134"/>
                  </a:lnTo>
                  <a:lnTo>
                    <a:pt x="40" y="135"/>
                  </a:lnTo>
                  <a:lnTo>
                    <a:pt x="30" y="136"/>
                  </a:lnTo>
                  <a:lnTo>
                    <a:pt x="26" y="139"/>
                  </a:lnTo>
                  <a:lnTo>
                    <a:pt x="25" y="140"/>
                  </a:lnTo>
                  <a:lnTo>
                    <a:pt x="25" y="140"/>
                  </a:lnTo>
                  <a:lnTo>
                    <a:pt x="25" y="144"/>
                  </a:lnTo>
                  <a:lnTo>
                    <a:pt x="25" y="144"/>
                  </a:lnTo>
                  <a:lnTo>
                    <a:pt x="25" y="145"/>
                  </a:lnTo>
                  <a:lnTo>
                    <a:pt x="23" y="147"/>
                  </a:lnTo>
                  <a:lnTo>
                    <a:pt x="20" y="152"/>
                  </a:lnTo>
                  <a:lnTo>
                    <a:pt x="19" y="157"/>
                  </a:lnTo>
                  <a:lnTo>
                    <a:pt x="19" y="157"/>
                  </a:lnTo>
                  <a:lnTo>
                    <a:pt x="19" y="160"/>
                  </a:lnTo>
                  <a:lnTo>
                    <a:pt x="20" y="163"/>
                  </a:lnTo>
                  <a:lnTo>
                    <a:pt x="24" y="167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9" y="169"/>
                  </a:lnTo>
                  <a:lnTo>
                    <a:pt x="28" y="165"/>
                  </a:lnTo>
                  <a:lnTo>
                    <a:pt x="28" y="161"/>
                  </a:lnTo>
                  <a:lnTo>
                    <a:pt x="29" y="160"/>
                  </a:lnTo>
                  <a:lnTo>
                    <a:pt x="29" y="158"/>
                  </a:lnTo>
                  <a:lnTo>
                    <a:pt x="29" y="158"/>
                  </a:lnTo>
                  <a:lnTo>
                    <a:pt x="31" y="158"/>
                  </a:lnTo>
                  <a:lnTo>
                    <a:pt x="32" y="160"/>
                  </a:lnTo>
                  <a:lnTo>
                    <a:pt x="35" y="162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40" y="162"/>
                  </a:lnTo>
                  <a:lnTo>
                    <a:pt x="42" y="161"/>
                  </a:lnTo>
                  <a:lnTo>
                    <a:pt x="48" y="156"/>
                  </a:lnTo>
                  <a:lnTo>
                    <a:pt x="55" y="150"/>
                  </a:lnTo>
                  <a:lnTo>
                    <a:pt x="58" y="146"/>
                  </a:lnTo>
                  <a:lnTo>
                    <a:pt x="63" y="144"/>
                  </a:lnTo>
                  <a:lnTo>
                    <a:pt x="63" y="144"/>
                  </a:lnTo>
                  <a:lnTo>
                    <a:pt x="69" y="141"/>
                  </a:lnTo>
                  <a:lnTo>
                    <a:pt x="72" y="140"/>
                  </a:lnTo>
                  <a:lnTo>
                    <a:pt x="73" y="141"/>
                  </a:lnTo>
                  <a:lnTo>
                    <a:pt x="73" y="142"/>
                  </a:lnTo>
                  <a:lnTo>
                    <a:pt x="73" y="146"/>
                  </a:lnTo>
                  <a:lnTo>
                    <a:pt x="73" y="149"/>
                  </a:lnTo>
                  <a:lnTo>
                    <a:pt x="74" y="150"/>
                  </a:lnTo>
                  <a:lnTo>
                    <a:pt x="74" y="150"/>
                  </a:lnTo>
                  <a:lnTo>
                    <a:pt x="78" y="151"/>
                  </a:lnTo>
                  <a:lnTo>
                    <a:pt x="79" y="152"/>
                  </a:lnTo>
                  <a:lnTo>
                    <a:pt x="79" y="155"/>
                  </a:lnTo>
                  <a:lnTo>
                    <a:pt x="78" y="157"/>
                  </a:lnTo>
                  <a:lnTo>
                    <a:pt x="75" y="161"/>
                  </a:lnTo>
                  <a:lnTo>
                    <a:pt x="73" y="163"/>
                  </a:lnTo>
                  <a:lnTo>
                    <a:pt x="73" y="163"/>
                  </a:lnTo>
                  <a:lnTo>
                    <a:pt x="77" y="163"/>
                  </a:lnTo>
                  <a:lnTo>
                    <a:pt x="82" y="162"/>
                  </a:lnTo>
                  <a:lnTo>
                    <a:pt x="87" y="157"/>
                  </a:lnTo>
                  <a:lnTo>
                    <a:pt x="89" y="155"/>
                  </a:lnTo>
                  <a:lnTo>
                    <a:pt x="91" y="151"/>
                  </a:lnTo>
                  <a:lnTo>
                    <a:pt x="91" y="151"/>
                  </a:lnTo>
                  <a:lnTo>
                    <a:pt x="91" y="149"/>
                  </a:lnTo>
                  <a:lnTo>
                    <a:pt x="93" y="149"/>
                  </a:lnTo>
                  <a:lnTo>
                    <a:pt x="95" y="147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8" y="145"/>
                  </a:lnTo>
                  <a:lnTo>
                    <a:pt x="98" y="142"/>
                  </a:lnTo>
                  <a:lnTo>
                    <a:pt x="98" y="140"/>
                  </a:lnTo>
                  <a:lnTo>
                    <a:pt x="98" y="138"/>
                  </a:lnTo>
                  <a:lnTo>
                    <a:pt x="98" y="138"/>
                  </a:lnTo>
                  <a:lnTo>
                    <a:pt x="99" y="135"/>
                  </a:lnTo>
                  <a:lnTo>
                    <a:pt x="101" y="134"/>
                  </a:lnTo>
                  <a:lnTo>
                    <a:pt x="106" y="133"/>
                  </a:lnTo>
                  <a:lnTo>
                    <a:pt x="111" y="131"/>
                  </a:lnTo>
                  <a:lnTo>
                    <a:pt x="112" y="130"/>
                  </a:lnTo>
                  <a:lnTo>
                    <a:pt x="112" y="129"/>
                  </a:lnTo>
                  <a:lnTo>
                    <a:pt x="112" y="129"/>
                  </a:lnTo>
                  <a:lnTo>
                    <a:pt x="112" y="125"/>
                  </a:lnTo>
                  <a:lnTo>
                    <a:pt x="115" y="122"/>
                  </a:lnTo>
                  <a:lnTo>
                    <a:pt x="118" y="120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2" y="120"/>
                  </a:lnTo>
                  <a:lnTo>
                    <a:pt x="123" y="124"/>
                  </a:lnTo>
                  <a:lnTo>
                    <a:pt x="127" y="128"/>
                  </a:lnTo>
                  <a:lnTo>
                    <a:pt x="131" y="130"/>
                  </a:lnTo>
                  <a:lnTo>
                    <a:pt x="134" y="133"/>
                  </a:lnTo>
                  <a:lnTo>
                    <a:pt x="134" y="133"/>
                  </a:lnTo>
                  <a:lnTo>
                    <a:pt x="149" y="125"/>
                  </a:lnTo>
                  <a:lnTo>
                    <a:pt x="149" y="125"/>
                  </a:lnTo>
                  <a:lnTo>
                    <a:pt x="155" y="123"/>
                  </a:lnTo>
                  <a:lnTo>
                    <a:pt x="158" y="120"/>
                  </a:lnTo>
                  <a:lnTo>
                    <a:pt x="158" y="120"/>
                  </a:lnTo>
                  <a:lnTo>
                    <a:pt x="155" y="117"/>
                  </a:lnTo>
                  <a:lnTo>
                    <a:pt x="153" y="114"/>
                  </a:lnTo>
                  <a:lnTo>
                    <a:pt x="152" y="111"/>
                  </a:lnTo>
                  <a:lnTo>
                    <a:pt x="152" y="111"/>
                  </a:lnTo>
                  <a:lnTo>
                    <a:pt x="150" y="107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54" y="109"/>
                  </a:lnTo>
                  <a:lnTo>
                    <a:pt x="159" y="113"/>
                  </a:lnTo>
                  <a:lnTo>
                    <a:pt x="165" y="117"/>
                  </a:lnTo>
                  <a:lnTo>
                    <a:pt x="165" y="117"/>
                  </a:lnTo>
                  <a:lnTo>
                    <a:pt x="182" y="106"/>
                  </a:lnTo>
                  <a:lnTo>
                    <a:pt x="182" y="106"/>
                  </a:lnTo>
                  <a:lnTo>
                    <a:pt x="186" y="104"/>
                  </a:lnTo>
                  <a:lnTo>
                    <a:pt x="186" y="104"/>
                  </a:lnTo>
                  <a:lnTo>
                    <a:pt x="186" y="104"/>
                  </a:lnTo>
                  <a:lnTo>
                    <a:pt x="186" y="104"/>
                  </a:lnTo>
                  <a:lnTo>
                    <a:pt x="184" y="101"/>
                  </a:lnTo>
                  <a:lnTo>
                    <a:pt x="180" y="97"/>
                  </a:lnTo>
                  <a:lnTo>
                    <a:pt x="176" y="92"/>
                  </a:lnTo>
                  <a:lnTo>
                    <a:pt x="176" y="90"/>
                  </a:lnTo>
                  <a:lnTo>
                    <a:pt x="177" y="88"/>
                  </a:lnTo>
                  <a:lnTo>
                    <a:pt x="177" y="88"/>
                  </a:lnTo>
                  <a:lnTo>
                    <a:pt x="179" y="87"/>
                  </a:lnTo>
                  <a:lnTo>
                    <a:pt x="179" y="85"/>
                  </a:lnTo>
                  <a:lnTo>
                    <a:pt x="176" y="77"/>
                  </a:lnTo>
                  <a:lnTo>
                    <a:pt x="174" y="71"/>
                  </a:lnTo>
                  <a:lnTo>
                    <a:pt x="174" y="68"/>
                  </a:lnTo>
                  <a:lnTo>
                    <a:pt x="176" y="66"/>
                  </a:lnTo>
                  <a:lnTo>
                    <a:pt x="176" y="66"/>
                  </a:lnTo>
                  <a:lnTo>
                    <a:pt x="211" y="49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38" y="31"/>
                  </a:lnTo>
                  <a:lnTo>
                    <a:pt x="235" y="26"/>
                  </a:lnTo>
                  <a:lnTo>
                    <a:pt x="232" y="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19" name="Freeform 32"/>
            <p:cNvSpPr>
              <a:spLocks/>
            </p:cNvSpPr>
            <p:nvPr userDrawn="1"/>
          </p:nvSpPr>
          <p:spPr bwMode="auto">
            <a:xfrm>
              <a:off x="738188" y="1357313"/>
              <a:ext cx="161925" cy="153988"/>
            </a:xfrm>
            <a:custGeom>
              <a:avLst/>
              <a:gdLst>
                <a:gd name="T0" fmla="*/ 0 w 102"/>
                <a:gd name="T1" fmla="*/ 29 h 97"/>
                <a:gd name="T2" fmla="*/ 1 w 102"/>
                <a:gd name="T3" fmla="*/ 35 h 97"/>
                <a:gd name="T4" fmla="*/ 3 w 102"/>
                <a:gd name="T5" fmla="*/ 39 h 97"/>
                <a:gd name="T6" fmla="*/ 10 w 102"/>
                <a:gd name="T7" fmla="*/ 41 h 97"/>
                <a:gd name="T8" fmla="*/ 12 w 102"/>
                <a:gd name="T9" fmla="*/ 40 h 97"/>
                <a:gd name="T10" fmla="*/ 14 w 102"/>
                <a:gd name="T11" fmla="*/ 35 h 97"/>
                <a:gd name="T12" fmla="*/ 15 w 102"/>
                <a:gd name="T13" fmla="*/ 30 h 97"/>
                <a:gd name="T14" fmla="*/ 16 w 102"/>
                <a:gd name="T15" fmla="*/ 29 h 97"/>
                <a:gd name="T16" fmla="*/ 17 w 102"/>
                <a:gd name="T17" fmla="*/ 29 h 97"/>
                <a:gd name="T18" fmla="*/ 18 w 102"/>
                <a:gd name="T19" fmla="*/ 27 h 97"/>
                <a:gd name="T20" fmla="*/ 46 w 102"/>
                <a:gd name="T21" fmla="*/ 41 h 97"/>
                <a:gd name="T22" fmla="*/ 71 w 102"/>
                <a:gd name="T23" fmla="*/ 58 h 97"/>
                <a:gd name="T24" fmla="*/ 75 w 102"/>
                <a:gd name="T25" fmla="*/ 61 h 97"/>
                <a:gd name="T26" fmla="*/ 71 w 102"/>
                <a:gd name="T27" fmla="*/ 68 h 97"/>
                <a:gd name="T28" fmla="*/ 64 w 102"/>
                <a:gd name="T29" fmla="*/ 86 h 97"/>
                <a:gd name="T30" fmla="*/ 63 w 102"/>
                <a:gd name="T31" fmla="*/ 91 h 97"/>
                <a:gd name="T32" fmla="*/ 65 w 102"/>
                <a:gd name="T33" fmla="*/ 96 h 97"/>
                <a:gd name="T34" fmla="*/ 70 w 102"/>
                <a:gd name="T35" fmla="*/ 97 h 97"/>
                <a:gd name="T36" fmla="*/ 74 w 102"/>
                <a:gd name="T37" fmla="*/ 97 h 97"/>
                <a:gd name="T38" fmla="*/ 79 w 102"/>
                <a:gd name="T39" fmla="*/ 94 h 97"/>
                <a:gd name="T40" fmla="*/ 80 w 102"/>
                <a:gd name="T41" fmla="*/ 91 h 97"/>
                <a:gd name="T42" fmla="*/ 80 w 102"/>
                <a:gd name="T43" fmla="*/ 88 h 97"/>
                <a:gd name="T44" fmla="*/ 75 w 102"/>
                <a:gd name="T45" fmla="*/ 83 h 97"/>
                <a:gd name="T46" fmla="*/ 74 w 102"/>
                <a:gd name="T47" fmla="*/ 83 h 97"/>
                <a:gd name="T48" fmla="*/ 77 w 102"/>
                <a:gd name="T49" fmla="*/ 74 h 97"/>
                <a:gd name="T50" fmla="*/ 82 w 102"/>
                <a:gd name="T51" fmla="*/ 63 h 97"/>
                <a:gd name="T52" fmla="*/ 89 w 102"/>
                <a:gd name="T53" fmla="*/ 58 h 97"/>
                <a:gd name="T54" fmla="*/ 95 w 102"/>
                <a:gd name="T55" fmla="*/ 57 h 97"/>
                <a:gd name="T56" fmla="*/ 93 w 102"/>
                <a:gd name="T57" fmla="*/ 54 h 97"/>
                <a:gd name="T58" fmla="*/ 91 w 102"/>
                <a:gd name="T59" fmla="*/ 47 h 97"/>
                <a:gd name="T60" fmla="*/ 92 w 102"/>
                <a:gd name="T61" fmla="*/ 39 h 97"/>
                <a:gd name="T62" fmla="*/ 95 w 102"/>
                <a:gd name="T63" fmla="*/ 34 h 97"/>
                <a:gd name="T64" fmla="*/ 102 w 102"/>
                <a:gd name="T65" fmla="*/ 13 h 97"/>
                <a:gd name="T66" fmla="*/ 102 w 102"/>
                <a:gd name="T67" fmla="*/ 9 h 97"/>
                <a:gd name="T68" fmla="*/ 98 w 102"/>
                <a:gd name="T69" fmla="*/ 4 h 97"/>
                <a:gd name="T70" fmla="*/ 95 w 102"/>
                <a:gd name="T71" fmla="*/ 3 h 97"/>
                <a:gd name="T72" fmla="*/ 89 w 102"/>
                <a:gd name="T73" fmla="*/ 5 h 97"/>
                <a:gd name="T74" fmla="*/ 86 w 102"/>
                <a:gd name="T75" fmla="*/ 10 h 97"/>
                <a:gd name="T76" fmla="*/ 86 w 102"/>
                <a:gd name="T77" fmla="*/ 14 h 97"/>
                <a:gd name="T78" fmla="*/ 90 w 102"/>
                <a:gd name="T79" fmla="*/ 19 h 97"/>
                <a:gd name="T80" fmla="*/ 92 w 102"/>
                <a:gd name="T81" fmla="*/ 20 h 97"/>
                <a:gd name="T82" fmla="*/ 89 w 102"/>
                <a:gd name="T83" fmla="*/ 31 h 97"/>
                <a:gd name="T84" fmla="*/ 84 w 102"/>
                <a:gd name="T85" fmla="*/ 37 h 97"/>
                <a:gd name="T86" fmla="*/ 79 w 102"/>
                <a:gd name="T87" fmla="*/ 35 h 97"/>
                <a:gd name="T88" fmla="*/ 41 w 102"/>
                <a:gd name="T89" fmla="*/ 16 h 97"/>
                <a:gd name="T90" fmla="*/ 27 w 102"/>
                <a:gd name="T91" fmla="*/ 13 h 97"/>
                <a:gd name="T92" fmla="*/ 28 w 102"/>
                <a:gd name="T93" fmla="*/ 9 h 97"/>
                <a:gd name="T94" fmla="*/ 33 w 102"/>
                <a:gd name="T95" fmla="*/ 0 h 97"/>
                <a:gd name="T96" fmla="*/ 31 w 102"/>
                <a:gd name="T97" fmla="*/ 2 h 97"/>
                <a:gd name="T98" fmla="*/ 26 w 102"/>
                <a:gd name="T99" fmla="*/ 4 h 97"/>
                <a:gd name="T100" fmla="*/ 16 w 102"/>
                <a:gd name="T101" fmla="*/ 8 h 97"/>
                <a:gd name="T102" fmla="*/ 12 w 102"/>
                <a:gd name="T103" fmla="*/ 8 h 97"/>
                <a:gd name="T104" fmla="*/ 10 w 102"/>
                <a:gd name="T105" fmla="*/ 8 h 97"/>
                <a:gd name="T106" fmla="*/ 6 w 102"/>
                <a:gd name="T107" fmla="*/ 15 h 97"/>
                <a:gd name="T108" fmla="*/ 4 w 102"/>
                <a:gd name="T109" fmla="*/ 23 h 97"/>
                <a:gd name="T110" fmla="*/ 1 w 102"/>
                <a:gd name="T111" fmla="*/ 2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2" h="97">
                  <a:moveTo>
                    <a:pt x="0" y="29"/>
                  </a:moveTo>
                  <a:lnTo>
                    <a:pt x="0" y="29"/>
                  </a:lnTo>
                  <a:lnTo>
                    <a:pt x="0" y="32"/>
                  </a:lnTo>
                  <a:lnTo>
                    <a:pt x="1" y="35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7" y="40"/>
                  </a:lnTo>
                  <a:lnTo>
                    <a:pt x="10" y="41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4" y="37"/>
                  </a:lnTo>
                  <a:lnTo>
                    <a:pt x="14" y="35"/>
                  </a:lnTo>
                  <a:lnTo>
                    <a:pt x="14" y="32"/>
                  </a:lnTo>
                  <a:lnTo>
                    <a:pt x="15" y="30"/>
                  </a:lnTo>
                  <a:lnTo>
                    <a:pt x="15" y="30"/>
                  </a:lnTo>
                  <a:lnTo>
                    <a:pt x="16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32" y="34"/>
                  </a:lnTo>
                  <a:lnTo>
                    <a:pt x="46" y="41"/>
                  </a:lnTo>
                  <a:lnTo>
                    <a:pt x="71" y="58"/>
                  </a:lnTo>
                  <a:lnTo>
                    <a:pt x="71" y="58"/>
                  </a:lnTo>
                  <a:lnTo>
                    <a:pt x="75" y="61"/>
                  </a:lnTo>
                  <a:lnTo>
                    <a:pt x="75" y="61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65" y="80"/>
                  </a:lnTo>
                  <a:lnTo>
                    <a:pt x="64" y="86"/>
                  </a:lnTo>
                  <a:lnTo>
                    <a:pt x="63" y="91"/>
                  </a:lnTo>
                  <a:lnTo>
                    <a:pt x="63" y="91"/>
                  </a:lnTo>
                  <a:lnTo>
                    <a:pt x="64" y="94"/>
                  </a:lnTo>
                  <a:lnTo>
                    <a:pt x="65" y="96"/>
                  </a:lnTo>
                  <a:lnTo>
                    <a:pt x="68" y="97"/>
                  </a:lnTo>
                  <a:lnTo>
                    <a:pt x="70" y="97"/>
                  </a:lnTo>
                  <a:lnTo>
                    <a:pt x="70" y="97"/>
                  </a:lnTo>
                  <a:lnTo>
                    <a:pt x="74" y="97"/>
                  </a:lnTo>
                  <a:lnTo>
                    <a:pt x="76" y="96"/>
                  </a:lnTo>
                  <a:lnTo>
                    <a:pt x="79" y="94"/>
                  </a:lnTo>
                  <a:lnTo>
                    <a:pt x="80" y="91"/>
                  </a:lnTo>
                  <a:lnTo>
                    <a:pt x="80" y="91"/>
                  </a:lnTo>
                  <a:lnTo>
                    <a:pt x="80" y="89"/>
                  </a:lnTo>
                  <a:lnTo>
                    <a:pt x="80" y="88"/>
                  </a:lnTo>
                  <a:lnTo>
                    <a:pt x="77" y="84"/>
                  </a:lnTo>
                  <a:lnTo>
                    <a:pt x="75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7" y="74"/>
                  </a:lnTo>
                  <a:lnTo>
                    <a:pt x="77" y="74"/>
                  </a:lnTo>
                  <a:lnTo>
                    <a:pt x="80" y="68"/>
                  </a:lnTo>
                  <a:lnTo>
                    <a:pt x="82" y="63"/>
                  </a:lnTo>
                  <a:lnTo>
                    <a:pt x="86" y="61"/>
                  </a:lnTo>
                  <a:lnTo>
                    <a:pt x="89" y="58"/>
                  </a:lnTo>
                  <a:lnTo>
                    <a:pt x="92" y="57"/>
                  </a:lnTo>
                  <a:lnTo>
                    <a:pt x="95" y="57"/>
                  </a:lnTo>
                  <a:lnTo>
                    <a:pt x="95" y="57"/>
                  </a:lnTo>
                  <a:lnTo>
                    <a:pt x="93" y="54"/>
                  </a:lnTo>
                  <a:lnTo>
                    <a:pt x="91" y="51"/>
                  </a:lnTo>
                  <a:lnTo>
                    <a:pt x="91" y="47"/>
                  </a:lnTo>
                  <a:lnTo>
                    <a:pt x="91" y="43"/>
                  </a:lnTo>
                  <a:lnTo>
                    <a:pt x="92" y="39"/>
                  </a:lnTo>
                  <a:lnTo>
                    <a:pt x="95" y="34"/>
                  </a:lnTo>
                  <a:lnTo>
                    <a:pt x="95" y="34"/>
                  </a:lnTo>
                  <a:lnTo>
                    <a:pt x="100" y="21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2" y="9"/>
                  </a:lnTo>
                  <a:lnTo>
                    <a:pt x="101" y="7"/>
                  </a:lnTo>
                  <a:lnTo>
                    <a:pt x="98" y="4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2" y="4"/>
                  </a:lnTo>
                  <a:lnTo>
                    <a:pt x="89" y="5"/>
                  </a:lnTo>
                  <a:lnTo>
                    <a:pt x="87" y="8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4"/>
                  </a:lnTo>
                  <a:lnTo>
                    <a:pt x="87" y="16"/>
                  </a:lnTo>
                  <a:lnTo>
                    <a:pt x="90" y="19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89" y="31"/>
                  </a:lnTo>
                  <a:lnTo>
                    <a:pt x="84" y="37"/>
                  </a:lnTo>
                  <a:lnTo>
                    <a:pt x="84" y="37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54" y="21"/>
                  </a:lnTo>
                  <a:lnTo>
                    <a:pt x="41" y="16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32" y="3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2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0" y="7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9" y="9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1" y="26"/>
                  </a:lnTo>
                  <a:lnTo>
                    <a:pt x="0" y="2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20" name="Freeform 33"/>
            <p:cNvSpPr>
              <a:spLocks/>
            </p:cNvSpPr>
            <p:nvPr userDrawn="1"/>
          </p:nvSpPr>
          <p:spPr bwMode="auto">
            <a:xfrm>
              <a:off x="735013" y="708025"/>
              <a:ext cx="38100" cy="46038"/>
            </a:xfrm>
            <a:custGeom>
              <a:avLst/>
              <a:gdLst>
                <a:gd name="T0" fmla="*/ 8 w 24"/>
                <a:gd name="T1" fmla="*/ 29 h 29"/>
                <a:gd name="T2" fmla="*/ 8 w 24"/>
                <a:gd name="T3" fmla="*/ 29 h 29"/>
                <a:gd name="T4" fmla="*/ 18 w 24"/>
                <a:gd name="T5" fmla="*/ 28 h 29"/>
                <a:gd name="T6" fmla="*/ 24 w 24"/>
                <a:gd name="T7" fmla="*/ 27 h 29"/>
                <a:gd name="T8" fmla="*/ 24 w 24"/>
                <a:gd name="T9" fmla="*/ 2 h 29"/>
                <a:gd name="T10" fmla="*/ 24 w 24"/>
                <a:gd name="T11" fmla="*/ 2 h 29"/>
                <a:gd name="T12" fmla="*/ 11 w 24"/>
                <a:gd name="T13" fmla="*/ 0 h 29"/>
                <a:gd name="T14" fmla="*/ 11 w 24"/>
                <a:gd name="T15" fmla="*/ 0 h 29"/>
                <a:gd name="T16" fmla="*/ 7 w 24"/>
                <a:gd name="T17" fmla="*/ 0 h 29"/>
                <a:gd name="T18" fmla="*/ 5 w 24"/>
                <a:gd name="T19" fmla="*/ 1 h 29"/>
                <a:gd name="T20" fmla="*/ 2 w 24"/>
                <a:gd name="T21" fmla="*/ 2 h 29"/>
                <a:gd name="T22" fmla="*/ 1 w 24"/>
                <a:gd name="T23" fmla="*/ 4 h 29"/>
                <a:gd name="T24" fmla="*/ 0 w 24"/>
                <a:gd name="T25" fmla="*/ 8 h 29"/>
                <a:gd name="T26" fmla="*/ 0 w 24"/>
                <a:gd name="T27" fmla="*/ 11 h 29"/>
                <a:gd name="T28" fmla="*/ 0 w 24"/>
                <a:gd name="T29" fmla="*/ 18 h 29"/>
                <a:gd name="T30" fmla="*/ 0 w 24"/>
                <a:gd name="T31" fmla="*/ 18 h 29"/>
                <a:gd name="T32" fmla="*/ 1 w 24"/>
                <a:gd name="T33" fmla="*/ 23 h 29"/>
                <a:gd name="T34" fmla="*/ 3 w 24"/>
                <a:gd name="T35" fmla="*/ 27 h 29"/>
                <a:gd name="T36" fmla="*/ 6 w 24"/>
                <a:gd name="T37" fmla="*/ 28 h 29"/>
                <a:gd name="T38" fmla="*/ 8 w 24"/>
                <a:gd name="T3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29">
                  <a:moveTo>
                    <a:pt x="8" y="29"/>
                  </a:moveTo>
                  <a:lnTo>
                    <a:pt x="8" y="29"/>
                  </a:lnTo>
                  <a:lnTo>
                    <a:pt x="18" y="28"/>
                  </a:lnTo>
                  <a:lnTo>
                    <a:pt x="24" y="27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5" y="1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23"/>
                  </a:lnTo>
                  <a:lnTo>
                    <a:pt x="3" y="27"/>
                  </a:lnTo>
                  <a:lnTo>
                    <a:pt x="6" y="28"/>
                  </a:lnTo>
                  <a:lnTo>
                    <a:pt x="8" y="2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21" name="Freeform 34"/>
            <p:cNvSpPr>
              <a:spLocks/>
            </p:cNvSpPr>
            <p:nvPr userDrawn="1"/>
          </p:nvSpPr>
          <p:spPr bwMode="auto">
            <a:xfrm>
              <a:off x="782638" y="696913"/>
              <a:ext cx="58738" cy="57150"/>
            </a:xfrm>
            <a:custGeom>
              <a:avLst/>
              <a:gdLst>
                <a:gd name="T0" fmla="*/ 37 w 37"/>
                <a:gd name="T1" fmla="*/ 26 h 36"/>
                <a:gd name="T2" fmla="*/ 37 w 37"/>
                <a:gd name="T3" fmla="*/ 19 h 36"/>
                <a:gd name="T4" fmla="*/ 37 w 37"/>
                <a:gd name="T5" fmla="*/ 5 h 36"/>
                <a:gd name="T6" fmla="*/ 37 w 37"/>
                <a:gd name="T7" fmla="*/ 2 h 36"/>
                <a:gd name="T8" fmla="*/ 36 w 37"/>
                <a:gd name="T9" fmla="*/ 0 h 36"/>
                <a:gd name="T10" fmla="*/ 31 w 37"/>
                <a:gd name="T11" fmla="*/ 0 h 36"/>
                <a:gd name="T12" fmla="*/ 27 w 37"/>
                <a:gd name="T13" fmla="*/ 0 h 36"/>
                <a:gd name="T14" fmla="*/ 20 w 37"/>
                <a:gd name="T15" fmla="*/ 0 h 36"/>
                <a:gd name="T16" fmla="*/ 19 w 37"/>
                <a:gd name="T17" fmla="*/ 5 h 36"/>
                <a:gd name="T18" fmla="*/ 18 w 37"/>
                <a:gd name="T19" fmla="*/ 0 h 36"/>
                <a:gd name="T20" fmla="*/ 11 w 37"/>
                <a:gd name="T21" fmla="*/ 0 h 36"/>
                <a:gd name="T22" fmla="*/ 8 w 37"/>
                <a:gd name="T23" fmla="*/ 0 h 36"/>
                <a:gd name="T24" fmla="*/ 3 w 37"/>
                <a:gd name="T25" fmla="*/ 0 h 36"/>
                <a:gd name="T26" fmla="*/ 2 w 37"/>
                <a:gd name="T27" fmla="*/ 2 h 36"/>
                <a:gd name="T28" fmla="*/ 0 w 37"/>
                <a:gd name="T29" fmla="*/ 5 h 36"/>
                <a:gd name="T30" fmla="*/ 0 w 37"/>
                <a:gd name="T31" fmla="*/ 19 h 36"/>
                <a:gd name="T32" fmla="*/ 0 w 37"/>
                <a:gd name="T33" fmla="*/ 34 h 36"/>
                <a:gd name="T34" fmla="*/ 4 w 37"/>
                <a:gd name="T35" fmla="*/ 34 h 36"/>
                <a:gd name="T36" fmla="*/ 6 w 37"/>
                <a:gd name="T37" fmla="*/ 32 h 36"/>
                <a:gd name="T38" fmla="*/ 9 w 37"/>
                <a:gd name="T39" fmla="*/ 27 h 36"/>
                <a:gd name="T40" fmla="*/ 9 w 37"/>
                <a:gd name="T41" fmla="*/ 36 h 36"/>
                <a:gd name="T42" fmla="*/ 11 w 37"/>
                <a:gd name="T43" fmla="*/ 36 h 36"/>
                <a:gd name="T44" fmla="*/ 16 w 37"/>
                <a:gd name="T45" fmla="*/ 34 h 36"/>
                <a:gd name="T46" fmla="*/ 18 w 37"/>
                <a:gd name="T47" fmla="*/ 30 h 36"/>
                <a:gd name="T48" fmla="*/ 19 w 37"/>
                <a:gd name="T49" fmla="*/ 27 h 36"/>
                <a:gd name="T50" fmla="*/ 19 w 37"/>
                <a:gd name="T51" fmla="*/ 36 h 36"/>
                <a:gd name="T52" fmla="*/ 26 w 37"/>
                <a:gd name="T53" fmla="*/ 34 h 36"/>
                <a:gd name="T54" fmla="*/ 29 w 37"/>
                <a:gd name="T55" fmla="*/ 30 h 36"/>
                <a:gd name="T56" fmla="*/ 29 w 37"/>
                <a:gd name="T57" fmla="*/ 27 h 36"/>
                <a:gd name="T58" fmla="*/ 29 w 37"/>
                <a:gd name="T59" fmla="*/ 34 h 36"/>
                <a:gd name="T60" fmla="*/ 31 w 37"/>
                <a:gd name="T61" fmla="*/ 32 h 36"/>
                <a:gd name="T62" fmla="*/ 35 w 37"/>
                <a:gd name="T63" fmla="*/ 31 h 36"/>
                <a:gd name="T64" fmla="*/ 37 w 37"/>
                <a:gd name="T65" fmla="*/ 2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" h="36">
                  <a:moveTo>
                    <a:pt x="37" y="26"/>
                  </a:moveTo>
                  <a:lnTo>
                    <a:pt x="37" y="26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9" y="5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9" y="5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5"/>
                  </a:lnTo>
                  <a:lnTo>
                    <a:pt x="8" y="0"/>
                  </a:lnTo>
                  <a:lnTo>
                    <a:pt x="8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4" y="34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8" y="29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11" y="36"/>
                  </a:lnTo>
                  <a:lnTo>
                    <a:pt x="14" y="35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8" y="30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22" y="35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9" y="30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6" y="30"/>
                  </a:lnTo>
                  <a:lnTo>
                    <a:pt x="37" y="2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22" name="Freeform 35"/>
            <p:cNvSpPr>
              <a:spLocks/>
            </p:cNvSpPr>
            <p:nvPr userDrawn="1"/>
          </p:nvSpPr>
          <p:spPr bwMode="auto">
            <a:xfrm>
              <a:off x="790575" y="700088"/>
              <a:ext cx="73025" cy="80963"/>
            </a:xfrm>
            <a:custGeom>
              <a:avLst/>
              <a:gdLst>
                <a:gd name="T0" fmla="*/ 46 w 46"/>
                <a:gd name="T1" fmla="*/ 38 h 51"/>
                <a:gd name="T2" fmla="*/ 46 w 46"/>
                <a:gd name="T3" fmla="*/ 29 h 51"/>
                <a:gd name="T4" fmla="*/ 46 w 46"/>
                <a:gd name="T5" fmla="*/ 29 h 51"/>
                <a:gd name="T6" fmla="*/ 44 w 46"/>
                <a:gd name="T7" fmla="*/ 28 h 51"/>
                <a:gd name="T8" fmla="*/ 43 w 46"/>
                <a:gd name="T9" fmla="*/ 24 h 51"/>
                <a:gd name="T10" fmla="*/ 43 w 46"/>
                <a:gd name="T11" fmla="*/ 19 h 51"/>
                <a:gd name="T12" fmla="*/ 43 w 46"/>
                <a:gd name="T13" fmla="*/ 19 h 51"/>
                <a:gd name="T14" fmla="*/ 43 w 46"/>
                <a:gd name="T15" fmla="*/ 17 h 51"/>
                <a:gd name="T16" fmla="*/ 44 w 46"/>
                <a:gd name="T17" fmla="*/ 13 h 51"/>
                <a:gd name="T18" fmla="*/ 46 w 46"/>
                <a:gd name="T19" fmla="*/ 11 h 51"/>
                <a:gd name="T20" fmla="*/ 46 w 46"/>
                <a:gd name="T21" fmla="*/ 3 h 51"/>
                <a:gd name="T22" fmla="*/ 46 w 46"/>
                <a:gd name="T23" fmla="*/ 3 h 51"/>
                <a:gd name="T24" fmla="*/ 43 w 46"/>
                <a:gd name="T25" fmla="*/ 1 h 51"/>
                <a:gd name="T26" fmla="*/ 41 w 46"/>
                <a:gd name="T27" fmla="*/ 0 h 51"/>
                <a:gd name="T28" fmla="*/ 38 w 46"/>
                <a:gd name="T29" fmla="*/ 0 h 51"/>
                <a:gd name="T30" fmla="*/ 38 w 46"/>
                <a:gd name="T31" fmla="*/ 27 h 51"/>
                <a:gd name="T32" fmla="*/ 38 w 46"/>
                <a:gd name="T33" fmla="*/ 27 h 51"/>
                <a:gd name="T34" fmla="*/ 37 w 46"/>
                <a:gd name="T35" fmla="*/ 30 h 51"/>
                <a:gd name="T36" fmla="*/ 35 w 46"/>
                <a:gd name="T37" fmla="*/ 34 h 51"/>
                <a:gd name="T38" fmla="*/ 31 w 46"/>
                <a:gd name="T39" fmla="*/ 36 h 51"/>
                <a:gd name="T40" fmla="*/ 26 w 46"/>
                <a:gd name="T41" fmla="*/ 38 h 51"/>
                <a:gd name="T42" fmla="*/ 26 w 46"/>
                <a:gd name="T43" fmla="*/ 38 h 51"/>
                <a:gd name="T44" fmla="*/ 16 w 46"/>
                <a:gd name="T45" fmla="*/ 39 h 51"/>
                <a:gd name="T46" fmla="*/ 8 w 46"/>
                <a:gd name="T47" fmla="*/ 40 h 51"/>
                <a:gd name="T48" fmla="*/ 0 w 46"/>
                <a:gd name="T49" fmla="*/ 40 h 51"/>
                <a:gd name="T50" fmla="*/ 0 w 46"/>
                <a:gd name="T51" fmla="*/ 40 h 51"/>
                <a:gd name="T52" fmla="*/ 1 w 46"/>
                <a:gd name="T53" fmla="*/ 46 h 51"/>
                <a:gd name="T54" fmla="*/ 1 w 46"/>
                <a:gd name="T55" fmla="*/ 46 h 51"/>
                <a:gd name="T56" fmla="*/ 4 w 46"/>
                <a:gd name="T57" fmla="*/ 50 h 51"/>
                <a:gd name="T58" fmla="*/ 5 w 46"/>
                <a:gd name="T59" fmla="*/ 51 h 51"/>
                <a:gd name="T60" fmla="*/ 37 w 46"/>
                <a:gd name="T61" fmla="*/ 51 h 51"/>
                <a:gd name="T62" fmla="*/ 46 w 46"/>
                <a:gd name="T63" fmla="*/ 3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" h="51">
                  <a:moveTo>
                    <a:pt x="46" y="38"/>
                  </a:moveTo>
                  <a:lnTo>
                    <a:pt x="46" y="29"/>
                  </a:lnTo>
                  <a:lnTo>
                    <a:pt x="46" y="29"/>
                  </a:lnTo>
                  <a:lnTo>
                    <a:pt x="44" y="28"/>
                  </a:lnTo>
                  <a:lnTo>
                    <a:pt x="43" y="24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17"/>
                  </a:lnTo>
                  <a:lnTo>
                    <a:pt x="44" y="13"/>
                  </a:lnTo>
                  <a:lnTo>
                    <a:pt x="46" y="11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3" y="1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7" y="30"/>
                  </a:lnTo>
                  <a:lnTo>
                    <a:pt x="35" y="34"/>
                  </a:lnTo>
                  <a:lnTo>
                    <a:pt x="31" y="36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16" y="39"/>
                  </a:lnTo>
                  <a:lnTo>
                    <a:pt x="8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4" y="50"/>
                  </a:lnTo>
                  <a:lnTo>
                    <a:pt x="5" y="51"/>
                  </a:lnTo>
                  <a:lnTo>
                    <a:pt x="37" y="51"/>
                  </a:lnTo>
                  <a:lnTo>
                    <a:pt x="46" y="3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23" name="Freeform 36"/>
            <p:cNvSpPr>
              <a:spLocks/>
            </p:cNvSpPr>
            <p:nvPr userDrawn="1"/>
          </p:nvSpPr>
          <p:spPr bwMode="auto">
            <a:xfrm>
              <a:off x="795338" y="790575"/>
              <a:ext cx="58738" cy="20638"/>
            </a:xfrm>
            <a:custGeom>
              <a:avLst/>
              <a:gdLst>
                <a:gd name="T0" fmla="*/ 2 w 37"/>
                <a:gd name="T1" fmla="*/ 13 h 13"/>
                <a:gd name="T2" fmla="*/ 34 w 37"/>
                <a:gd name="T3" fmla="*/ 13 h 13"/>
                <a:gd name="T4" fmla="*/ 34 w 37"/>
                <a:gd name="T5" fmla="*/ 13 h 13"/>
                <a:gd name="T6" fmla="*/ 37 w 37"/>
                <a:gd name="T7" fmla="*/ 6 h 13"/>
                <a:gd name="T8" fmla="*/ 35 w 37"/>
                <a:gd name="T9" fmla="*/ 0 h 13"/>
                <a:gd name="T10" fmla="*/ 2 w 37"/>
                <a:gd name="T11" fmla="*/ 0 h 13"/>
                <a:gd name="T12" fmla="*/ 0 w 37"/>
                <a:gd name="T13" fmla="*/ 6 h 13"/>
                <a:gd name="T14" fmla="*/ 2 w 37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13">
                  <a:moveTo>
                    <a:pt x="2" y="13"/>
                  </a:moveTo>
                  <a:lnTo>
                    <a:pt x="34" y="13"/>
                  </a:lnTo>
                  <a:lnTo>
                    <a:pt x="34" y="13"/>
                  </a:lnTo>
                  <a:lnTo>
                    <a:pt x="37" y="6"/>
                  </a:lnTo>
                  <a:lnTo>
                    <a:pt x="35" y="0"/>
                  </a:lnTo>
                  <a:lnTo>
                    <a:pt x="2" y="0"/>
                  </a:lnTo>
                  <a:lnTo>
                    <a:pt x="0" y="6"/>
                  </a:lnTo>
                  <a:lnTo>
                    <a:pt x="2" y="1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24" name="Freeform 37"/>
            <p:cNvSpPr>
              <a:spLocks/>
            </p:cNvSpPr>
            <p:nvPr userDrawn="1"/>
          </p:nvSpPr>
          <p:spPr bwMode="auto">
            <a:xfrm>
              <a:off x="798513" y="820738"/>
              <a:ext cx="58738" cy="68263"/>
            </a:xfrm>
            <a:custGeom>
              <a:avLst/>
              <a:gdLst>
                <a:gd name="T0" fmla="*/ 32 w 37"/>
                <a:gd name="T1" fmla="*/ 0 h 43"/>
                <a:gd name="T2" fmla="*/ 0 w 37"/>
                <a:gd name="T3" fmla="*/ 0 h 43"/>
                <a:gd name="T4" fmla="*/ 0 w 37"/>
                <a:gd name="T5" fmla="*/ 41 h 43"/>
                <a:gd name="T6" fmla="*/ 28 w 37"/>
                <a:gd name="T7" fmla="*/ 43 h 43"/>
                <a:gd name="T8" fmla="*/ 37 w 37"/>
                <a:gd name="T9" fmla="*/ 35 h 43"/>
                <a:gd name="T10" fmla="*/ 32 w 37"/>
                <a:gd name="T1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" h="43">
                  <a:moveTo>
                    <a:pt x="32" y="0"/>
                  </a:moveTo>
                  <a:lnTo>
                    <a:pt x="0" y="0"/>
                  </a:lnTo>
                  <a:lnTo>
                    <a:pt x="0" y="41"/>
                  </a:lnTo>
                  <a:lnTo>
                    <a:pt x="28" y="43"/>
                  </a:lnTo>
                  <a:lnTo>
                    <a:pt x="37" y="35"/>
                  </a:lnTo>
                  <a:lnTo>
                    <a:pt x="3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25" name="Freeform 38"/>
            <p:cNvSpPr>
              <a:spLocks/>
            </p:cNvSpPr>
            <p:nvPr userDrawn="1"/>
          </p:nvSpPr>
          <p:spPr bwMode="auto">
            <a:xfrm>
              <a:off x="796925" y="885825"/>
              <a:ext cx="77788" cy="68263"/>
            </a:xfrm>
            <a:custGeom>
              <a:avLst/>
              <a:gdLst>
                <a:gd name="T0" fmla="*/ 49 w 49"/>
                <a:gd name="T1" fmla="*/ 12 h 43"/>
                <a:gd name="T2" fmla="*/ 49 w 49"/>
                <a:gd name="T3" fmla="*/ 12 h 43"/>
                <a:gd name="T4" fmla="*/ 43 w 49"/>
                <a:gd name="T5" fmla="*/ 7 h 43"/>
                <a:gd name="T6" fmla="*/ 43 w 49"/>
                <a:gd name="T7" fmla="*/ 7 h 43"/>
                <a:gd name="T8" fmla="*/ 42 w 49"/>
                <a:gd name="T9" fmla="*/ 0 h 43"/>
                <a:gd name="T10" fmla="*/ 32 w 49"/>
                <a:gd name="T11" fmla="*/ 8 h 43"/>
                <a:gd name="T12" fmla="*/ 0 w 49"/>
                <a:gd name="T13" fmla="*/ 8 h 43"/>
                <a:gd name="T14" fmla="*/ 0 w 49"/>
                <a:gd name="T15" fmla="*/ 8 h 43"/>
                <a:gd name="T16" fmla="*/ 0 w 49"/>
                <a:gd name="T17" fmla="*/ 19 h 43"/>
                <a:gd name="T18" fmla="*/ 0 w 49"/>
                <a:gd name="T19" fmla="*/ 31 h 43"/>
                <a:gd name="T20" fmla="*/ 0 w 49"/>
                <a:gd name="T21" fmla="*/ 31 h 43"/>
                <a:gd name="T22" fmla="*/ 7 w 49"/>
                <a:gd name="T23" fmla="*/ 37 h 43"/>
                <a:gd name="T24" fmla="*/ 16 w 49"/>
                <a:gd name="T25" fmla="*/ 43 h 43"/>
                <a:gd name="T26" fmla="*/ 37 w 49"/>
                <a:gd name="T27" fmla="*/ 18 h 43"/>
                <a:gd name="T28" fmla="*/ 49 w 49"/>
                <a:gd name="T29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" h="43">
                  <a:moveTo>
                    <a:pt x="49" y="12"/>
                  </a:moveTo>
                  <a:lnTo>
                    <a:pt x="49" y="12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2" y="0"/>
                  </a:lnTo>
                  <a:lnTo>
                    <a:pt x="32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9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7" y="37"/>
                  </a:lnTo>
                  <a:lnTo>
                    <a:pt x="16" y="43"/>
                  </a:lnTo>
                  <a:lnTo>
                    <a:pt x="37" y="18"/>
                  </a:lnTo>
                  <a:lnTo>
                    <a:pt x="49" y="1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26" name="Freeform 39"/>
            <p:cNvSpPr>
              <a:spLocks/>
            </p:cNvSpPr>
            <p:nvPr userDrawn="1"/>
          </p:nvSpPr>
          <p:spPr bwMode="auto">
            <a:xfrm>
              <a:off x="833438" y="911225"/>
              <a:ext cx="115888" cy="68263"/>
            </a:xfrm>
            <a:custGeom>
              <a:avLst/>
              <a:gdLst>
                <a:gd name="T0" fmla="*/ 19 w 73"/>
                <a:gd name="T1" fmla="*/ 5 h 43"/>
                <a:gd name="T2" fmla="*/ 0 w 73"/>
                <a:gd name="T3" fmla="*/ 30 h 43"/>
                <a:gd name="T4" fmla="*/ 31 w 73"/>
                <a:gd name="T5" fmla="*/ 43 h 43"/>
                <a:gd name="T6" fmla="*/ 31 w 73"/>
                <a:gd name="T7" fmla="*/ 43 h 43"/>
                <a:gd name="T8" fmla="*/ 45 w 73"/>
                <a:gd name="T9" fmla="*/ 35 h 43"/>
                <a:gd name="T10" fmla="*/ 58 w 73"/>
                <a:gd name="T11" fmla="*/ 26 h 43"/>
                <a:gd name="T12" fmla="*/ 73 w 73"/>
                <a:gd name="T13" fmla="*/ 16 h 43"/>
                <a:gd name="T14" fmla="*/ 30 w 73"/>
                <a:gd name="T15" fmla="*/ 0 h 43"/>
                <a:gd name="T16" fmla="*/ 19 w 73"/>
                <a:gd name="T17" fmla="*/ 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43">
                  <a:moveTo>
                    <a:pt x="19" y="5"/>
                  </a:moveTo>
                  <a:lnTo>
                    <a:pt x="0" y="30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45" y="35"/>
                  </a:lnTo>
                  <a:lnTo>
                    <a:pt x="58" y="26"/>
                  </a:lnTo>
                  <a:lnTo>
                    <a:pt x="73" y="16"/>
                  </a:lnTo>
                  <a:lnTo>
                    <a:pt x="30" y="0"/>
                  </a:lnTo>
                  <a:lnTo>
                    <a:pt x="19" y="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27" name="Freeform 40"/>
            <p:cNvSpPr>
              <a:spLocks/>
            </p:cNvSpPr>
            <p:nvPr userDrawn="1"/>
          </p:nvSpPr>
          <p:spPr bwMode="auto">
            <a:xfrm>
              <a:off x="866775" y="666750"/>
              <a:ext cx="30163" cy="123825"/>
            </a:xfrm>
            <a:custGeom>
              <a:avLst/>
              <a:gdLst>
                <a:gd name="T0" fmla="*/ 15 w 19"/>
                <a:gd name="T1" fmla="*/ 33 h 78"/>
                <a:gd name="T2" fmla="*/ 15 w 19"/>
                <a:gd name="T3" fmla="*/ 33 h 78"/>
                <a:gd name="T4" fmla="*/ 15 w 19"/>
                <a:gd name="T5" fmla="*/ 7 h 78"/>
                <a:gd name="T6" fmla="*/ 15 w 19"/>
                <a:gd name="T7" fmla="*/ 7 h 78"/>
                <a:gd name="T8" fmla="*/ 16 w 19"/>
                <a:gd name="T9" fmla="*/ 5 h 78"/>
                <a:gd name="T10" fmla="*/ 16 w 19"/>
                <a:gd name="T11" fmla="*/ 5 h 78"/>
                <a:gd name="T12" fmla="*/ 16 w 19"/>
                <a:gd name="T13" fmla="*/ 2 h 78"/>
                <a:gd name="T14" fmla="*/ 16 w 19"/>
                <a:gd name="T15" fmla="*/ 0 h 78"/>
                <a:gd name="T16" fmla="*/ 1 w 19"/>
                <a:gd name="T17" fmla="*/ 0 h 78"/>
                <a:gd name="T18" fmla="*/ 1 w 19"/>
                <a:gd name="T19" fmla="*/ 0 h 78"/>
                <a:gd name="T20" fmla="*/ 1 w 19"/>
                <a:gd name="T21" fmla="*/ 3 h 78"/>
                <a:gd name="T22" fmla="*/ 1 w 19"/>
                <a:gd name="T23" fmla="*/ 3 h 78"/>
                <a:gd name="T24" fmla="*/ 1 w 19"/>
                <a:gd name="T25" fmla="*/ 6 h 78"/>
                <a:gd name="T26" fmla="*/ 3 w 19"/>
                <a:gd name="T27" fmla="*/ 7 h 78"/>
                <a:gd name="T28" fmla="*/ 3 w 19"/>
                <a:gd name="T29" fmla="*/ 33 h 78"/>
                <a:gd name="T30" fmla="*/ 3 w 19"/>
                <a:gd name="T31" fmla="*/ 33 h 78"/>
                <a:gd name="T32" fmla="*/ 1 w 19"/>
                <a:gd name="T33" fmla="*/ 34 h 78"/>
                <a:gd name="T34" fmla="*/ 0 w 19"/>
                <a:gd name="T35" fmla="*/ 40 h 78"/>
                <a:gd name="T36" fmla="*/ 0 w 19"/>
                <a:gd name="T37" fmla="*/ 40 h 78"/>
                <a:gd name="T38" fmla="*/ 0 w 19"/>
                <a:gd name="T39" fmla="*/ 44 h 78"/>
                <a:gd name="T40" fmla="*/ 1 w 19"/>
                <a:gd name="T41" fmla="*/ 48 h 78"/>
                <a:gd name="T42" fmla="*/ 4 w 19"/>
                <a:gd name="T43" fmla="*/ 50 h 78"/>
                <a:gd name="T44" fmla="*/ 3 w 19"/>
                <a:gd name="T45" fmla="*/ 71 h 78"/>
                <a:gd name="T46" fmla="*/ 3 w 19"/>
                <a:gd name="T47" fmla="*/ 71 h 78"/>
                <a:gd name="T48" fmla="*/ 3 w 19"/>
                <a:gd name="T49" fmla="*/ 72 h 78"/>
                <a:gd name="T50" fmla="*/ 1 w 19"/>
                <a:gd name="T51" fmla="*/ 75 h 78"/>
                <a:gd name="T52" fmla="*/ 1 w 19"/>
                <a:gd name="T53" fmla="*/ 75 h 78"/>
                <a:gd name="T54" fmla="*/ 1 w 19"/>
                <a:gd name="T55" fmla="*/ 78 h 78"/>
                <a:gd name="T56" fmla="*/ 16 w 19"/>
                <a:gd name="T57" fmla="*/ 78 h 78"/>
                <a:gd name="T58" fmla="*/ 16 w 19"/>
                <a:gd name="T59" fmla="*/ 78 h 78"/>
                <a:gd name="T60" fmla="*/ 16 w 19"/>
                <a:gd name="T61" fmla="*/ 73 h 78"/>
                <a:gd name="T62" fmla="*/ 16 w 19"/>
                <a:gd name="T63" fmla="*/ 73 h 78"/>
                <a:gd name="T64" fmla="*/ 15 w 19"/>
                <a:gd name="T65" fmla="*/ 71 h 78"/>
                <a:gd name="T66" fmla="*/ 15 w 19"/>
                <a:gd name="T67" fmla="*/ 50 h 78"/>
                <a:gd name="T68" fmla="*/ 15 w 19"/>
                <a:gd name="T69" fmla="*/ 50 h 78"/>
                <a:gd name="T70" fmla="*/ 17 w 19"/>
                <a:gd name="T71" fmla="*/ 46 h 78"/>
                <a:gd name="T72" fmla="*/ 17 w 19"/>
                <a:gd name="T73" fmla="*/ 44 h 78"/>
                <a:gd name="T74" fmla="*/ 19 w 19"/>
                <a:gd name="T75" fmla="*/ 42 h 78"/>
                <a:gd name="T76" fmla="*/ 19 w 19"/>
                <a:gd name="T77" fmla="*/ 42 h 78"/>
                <a:gd name="T78" fmla="*/ 16 w 19"/>
                <a:gd name="T79" fmla="*/ 35 h 78"/>
                <a:gd name="T80" fmla="*/ 15 w 19"/>
                <a:gd name="T81" fmla="*/ 3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" h="78">
                  <a:moveTo>
                    <a:pt x="15" y="33"/>
                  </a:moveTo>
                  <a:lnTo>
                    <a:pt x="15" y="33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6"/>
                  </a:lnTo>
                  <a:lnTo>
                    <a:pt x="3" y="7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1" y="3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1" y="48"/>
                  </a:lnTo>
                  <a:lnTo>
                    <a:pt x="4" y="50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3" y="72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3"/>
                  </a:lnTo>
                  <a:lnTo>
                    <a:pt x="16" y="73"/>
                  </a:lnTo>
                  <a:lnTo>
                    <a:pt x="15" y="71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7" y="46"/>
                  </a:lnTo>
                  <a:lnTo>
                    <a:pt x="17" y="44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6" y="35"/>
                  </a:lnTo>
                  <a:lnTo>
                    <a:pt x="15" y="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28" name="Freeform 41"/>
            <p:cNvSpPr>
              <a:spLocks/>
            </p:cNvSpPr>
            <p:nvPr userDrawn="1"/>
          </p:nvSpPr>
          <p:spPr bwMode="auto">
            <a:xfrm>
              <a:off x="896938" y="703263"/>
              <a:ext cx="80963" cy="58738"/>
            </a:xfrm>
            <a:custGeom>
              <a:avLst/>
              <a:gdLst>
                <a:gd name="T0" fmla="*/ 28 w 51"/>
                <a:gd name="T1" fmla="*/ 31 h 37"/>
                <a:gd name="T2" fmla="*/ 51 w 51"/>
                <a:gd name="T3" fmla="*/ 6 h 37"/>
                <a:gd name="T4" fmla="*/ 51 w 51"/>
                <a:gd name="T5" fmla="*/ 6 h 37"/>
                <a:gd name="T6" fmla="*/ 17 w 51"/>
                <a:gd name="T7" fmla="*/ 6 h 37"/>
                <a:gd name="T8" fmla="*/ 17 w 51"/>
                <a:gd name="T9" fmla="*/ 6 h 37"/>
                <a:gd name="T10" fmla="*/ 13 w 51"/>
                <a:gd name="T11" fmla="*/ 5 h 37"/>
                <a:gd name="T12" fmla="*/ 9 w 51"/>
                <a:gd name="T13" fmla="*/ 3 h 37"/>
                <a:gd name="T14" fmla="*/ 5 w 51"/>
                <a:gd name="T15" fmla="*/ 0 h 37"/>
                <a:gd name="T16" fmla="*/ 3 w 51"/>
                <a:gd name="T17" fmla="*/ 0 h 37"/>
                <a:gd name="T18" fmla="*/ 3 w 51"/>
                <a:gd name="T19" fmla="*/ 0 h 37"/>
                <a:gd name="T20" fmla="*/ 0 w 51"/>
                <a:gd name="T21" fmla="*/ 7 h 37"/>
                <a:gd name="T22" fmla="*/ 0 w 51"/>
                <a:gd name="T23" fmla="*/ 7 h 37"/>
                <a:gd name="T24" fmla="*/ 2 w 51"/>
                <a:gd name="T25" fmla="*/ 11 h 37"/>
                <a:gd name="T26" fmla="*/ 3 w 51"/>
                <a:gd name="T27" fmla="*/ 14 h 37"/>
                <a:gd name="T28" fmla="*/ 5 w 51"/>
                <a:gd name="T29" fmla="*/ 19 h 37"/>
                <a:gd name="T30" fmla="*/ 5 w 51"/>
                <a:gd name="T31" fmla="*/ 19 h 37"/>
                <a:gd name="T32" fmla="*/ 5 w 51"/>
                <a:gd name="T33" fmla="*/ 22 h 37"/>
                <a:gd name="T34" fmla="*/ 2 w 51"/>
                <a:gd name="T35" fmla="*/ 26 h 37"/>
                <a:gd name="T36" fmla="*/ 0 w 51"/>
                <a:gd name="T37" fmla="*/ 28 h 37"/>
                <a:gd name="T38" fmla="*/ 0 w 51"/>
                <a:gd name="T39" fmla="*/ 28 h 37"/>
                <a:gd name="T40" fmla="*/ 5 w 51"/>
                <a:gd name="T41" fmla="*/ 37 h 37"/>
                <a:gd name="T42" fmla="*/ 5 w 51"/>
                <a:gd name="T43" fmla="*/ 37 h 37"/>
                <a:gd name="T44" fmla="*/ 8 w 51"/>
                <a:gd name="T45" fmla="*/ 34 h 37"/>
                <a:gd name="T46" fmla="*/ 18 w 51"/>
                <a:gd name="T47" fmla="*/ 31 h 37"/>
                <a:gd name="T48" fmla="*/ 18 w 51"/>
                <a:gd name="T49" fmla="*/ 31 h 37"/>
                <a:gd name="T50" fmla="*/ 28 w 51"/>
                <a:gd name="T51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" h="37">
                  <a:moveTo>
                    <a:pt x="28" y="31"/>
                  </a:moveTo>
                  <a:lnTo>
                    <a:pt x="51" y="6"/>
                  </a:lnTo>
                  <a:lnTo>
                    <a:pt x="51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3" y="5"/>
                  </a:lnTo>
                  <a:lnTo>
                    <a:pt x="9" y="3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11"/>
                  </a:lnTo>
                  <a:lnTo>
                    <a:pt x="3" y="14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22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8" y="34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28" y="3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29" name="Freeform 42"/>
            <p:cNvSpPr>
              <a:spLocks/>
            </p:cNvSpPr>
            <p:nvPr userDrawn="1"/>
          </p:nvSpPr>
          <p:spPr bwMode="auto">
            <a:xfrm>
              <a:off x="998538" y="625475"/>
              <a:ext cx="161925" cy="127000"/>
            </a:xfrm>
            <a:custGeom>
              <a:avLst/>
              <a:gdLst>
                <a:gd name="T0" fmla="*/ 102 w 102"/>
                <a:gd name="T1" fmla="*/ 41 h 80"/>
                <a:gd name="T2" fmla="*/ 99 w 102"/>
                <a:gd name="T3" fmla="*/ 39 h 80"/>
                <a:gd name="T4" fmla="*/ 93 w 102"/>
                <a:gd name="T5" fmla="*/ 42 h 80"/>
                <a:gd name="T6" fmla="*/ 90 w 102"/>
                <a:gd name="T7" fmla="*/ 43 h 80"/>
                <a:gd name="T8" fmla="*/ 89 w 102"/>
                <a:gd name="T9" fmla="*/ 50 h 80"/>
                <a:gd name="T10" fmla="*/ 87 w 102"/>
                <a:gd name="T11" fmla="*/ 48 h 80"/>
                <a:gd name="T12" fmla="*/ 81 w 102"/>
                <a:gd name="T13" fmla="*/ 47 h 80"/>
                <a:gd name="T14" fmla="*/ 76 w 102"/>
                <a:gd name="T15" fmla="*/ 48 h 80"/>
                <a:gd name="T16" fmla="*/ 78 w 102"/>
                <a:gd name="T17" fmla="*/ 54 h 80"/>
                <a:gd name="T18" fmla="*/ 76 w 102"/>
                <a:gd name="T19" fmla="*/ 60 h 80"/>
                <a:gd name="T20" fmla="*/ 73 w 102"/>
                <a:gd name="T21" fmla="*/ 60 h 80"/>
                <a:gd name="T22" fmla="*/ 68 w 102"/>
                <a:gd name="T23" fmla="*/ 56 h 80"/>
                <a:gd name="T24" fmla="*/ 68 w 102"/>
                <a:gd name="T25" fmla="*/ 53 h 80"/>
                <a:gd name="T26" fmla="*/ 62 w 102"/>
                <a:gd name="T27" fmla="*/ 55 h 80"/>
                <a:gd name="T28" fmla="*/ 59 w 102"/>
                <a:gd name="T29" fmla="*/ 53 h 80"/>
                <a:gd name="T30" fmla="*/ 60 w 102"/>
                <a:gd name="T31" fmla="*/ 47 h 80"/>
                <a:gd name="T32" fmla="*/ 70 w 102"/>
                <a:gd name="T33" fmla="*/ 44 h 80"/>
                <a:gd name="T34" fmla="*/ 68 w 102"/>
                <a:gd name="T35" fmla="*/ 41 h 80"/>
                <a:gd name="T36" fmla="*/ 65 w 102"/>
                <a:gd name="T37" fmla="*/ 36 h 80"/>
                <a:gd name="T38" fmla="*/ 61 w 102"/>
                <a:gd name="T39" fmla="*/ 34 h 80"/>
                <a:gd name="T40" fmla="*/ 55 w 102"/>
                <a:gd name="T41" fmla="*/ 36 h 80"/>
                <a:gd name="T42" fmla="*/ 57 w 102"/>
                <a:gd name="T43" fmla="*/ 34 h 80"/>
                <a:gd name="T44" fmla="*/ 60 w 102"/>
                <a:gd name="T45" fmla="*/ 29 h 80"/>
                <a:gd name="T46" fmla="*/ 60 w 102"/>
                <a:gd name="T47" fmla="*/ 23 h 80"/>
                <a:gd name="T48" fmla="*/ 56 w 102"/>
                <a:gd name="T49" fmla="*/ 17 h 80"/>
                <a:gd name="T50" fmla="*/ 56 w 102"/>
                <a:gd name="T51" fmla="*/ 17 h 80"/>
                <a:gd name="T52" fmla="*/ 52 w 102"/>
                <a:gd name="T53" fmla="*/ 18 h 80"/>
                <a:gd name="T54" fmla="*/ 45 w 102"/>
                <a:gd name="T55" fmla="*/ 22 h 80"/>
                <a:gd name="T56" fmla="*/ 44 w 102"/>
                <a:gd name="T57" fmla="*/ 26 h 80"/>
                <a:gd name="T58" fmla="*/ 44 w 102"/>
                <a:gd name="T59" fmla="*/ 31 h 80"/>
                <a:gd name="T60" fmla="*/ 41 w 102"/>
                <a:gd name="T61" fmla="*/ 27 h 80"/>
                <a:gd name="T62" fmla="*/ 36 w 102"/>
                <a:gd name="T63" fmla="*/ 23 h 80"/>
                <a:gd name="T64" fmla="*/ 33 w 102"/>
                <a:gd name="T65" fmla="*/ 23 h 80"/>
                <a:gd name="T66" fmla="*/ 28 w 102"/>
                <a:gd name="T67" fmla="*/ 26 h 80"/>
                <a:gd name="T68" fmla="*/ 31 w 102"/>
                <a:gd name="T69" fmla="*/ 31 h 80"/>
                <a:gd name="T70" fmla="*/ 31 w 102"/>
                <a:gd name="T71" fmla="*/ 38 h 80"/>
                <a:gd name="T72" fmla="*/ 28 w 102"/>
                <a:gd name="T73" fmla="*/ 39 h 80"/>
                <a:gd name="T74" fmla="*/ 23 w 102"/>
                <a:gd name="T75" fmla="*/ 36 h 80"/>
                <a:gd name="T76" fmla="*/ 22 w 102"/>
                <a:gd name="T77" fmla="*/ 32 h 80"/>
                <a:gd name="T78" fmla="*/ 17 w 102"/>
                <a:gd name="T79" fmla="*/ 36 h 80"/>
                <a:gd name="T80" fmla="*/ 13 w 102"/>
                <a:gd name="T81" fmla="*/ 34 h 80"/>
                <a:gd name="T82" fmla="*/ 11 w 102"/>
                <a:gd name="T83" fmla="*/ 28 h 80"/>
                <a:gd name="T84" fmla="*/ 20 w 102"/>
                <a:gd name="T85" fmla="*/ 23 h 80"/>
                <a:gd name="T86" fmla="*/ 19 w 102"/>
                <a:gd name="T87" fmla="*/ 22 h 80"/>
                <a:gd name="T88" fmla="*/ 14 w 102"/>
                <a:gd name="T89" fmla="*/ 16 h 80"/>
                <a:gd name="T90" fmla="*/ 9 w 102"/>
                <a:gd name="T91" fmla="*/ 16 h 80"/>
                <a:gd name="T92" fmla="*/ 12 w 102"/>
                <a:gd name="T93" fmla="*/ 12 h 80"/>
                <a:gd name="T94" fmla="*/ 13 w 102"/>
                <a:gd name="T95" fmla="*/ 6 h 80"/>
                <a:gd name="T96" fmla="*/ 12 w 102"/>
                <a:gd name="T97" fmla="*/ 4 h 80"/>
                <a:gd name="T98" fmla="*/ 8 w 102"/>
                <a:gd name="T99" fmla="*/ 0 h 80"/>
                <a:gd name="T100" fmla="*/ 23 w 102"/>
                <a:gd name="T101" fmla="*/ 59 h 80"/>
                <a:gd name="T102" fmla="*/ 30 w 102"/>
                <a:gd name="T103" fmla="*/ 55 h 80"/>
                <a:gd name="T104" fmla="*/ 34 w 102"/>
                <a:gd name="T105" fmla="*/ 53 h 80"/>
                <a:gd name="T106" fmla="*/ 44 w 102"/>
                <a:gd name="T107" fmla="*/ 54 h 80"/>
                <a:gd name="T108" fmla="*/ 47 w 102"/>
                <a:gd name="T109" fmla="*/ 55 h 80"/>
                <a:gd name="T110" fmla="*/ 55 w 102"/>
                <a:gd name="T111" fmla="*/ 60 h 80"/>
                <a:gd name="T112" fmla="*/ 56 w 102"/>
                <a:gd name="T113" fmla="*/ 66 h 80"/>
                <a:gd name="T114" fmla="*/ 56 w 102"/>
                <a:gd name="T115" fmla="*/ 70 h 80"/>
                <a:gd name="T116" fmla="*/ 71 w 102"/>
                <a:gd name="T1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2" h="80">
                  <a:moveTo>
                    <a:pt x="71" y="80"/>
                  </a:moveTo>
                  <a:lnTo>
                    <a:pt x="102" y="41"/>
                  </a:lnTo>
                  <a:lnTo>
                    <a:pt x="102" y="41"/>
                  </a:lnTo>
                  <a:lnTo>
                    <a:pt x="99" y="39"/>
                  </a:lnTo>
                  <a:lnTo>
                    <a:pt x="97" y="41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0" y="43"/>
                  </a:lnTo>
                  <a:lnTo>
                    <a:pt x="89" y="47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7" y="48"/>
                  </a:lnTo>
                  <a:lnTo>
                    <a:pt x="86" y="47"/>
                  </a:lnTo>
                  <a:lnTo>
                    <a:pt x="81" y="47"/>
                  </a:lnTo>
                  <a:lnTo>
                    <a:pt x="77" y="47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8" y="54"/>
                  </a:lnTo>
                  <a:lnTo>
                    <a:pt x="78" y="58"/>
                  </a:lnTo>
                  <a:lnTo>
                    <a:pt x="76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0" y="59"/>
                  </a:lnTo>
                  <a:lnTo>
                    <a:pt x="68" y="56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5" y="55"/>
                  </a:lnTo>
                  <a:lnTo>
                    <a:pt x="62" y="55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7" y="50"/>
                  </a:lnTo>
                  <a:lnTo>
                    <a:pt x="60" y="47"/>
                  </a:lnTo>
                  <a:lnTo>
                    <a:pt x="63" y="45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8" y="41"/>
                  </a:lnTo>
                  <a:lnTo>
                    <a:pt x="67" y="38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1" y="34"/>
                  </a:lnTo>
                  <a:lnTo>
                    <a:pt x="59" y="34"/>
                  </a:lnTo>
                  <a:lnTo>
                    <a:pt x="55" y="36"/>
                  </a:lnTo>
                  <a:lnTo>
                    <a:pt x="55" y="36"/>
                  </a:lnTo>
                  <a:lnTo>
                    <a:pt x="57" y="34"/>
                  </a:lnTo>
                  <a:lnTo>
                    <a:pt x="59" y="32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0" y="23"/>
                  </a:lnTo>
                  <a:lnTo>
                    <a:pt x="59" y="21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2" y="18"/>
                  </a:lnTo>
                  <a:lnTo>
                    <a:pt x="49" y="20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4" y="26"/>
                  </a:lnTo>
                  <a:lnTo>
                    <a:pt x="44" y="28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1" y="27"/>
                  </a:lnTo>
                  <a:lnTo>
                    <a:pt x="40" y="25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3" y="23"/>
                  </a:lnTo>
                  <a:lnTo>
                    <a:pt x="30" y="25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31" y="31"/>
                  </a:lnTo>
                  <a:lnTo>
                    <a:pt x="31" y="36"/>
                  </a:lnTo>
                  <a:lnTo>
                    <a:pt x="31" y="38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4" y="38"/>
                  </a:lnTo>
                  <a:lnTo>
                    <a:pt x="23" y="36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19" y="34"/>
                  </a:lnTo>
                  <a:lnTo>
                    <a:pt x="17" y="36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1" y="32"/>
                  </a:lnTo>
                  <a:lnTo>
                    <a:pt x="11" y="28"/>
                  </a:lnTo>
                  <a:lnTo>
                    <a:pt x="14" y="26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9" y="22"/>
                  </a:lnTo>
                  <a:lnTo>
                    <a:pt x="18" y="18"/>
                  </a:lnTo>
                  <a:lnTo>
                    <a:pt x="14" y="16"/>
                  </a:lnTo>
                  <a:lnTo>
                    <a:pt x="12" y="15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2" y="12"/>
                  </a:lnTo>
                  <a:lnTo>
                    <a:pt x="13" y="10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2" y="4"/>
                  </a:lnTo>
                  <a:lnTo>
                    <a:pt x="11" y="1"/>
                  </a:lnTo>
                  <a:lnTo>
                    <a:pt x="8" y="0"/>
                  </a:lnTo>
                  <a:lnTo>
                    <a:pt x="0" y="4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30" y="55"/>
                  </a:lnTo>
                  <a:lnTo>
                    <a:pt x="30" y="55"/>
                  </a:lnTo>
                  <a:lnTo>
                    <a:pt x="34" y="53"/>
                  </a:lnTo>
                  <a:lnTo>
                    <a:pt x="39" y="53"/>
                  </a:lnTo>
                  <a:lnTo>
                    <a:pt x="44" y="54"/>
                  </a:lnTo>
                  <a:lnTo>
                    <a:pt x="47" y="55"/>
                  </a:lnTo>
                  <a:lnTo>
                    <a:pt x="47" y="55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6" y="64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70"/>
                  </a:lnTo>
                  <a:lnTo>
                    <a:pt x="54" y="74"/>
                  </a:lnTo>
                  <a:lnTo>
                    <a:pt x="71" y="8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30" name="Freeform 43"/>
            <p:cNvSpPr>
              <a:spLocks/>
            </p:cNvSpPr>
            <p:nvPr userDrawn="1"/>
          </p:nvSpPr>
          <p:spPr bwMode="auto">
            <a:xfrm>
              <a:off x="1128713" y="712788"/>
              <a:ext cx="193675" cy="33338"/>
            </a:xfrm>
            <a:custGeom>
              <a:avLst/>
              <a:gdLst>
                <a:gd name="T0" fmla="*/ 102 w 122"/>
                <a:gd name="T1" fmla="*/ 19 h 21"/>
                <a:gd name="T2" fmla="*/ 122 w 122"/>
                <a:gd name="T3" fmla="*/ 10 h 21"/>
                <a:gd name="T4" fmla="*/ 102 w 122"/>
                <a:gd name="T5" fmla="*/ 1 h 21"/>
                <a:gd name="T6" fmla="*/ 102 w 122"/>
                <a:gd name="T7" fmla="*/ 1 h 21"/>
                <a:gd name="T8" fmla="*/ 69 w 122"/>
                <a:gd name="T9" fmla="*/ 1 h 21"/>
                <a:gd name="T10" fmla="*/ 16 w 122"/>
                <a:gd name="T11" fmla="*/ 0 h 21"/>
                <a:gd name="T12" fmla="*/ 0 w 122"/>
                <a:gd name="T13" fmla="*/ 21 h 21"/>
                <a:gd name="T14" fmla="*/ 0 w 122"/>
                <a:gd name="T15" fmla="*/ 21 h 21"/>
                <a:gd name="T16" fmla="*/ 102 w 122"/>
                <a:gd name="T17" fmla="*/ 1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21">
                  <a:moveTo>
                    <a:pt x="102" y="19"/>
                  </a:moveTo>
                  <a:lnTo>
                    <a:pt x="122" y="10"/>
                  </a:lnTo>
                  <a:lnTo>
                    <a:pt x="102" y="1"/>
                  </a:lnTo>
                  <a:lnTo>
                    <a:pt x="102" y="1"/>
                  </a:lnTo>
                  <a:lnTo>
                    <a:pt x="69" y="1"/>
                  </a:lnTo>
                  <a:lnTo>
                    <a:pt x="16" y="0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102" y="1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31" name="Freeform 44"/>
            <p:cNvSpPr>
              <a:spLocks/>
            </p:cNvSpPr>
            <p:nvPr userDrawn="1"/>
          </p:nvSpPr>
          <p:spPr bwMode="auto">
            <a:xfrm>
              <a:off x="1190625" y="796925"/>
              <a:ext cx="115888" cy="112713"/>
            </a:xfrm>
            <a:custGeom>
              <a:avLst/>
              <a:gdLst>
                <a:gd name="T0" fmla="*/ 37 w 73"/>
                <a:gd name="T1" fmla="*/ 71 h 71"/>
                <a:gd name="T2" fmla="*/ 37 w 73"/>
                <a:gd name="T3" fmla="*/ 71 h 71"/>
                <a:gd name="T4" fmla="*/ 26 w 73"/>
                <a:gd name="T5" fmla="*/ 65 h 71"/>
                <a:gd name="T6" fmla="*/ 17 w 73"/>
                <a:gd name="T7" fmla="*/ 60 h 71"/>
                <a:gd name="T8" fmla="*/ 9 w 73"/>
                <a:gd name="T9" fmla="*/ 54 h 71"/>
                <a:gd name="T10" fmla="*/ 3 w 73"/>
                <a:gd name="T11" fmla="*/ 47 h 71"/>
                <a:gd name="T12" fmla="*/ 3 w 73"/>
                <a:gd name="T13" fmla="*/ 47 h 71"/>
                <a:gd name="T14" fmla="*/ 0 w 73"/>
                <a:gd name="T15" fmla="*/ 42 h 71"/>
                <a:gd name="T16" fmla="*/ 0 w 73"/>
                <a:gd name="T17" fmla="*/ 36 h 71"/>
                <a:gd name="T18" fmla="*/ 0 w 73"/>
                <a:gd name="T19" fmla="*/ 31 h 71"/>
                <a:gd name="T20" fmla="*/ 0 w 73"/>
                <a:gd name="T21" fmla="*/ 25 h 71"/>
                <a:gd name="T22" fmla="*/ 3 w 73"/>
                <a:gd name="T23" fmla="*/ 18 h 71"/>
                <a:gd name="T24" fmla="*/ 5 w 73"/>
                <a:gd name="T25" fmla="*/ 14 h 71"/>
                <a:gd name="T26" fmla="*/ 10 w 73"/>
                <a:gd name="T27" fmla="*/ 9 h 71"/>
                <a:gd name="T28" fmla="*/ 15 w 73"/>
                <a:gd name="T29" fmla="*/ 5 h 71"/>
                <a:gd name="T30" fmla="*/ 15 w 73"/>
                <a:gd name="T31" fmla="*/ 5 h 71"/>
                <a:gd name="T32" fmla="*/ 17 w 73"/>
                <a:gd name="T33" fmla="*/ 7 h 71"/>
                <a:gd name="T34" fmla="*/ 19 w 73"/>
                <a:gd name="T35" fmla="*/ 10 h 71"/>
                <a:gd name="T36" fmla="*/ 19 w 73"/>
                <a:gd name="T37" fmla="*/ 12 h 71"/>
                <a:gd name="T38" fmla="*/ 19 w 73"/>
                <a:gd name="T39" fmla="*/ 12 h 71"/>
                <a:gd name="T40" fmla="*/ 35 w 73"/>
                <a:gd name="T41" fmla="*/ 11 h 71"/>
                <a:gd name="T42" fmla="*/ 35 w 73"/>
                <a:gd name="T43" fmla="*/ 11 h 71"/>
                <a:gd name="T44" fmla="*/ 35 w 73"/>
                <a:gd name="T45" fmla="*/ 6 h 71"/>
                <a:gd name="T46" fmla="*/ 35 w 73"/>
                <a:gd name="T47" fmla="*/ 2 h 71"/>
                <a:gd name="T48" fmla="*/ 33 w 73"/>
                <a:gd name="T49" fmla="*/ 0 h 71"/>
                <a:gd name="T50" fmla="*/ 33 w 73"/>
                <a:gd name="T51" fmla="*/ 0 h 71"/>
                <a:gd name="T52" fmla="*/ 38 w 73"/>
                <a:gd name="T53" fmla="*/ 4 h 71"/>
                <a:gd name="T54" fmla="*/ 40 w 73"/>
                <a:gd name="T55" fmla="*/ 7 h 71"/>
                <a:gd name="T56" fmla="*/ 41 w 73"/>
                <a:gd name="T57" fmla="*/ 11 h 71"/>
                <a:gd name="T58" fmla="*/ 41 w 73"/>
                <a:gd name="T59" fmla="*/ 11 h 71"/>
                <a:gd name="T60" fmla="*/ 56 w 73"/>
                <a:gd name="T61" fmla="*/ 12 h 71"/>
                <a:gd name="T62" fmla="*/ 56 w 73"/>
                <a:gd name="T63" fmla="*/ 12 h 71"/>
                <a:gd name="T64" fmla="*/ 56 w 73"/>
                <a:gd name="T65" fmla="*/ 7 h 71"/>
                <a:gd name="T66" fmla="*/ 53 w 73"/>
                <a:gd name="T67" fmla="*/ 2 h 71"/>
                <a:gd name="T68" fmla="*/ 53 w 73"/>
                <a:gd name="T69" fmla="*/ 2 h 71"/>
                <a:gd name="T70" fmla="*/ 58 w 73"/>
                <a:gd name="T71" fmla="*/ 6 h 71"/>
                <a:gd name="T72" fmla="*/ 63 w 73"/>
                <a:gd name="T73" fmla="*/ 9 h 71"/>
                <a:gd name="T74" fmla="*/ 67 w 73"/>
                <a:gd name="T75" fmla="*/ 14 h 71"/>
                <a:gd name="T76" fmla="*/ 69 w 73"/>
                <a:gd name="T77" fmla="*/ 17 h 71"/>
                <a:gd name="T78" fmla="*/ 72 w 73"/>
                <a:gd name="T79" fmla="*/ 26 h 71"/>
                <a:gd name="T80" fmla="*/ 73 w 73"/>
                <a:gd name="T81" fmla="*/ 33 h 71"/>
                <a:gd name="T82" fmla="*/ 73 w 73"/>
                <a:gd name="T83" fmla="*/ 33 h 71"/>
                <a:gd name="T84" fmla="*/ 72 w 73"/>
                <a:gd name="T85" fmla="*/ 42 h 71"/>
                <a:gd name="T86" fmla="*/ 69 w 73"/>
                <a:gd name="T87" fmla="*/ 49 h 71"/>
                <a:gd name="T88" fmla="*/ 64 w 73"/>
                <a:gd name="T89" fmla="*/ 55 h 71"/>
                <a:gd name="T90" fmla="*/ 58 w 73"/>
                <a:gd name="T91" fmla="*/ 60 h 71"/>
                <a:gd name="T92" fmla="*/ 58 w 73"/>
                <a:gd name="T93" fmla="*/ 60 h 71"/>
                <a:gd name="T94" fmla="*/ 47 w 73"/>
                <a:gd name="T95" fmla="*/ 66 h 71"/>
                <a:gd name="T96" fmla="*/ 37 w 73"/>
                <a:gd name="T9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" h="71">
                  <a:moveTo>
                    <a:pt x="37" y="71"/>
                  </a:moveTo>
                  <a:lnTo>
                    <a:pt x="37" y="71"/>
                  </a:lnTo>
                  <a:lnTo>
                    <a:pt x="26" y="65"/>
                  </a:lnTo>
                  <a:lnTo>
                    <a:pt x="17" y="60"/>
                  </a:lnTo>
                  <a:lnTo>
                    <a:pt x="9" y="54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0" y="42"/>
                  </a:lnTo>
                  <a:lnTo>
                    <a:pt x="0" y="3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3" y="18"/>
                  </a:lnTo>
                  <a:lnTo>
                    <a:pt x="5" y="14"/>
                  </a:lnTo>
                  <a:lnTo>
                    <a:pt x="10" y="9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7" y="7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5" y="6"/>
                  </a:lnTo>
                  <a:lnTo>
                    <a:pt x="35" y="2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8" y="4"/>
                  </a:lnTo>
                  <a:lnTo>
                    <a:pt x="40" y="7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7"/>
                  </a:lnTo>
                  <a:lnTo>
                    <a:pt x="53" y="2"/>
                  </a:lnTo>
                  <a:lnTo>
                    <a:pt x="53" y="2"/>
                  </a:lnTo>
                  <a:lnTo>
                    <a:pt x="58" y="6"/>
                  </a:lnTo>
                  <a:lnTo>
                    <a:pt x="63" y="9"/>
                  </a:lnTo>
                  <a:lnTo>
                    <a:pt x="67" y="14"/>
                  </a:lnTo>
                  <a:lnTo>
                    <a:pt x="69" y="17"/>
                  </a:lnTo>
                  <a:lnTo>
                    <a:pt x="72" y="26"/>
                  </a:lnTo>
                  <a:lnTo>
                    <a:pt x="73" y="33"/>
                  </a:lnTo>
                  <a:lnTo>
                    <a:pt x="73" y="33"/>
                  </a:lnTo>
                  <a:lnTo>
                    <a:pt x="72" y="42"/>
                  </a:lnTo>
                  <a:lnTo>
                    <a:pt x="69" y="49"/>
                  </a:lnTo>
                  <a:lnTo>
                    <a:pt x="64" y="55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47" y="66"/>
                  </a:lnTo>
                  <a:lnTo>
                    <a:pt x="37" y="7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32" name="Freeform 45"/>
            <p:cNvSpPr>
              <a:spLocks/>
            </p:cNvSpPr>
            <p:nvPr userDrawn="1"/>
          </p:nvSpPr>
          <p:spPr bwMode="auto">
            <a:xfrm>
              <a:off x="1222375" y="1073150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1 w 2"/>
                <a:gd name="T5" fmla="*/ 0 h 2"/>
                <a:gd name="T6" fmla="*/ 1 w 2"/>
                <a:gd name="T7" fmla="*/ 0 h 2"/>
                <a:gd name="T8" fmla="*/ 0 w 2"/>
                <a:gd name="T9" fmla="*/ 0 h 2"/>
                <a:gd name="T10" fmla="*/ 0 w 2"/>
                <a:gd name="T11" fmla="*/ 0 h 2"/>
                <a:gd name="T12" fmla="*/ 2 w 2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33" name="Freeform 46"/>
            <p:cNvSpPr>
              <a:spLocks/>
            </p:cNvSpPr>
            <p:nvPr userDrawn="1"/>
          </p:nvSpPr>
          <p:spPr bwMode="auto">
            <a:xfrm>
              <a:off x="974725" y="755650"/>
              <a:ext cx="20638" cy="12700"/>
            </a:xfrm>
            <a:custGeom>
              <a:avLst/>
              <a:gdLst>
                <a:gd name="T0" fmla="*/ 13 w 13"/>
                <a:gd name="T1" fmla="*/ 6 h 8"/>
                <a:gd name="T2" fmla="*/ 13 w 13"/>
                <a:gd name="T3" fmla="*/ 6 h 8"/>
                <a:gd name="T4" fmla="*/ 12 w 13"/>
                <a:gd name="T5" fmla="*/ 6 h 8"/>
                <a:gd name="T6" fmla="*/ 7 w 13"/>
                <a:gd name="T7" fmla="*/ 8 h 8"/>
                <a:gd name="T8" fmla="*/ 1 w 13"/>
                <a:gd name="T9" fmla="*/ 8 h 8"/>
                <a:gd name="T10" fmla="*/ 1 w 13"/>
                <a:gd name="T11" fmla="*/ 8 h 8"/>
                <a:gd name="T12" fmla="*/ 0 w 13"/>
                <a:gd name="T13" fmla="*/ 5 h 8"/>
                <a:gd name="T14" fmla="*/ 0 w 13"/>
                <a:gd name="T15" fmla="*/ 0 h 8"/>
                <a:gd name="T16" fmla="*/ 0 w 13"/>
                <a:gd name="T17" fmla="*/ 0 h 8"/>
                <a:gd name="T18" fmla="*/ 2 w 13"/>
                <a:gd name="T19" fmla="*/ 0 h 8"/>
                <a:gd name="T20" fmla="*/ 7 w 13"/>
                <a:gd name="T21" fmla="*/ 1 h 8"/>
                <a:gd name="T22" fmla="*/ 11 w 13"/>
                <a:gd name="T23" fmla="*/ 3 h 8"/>
                <a:gd name="T24" fmla="*/ 13 w 13"/>
                <a:gd name="T2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8">
                  <a:moveTo>
                    <a:pt x="13" y="6"/>
                  </a:moveTo>
                  <a:lnTo>
                    <a:pt x="13" y="6"/>
                  </a:lnTo>
                  <a:lnTo>
                    <a:pt x="12" y="6"/>
                  </a:lnTo>
                  <a:lnTo>
                    <a:pt x="7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7" y="1"/>
                  </a:lnTo>
                  <a:lnTo>
                    <a:pt x="11" y="3"/>
                  </a:lnTo>
                  <a:lnTo>
                    <a:pt x="13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34" name="Freeform 47"/>
            <p:cNvSpPr>
              <a:spLocks/>
            </p:cNvSpPr>
            <p:nvPr userDrawn="1"/>
          </p:nvSpPr>
          <p:spPr bwMode="auto">
            <a:xfrm>
              <a:off x="695325" y="712788"/>
              <a:ext cx="661988" cy="777875"/>
            </a:xfrm>
            <a:custGeom>
              <a:avLst/>
              <a:gdLst>
                <a:gd name="T0" fmla="*/ 398 w 417"/>
                <a:gd name="T1" fmla="*/ 165 h 490"/>
                <a:gd name="T2" fmla="*/ 396 w 417"/>
                <a:gd name="T3" fmla="*/ 101 h 490"/>
                <a:gd name="T4" fmla="*/ 345 w 417"/>
                <a:gd name="T5" fmla="*/ 38 h 490"/>
                <a:gd name="T6" fmla="*/ 300 w 417"/>
                <a:gd name="T7" fmla="*/ 101 h 490"/>
                <a:gd name="T8" fmla="*/ 310 w 417"/>
                <a:gd name="T9" fmla="*/ 163 h 490"/>
                <a:gd name="T10" fmla="*/ 329 w 417"/>
                <a:gd name="T11" fmla="*/ 172 h 490"/>
                <a:gd name="T12" fmla="*/ 340 w 417"/>
                <a:gd name="T13" fmla="*/ 161 h 490"/>
                <a:gd name="T14" fmla="*/ 382 w 417"/>
                <a:gd name="T15" fmla="*/ 168 h 490"/>
                <a:gd name="T16" fmla="*/ 359 w 417"/>
                <a:gd name="T17" fmla="*/ 232 h 490"/>
                <a:gd name="T18" fmla="*/ 289 w 417"/>
                <a:gd name="T19" fmla="*/ 195 h 490"/>
                <a:gd name="T20" fmla="*/ 280 w 417"/>
                <a:gd name="T21" fmla="*/ 133 h 490"/>
                <a:gd name="T22" fmla="*/ 281 w 417"/>
                <a:gd name="T23" fmla="*/ 123 h 490"/>
                <a:gd name="T24" fmla="*/ 252 w 417"/>
                <a:gd name="T25" fmla="*/ 81 h 490"/>
                <a:gd name="T26" fmla="*/ 285 w 417"/>
                <a:gd name="T27" fmla="*/ 52 h 490"/>
                <a:gd name="T28" fmla="*/ 237 w 417"/>
                <a:gd name="T29" fmla="*/ 19 h 490"/>
                <a:gd name="T30" fmla="*/ 166 w 417"/>
                <a:gd name="T31" fmla="*/ 22 h 490"/>
                <a:gd name="T32" fmla="*/ 151 w 417"/>
                <a:gd name="T33" fmla="*/ 49 h 490"/>
                <a:gd name="T34" fmla="*/ 163 w 417"/>
                <a:gd name="T35" fmla="*/ 70 h 490"/>
                <a:gd name="T36" fmla="*/ 197 w 417"/>
                <a:gd name="T37" fmla="*/ 59 h 490"/>
                <a:gd name="T38" fmla="*/ 148 w 417"/>
                <a:gd name="T39" fmla="*/ 78 h 490"/>
                <a:gd name="T40" fmla="*/ 128 w 417"/>
                <a:gd name="T41" fmla="*/ 74 h 490"/>
                <a:gd name="T42" fmla="*/ 173 w 417"/>
                <a:gd name="T43" fmla="*/ 75 h 490"/>
                <a:gd name="T44" fmla="*/ 176 w 417"/>
                <a:gd name="T45" fmla="*/ 86 h 490"/>
                <a:gd name="T46" fmla="*/ 160 w 417"/>
                <a:gd name="T47" fmla="*/ 102 h 490"/>
                <a:gd name="T48" fmla="*/ 175 w 417"/>
                <a:gd name="T49" fmla="*/ 129 h 490"/>
                <a:gd name="T50" fmla="*/ 90 w 417"/>
                <a:gd name="T51" fmla="*/ 186 h 490"/>
                <a:gd name="T52" fmla="*/ 36 w 417"/>
                <a:gd name="T53" fmla="*/ 170 h 490"/>
                <a:gd name="T54" fmla="*/ 28 w 417"/>
                <a:gd name="T55" fmla="*/ 179 h 490"/>
                <a:gd name="T56" fmla="*/ 34 w 417"/>
                <a:gd name="T57" fmla="*/ 193 h 490"/>
                <a:gd name="T58" fmla="*/ 1 w 417"/>
                <a:gd name="T59" fmla="*/ 205 h 490"/>
                <a:gd name="T60" fmla="*/ 39 w 417"/>
                <a:gd name="T61" fmla="*/ 210 h 490"/>
                <a:gd name="T62" fmla="*/ 25 w 417"/>
                <a:gd name="T63" fmla="*/ 222 h 490"/>
                <a:gd name="T64" fmla="*/ 36 w 417"/>
                <a:gd name="T65" fmla="*/ 232 h 490"/>
                <a:gd name="T66" fmla="*/ 70 w 417"/>
                <a:gd name="T67" fmla="*/ 232 h 490"/>
                <a:gd name="T68" fmla="*/ 79 w 417"/>
                <a:gd name="T69" fmla="*/ 233 h 490"/>
                <a:gd name="T70" fmla="*/ 109 w 417"/>
                <a:gd name="T71" fmla="*/ 208 h 490"/>
                <a:gd name="T72" fmla="*/ 144 w 417"/>
                <a:gd name="T73" fmla="*/ 202 h 490"/>
                <a:gd name="T74" fmla="*/ 191 w 417"/>
                <a:gd name="T75" fmla="*/ 219 h 490"/>
                <a:gd name="T76" fmla="*/ 280 w 417"/>
                <a:gd name="T77" fmla="*/ 259 h 490"/>
                <a:gd name="T78" fmla="*/ 313 w 417"/>
                <a:gd name="T79" fmla="*/ 330 h 490"/>
                <a:gd name="T80" fmla="*/ 312 w 417"/>
                <a:gd name="T81" fmla="*/ 348 h 490"/>
                <a:gd name="T82" fmla="*/ 344 w 417"/>
                <a:gd name="T83" fmla="*/ 354 h 490"/>
                <a:gd name="T84" fmla="*/ 354 w 417"/>
                <a:gd name="T85" fmla="*/ 421 h 490"/>
                <a:gd name="T86" fmla="*/ 311 w 417"/>
                <a:gd name="T87" fmla="*/ 429 h 490"/>
                <a:gd name="T88" fmla="*/ 331 w 417"/>
                <a:gd name="T89" fmla="*/ 437 h 490"/>
                <a:gd name="T90" fmla="*/ 322 w 417"/>
                <a:gd name="T91" fmla="*/ 446 h 490"/>
                <a:gd name="T92" fmla="*/ 320 w 417"/>
                <a:gd name="T93" fmla="*/ 478 h 490"/>
                <a:gd name="T94" fmla="*/ 338 w 417"/>
                <a:gd name="T95" fmla="*/ 465 h 490"/>
                <a:gd name="T96" fmla="*/ 345 w 417"/>
                <a:gd name="T97" fmla="*/ 470 h 490"/>
                <a:gd name="T98" fmla="*/ 366 w 417"/>
                <a:gd name="T99" fmla="*/ 484 h 490"/>
                <a:gd name="T100" fmla="*/ 372 w 417"/>
                <a:gd name="T101" fmla="*/ 456 h 490"/>
                <a:gd name="T102" fmla="*/ 395 w 417"/>
                <a:gd name="T103" fmla="*/ 463 h 490"/>
                <a:gd name="T104" fmla="*/ 397 w 417"/>
                <a:gd name="T105" fmla="*/ 420 h 490"/>
                <a:gd name="T106" fmla="*/ 406 w 417"/>
                <a:gd name="T107" fmla="*/ 402 h 490"/>
                <a:gd name="T108" fmla="*/ 403 w 417"/>
                <a:gd name="T109" fmla="*/ 371 h 490"/>
                <a:gd name="T110" fmla="*/ 386 w 417"/>
                <a:gd name="T111" fmla="*/ 341 h 490"/>
                <a:gd name="T112" fmla="*/ 358 w 417"/>
                <a:gd name="T113" fmla="*/ 311 h 490"/>
                <a:gd name="T114" fmla="*/ 358 w 417"/>
                <a:gd name="T115" fmla="*/ 281 h 490"/>
                <a:gd name="T116" fmla="*/ 363 w 417"/>
                <a:gd name="T117" fmla="*/ 253 h 490"/>
                <a:gd name="T118" fmla="*/ 415 w 417"/>
                <a:gd name="T119" fmla="*/ 213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7" h="490">
                  <a:moveTo>
                    <a:pt x="406" y="188"/>
                  </a:moveTo>
                  <a:lnTo>
                    <a:pt x="406" y="188"/>
                  </a:lnTo>
                  <a:lnTo>
                    <a:pt x="412" y="189"/>
                  </a:lnTo>
                  <a:lnTo>
                    <a:pt x="417" y="188"/>
                  </a:lnTo>
                  <a:lnTo>
                    <a:pt x="417" y="188"/>
                  </a:lnTo>
                  <a:lnTo>
                    <a:pt x="415" y="181"/>
                  </a:lnTo>
                  <a:lnTo>
                    <a:pt x="414" y="170"/>
                  </a:lnTo>
                  <a:lnTo>
                    <a:pt x="414" y="170"/>
                  </a:lnTo>
                  <a:lnTo>
                    <a:pt x="411" y="170"/>
                  </a:lnTo>
                  <a:lnTo>
                    <a:pt x="407" y="170"/>
                  </a:lnTo>
                  <a:lnTo>
                    <a:pt x="403" y="168"/>
                  </a:lnTo>
                  <a:lnTo>
                    <a:pt x="398" y="165"/>
                  </a:lnTo>
                  <a:lnTo>
                    <a:pt x="398" y="165"/>
                  </a:lnTo>
                  <a:lnTo>
                    <a:pt x="396" y="160"/>
                  </a:lnTo>
                  <a:lnTo>
                    <a:pt x="396" y="160"/>
                  </a:lnTo>
                  <a:lnTo>
                    <a:pt x="388" y="150"/>
                  </a:lnTo>
                  <a:lnTo>
                    <a:pt x="380" y="143"/>
                  </a:lnTo>
                  <a:lnTo>
                    <a:pt x="371" y="136"/>
                  </a:lnTo>
                  <a:lnTo>
                    <a:pt x="364" y="132"/>
                  </a:lnTo>
                  <a:lnTo>
                    <a:pt x="364" y="132"/>
                  </a:lnTo>
                  <a:lnTo>
                    <a:pt x="376" y="124"/>
                  </a:lnTo>
                  <a:lnTo>
                    <a:pt x="385" y="117"/>
                  </a:lnTo>
                  <a:lnTo>
                    <a:pt x="391" y="111"/>
                  </a:lnTo>
                  <a:lnTo>
                    <a:pt x="393" y="106"/>
                  </a:lnTo>
                  <a:lnTo>
                    <a:pt x="393" y="106"/>
                  </a:lnTo>
                  <a:lnTo>
                    <a:pt x="396" y="101"/>
                  </a:lnTo>
                  <a:lnTo>
                    <a:pt x="398" y="94"/>
                  </a:lnTo>
                  <a:lnTo>
                    <a:pt x="398" y="86"/>
                  </a:lnTo>
                  <a:lnTo>
                    <a:pt x="398" y="78"/>
                  </a:lnTo>
                  <a:lnTo>
                    <a:pt x="396" y="69"/>
                  </a:lnTo>
                  <a:lnTo>
                    <a:pt x="392" y="60"/>
                  </a:lnTo>
                  <a:lnTo>
                    <a:pt x="386" y="53"/>
                  </a:lnTo>
                  <a:lnTo>
                    <a:pt x="381" y="49"/>
                  </a:lnTo>
                  <a:lnTo>
                    <a:pt x="376" y="46"/>
                  </a:lnTo>
                  <a:lnTo>
                    <a:pt x="376" y="46"/>
                  </a:lnTo>
                  <a:lnTo>
                    <a:pt x="369" y="42"/>
                  </a:lnTo>
                  <a:lnTo>
                    <a:pt x="360" y="40"/>
                  </a:lnTo>
                  <a:lnTo>
                    <a:pt x="353" y="38"/>
                  </a:lnTo>
                  <a:lnTo>
                    <a:pt x="345" y="38"/>
                  </a:lnTo>
                  <a:lnTo>
                    <a:pt x="333" y="41"/>
                  </a:lnTo>
                  <a:lnTo>
                    <a:pt x="323" y="43"/>
                  </a:lnTo>
                  <a:lnTo>
                    <a:pt x="323" y="43"/>
                  </a:lnTo>
                  <a:lnTo>
                    <a:pt x="317" y="47"/>
                  </a:lnTo>
                  <a:lnTo>
                    <a:pt x="311" y="52"/>
                  </a:lnTo>
                  <a:lnTo>
                    <a:pt x="306" y="57"/>
                  </a:lnTo>
                  <a:lnTo>
                    <a:pt x="302" y="63"/>
                  </a:lnTo>
                  <a:lnTo>
                    <a:pt x="300" y="70"/>
                  </a:lnTo>
                  <a:lnTo>
                    <a:pt x="297" y="78"/>
                  </a:lnTo>
                  <a:lnTo>
                    <a:pt x="297" y="85"/>
                  </a:lnTo>
                  <a:lnTo>
                    <a:pt x="297" y="95"/>
                  </a:lnTo>
                  <a:lnTo>
                    <a:pt x="297" y="95"/>
                  </a:lnTo>
                  <a:lnTo>
                    <a:pt x="300" y="101"/>
                  </a:lnTo>
                  <a:lnTo>
                    <a:pt x="302" y="107"/>
                  </a:lnTo>
                  <a:lnTo>
                    <a:pt x="306" y="113"/>
                  </a:lnTo>
                  <a:lnTo>
                    <a:pt x="310" y="117"/>
                  </a:lnTo>
                  <a:lnTo>
                    <a:pt x="321" y="124"/>
                  </a:lnTo>
                  <a:lnTo>
                    <a:pt x="333" y="132"/>
                  </a:lnTo>
                  <a:lnTo>
                    <a:pt x="333" y="132"/>
                  </a:lnTo>
                  <a:lnTo>
                    <a:pt x="323" y="136"/>
                  </a:lnTo>
                  <a:lnTo>
                    <a:pt x="316" y="144"/>
                  </a:lnTo>
                  <a:lnTo>
                    <a:pt x="313" y="148"/>
                  </a:lnTo>
                  <a:lnTo>
                    <a:pt x="312" y="152"/>
                  </a:lnTo>
                  <a:lnTo>
                    <a:pt x="311" y="157"/>
                  </a:lnTo>
                  <a:lnTo>
                    <a:pt x="310" y="163"/>
                  </a:lnTo>
                  <a:lnTo>
                    <a:pt x="310" y="163"/>
                  </a:lnTo>
                  <a:lnTo>
                    <a:pt x="311" y="171"/>
                  </a:lnTo>
                  <a:lnTo>
                    <a:pt x="313" y="179"/>
                  </a:lnTo>
                  <a:lnTo>
                    <a:pt x="315" y="189"/>
                  </a:lnTo>
                  <a:lnTo>
                    <a:pt x="315" y="195"/>
                  </a:lnTo>
                  <a:lnTo>
                    <a:pt x="313" y="202"/>
                  </a:lnTo>
                  <a:lnTo>
                    <a:pt x="313" y="202"/>
                  </a:lnTo>
                  <a:lnTo>
                    <a:pt x="315" y="202"/>
                  </a:lnTo>
                  <a:lnTo>
                    <a:pt x="320" y="200"/>
                  </a:lnTo>
                  <a:lnTo>
                    <a:pt x="326" y="195"/>
                  </a:lnTo>
                  <a:lnTo>
                    <a:pt x="326" y="195"/>
                  </a:lnTo>
                  <a:lnTo>
                    <a:pt x="328" y="188"/>
                  </a:lnTo>
                  <a:lnTo>
                    <a:pt x="329" y="181"/>
                  </a:lnTo>
                  <a:lnTo>
                    <a:pt x="329" y="172"/>
                  </a:lnTo>
                  <a:lnTo>
                    <a:pt x="329" y="172"/>
                  </a:lnTo>
                  <a:lnTo>
                    <a:pt x="332" y="176"/>
                  </a:lnTo>
                  <a:lnTo>
                    <a:pt x="333" y="182"/>
                  </a:lnTo>
                  <a:lnTo>
                    <a:pt x="333" y="187"/>
                  </a:lnTo>
                  <a:lnTo>
                    <a:pt x="332" y="192"/>
                  </a:lnTo>
                  <a:lnTo>
                    <a:pt x="332" y="192"/>
                  </a:lnTo>
                  <a:lnTo>
                    <a:pt x="337" y="189"/>
                  </a:lnTo>
                  <a:lnTo>
                    <a:pt x="339" y="187"/>
                  </a:lnTo>
                  <a:lnTo>
                    <a:pt x="342" y="184"/>
                  </a:lnTo>
                  <a:lnTo>
                    <a:pt x="342" y="184"/>
                  </a:lnTo>
                  <a:lnTo>
                    <a:pt x="343" y="176"/>
                  </a:lnTo>
                  <a:lnTo>
                    <a:pt x="343" y="167"/>
                  </a:lnTo>
                  <a:lnTo>
                    <a:pt x="340" y="161"/>
                  </a:lnTo>
                  <a:lnTo>
                    <a:pt x="339" y="156"/>
                  </a:lnTo>
                  <a:lnTo>
                    <a:pt x="339" y="156"/>
                  </a:lnTo>
                  <a:lnTo>
                    <a:pt x="338" y="151"/>
                  </a:lnTo>
                  <a:lnTo>
                    <a:pt x="339" y="146"/>
                  </a:lnTo>
                  <a:lnTo>
                    <a:pt x="343" y="141"/>
                  </a:lnTo>
                  <a:lnTo>
                    <a:pt x="347" y="139"/>
                  </a:lnTo>
                  <a:lnTo>
                    <a:pt x="347" y="139"/>
                  </a:lnTo>
                  <a:lnTo>
                    <a:pt x="359" y="145"/>
                  </a:lnTo>
                  <a:lnTo>
                    <a:pt x="359" y="145"/>
                  </a:lnTo>
                  <a:lnTo>
                    <a:pt x="364" y="149"/>
                  </a:lnTo>
                  <a:lnTo>
                    <a:pt x="371" y="155"/>
                  </a:lnTo>
                  <a:lnTo>
                    <a:pt x="379" y="163"/>
                  </a:lnTo>
                  <a:lnTo>
                    <a:pt x="382" y="168"/>
                  </a:lnTo>
                  <a:lnTo>
                    <a:pt x="385" y="175"/>
                  </a:lnTo>
                  <a:lnTo>
                    <a:pt x="385" y="175"/>
                  </a:lnTo>
                  <a:lnTo>
                    <a:pt x="388" y="182"/>
                  </a:lnTo>
                  <a:lnTo>
                    <a:pt x="390" y="189"/>
                  </a:lnTo>
                  <a:lnTo>
                    <a:pt x="390" y="195"/>
                  </a:lnTo>
                  <a:lnTo>
                    <a:pt x="390" y="202"/>
                  </a:lnTo>
                  <a:lnTo>
                    <a:pt x="387" y="210"/>
                  </a:lnTo>
                  <a:lnTo>
                    <a:pt x="385" y="215"/>
                  </a:lnTo>
                  <a:lnTo>
                    <a:pt x="385" y="215"/>
                  </a:lnTo>
                  <a:lnTo>
                    <a:pt x="380" y="221"/>
                  </a:lnTo>
                  <a:lnTo>
                    <a:pt x="375" y="227"/>
                  </a:lnTo>
                  <a:lnTo>
                    <a:pt x="368" y="231"/>
                  </a:lnTo>
                  <a:lnTo>
                    <a:pt x="359" y="232"/>
                  </a:lnTo>
                  <a:lnTo>
                    <a:pt x="359" y="232"/>
                  </a:lnTo>
                  <a:lnTo>
                    <a:pt x="358" y="232"/>
                  </a:lnTo>
                  <a:lnTo>
                    <a:pt x="358" y="232"/>
                  </a:lnTo>
                  <a:lnTo>
                    <a:pt x="348" y="232"/>
                  </a:lnTo>
                  <a:lnTo>
                    <a:pt x="348" y="232"/>
                  </a:lnTo>
                  <a:lnTo>
                    <a:pt x="339" y="230"/>
                  </a:lnTo>
                  <a:lnTo>
                    <a:pt x="339" y="230"/>
                  </a:lnTo>
                  <a:lnTo>
                    <a:pt x="332" y="227"/>
                  </a:lnTo>
                  <a:lnTo>
                    <a:pt x="332" y="227"/>
                  </a:lnTo>
                  <a:lnTo>
                    <a:pt x="325" y="224"/>
                  </a:lnTo>
                  <a:lnTo>
                    <a:pt x="313" y="216"/>
                  </a:lnTo>
                  <a:lnTo>
                    <a:pt x="301" y="208"/>
                  </a:lnTo>
                  <a:lnTo>
                    <a:pt x="289" y="195"/>
                  </a:lnTo>
                  <a:lnTo>
                    <a:pt x="289" y="195"/>
                  </a:lnTo>
                  <a:lnTo>
                    <a:pt x="273" y="176"/>
                  </a:lnTo>
                  <a:lnTo>
                    <a:pt x="262" y="162"/>
                  </a:lnTo>
                  <a:lnTo>
                    <a:pt x="262" y="162"/>
                  </a:lnTo>
                  <a:lnTo>
                    <a:pt x="268" y="165"/>
                  </a:lnTo>
                  <a:lnTo>
                    <a:pt x="273" y="165"/>
                  </a:lnTo>
                  <a:lnTo>
                    <a:pt x="279" y="165"/>
                  </a:lnTo>
                  <a:lnTo>
                    <a:pt x="279" y="165"/>
                  </a:lnTo>
                  <a:lnTo>
                    <a:pt x="280" y="154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33"/>
                  </a:lnTo>
                  <a:lnTo>
                    <a:pt x="280" y="133"/>
                  </a:lnTo>
                  <a:lnTo>
                    <a:pt x="277" y="133"/>
                  </a:lnTo>
                  <a:lnTo>
                    <a:pt x="268" y="130"/>
                  </a:lnTo>
                  <a:lnTo>
                    <a:pt x="264" y="129"/>
                  </a:lnTo>
                  <a:lnTo>
                    <a:pt x="259" y="127"/>
                  </a:lnTo>
                  <a:lnTo>
                    <a:pt x="256" y="124"/>
                  </a:lnTo>
                  <a:lnTo>
                    <a:pt x="253" y="121"/>
                  </a:lnTo>
                  <a:lnTo>
                    <a:pt x="253" y="121"/>
                  </a:lnTo>
                  <a:lnTo>
                    <a:pt x="257" y="122"/>
                  </a:lnTo>
                  <a:lnTo>
                    <a:pt x="261" y="123"/>
                  </a:lnTo>
                  <a:lnTo>
                    <a:pt x="266" y="124"/>
                  </a:lnTo>
                  <a:lnTo>
                    <a:pt x="266" y="124"/>
                  </a:lnTo>
                  <a:lnTo>
                    <a:pt x="277" y="123"/>
                  </a:lnTo>
                  <a:lnTo>
                    <a:pt x="281" y="123"/>
                  </a:lnTo>
                  <a:lnTo>
                    <a:pt x="281" y="123"/>
                  </a:lnTo>
                  <a:lnTo>
                    <a:pt x="283" y="112"/>
                  </a:lnTo>
                  <a:lnTo>
                    <a:pt x="283" y="102"/>
                  </a:lnTo>
                  <a:lnTo>
                    <a:pt x="283" y="102"/>
                  </a:lnTo>
                  <a:lnTo>
                    <a:pt x="283" y="92"/>
                  </a:lnTo>
                  <a:lnTo>
                    <a:pt x="283" y="92"/>
                  </a:lnTo>
                  <a:lnTo>
                    <a:pt x="275" y="92"/>
                  </a:lnTo>
                  <a:lnTo>
                    <a:pt x="267" y="91"/>
                  </a:lnTo>
                  <a:lnTo>
                    <a:pt x="267" y="91"/>
                  </a:lnTo>
                  <a:lnTo>
                    <a:pt x="258" y="87"/>
                  </a:lnTo>
                  <a:lnTo>
                    <a:pt x="254" y="85"/>
                  </a:lnTo>
                  <a:lnTo>
                    <a:pt x="252" y="81"/>
                  </a:lnTo>
                  <a:lnTo>
                    <a:pt x="252" y="81"/>
                  </a:lnTo>
                  <a:lnTo>
                    <a:pt x="256" y="82"/>
                  </a:lnTo>
                  <a:lnTo>
                    <a:pt x="266" y="85"/>
                  </a:lnTo>
                  <a:lnTo>
                    <a:pt x="266" y="85"/>
                  </a:lnTo>
                  <a:lnTo>
                    <a:pt x="272" y="85"/>
                  </a:lnTo>
                  <a:lnTo>
                    <a:pt x="278" y="84"/>
                  </a:lnTo>
                  <a:lnTo>
                    <a:pt x="283" y="84"/>
                  </a:lnTo>
                  <a:lnTo>
                    <a:pt x="284" y="82"/>
                  </a:lnTo>
                  <a:lnTo>
                    <a:pt x="284" y="82"/>
                  </a:lnTo>
                  <a:lnTo>
                    <a:pt x="284" y="63"/>
                  </a:lnTo>
                  <a:lnTo>
                    <a:pt x="284" y="63"/>
                  </a:lnTo>
                  <a:lnTo>
                    <a:pt x="285" y="58"/>
                  </a:lnTo>
                  <a:lnTo>
                    <a:pt x="285" y="52"/>
                  </a:lnTo>
                  <a:lnTo>
                    <a:pt x="285" y="52"/>
                  </a:lnTo>
                  <a:lnTo>
                    <a:pt x="281" y="52"/>
                  </a:lnTo>
                  <a:lnTo>
                    <a:pt x="274" y="51"/>
                  </a:lnTo>
                  <a:lnTo>
                    <a:pt x="266" y="47"/>
                  </a:lnTo>
                  <a:lnTo>
                    <a:pt x="262" y="44"/>
                  </a:lnTo>
                  <a:lnTo>
                    <a:pt x="257" y="41"/>
                  </a:lnTo>
                  <a:lnTo>
                    <a:pt x="257" y="41"/>
                  </a:lnTo>
                  <a:lnTo>
                    <a:pt x="256" y="38"/>
                  </a:lnTo>
                  <a:lnTo>
                    <a:pt x="256" y="36"/>
                  </a:lnTo>
                  <a:lnTo>
                    <a:pt x="257" y="31"/>
                  </a:lnTo>
                  <a:lnTo>
                    <a:pt x="257" y="31"/>
                  </a:lnTo>
                  <a:lnTo>
                    <a:pt x="235" y="21"/>
                  </a:lnTo>
                  <a:lnTo>
                    <a:pt x="235" y="21"/>
                  </a:lnTo>
                  <a:lnTo>
                    <a:pt x="237" y="19"/>
                  </a:lnTo>
                  <a:lnTo>
                    <a:pt x="240" y="15"/>
                  </a:lnTo>
                  <a:lnTo>
                    <a:pt x="240" y="13"/>
                  </a:lnTo>
                  <a:lnTo>
                    <a:pt x="240" y="13"/>
                  </a:lnTo>
                  <a:lnTo>
                    <a:pt x="238" y="9"/>
                  </a:lnTo>
                  <a:lnTo>
                    <a:pt x="235" y="6"/>
                  </a:lnTo>
                  <a:lnTo>
                    <a:pt x="231" y="5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21" y="6"/>
                  </a:lnTo>
                  <a:lnTo>
                    <a:pt x="219" y="9"/>
                  </a:lnTo>
                  <a:lnTo>
                    <a:pt x="215" y="13"/>
                  </a:lnTo>
                  <a:lnTo>
                    <a:pt x="188" y="0"/>
                  </a:lnTo>
                  <a:lnTo>
                    <a:pt x="166" y="22"/>
                  </a:lnTo>
                  <a:lnTo>
                    <a:pt x="166" y="22"/>
                  </a:lnTo>
                  <a:lnTo>
                    <a:pt x="165" y="24"/>
                  </a:lnTo>
                  <a:lnTo>
                    <a:pt x="165" y="26"/>
                  </a:lnTo>
                  <a:lnTo>
                    <a:pt x="165" y="28"/>
                  </a:lnTo>
                  <a:lnTo>
                    <a:pt x="165" y="28"/>
                  </a:lnTo>
                  <a:lnTo>
                    <a:pt x="165" y="30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4" y="44"/>
                  </a:lnTo>
                  <a:lnTo>
                    <a:pt x="154" y="44"/>
                  </a:lnTo>
                  <a:lnTo>
                    <a:pt x="151" y="49"/>
                  </a:lnTo>
                  <a:lnTo>
                    <a:pt x="150" y="53"/>
                  </a:lnTo>
                  <a:lnTo>
                    <a:pt x="150" y="53"/>
                  </a:lnTo>
                  <a:lnTo>
                    <a:pt x="149" y="54"/>
                  </a:lnTo>
                  <a:lnTo>
                    <a:pt x="149" y="57"/>
                  </a:lnTo>
                  <a:lnTo>
                    <a:pt x="151" y="62"/>
                  </a:lnTo>
                  <a:lnTo>
                    <a:pt x="157" y="67"/>
                  </a:lnTo>
                  <a:lnTo>
                    <a:pt x="157" y="68"/>
                  </a:lnTo>
                  <a:lnTo>
                    <a:pt x="157" y="68"/>
                  </a:lnTo>
                  <a:lnTo>
                    <a:pt x="159" y="67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5" y="68"/>
                  </a:lnTo>
                  <a:lnTo>
                    <a:pt x="167" y="64"/>
                  </a:lnTo>
                  <a:lnTo>
                    <a:pt x="167" y="64"/>
                  </a:lnTo>
                  <a:lnTo>
                    <a:pt x="171" y="59"/>
                  </a:lnTo>
                  <a:lnTo>
                    <a:pt x="176" y="55"/>
                  </a:lnTo>
                  <a:lnTo>
                    <a:pt x="176" y="55"/>
                  </a:lnTo>
                  <a:lnTo>
                    <a:pt x="181" y="53"/>
                  </a:lnTo>
                  <a:lnTo>
                    <a:pt x="186" y="53"/>
                  </a:lnTo>
                  <a:lnTo>
                    <a:pt x="186" y="53"/>
                  </a:lnTo>
                  <a:lnTo>
                    <a:pt x="191" y="53"/>
                  </a:lnTo>
                  <a:lnTo>
                    <a:pt x="194" y="55"/>
                  </a:lnTo>
                  <a:lnTo>
                    <a:pt x="194" y="55"/>
                  </a:lnTo>
                  <a:lnTo>
                    <a:pt x="197" y="59"/>
                  </a:lnTo>
                  <a:lnTo>
                    <a:pt x="198" y="64"/>
                  </a:lnTo>
                  <a:lnTo>
                    <a:pt x="198" y="69"/>
                  </a:lnTo>
                  <a:lnTo>
                    <a:pt x="198" y="73"/>
                  </a:lnTo>
                  <a:lnTo>
                    <a:pt x="198" y="73"/>
                  </a:lnTo>
                  <a:lnTo>
                    <a:pt x="195" y="70"/>
                  </a:lnTo>
                  <a:lnTo>
                    <a:pt x="195" y="70"/>
                  </a:lnTo>
                  <a:lnTo>
                    <a:pt x="192" y="69"/>
                  </a:lnTo>
                  <a:lnTo>
                    <a:pt x="186" y="68"/>
                  </a:lnTo>
                  <a:lnTo>
                    <a:pt x="178" y="68"/>
                  </a:lnTo>
                  <a:lnTo>
                    <a:pt x="171" y="69"/>
                  </a:lnTo>
                  <a:lnTo>
                    <a:pt x="171" y="69"/>
                  </a:lnTo>
                  <a:lnTo>
                    <a:pt x="162" y="73"/>
                  </a:lnTo>
                  <a:lnTo>
                    <a:pt x="148" y="78"/>
                  </a:lnTo>
                  <a:lnTo>
                    <a:pt x="148" y="78"/>
                  </a:lnTo>
                  <a:lnTo>
                    <a:pt x="144" y="79"/>
                  </a:lnTo>
                  <a:lnTo>
                    <a:pt x="140" y="79"/>
                  </a:lnTo>
                  <a:lnTo>
                    <a:pt x="138" y="76"/>
                  </a:lnTo>
                  <a:lnTo>
                    <a:pt x="136" y="74"/>
                  </a:lnTo>
                  <a:lnTo>
                    <a:pt x="136" y="74"/>
                  </a:lnTo>
                  <a:lnTo>
                    <a:pt x="136" y="70"/>
                  </a:lnTo>
                  <a:lnTo>
                    <a:pt x="136" y="68"/>
                  </a:lnTo>
                  <a:lnTo>
                    <a:pt x="138" y="65"/>
                  </a:lnTo>
                  <a:lnTo>
                    <a:pt x="138" y="65"/>
                  </a:lnTo>
                  <a:lnTo>
                    <a:pt x="134" y="68"/>
                  </a:lnTo>
                  <a:lnTo>
                    <a:pt x="130" y="70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28" y="79"/>
                  </a:lnTo>
                  <a:lnTo>
                    <a:pt x="129" y="84"/>
                  </a:lnTo>
                  <a:lnTo>
                    <a:pt x="132" y="86"/>
                  </a:lnTo>
                  <a:lnTo>
                    <a:pt x="135" y="89"/>
                  </a:lnTo>
                  <a:lnTo>
                    <a:pt x="135" y="89"/>
                  </a:lnTo>
                  <a:lnTo>
                    <a:pt x="140" y="89"/>
                  </a:lnTo>
                  <a:lnTo>
                    <a:pt x="146" y="87"/>
                  </a:lnTo>
                  <a:lnTo>
                    <a:pt x="157" y="82"/>
                  </a:lnTo>
                  <a:lnTo>
                    <a:pt x="157" y="82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73" y="75"/>
                  </a:lnTo>
                  <a:lnTo>
                    <a:pt x="177" y="74"/>
                  </a:lnTo>
                  <a:lnTo>
                    <a:pt x="182" y="75"/>
                  </a:lnTo>
                  <a:lnTo>
                    <a:pt x="187" y="76"/>
                  </a:lnTo>
                  <a:lnTo>
                    <a:pt x="187" y="76"/>
                  </a:lnTo>
                  <a:lnTo>
                    <a:pt x="192" y="80"/>
                  </a:lnTo>
                  <a:lnTo>
                    <a:pt x="194" y="81"/>
                  </a:lnTo>
                  <a:lnTo>
                    <a:pt x="194" y="81"/>
                  </a:lnTo>
                  <a:lnTo>
                    <a:pt x="192" y="85"/>
                  </a:lnTo>
                  <a:lnTo>
                    <a:pt x="189" y="87"/>
                  </a:lnTo>
                  <a:lnTo>
                    <a:pt x="184" y="87"/>
                  </a:lnTo>
                  <a:lnTo>
                    <a:pt x="184" y="87"/>
                  </a:lnTo>
                  <a:lnTo>
                    <a:pt x="179" y="87"/>
                  </a:lnTo>
                  <a:lnTo>
                    <a:pt x="176" y="86"/>
                  </a:lnTo>
                  <a:lnTo>
                    <a:pt x="172" y="84"/>
                  </a:lnTo>
                  <a:lnTo>
                    <a:pt x="171" y="81"/>
                  </a:lnTo>
                  <a:lnTo>
                    <a:pt x="171" y="81"/>
                  </a:lnTo>
                  <a:lnTo>
                    <a:pt x="168" y="86"/>
                  </a:lnTo>
                  <a:lnTo>
                    <a:pt x="168" y="86"/>
                  </a:lnTo>
                  <a:lnTo>
                    <a:pt x="167" y="89"/>
                  </a:lnTo>
                  <a:lnTo>
                    <a:pt x="167" y="91"/>
                  </a:lnTo>
                  <a:lnTo>
                    <a:pt x="168" y="92"/>
                  </a:lnTo>
                  <a:lnTo>
                    <a:pt x="167" y="95"/>
                  </a:lnTo>
                  <a:lnTo>
                    <a:pt x="167" y="95"/>
                  </a:lnTo>
                  <a:lnTo>
                    <a:pt x="166" y="96"/>
                  </a:lnTo>
                  <a:lnTo>
                    <a:pt x="165" y="98"/>
                  </a:lnTo>
                  <a:lnTo>
                    <a:pt x="160" y="102"/>
                  </a:lnTo>
                  <a:lnTo>
                    <a:pt x="160" y="102"/>
                  </a:lnTo>
                  <a:lnTo>
                    <a:pt x="152" y="106"/>
                  </a:lnTo>
                  <a:lnTo>
                    <a:pt x="148" y="107"/>
                  </a:lnTo>
                  <a:lnTo>
                    <a:pt x="148" y="107"/>
                  </a:lnTo>
                  <a:lnTo>
                    <a:pt x="152" y="118"/>
                  </a:lnTo>
                  <a:lnTo>
                    <a:pt x="152" y="118"/>
                  </a:lnTo>
                  <a:lnTo>
                    <a:pt x="156" y="125"/>
                  </a:lnTo>
                  <a:lnTo>
                    <a:pt x="159" y="130"/>
                  </a:lnTo>
                  <a:lnTo>
                    <a:pt x="161" y="134"/>
                  </a:lnTo>
                  <a:lnTo>
                    <a:pt x="161" y="134"/>
                  </a:lnTo>
                  <a:lnTo>
                    <a:pt x="166" y="133"/>
                  </a:lnTo>
                  <a:lnTo>
                    <a:pt x="175" y="129"/>
                  </a:lnTo>
                  <a:lnTo>
                    <a:pt x="175" y="129"/>
                  </a:lnTo>
                  <a:lnTo>
                    <a:pt x="181" y="124"/>
                  </a:lnTo>
                  <a:lnTo>
                    <a:pt x="184" y="119"/>
                  </a:lnTo>
                  <a:lnTo>
                    <a:pt x="184" y="119"/>
                  </a:lnTo>
                  <a:lnTo>
                    <a:pt x="179" y="130"/>
                  </a:lnTo>
                  <a:lnTo>
                    <a:pt x="176" y="136"/>
                  </a:lnTo>
                  <a:lnTo>
                    <a:pt x="171" y="141"/>
                  </a:lnTo>
                  <a:lnTo>
                    <a:pt x="167" y="145"/>
                  </a:lnTo>
                  <a:lnTo>
                    <a:pt x="167" y="145"/>
                  </a:lnTo>
                  <a:lnTo>
                    <a:pt x="151" y="156"/>
                  </a:lnTo>
                  <a:lnTo>
                    <a:pt x="129" y="168"/>
                  </a:lnTo>
                  <a:lnTo>
                    <a:pt x="116" y="176"/>
                  </a:lnTo>
                  <a:lnTo>
                    <a:pt x="103" y="181"/>
                  </a:lnTo>
                  <a:lnTo>
                    <a:pt x="90" y="186"/>
                  </a:lnTo>
                  <a:lnTo>
                    <a:pt x="76" y="188"/>
                  </a:lnTo>
                  <a:lnTo>
                    <a:pt x="76" y="188"/>
                  </a:lnTo>
                  <a:lnTo>
                    <a:pt x="73" y="187"/>
                  </a:lnTo>
                  <a:lnTo>
                    <a:pt x="68" y="186"/>
                  </a:lnTo>
                  <a:lnTo>
                    <a:pt x="59" y="179"/>
                  </a:lnTo>
                  <a:lnTo>
                    <a:pt x="50" y="173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4" y="167"/>
                  </a:lnTo>
                  <a:lnTo>
                    <a:pt x="42" y="166"/>
                  </a:lnTo>
                  <a:lnTo>
                    <a:pt x="39" y="167"/>
                  </a:lnTo>
                  <a:lnTo>
                    <a:pt x="36" y="170"/>
                  </a:lnTo>
                  <a:lnTo>
                    <a:pt x="36" y="170"/>
                  </a:lnTo>
                  <a:lnTo>
                    <a:pt x="33" y="170"/>
                  </a:lnTo>
                  <a:lnTo>
                    <a:pt x="28" y="170"/>
                  </a:lnTo>
                  <a:lnTo>
                    <a:pt x="21" y="171"/>
                  </a:lnTo>
                  <a:lnTo>
                    <a:pt x="18" y="173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7"/>
                  </a:lnTo>
                  <a:lnTo>
                    <a:pt x="20" y="177"/>
                  </a:lnTo>
                  <a:lnTo>
                    <a:pt x="23" y="176"/>
                  </a:lnTo>
                  <a:lnTo>
                    <a:pt x="28" y="177"/>
                  </a:lnTo>
                  <a:lnTo>
                    <a:pt x="28" y="177"/>
                  </a:lnTo>
                  <a:lnTo>
                    <a:pt x="30" y="178"/>
                  </a:lnTo>
                  <a:lnTo>
                    <a:pt x="28" y="179"/>
                  </a:lnTo>
                  <a:lnTo>
                    <a:pt x="27" y="181"/>
                  </a:lnTo>
                  <a:lnTo>
                    <a:pt x="27" y="183"/>
                  </a:lnTo>
                  <a:lnTo>
                    <a:pt x="27" y="183"/>
                  </a:lnTo>
                  <a:lnTo>
                    <a:pt x="27" y="184"/>
                  </a:lnTo>
                  <a:lnTo>
                    <a:pt x="30" y="187"/>
                  </a:lnTo>
                  <a:lnTo>
                    <a:pt x="36" y="189"/>
                  </a:lnTo>
                  <a:lnTo>
                    <a:pt x="48" y="194"/>
                  </a:lnTo>
                  <a:lnTo>
                    <a:pt x="48" y="194"/>
                  </a:lnTo>
                  <a:lnTo>
                    <a:pt x="49" y="195"/>
                  </a:lnTo>
                  <a:lnTo>
                    <a:pt x="49" y="197"/>
                  </a:lnTo>
                  <a:lnTo>
                    <a:pt x="49" y="197"/>
                  </a:lnTo>
                  <a:lnTo>
                    <a:pt x="41" y="195"/>
                  </a:lnTo>
                  <a:lnTo>
                    <a:pt x="34" y="193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0" y="188"/>
                  </a:lnTo>
                  <a:lnTo>
                    <a:pt x="16" y="188"/>
                  </a:lnTo>
                  <a:lnTo>
                    <a:pt x="15" y="190"/>
                  </a:lnTo>
                  <a:lnTo>
                    <a:pt x="14" y="193"/>
                  </a:lnTo>
                  <a:lnTo>
                    <a:pt x="14" y="193"/>
                  </a:lnTo>
                  <a:lnTo>
                    <a:pt x="12" y="194"/>
                  </a:lnTo>
                  <a:lnTo>
                    <a:pt x="11" y="194"/>
                  </a:lnTo>
                  <a:lnTo>
                    <a:pt x="7" y="197"/>
                  </a:lnTo>
                  <a:lnTo>
                    <a:pt x="5" y="198"/>
                  </a:lnTo>
                  <a:lnTo>
                    <a:pt x="2" y="202"/>
                  </a:lnTo>
                  <a:lnTo>
                    <a:pt x="1" y="205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2" y="210"/>
                  </a:lnTo>
                  <a:lnTo>
                    <a:pt x="6" y="206"/>
                  </a:lnTo>
                  <a:lnTo>
                    <a:pt x="10" y="204"/>
                  </a:lnTo>
                  <a:lnTo>
                    <a:pt x="12" y="203"/>
                  </a:lnTo>
                  <a:lnTo>
                    <a:pt x="12" y="204"/>
                  </a:lnTo>
                  <a:lnTo>
                    <a:pt x="12" y="204"/>
                  </a:lnTo>
                  <a:lnTo>
                    <a:pt x="15" y="209"/>
                  </a:lnTo>
                  <a:lnTo>
                    <a:pt x="18" y="211"/>
                  </a:lnTo>
                  <a:lnTo>
                    <a:pt x="23" y="211"/>
                  </a:lnTo>
                  <a:lnTo>
                    <a:pt x="28" y="211"/>
                  </a:lnTo>
                  <a:lnTo>
                    <a:pt x="39" y="210"/>
                  </a:lnTo>
                  <a:lnTo>
                    <a:pt x="44" y="210"/>
                  </a:lnTo>
                  <a:lnTo>
                    <a:pt x="47" y="210"/>
                  </a:lnTo>
                  <a:lnTo>
                    <a:pt x="47" y="210"/>
                  </a:lnTo>
                  <a:lnTo>
                    <a:pt x="47" y="211"/>
                  </a:lnTo>
                  <a:lnTo>
                    <a:pt x="47" y="211"/>
                  </a:lnTo>
                  <a:lnTo>
                    <a:pt x="44" y="213"/>
                  </a:lnTo>
                  <a:lnTo>
                    <a:pt x="36" y="214"/>
                  </a:lnTo>
                  <a:lnTo>
                    <a:pt x="31" y="215"/>
                  </a:lnTo>
                  <a:lnTo>
                    <a:pt x="26" y="217"/>
                  </a:lnTo>
                  <a:lnTo>
                    <a:pt x="25" y="219"/>
                  </a:lnTo>
                  <a:lnTo>
                    <a:pt x="23" y="221"/>
                  </a:lnTo>
                  <a:lnTo>
                    <a:pt x="25" y="222"/>
                  </a:lnTo>
                  <a:lnTo>
                    <a:pt x="25" y="222"/>
                  </a:lnTo>
                  <a:lnTo>
                    <a:pt x="22" y="225"/>
                  </a:lnTo>
                  <a:lnTo>
                    <a:pt x="20" y="230"/>
                  </a:lnTo>
                  <a:lnTo>
                    <a:pt x="18" y="232"/>
                  </a:lnTo>
                  <a:lnTo>
                    <a:pt x="18" y="236"/>
                  </a:lnTo>
                  <a:lnTo>
                    <a:pt x="20" y="240"/>
                  </a:lnTo>
                  <a:lnTo>
                    <a:pt x="23" y="244"/>
                  </a:lnTo>
                  <a:lnTo>
                    <a:pt x="23" y="244"/>
                  </a:lnTo>
                  <a:lnTo>
                    <a:pt x="25" y="237"/>
                  </a:lnTo>
                  <a:lnTo>
                    <a:pt x="27" y="233"/>
                  </a:lnTo>
                  <a:lnTo>
                    <a:pt x="28" y="232"/>
                  </a:lnTo>
                  <a:lnTo>
                    <a:pt x="31" y="232"/>
                  </a:lnTo>
                  <a:lnTo>
                    <a:pt x="31" y="232"/>
                  </a:lnTo>
                  <a:lnTo>
                    <a:pt x="36" y="232"/>
                  </a:lnTo>
                  <a:lnTo>
                    <a:pt x="39" y="235"/>
                  </a:lnTo>
                  <a:lnTo>
                    <a:pt x="43" y="235"/>
                  </a:lnTo>
                  <a:lnTo>
                    <a:pt x="48" y="232"/>
                  </a:lnTo>
                  <a:lnTo>
                    <a:pt x="48" y="232"/>
                  </a:lnTo>
                  <a:lnTo>
                    <a:pt x="53" y="229"/>
                  </a:lnTo>
                  <a:lnTo>
                    <a:pt x="57" y="226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6"/>
                  </a:lnTo>
                  <a:lnTo>
                    <a:pt x="66" y="230"/>
                  </a:lnTo>
                  <a:lnTo>
                    <a:pt x="66" y="230"/>
                  </a:lnTo>
                  <a:lnTo>
                    <a:pt x="69" y="231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69" y="236"/>
                  </a:lnTo>
                  <a:lnTo>
                    <a:pt x="66" y="240"/>
                  </a:lnTo>
                  <a:lnTo>
                    <a:pt x="64" y="242"/>
                  </a:lnTo>
                  <a:lnTo>
                    <a:pt x="64" y="242"/>
                  </a:lnTo>
                  <a:lnTo>
                    <a:pt x="65" y="242"/>
                  </a:lnTo>
                  <a:lnTo>
                    <a:pt x="69" y="242"/>
                  </a:lnTo>
                  <a:lnTo>
                    <a:pt x="73" y="241"/>
                  </a:lnTo>
                  <a:lnTo>
                    <a:pt x="75" y="238"/>
                  </a:lnTo>
                  <a:lnTo>
                    <a:pt x="77" y="235"/>
                  </a:lnTo>
                  <a:lnTo>
                    <a:pt x="77" y="235"/>
                  </a:lnTo>
                  <a:lnTo>
                    <a:pt x="79" y="233"/>
                  </a:lnTo>
                  <a:lnTo>
                    <a:pt x="80" y="233"/>
                  </a:lnTo>
                  <a:lnTo>
                    <a:pt x="84" y="233"/>
                  </a:lnTo>
                  <a:lnTo>
                    <a:pt x="84" y="233"/>
                  </a:lnTo>
                  <a:lnTo>
                    <a:pt x="86" y="232"/>
                  </a:lnTo>
                  <a:lnTo>
                    <a:pt x="87" y="231"/>
                  </a:lnTo>
                  <a:lnTo>
                    <a:pt x="87" y="227"/>
                  </a:lnTo>
                  <a:lnTo>
                    <a:pt x="87" y="224"/>
                  </a:lnTo>
                  <a:lnTo>
                    <a:pt x="87" y="221"/>
                  </a:lnTo>
                  <a:lnTo>
                    <a:pt x="89" y="220"/>
                  </a:lnTo>
                  <a:lnTo>
                    <a:pt x="89" y="220"/>
                  </a:lnTo>
                  <a:lnTo>
                    <a:pt x="93" y="216"/>
                  </a:lnTo>
                  <a:lnTo>
                    <a:pt x="98" y="213"/>
                  </a:lnTo>
                  <a:lnTo>
                    <a:pt x="109" y="208"/>
                  </a:lnTo>
                  <a:lnTo>
                    <a:pt x="109" y="208"/>
                  </a:lnTo>
                  <a:lnTo>
                    <a:pt x="108" y="213"/>
                  </a:lnTo>
                  <a:lnTo>
                    <a:pt x="108" y="217"/>
                  </a:lnTo>
                  <a:lnTo>
                    <a:pt x="111" y="224"/>
                  </a:lnTo>
                  <a:lnTo>
                    <a:pt x="138" y="216"/>
                  </a:lnTo>
                  <a:lnTo>
                    <a:pt x="138" y="216"/>
                  </a:lnTo>
                  <a:lnTo>
                    <a:pt x="136" y="210"/>
                  </a:lnTo>
                  <a:lnTo>
                    <a:pt x="138" y="205"/>
                  </a:lnTo>
                  <a:lnTo>
                    <a:pt x="141" y="199"/>
                  </a:lnTo>
                  <a:lnTo>
                    <a:pt x="145" y="193"/>
                  </a:lnTo>
                  <a:lnTo>
                    <a:pt x="145" y="193"/>
                  </a:lnTo>
                  <a:lnTo>
                    <a:pt x="145" y="195"/>
                  </a:lnTo>
                  <a:lnTo>
                    <a:pt x="144" y="202"/>
                  </a:lnTo>
                  <a:lnTo>
                    <a:pt x="144" y="209"/>
                  </a:lnTo>
                  <a:lnTo>
                    <a:pt x="144" y="213"/>
                  </a:lnTo>
                  <a:lnTo>
                    <a:pt x="145" y="214"/>
                  </a:lnTo>
                  <a:lnTo>
                    <a:pt x="172" y="208"/>
                  </a:lnTo>
                  <a:lnTo>
                    <a:pt x="172" y="208"/>
                  </a:lnTo>
                  <a:lnTo>
                    <a:pt x="171" y="204"/>
                  </a:lnTo>
                  <a:lnTo>
                    <a:pt x="171" y="199"/>
                  </a:lnTo>
                  <a:lnTo>
                    <a:pt x="173" y="190"/>
                  </a:lnTo>
                  <a:lnTo>
                    <a:pt x="173" y="190"/>
                  </a:lnTo>
                  <a:lnTo>
                    <a:pt x="176" y="200"/>
                  </a:lnTo>
                  <a:lnTo>
                    <a:pt x="181" y="209"/>
                  </a:lnTo>
                  <a:lnTo>
                    <a:pt x="187" y="216"/>
                  </a:lnTo>
                  <a:lnTo>
                    <a:pt x="191" y="219"/>
                  </a:lnTo>
                  <a:lnTo>
                    <a:pt x="194" y="221"/>
                  </a:lnTo>
                  <a:lnTo>
                    <a:pt x="194" y="221"/>
                  </a:lnTo>
                  <a:lnTo>
                    <a:pt x="209" y="227"/>
                  </a:lnTo>
                  <a:lnTo>
                    <a:pt x="225" y="232"/>
                  </a:lnTo>
                  <a:lnTo>
                    <a:pt x="263" y="243"/>
                  </a:lnTo>
                  <a:lnTo>
                    <a:pt x="263" y="243"/>
                  </a:lnTo>
                  <a:lnTo>
                    <a:pt x="274" y="247"/>
                  </a:lnTo>
                  <a:lnTo>
                    <a:pt x="283" y="251"/>
                  </a:lnTo>
                  <a:lnTo>
                    <a:pt x="283" y="251"/>
                  </a:lnTo>
                  <a:lnTo>
                    <a:pt x="285" y="252"/>
                  </a:lnTo>
                  <a:lnTo>
                    <a:pt x="285" y="253"/>
                  </a:lnTo>
                  <a:lnTo>
                    <a:pt x="284" y="257"/>
                  </a:lnTo>
                  <a:lnTo>
                    <a:pt x="280" y="259"/>
                  </a:lnTo>
                  <a:lnTo>
                    <a:pt x="280" y="259"/>
                  </a:lnTo>
                  <a:lnTo>
                    <a:pt x="285" y="263"/>
                  </a:lnTo>
                  <a:lnTo>
                    <a:pt x="295" y="269"/>
                  </a:lnTo>
                  <a:lnTo>
                    <a:pt x="295" y="269"/>
                  </a:lnTo>
                  <a:lnTo>
                    <a:pt x="301" y="275"/>
                  </a:lnTo>
                  <a:lnTo>
                    <a:pt x="305" y="283"/>
                  </a:lnTo>
                  <a:lnTo>
                    <a:pt x="309" y="292"/>
                  </a:lnTo>
                  <a:lnTo>
                    <a:pt x="311" y="302"/>
                  </a:lnTo>
                  <a:lnTo>
                    <a:pt x="311" y="302"/>
                  </a:lnTo>
                  <a:lnTo>
                    <a:pt x="313" y="311"/>
                  </a:lnTo>
                  <a:lnTo>
                    <a:pt x="313" y="319"/>
                  </a:lnTo>
                  <a:lnTo>
                    <a:pt x="313" y="327"/>
                  </a:lnTo>
                  <a:lnTo>
                    <a:pt x="313" y="330"/>
                  </a:lnTo>
                  <a:lnTo>
                    <a:pt x="312" y="332"/>
                  </a:lnTo>
                  <a:lnTo>
                    <a:pt x="312" y="332"/>
                  </a:lnTo>
                  <a:lnTo>
                    <a:pt x="310" y="334"/>
                  </a:lnTo>
                  <a:lnTo>
                    <a:pt x="307" y="335"/>
                  </a:lnTo>
                  <a:lnTo>
                    <a:pt x="304" y="337"/>
                  </a:lnTo>
                  <a:lnTo>
                    <a:pt x="296" y="339"/>
                  </a:lnTo>
                  <a:lnTo>
                    <a:pt x="299" y="349"/>
                  </a:lnTo>
                  <a:lnTo>
                    <a:pt x="299" y="349"/>
                  </a:lnTo>
                  <a:lnTo>
                    <a:pt x="304" y="349"/>
                  </a:lnTo>
                  <a:lnTo>
                    <a:pt x="309" y="348"/>
                  </a:lnTo>
                  <a:lnTo>
                    <a:pt x="313" y="346"/>
                  </a:lnTo>
                  <a:lnTo>
                    <a:pt x="313" y="346"/>
                  </a:lnTo>
                  <a:lnTo>
                    <a:pt x="312" y="348"/>
                  </a:lnTo>
                  <a:lnTo>
                    <a:pt x="312" y="348"/>
                  </a:lnTo>
                  <a:lnTo>
                    <a:pt x="309" y="354"/>
                  </a:lnTo>
                  <a:lnTo>
                    <a:pt x="307" y="359"/>
                  </a:lnTo>
                  <a:lnTo>
                    <a:pt x="318" y="366"/>
                  </a:lnTo>
                  <a:lnTo>
                    <a:pt x="318" y="366"/>
                  </a:lnTo>
                  <a:lnTo>
                    <a:pt x="323" y="354"/>
                  </a:lnTo>
                  <a:lnTo>
                    <a:pt x="326" y="350"/>
                  </a:lnTo>
                  <a:lnTo>
                    <a:pt x="328" y="348"/>
                  </a:lnTo>
                  <a:lnTo>
                    <a:pt x="328" y="348"/>
                  </a:lnTo>
                  <a:lnTo>
                    <a:pt x="331" y="348"/>
                  </a:lnTo>
                  <a:lnTo>
                    <a:pt x="334" y="349"/>
                  </a:lnTo>
                  <a:lnTo>
                    <a:pt x="339" y="351"/>
                  </a:lnTo>
                  <a:lnTo>
                    <a:pt x="344" y="354"/>
                  </a:lnTo>
                  <a:lnTo>
                    <a:pt x="350" y="359"/>
                  </a:lnTo>
                  <a:lnTo>
                    <a:pt x="355" y="365"/>
                  </a:lnTo>
                  <a:lnTo>
                    <a:pt x="360" y="371"/>
                  </a:lnTo>
                  <a:lnTo>
                    <a:pt x="364" y="378"/>
                  </a:lnTo>
                  <a:lnTo>
                    <a:pt x="364" y="378"/>
                  </a:lnTo>
                  <a:lnTo>
                    <a:pt x="365" y="384"/>
                  </a:lnTo>
                  <a:lnTo>
                    <a:pt x="366" y="391"/>
                  </a:lnTo>
                  <a:lnTo>
                    <a:pt x="366" y="397"/>
                  </a:lnTo>
                  <a:lnTo>
                    <a:pt x="365" y="404"/>
                  </a:lnTo>
                  <a:lnTo>
                    <a:pt x="364" y="410"/>
                  </a:lnTo>
                  <a:lnTo>
                    <a:pt x="361" y="415"/>
                  </a:lnTo>
                  <a:lnTo>
                    <a:pt x="358" y="419"/>
                  </a:lnTo>
                  <a:lnTo>
                    <a:pt x="354" y="421"/>
                  </a:lnTo>
                  <a:lnTo>
                    <a:pt x="354" y="421"/>
                  </a:lnTo>
                  <a:lnTo>
                    <a:pt x="350" y="421"/>
                  </a:lnTo>
                  <a:lnTo>
                    <a:pt x="348" y="420"/>
                  </a:lnTo>
                  <a:lnTo>
                    <a:pt x="339" y="416"/>
                  </a:lnTo>
                  <a:lnTo>
                    <a:pt x="332" y="413"/>
                  </a:lnTo>
                  <a:lnTo>
                    <a:pt x="329" y="413"/>
                  </a:lnTo>
                  <a:lnTo>
                    <a:pt x="327" y="415"/>
                  </a:lnTo>
                  <a:lnTo>
                    <a:pt x="327" y="415"/>
                  </a:lnTo>
                  <a:lnTo>
                    <a:pt x="326" y="416"/>
                  </a:lnTo>
                  <a:lnTo>
                    <a:pt x="322" y="419"/>
                  </a:lnTo>
                  <a:lnTo>
                    <a:pt x="316" y="422"/>
                  </a:lnTo>
                  <a:lnTo>
                    <a:pt x="313" y="425"/>
                  </a:lnTo>
                  <a:lnTo>
                    <a:pt x="311" y="429"/>
                  </a:lnTo>
                  <a:lnTo>
                    <a:pt x="311" y="433"/>
                  </a:lnTo>
                  <a:lnTo>
                    <a:pt x="312" y="440"/>
                  </a:lnTo>
                  <a:lnTo>
                    <a:pt x="312" y="440"/>
                  </a:lnTo>
                  <a:lnTo>
                    <a:pt x="318" y="433"/>
                  </a:lnTo>
                  <a:lnTo>
                    <a:pt x="321" y="431"/>
                  </a:lnTo>
                  <a:lnTo>
                    <a:pt x="323" y="431"/>
                  </a:lnTo>
                  <a:lnTo>
                    <a:pt x="323" y="431"/>
                  </a:lnTo>
                  <a:lnTo>
                    <a:pt x="325" y="432"/>
                  </a:lnTo>
                  <a:lnTo>
                    <a:pt x="325" y="433"/>
                  </a:lnTo>
                  <a:lnTo>
                    <a:pt x="327" y="436"/>
                  </a:lnTo>
                  <a:lnTo>
                    <a:pt x="327" y="436"/>
                  </a:lnTo>
                  <a:lnTo>
                    <a:pt x="328" y="437"/>
                  </a:lnTo>
                  <a:lnTo>
                    <a:pt x="331" y="437"/>
                  </a:lnTo>
                  <a:lnTo>
                    <a:pt x="338" y="437"/>
                  </a:lnTo>
                  <a:lnTo>
                    <a:pt x="344" y="436"/>
                  </a:lnTo>
                  <a:lnTo>
                    <a:pt x="347" y="436"/>
                  </a:lnTo>
                  <a:lnTo>
                    <a:pt x="348" y="437"/>
                  </a:lnTo>
                  <a:lnTo>
                    <a:pt x="348" y="437"/>
                  </a:lnTo>
                  <a:lnTo>
                    <a:pt x="348" y="438"/>
                  </a:lnTo>
                  <a:lnTo>
                    <a:pt x="347" y="438"/>
                  </a:lnTo>
                  <a:lnTo>
                    <a:pt x="343" y="438"/>
                  </a:lnTo>
                  <a:lnTo>
                    <a:pt x="343" y="438"/>
                  </a:lnTo>
                  <a:lnTo>
                    <a:pt x="331" y="441"/>
                  </a:lnTo>
                  <a:lnTo>
                    <a:pt x="326" y="443"/>
                  </a:lnTo>
                  <a:lnTo>
                    <a:pt x="322" y="446"/>
                  </a:lnTo>
                  <a:lnTo>
                    <a:pt x="322" y="446"/>
                  </a:lnTo>
                  <a:lnTo>
                    <a:pt x="322" y="447"/>
                  </a:lnTo>
                  <a:lnTo>
                    <a:pt x="322" y="449"/>
                  </a:lnTo>
                  <a:lnTo>
                    <a:pt x="322" y="449"/>
                  </a:lnTo>
                  <a:lnTo>
                    <a:pt x="320" y="453"/>
                  </a:lnTo>
                  <a:lnTo>
                    <a:pt x="316" y="456"/>
                  </a:lnTo>
                  <a:lnTo>
                    <a:pt x="313" y="459"/>
                  </a:lnTo>
                  <a:lnTo>
                    <a:pt x="312" y="463"/>
                  </a:lnTo>
                  <a:lnTo>
                    <a:pt x="312" y="467"/>
                  </a:lnTo>
                  <a:lnTo>
                    <a:pt x="312" y="467"/>
                  </a:lnTo>
                  <a:lnTo>
                    <a:pt x="313" y="472"/>
                  </a:lnTo>
                  <a:lnTo>
                    <a:pt x="316" y="474"/>
                  </a:lnTo>
                  <a:lnTo>
                    <a:pt x="320" y="478"/>
                  </a:lnTo>
                  <a:lnTo>
                    <a:pt x="320" y="478"/>
                  </a:lnTo>
                  <a:lnTo>
                    <a:pt x="320" y="475"/>
                  </a:lnTo>
                  <a:lnTo>
                    <a:pt x="321" y="472"/>
                  </a:lnTo>
                  <a:lnTo>
                    <a:pt x="322" y="467"/>
                  </a:lnTo>
                  <a:lnTo>
                    <a:pt x="322" y="464"/>
                  </a:lnTo>
                  <a:lnTo>
                    <a:pt x="325" y="464"/>
                  </a:lnTo>
                  <a:lnTo>
                    <a:pt x="325" y="464"/>
                  </a:lnTo>
                  <a:lnTo>
                    <a:pt x="326" y="464"/>
                  </a:lnTo>
                  <a:lnTo>
                    <a:pt x="328" y="465"/>
                  </a:lnTo>
                  <a:lnTo>
                    <a:pt x="329" y="468"/>
                  </a:lnTo>
                  <a:lnTo>
                    <a:pt x="332" y="468"/>
                  </a:lnTo>
                  <a:lnTo>
                    <a:pt x="332" y="468"/>
                  </a:lnTo>
                  <a:lnTo>
                    <a:pt x="334" y="468"/>
                  </a:lnTo>
                  <a:lnTo>
                    <a:pt x="338" y="465"/>
                  </a:lnTo>
                  <a:lnTo>
                    <a:pt x="345" y="458"/>
                  </a:lnTo>
                  <a:lnTo>
                    <a:pt x="353" y="452"/>
                  </a:lnTo>
                  <a:lnTo>
                    <a:pt x="355" y="449"/>
                  </a:lnTo>
                  <a:lnTo>
                    <a:pt x="358" y="449"/>
                  </a:lnTo>
                  <a:lnTo>
                    <a:pt x="358" y="449"/>
                  </a:lnTo>
                  <a:lnTo>
                    <a:pt x="359" y="451"/>
                  </a:lnTo>
                  <a:lnTo>
                    <a:pt x="358" y="452"/>
                  </a:lnTo>
                  <a:lnTo>
                    <a:pt x="353" y="456"/>
                  </a:lnTo>
                  <a:lnTo>
                    <a:pt x="348" y="460"/>
                  </a:lnTo>
                  <a:lnTo>
                    <a:pt x="345" y="463"/>
                  </a:lnTo>
                  <a:lnTo>
                    <a:pt x="344" y="467"/>
                  </a:lnTo>
                  <a:lnTo>
                    <a:pt x="344" y="467"/>
                  </a:lnTo>
                  <a:lnTo>
                    <a:pt x="345" y="470"/>
                  </a:lnTo>
                  <a:lnTo>
                    <a:pt x="347" y="473"/>
                  </a:lnTo>
                  <a:lnTo>
                    <a:pt x="349" y="475"/>
                  </a:lnTo>
                  <a:lnTo>
                    <a:pt x="350" y="478"/>
                  </a:lnTo>
                  <a:lnTo>
                    <a:pt x="350" y="478"/>
                  </a:lnTo>
                  <a:lnTo>
                    <a:pt x="352" y="480"/>
                  </a:lnTo>
                  <a:lnTo>
                    <a:pt x="354" y="484"/>
                  </a:lnTo>
                  <a:lnTo>
                    <a:pt x="356" y="486"/>
                  </a:lnTo>
                  <a:lnTo>
                    <a:pt x="360" y="487"/>
                  </a:lnTo>
                  <a:lnTo>
                    <a:pt x="368" y="490"/>
                  </a:lnTo>
                  <a:lnTo>
                    <a:pt x="371" y="490"/>
                  </a:lnTo>
                  <a:lnTo>
                    <a:pt x="371" y="490"/>
                  </a:lnTo>
                  <a:lnTo>
                    <a:pt x="370" y="487"/>
                  </a:lnTo>
                  <a:lnTo>
                    <a:pt x="366" y="484"/>
                  </a:lnTo>
                  <a:lnTo>
                    <a:pt x="363" y="479"/>
                  </a:lnTo>
                  <a:lnTo>
                    <a:pt x="363" y="478"/>
                  </a:lnTo>
                  <a:lnTo>
                    <a:pt x="363" y="475"/>
                  </a:lnTo>
                  <a:lnTo>
                    <a:pt x="363" y="475"/>
                  </a:lnTo>
                  <a:lnTo>
                    <a:pt x="364" y="474"/>
                  </a:lnTo>
                  <a:lnTo>
                    <a:pt x="366" y="475"/>
                  </a:lnTo>
                  <a:lnTo>
                    <a:pt x="369" y="475"/>
                  </a:lnTo>
                  <a:lnTo>
                    <a:pt x="371" y="474"/>
                  </a:lnTo>
                  <a:lnTo>
                    <a:pt x="371" y="474"/>
                  </a:lnTo>
                  <a:lnTo>
                    <a:pt x="371" y="472"/>
                  </a:lnTo>
                  <a:lnTo>
                    <a:pt x="371" y="464"/>
                  </a:lnTo>
                  <a:lnTo>
                    <a:pt x="371" y="460"/>
                  </a:lnTo>
                  <a:lnTo>
                    <a:pt x="372" y="456"/>
                  </a:lnTo>
                  <a:lnTo>
                    <a:pt x="376" y="451"/>
                  </a:lnTo>
                  <a:lnTo>
                    <a:pt x="381" y="445"/>
                  </a:lnTo>
                  <a:lnTo>
                    <a:pt x="381" y="445"/>
                  </a:lnTo>
                  <a:lnTo>
                    <a:pt x="384" y="448"/>
                  </a:lnTo>
                  <a:lnTo>
                    <a:pt x="386" y="449"/>
                  </a:lnTo>
                  <a:lnTo>
                    <a:pt x="391" y="451"/>
                  </a:lnTo>
                  <a:lnTo>
                    <a:pt x="391" y="451"/>
                  </a:lnTo>
                  <a:lnTo>
                    <a:pt x="392" y="452"/>
                  </a:lnTo>
                  <a:lnTo>
                    <a:pt x="393" y="453"/>
                  </a:lnTo>
                  <a:lnTo>
                    <a:pt x="393" y="458"/>
                  </a:lnTo>
                  <a:lnTo>
                    <a:pt x="393" y="464"/>
                  </a:lnTo>
                  <a:lnTo>
                    <a:pt x="393" y="464"/>
                  </a:lnTo>
                  <a:lnTo>
                    <a:pt x="395" y="463"/>
                  </a:lnTo>
                  <a:lnTo>
                    <a:pt x="397" y="459"/>
                  </a:lnTo>
                  <a:lnTo>
                    <a:pt x="399" y="453"/>
                  </a:lnTo>
                  <a:lnTo>
                    <a:pt x="399" y="446"/>
                  </a:lnTo>
                  <a:lnTo>
                    <a:pt x="399" y="446"/>
                  </a:lnTo>
                  <a:lnTo>
                    <a:pt x="402" y="445"/>
                  </a:lnTo>
                  <a:lnTo>
                    <a:pt x="404" y="440"/>
                  </a:lnTo>
                  <a:lnTo>
                    <a:pt x="404" y="440"/>
                  </a:lnTo>
                  <a:lnTo>
                    <a:pt x="406" y="437"/>
                  </a:lnTo>
                  <a:lnTo>
                    <a:pt x="404" y="436"/>
                  </a:lnTo>
                  <a:lnTo>
                    <a:pt x="401" y="432"/>
                  </a:lnTo>
                  <a:lnTo>
                    <a:pt x="399" y="430"/>
                  </a:lnTo>
                  <a:lnTo>
                    <a:pt x="398" y="426"/>
                  </a:lnTo>
                  <a:lnTo>
                    <a:pt x="397" y="420"/>
                  </a:lnTo>
                  <a:lnTo>
                    <a:pt x="397" y="413"/>
                  </a:lnTo>
                  <a:lnTo>
                    <a:pt x="397" y="413"/>
                  </a:lnTo>
                  <a:lnTo>
                    <a:pt x="397" y="410"/>
                  </a:lnTo>
                  <a:lnTo>
                    <a:pt x="396" y="409"/>
                  </a:lnTo>
                  <a:lnTo>
                    <a:pt x="392" y="406"/>
                  </a:lnTo>
                  <a:lnTo>
                    <a:pt x="392" y="406"/>
                  </a:lnTo>
                  <a:lnTo>
                    <a:pt x="390" y="403"/>
                  </a:lnTo>
                  <a:lnTo>
                    <a:pt x="390" y="402"/>
                  </a:lnTo>
                  <a:lnTo>
                    <a:pt x="391" y="402"/>
                  </a:lnTo>
                  <a:lnTo>
                    <a:pt x="391" y="402"/>
                  </a:lnTo>
                  <a:lnTo>
                    <a:pt x="396" y="403"/>
                  </a:lnTo>
                  <a:lnTo>
                    <a:pt x="401" y="403"/>
                  </a:lnTo>
                  <a:lnTo>
                    <a:pt x="406" y="402"/>
                  </a:lnTo>
                  <a:lnTo>
                    <a:pt x="406" y="402"/>
                  </a:lnTo>
                  <a:lnTo>
                    <a:pt x="406" y="387"/>
                  </a:lnTo>
                  <a:lnTo>
                    <a:pt x="407" y="379"/>
                  </a:lnTo>
                  <a:lnTo>
                    <a:pt x="406" y="376"/>
                  </a:lnTo>
                  <a:lnTo>
                    <a:pt x="406" y="376"/>
                  </a:lnTo>
                  <a:lnTo>
                    <a:pt x="401" y="376"/>
                  </a:lnTo>
                  <a:lnTo>
                    <a:pt x="396" y="375"/>
                  </a:lnTo>
                  <a:lnTo>
                    <a:pt x="393" y="373"/>
                  </a:lnTo>
                  <a:lnTo>
                    <a:pt x="391" y="371"/>
                  </a:lnTo>
                  <a:lnTo>
                    <a:pt x="391" y="371"/>
                  </a:lnTo>
                  <a:lnTo>
                    <a:pt x="395" y="371"/>
                  </a:lnTo>
                  <a:lnTo>
                    <a:pt x="399" y="371"/>
                  </a:lnTo>
                  <a:lnTo>
                    <a:pt x="403" y="371"/>
                  </a:lnTo>
                  <a:lnTo>
                    <a:pt x="406" y="368"/>
                  </a:lnTo>
                  <a:lnTo>
                    <a:pt x="406" y="368"/>
                  </a:lnTo>
                  <a:lnTo>
                    <a:pt x="406" y="356"/>
                  </a:lnTo>
                  <a:lnTo>
                    <a:pt x="404" y="348"/>
                  </a:lnTo>
                  <a:lnTo>
                    <a:pt x="404" y="345"/>
                  </a:lnTo>
                  <a:lnTo>
                    <a:pt x="403" y="344"/>
                  </a:lnTo>
                  <a:lnTo>
                    <a:pt x="403" y="344"/>
                  </a:lnTo>
                  <a:lnTo>
                    <a:pt x="398" y="345"/>
                  </a:lnTo>
                  <a:lnTo>
                    <a:pt x="395" y="345"/>
                  </a:lnTo>
                  <a:lnTo>
                    <a:pt x="391" y="344"/>
                  </a:lnTo>
                  <a:lnTo>
                    <a:pt x="387" y="343"/>
                  </a:lnTo>
                  <a:lnTo>
                    <a:pt x="387" y="343"/>
                  </a:lnTo>
                  <a:lnTo>
                    <a:pt x="386" y="341"/>
                  </a:lnTo>
                  <a:lnTo>
                    <a:pt x="385" y="339"/>
                  </a:lnTo>
                  <a:lnTo>
                    <a:pt x="385" y="335"/>
                  </a:lnTo>
                  <a:lnTo>
                    <a:pt x="384" y="333"/>
                  </a:lnTo>
                  <a:lnTo>
                    <a:pt x="384" y="332"/>
                  </a:lnTo>
                  <a:lnTo>
                    <a:pt x="382" y="330"/>
                  </a:lnTo>
                  <a:lnTo>
                    <a:pt x="382" y="330"/>
                  </a:lnTo>
                  <a:lnTo>
                    <a:pt x="375" y="328"/>
                  </a:lnTo>
                  <a:lnTo>
                    <a:pt x="368" y="324"/>
                  </a:lnTo>
                  <a:lnTo>
                    <a:pt x="364" y="321"/>
                  </a:lnTo>
                  <a:lnTo>
                    <a:pt x="360" y="318"/>
                  </a:lnTo>
                  <a:lnTo>
                    <a:pt x="360" y="318"/>
                  </a:lnTo>
                  <a:lnTo>
                    <a:pt x="358" y="314"/>
                  </a:lnTo>
                  <a:lnTo>
                    <a:pt x="358" y="311"/>
                  </a:lnTo>
                  <a:lnTo>
                    <a:pt x="358" y="308"/>
                  </a:lnTo>
                  <a:lnTo>
                    <a:pt x="358" y="308"/>
                  </a:lnTo>
                  <a:lnTo>
                    <a:pt x="364" y="311"/>
                  </a:lnTo>
                  <a:lnTo>
                    <a:pt x="366" y="311"/>
                  </a:lnTo>
                  <a:lnTo>
                    <a:pt x="370" y="310"/>
                  </a:lnTo>
                  <a:lnTo>
                    <a:pt x="371" y="290"/>
                  </a:lnTo>
                  <a:lnTo>
                    <a:pt x="371" y="290"/>
                  </a:lnTo>
                  <a:lnTo>
                    <a:pt x="369" y="290"/>
                  </a:lnTo>
                  <a:lnTo>
                    <a:pt x="364" y="289"/>
                  </a:lnTo>
                  <a:lnTo>
                    <a:pt x="364" y="289"/>
                  </a:lnTo>
                  <a:lnTo>
                    <a:pt x="361" y="286"/>
                  </a:lnTo>
                  <a:lnTo>
                    <a:pt x="359" y="284"/>
                  </a:lnTo>
                  <a:lnTo>
                    <a:pt x="358" y="281"/>
                  </a:lnTo>
                  <a:lnTo>
                    <a:pt x="358" y="281"/>
                  </a:lnTo>
                  <a:lnTo>
                    <a:pt x="360" y="283"/>
                  </a:lnTo>
                  <a:lnTo>
                    <a:pt x="365" y="284"/>
                  </a:lnTo>
                  <a:lnTo>
                    <a:pt x="365" y="284"/>
                  </a:lnTo>
                  <a:lnTo>
                    <a:pt x="370" y="284"/>
                  </a:lnTo>
                  <a:lnTo>
                    <a:pt x="372" y="283"/>
                  </a:lnTo>
                  <a:lnTo>
                    <a:pt x="375" y="260"/>
                  </a:lnTo>
                  <a:lnTo>
                    <a:pt x="375" y="260"/>
                  </a:lnTo>
                  <a:lnTo>
                    <a:pt x="371" y="260"/>
                  </a:lnTo>
                  <a:lnTo>
                    <a:pt x="368" y="259"/>
                  </a:lnTo>
                  <a:lnTo>
                    <a:pt x="364" y="258"/>
                  </a:lnTo>
                  <a:lnTo>
                    <a:pt x="363" y="254"/>
                  </a:lnTo>
                  <a:lnTo>
                    <a:pt x="363" y="253"/>
                  </a:lnTo>
                  <a:lnTo>
                    <a:pt x="363" y="253"/>
                  </a:lnTo>
                  <a:lnTo>
                    <a:pt x="371" y="251"/>
                  </a:lnTo>
                  <a:lnTo>
                    <a:pt x="379" y="247"/>
                  </a:lnTo>
                  <a:lnTo>
                    <a:pt x="385" y="242"/>
                  </a:lnTo>
                  <a:lnTo>
                    <a:pt x="390" y="237"/>
                  </a:lnTo>
                  <a:lnTo>
                    <a:pt x="395" y="231"/>
                  </a:lnTo>
                  <a:lnTo>
                    <a:pt x="398" y="224"/>
                  </a:lnTo>
                  <a:lnTo>
                    <a:pt x="402" y="217"/>
                  </a:lnTo>
                  <a:lnTo>
                    <a:pt x="403" y="210"/>
                  </a:lnTo>
                  <a:lnTo>
                    <a:pt x="403" y="210"/>
                  </a:lnTo>
                  <a:lnTo>
                    <a:pt x="409" y="213"/>
                  </a:lnTo>
                  <a:lnTo>
                    <a:pt x="413" y="213"/>
                  </a:lnTo>
                  <a:lnTo>
                    <a:pt x="415" y="213"/>
                  </a:lnTo>
                  <a:lnTo>
                    <a:pt x="415" y="213"/>
                  </a:lnTo>
                  <a:lnTo>
                    <a:pt x="417" y="204"/>
                  </a:lnTo>
                  <a:lnTo>
                    <a:pt x="417" y="194"/>
                  </a:lnTo>
                  <a:lnTo>
                    <a:pt x="417" y="194"/>
                  </a:lnTo>
                  <a:lnTo>
                    <a:pt x="411" y="193"/>
                  </a:lnTo>
                  <a:lnTo>
                    <a:pt x="408" y="192"/>
                  </a:lnTo>
                  <a:lnTo>
                    <a:pt x="406" y="18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8542912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41.xml"/><Relationship Id="rId7" Type="http://schemas.openxmlformats.org/officeDocument/2006/relationships/oleObject" Target="../embeddings/oleObject1.bin"/><Relationship Id="rId38" Type="http://schemas.openxmlformats.org/officeDocument/2006/relationships/image" Target="../media/image4.svg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tags" Target="../tags/tag4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1.png"/><Relationship Id="rId4" Type="http://schemas.openxmlformats.org/officeDocument/2006/relationships/theme" Target="../theme/theme10.xml"/><Relationship Id="rId9" Type="http://schemas.openxmlformats.org/officeDocument/2006/relationships/image" Target="../media/image10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17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3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0.png"/><Relationship Id="rId38" Type="http://schemas.openxmlformats.org/officeDocument/2006/relationships/image" Target="../media/image4.sv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vmlDrawing" Target="../drawings/vmlDrawing2.vml"/><Relationship Id="rId7" Type="http://schemas.openxmlformats.org/officeDocument/2006/relationships/image" Target="../media/image10.png"/><Relationship Id="rId38" Type="http://schemas.openxmlformats.org/officeDocument/2006/relationships/image" Target="../media/image4.sv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vmlDrawing" Target="../drawings/vmlDrawing3.vml"/><Relationship Id="rId7" Type="http://schemas.openxmlformats.org/officeDocument/2006/relationships/image" Target="../media/image10.png"/><Relationship Id="rId38" Type="http://schemas.openxmlformats.org/officeDocument/2006/relationships/image" Target="../media/image4.sv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967B95-9AC7-A043-B8FD-E3021C1E95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384559-CC17-CE46-9193-51A9D8A0B1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294E01-4403-BB4F-9726-41BA18A9D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7841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rgbClr val="002F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5BB522-C2A2-944F-BE3C-E8AEDC463307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88433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rgbClr val="002F5B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800"/>
        </a:spcBef>
        <a:spcAft>
          <a:spcPts val="5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5FEB26E-B881-DABC-A573-0F1FA33153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15856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think-cell Slide" r:id="rId7" imgW="425" imgH="424" progId="TCLayout.ActiveDocument.1">
                  <p:embed/>
                </p:oleObj>
              </mc:Choice>
              <mc:Fallback>
                <p:oleObj name="think-cell Slide" r:id="rId7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FEB26E-B881-DABC-A573-0F1FA3315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8" y="620713"/>
            <a:ext cx="9217025" cy="79206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8" y="1628775"/>
            <a:ext cx="11376025" cy="4392613"/>
          </a:xfrm>
          <a:prstGeom prst="roundRect">
            <a:avLst>
              <a:gd name="adj" fmla="val 3492"/>
            </a:avLst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8" y="6381327"/>
            <a:ext cx="8785225" cy="14401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cap="all" spc="100" normalizeH="0" baseline="0"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13" name="(c)" hidden="1"/>
          <p:cNvSpPr txBox="1"/>
          <p:nvPr userDrawn="1"/>
        </p:nvSpPr>
        <p:spPr>
          <a:xfrm>
            <a:off x="12012166" y="6891795"/>
            <a:ext cx="173124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</a:t>
            </a:r>
            <a:r>
              <a:rPr kumimoji="0" lang="fi-FI" sz="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w</a:t>
            </a:r>
            <a:r>
              <a:rPr kumimoji="0" lang="fi-FI" sz="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for </a:t>
            </a:r>
            <a:r>
              <a:rPr kumimoji="0" lang="fi-FI" sz="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ia</a:t>
            </a:r>
            <a:endParaRPr kumimoji="0" lang="en-GB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(logo)" descr="Z:\GRW (grow)\logot\copyright_grow.png" hidden="1"/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B8D89F3F-7A1E-51B7-595E-C088854256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5920" y="6381179"/>
            <a:ext cx="2518093" cy="144017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endParaRPr lang="fi-FI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2B9CC64-87DB-AE8A-67F7-3C3FC6FB81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8"/>
              </a:ext>
            </a:extLst>
          </a:blip>
          <a:srcRect l="7251" t="15078" r="6852" b="14392"/>
          <a:stretch/>
        </p:blipFill>
        <p:spPr>
          <a:xfrm>
            <a:off x="9957588" y="224582"/>
            <a:ext cx="1976285" cy="79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587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</p:sldLayoutIdLst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1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800" kern="1200" spc="10" baseline="0">
          <a:solidFill>
            <a:schemeClr val="bg2"/>
          </a:solidFill>
          <a:latin typeface="+mn-lt"/>
          <a:ea typeface="+mn-ea"/>
          <a:cs typeface="+mn-cs"/>
        </a:defRPr>
      </a:lvl1pPr>
      <a:lvl2pPr marL="539750" indent="-26670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600" kern="1200" spc="10" baseline="0">
          <a:solidFill>
            <a:schemeClr val="bg2"/>
          </a:solidFill>
          <a:latin typeface="+mn-lt"/>
          <a:ea typeface="+mn-ea"/>
          <a:cs typeface="+mn-cs"/>
        </a:defRPr>
      </a:lvl2pPr>
      <a:lvl3pPr marL="803275" indent="-27305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400" kern="1200" spc="10" baseline="0">
          <a:solidFill>
            <a:schemeClr val="bg2"/>
          </a:solidFill>
          <a:latin typeface="+mn-lt"/>
          <a:ea typeface="+mn-ea"/>
          <a:cs typeface="+mn-cs"/>
        </a:defRPr>
      </a:lvl3pPr>
      <a:lvl4pPr marL="1073150" indent="-26670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chemeClr val="bg2"/>
          </a:solidFill>
          <a:latin typeface="+mn-lt"/>
          <a:ea typeface="+mn-ea"/>
          <a:cs typeface="+mn-cs"/>
        </a:defRPr>
      </a:lvl4pPr>
      <a:lvl5pPr marL="1344613" indent="-1809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100" kern="1200" spc="10" baseline="0">
          <a:solidFill>
            <a:schemeClr val="bg2"/>
          </a:solidFill>
          <a:latin typeface="+mn-lt"/>
          <a:ea typeface="+mn-ea"/>
          <a:cs typeface="+mn-cs"/>
        </a:defRPr>
      </a:lvl5pPr>
      <a:lvl6pPr marL="1524000" indent="-26670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rgbClr val="404040"/>
          </a:solidFill>
          <a:latin typeface="+mn-lt"/>
          <a:ea typeface="+mn-ea"/>
          <a:cs typeface="+mn-cs"/>
        </a:defRPr>
      </a:lvl6pPr>
      <a:lvl7pPr marL="1793875" indent="-265113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rgbClr val="404040"/>
          </a:solidFill>
          <a:latin typeface="+mn-lt"/>
          <a:ea typeface="+mn-ea"/>
          <a:cs typeface="+mn-cs"/>
        </a:defRPr>
      </a:lvl7pPr>
      <a:lvl8pPr marL="2063750" indent="-274638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rgbClr val="404040"/>
          </a:solidFill>
          <a:latin typeface="+mn-lt"/>
          <a:ea typeface="+mn-ea"/>
          <a:cs typeface="+mn-cs"/>
        </a:defRPr>
      </a:lvl8pPr>
      <a:lvl9pPr marL="2335213" indent="-26670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rgbClr val="404040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57">
          <p15:clr>
            <a:srgbClr val="F26B43"/>
          </p15:clr>
        </p15:guide>
        <p15:guide id="4" pos="7423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391">
          <p15:clr>
            <a:srgbClr val="F26B43"/>
          </p15:clr>
        </p15:guide>
        <p15:guide id="7" orient="horz" pos="3793">
          <p15:clr>
            <a:srgbClr val="F26B43"/>
          </p15:clr>
        </p15:guide>
        <p15:guide id="8" orient="horz" pos="89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12801" y="312000"/>
            <a:ext cx="10769599" cy="129902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fi-FI" dirty="0" smtClean="0"/>
              <a:t>Muokkaa </a:t>
            </a:r>
            <a:r>
              <a:rPr lang="fi-FI" dirty="0" err="1" smtClean="0"/>
              <a:t>perustyyl</a:t>
            </a:r>
            <a:r>
              <a:rPr lang="fi-FI" dirty="0" smtClean="0"/>
              <a:t>. </a:t>
            </a:r>
            <a:r>
              <a:rPr lang="fi-FI" dirty="0" err="1" smtClean="0"/>
              <a:t>napsautt</a:t>
            </a:r>
            <a:r>
              <a:rPr lang="fi-FI" dirty="0" smtClean="0"/>
              <a:t>.</a:t>
            </a:r>
            <a:endParaRPr lang="fi-FI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12801" y="1881602"/>
            <a:ext cx="10769599" cy="43317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 smtClean="0"/>
              <a:t>Muokkaa tekstin perustyylejä napsauttamalla</a:t>
            </a:r>
          </a:p>
          <a:p>
            <a:pPr lvl="1"/>
            <a:r>
              <a:rPr lang="fi-FI" dirty="0" smtClean="0"/>
              <a:t>toinen taso</a:t>
            </a:r>
          </a:p>
          <a:p>
            <a:pPr lvl="2"/>
            <a:r>
              <a:rPr lang="fi-FI" dirty="0" smtClean="0"/>
              <a:t>kolmas taso</a:t>
            </a:r>
          </a:p>
          <a:p>
            <a:pPr lvl="3"/>
            <a:r>
              <a:rPr lang="fi-FI" dirty="0" smtClean="0"/>
              <a:t>neljäs taso</a:t>
            </a:r>
          </a:p>
          <a:p>
            <a:pPr lvl="4"/>
            <a:r>
              <a:rPr lang="fi-FI" dirty="0" smtClean="0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93094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91" r:id="rId16"/>
    <p:sldLayoutId id="2147483692" r:id="rId17"/>
    <p:sldLayoutId id="2147483693" r:id="rId18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4267" b="1" kern="1200">
          <a:solidFill>
            <a:schemeClr val="tx1">
              <a:lumMod val="85000"/>
              <a:lumOff val="15000"/>
            </a:schemeClr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357708" indent="-357708" algn="l" defTabSz="1219170" rtl="0" eaLnBrk="1" latinLnBrk="0" hangingPunct="1">
        <a:spcBef>
          <a:spcPts val="1867"/>
        </a:spcBef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958827" indent="-349242" algn="l" defTabSz="1219170" rtl="0" eaLnBrk="1" latinLnBrk="0" hangingPunct="1">
        <a:spcBef>
          <a:spcPts val="1867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316534" indent="-243411" algn="l" defTabSz="1219170" rtl="0" eaLnBrk="1" latinLnBrk="0" hangingPunct="1">
        <a:spcBef>
          <a:spcPts val="1867"/>
        </a:spcBef>
        <a:buClr>
          <a:schemeClr val="accent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557828" indent="-241294" algn="l" defTabSz="1219170" rtl="0" eaLnBrk="1" latinLnBrk="0" hangingPunct="1">
        <a:spcBef>
          <a:spcPts val="1867"/>
        </a:spcBef>
        <a:buClr>
          <a:schemeClr val="accent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790655" indent="-232828" algn="l" defTabSz="1219170" rtl="0" eaLnBrk="1" latinLnBrk="0" hangingPunct="1">
        <a:spcBef>
          <a:spcPts val="1867"/>
        </a:spcBef>
        <a:buClr>
          <a:schemeClr val="accent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967B95-9AC7-A043-B8FD-E3021C1E95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384559-CC17-CE46-9193-51A9D8A0B1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294E01-4403-BB4F-9726-41BA18A9D2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7841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rgbClr val="002F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E5BB522-C2A2-944F-BE3C-E8AEDC463307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61649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kern="1200">
          <a:solidFill>
            <a:srgbClr val="002F5B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800"/>
        </a:spcBef>
        <a:spcAft>
          <a:spcPts val="5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160" y="308731"/>
            <a:ext cx="1483200" cy="1329936"/>
          </a:xfrm>
          <a:prstGeom prst="rect">
            <a:avLst/>
          </a:prstGeom>
        </p:spPr>
      </p:pic>
      <p:sp>
        <p:nvSpPr>
          <p:cNvPr id="13" name="Slide Number Placeholder 6"/>
          <p:cNvSpPr txBox="1">
            <a:spLocks/>
          </p:cNvSpPr>
          <p:nvPr/>
        </p:nvSpPr>
        <p:spPr>
          <a:xfrm>
            <a:off x="9407199" y="6434533"/>
            <a:ext cx="596900" cy="288000"/>
          </a:xfrm>
          <a:prstGeom prst="rect">
            <a:avLst/>
          </a:prstGeom>
        </p:spPr>
        <p:txBody>
          <a:bodyPr bIns="0" anchor="b" anchorCtr="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bg1"/>
                </a:solidFill>
                <a:latin typeface="Arial"/>
                <a:ea typeface="ＭＳ Ｐゴシック" pitchFamily="34" charset="-128"/>
                <a:cs typeface="Arial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>
              <a:defRPr/>
            </a:pPr>
            <a:fld id="{717CD448-BDE5-4446-AE75-A0344141D28E}" type="slidenum">
              <a:rPr lang="en-US" sz="1333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>
                <a:defRPr/>
              </a:pPr>
              <a:t>‹#›</a:t>
            </a:fld>
            <a:endParaRPr lang="en-US" sz="1333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2"/>
          </p:nvPr>
        </p:nvSpPr>
        <p:spPr>
          <a:xfrm>
            <a:off x="8229602" y="6457047"/>
            <a:ext cx="1055749" cy="265487"/>
          </a:xfrm>
          <a:prstGeom prst="rect">
            <a:avLst/>
          </a:prstGeom>
        </p:spPr>
        <p:txBody>
          <a:bodyPr vert="horz" lIns="91440" tIns="45720" rIns="91440" bIns="0" rtlCol="0" anchor="b" anchorCtr="0"/>
          <a:lstStyle>
            <a:lvl1pPr algn="r">
              <a:defRPr sz="1333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FEBA12B6-D98B-4E6F-8FA5-3DE67EF89324}" type="datetime1">
              <a:rPr lang="fi-FI" smtClean="0"/>
              <a:t>26.4.2023</a:t>
            </a:fld>
            <a:endParaRPr lang="fi-FI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341799" y="6420104"/>
            <a:ext cx="0" cy="434152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Freeform 40">
            <a:extLst>
              <a:ext uri="{FF2B5EF4-FFF2-40B4-BE49-F238E27FC236}">
                <a16:creationId xmlns:a16="http://schemas.microsoft.com/office/drawing/2014/main" id="{F7C092A6-E9ED-4F68-99A1-3479D2CA1AE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auto">
          <a:xfrm>
            <a:off x="8095013" y="-36341"/>
            <a:ext cx="4109576" cy="6956592"/>
          </a:xfrm>
          <a:custGeom>
            <a:avLst/>
            <a:gdLst>
              <a:gd name="T0" fmla="*/ 400 w 435"/>
              <a:gd name="T1" fmla="*/ 415 h 735"/>
              <a:gd name="T2" fmla="*/ 315 w 435"/>
              <a:gd name="T3" fmla="*/ 366 h 735"/>
              <a:gd name="T4" fmla="*/ 254 w 435"/>
              <a:gd name="T5" fmla="*/ 0 h 735"/>
              <a:gd name="T6" fmla="*/ 8 w 435"/>
              <a:gd name="T7" fmla="*/ 0 h 735"/>
              <a:gd name="T8" fmla="*/ 5 w 435"/>
              <a:gd name="T9" fmla="*/ 35 h 735"/>
              <a:gd name="T10" fmla="*/ 132 w 435"/>
              <a:gd name="T11" fmla="*/ 350 h 735"/>
              <a:gd name="T12" fmla="*/ 388 w 435"/>
              <a:gd name="T13" fmla="*/ 498 h 735"/>
              <a:gd name="T14" fmla="*/ 389 w 435"/>
              <a:gd name="T15" fmla="*/ 499 h 735"/>
              <a:gd name="T16" fmla="*/ 388 w 435"/>
              <a:gd name="T17" fmla="*/ 500 h 735"/>
              <a:gd name="T18" fmla="*/ 388 w 435"/>
              <a:gd name="T19" fmla="*/ 500 h 735"/>
              <a:gd name="T20" fmla="*/ 208 w 435"/>
              <a:gd name="T21" fmla="*/ 735 h 735"/>
              <a:gd name="T22" fmla="*/ 302 w 435"/>
              <a:gd name="T23" fmla="*/ 735 h 735"/>
              <a:gd name="T24" fmla="*/ 435 w 435"/>
              <a:gd name="T25" fmla="*/ 640 h 735"/>
              <a:gd name="T26" fmla="*/ 435 w 435"/>
              <a:gd name="T27" fmla="*/ 373 h 735"/>
              <a:gd name="T28" fmla="*/ 400 w 435"/>
              <a:gd name="T29" fmla="*/ 415 h 7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35" h="735">
                <a:moveTo>
                  <a:pt x="400" y="415"/>
                </a:moveTo>
                <a:cubicBezTo>
                  <a:pt x="367" y="403"/>
                  <a:pt x="338" y="386"/>
                  <a:pt x="315" y="366"/>
                </a:cubicBezTo>
                <a:cubicBezTo>
                  <a:pt x="209" y="272"/>
                  <a:pt x="194" y="122"/>
                  <a:pt x="254" y="0"/>
                </a:cubicBezTo>
                <a:cubicBezTo>
                  <a:pt x="8" y="0"/>
                  <a:pt x="8" y="0"/>
                  <a:pt x="8" y="0"/>
                </a:cubicBezTo>
                <a:cubicBezTo>
                  <a:pt x="6" y="12"/>
                  <a:pt x="5" y="23"/>
                  <a:pt x="5" y="35"/>
                </a:cubicBezTo>
                <a:cubicBezTo>
                  <a:pt x="0" y="147"/>
                  <a:pt x="36" y="260"/>
                  <a:pt x="132" y="350"/>
                </a:cubicBezTo>
                <a:cubicBezTo>
                  <a:pt x="260" y="470"/>
                  <a:pt x="387" y="498"/>
                  <a:pt x="388" y="498"/>
                </a:cubicBezTo>
                <a:cubicBezTo>
                  <a:pt x="388" y="498"/>
                  <a:pt x="389" y="498"/>
                  <a:pt x="389" y="499"/>
                </a:cubicBezTo>
                <a:cubicBezTo>
                  <a:pt x="388" y="500"/>
                  <a:pt x="388" y="500"/>
                  <a:pt x="388" y="500"/>
                </a:cubicBezTo>
                <a:cubicBezTo>
                  <a:pt x="388" y="500"/>
                  <a:pt x="388" y="500"/>
                  <a:pt x="388" y="500"/>
                </a:cubicBezTo>
                <a:cubicBezTo>
                  <a:pt x="376" y="516"/>
                  <a:pt x="218" y="722"/>
                  <a:pt x="208" y="735"/>
                </a:cubicBezTo>
                <a:cubicBezTo>
                  <a:pt x="302" y="735"/>
                  <a:pt x="302" y="735"/>
                  <a:pt x="302" y="735"/>
                </a:cubicBezTo>
                <a:cubicBezTo>
                  <a:pt x="333" y="709"/>
                  <a:pt x="383" y="674"/>
                  <a:pt x="435" y="640"/>
                </a:cubicBezTo>
                <a:cubicBezTo>
                  <a:pt x="435" y="373"/>
                  <a:pt x="435" y="373"/>
                  <a:pt x="435" y="373"/>
                </a:cubicBezTo>
                <a:cubicBezTo>
                  <a:pt x="423" y="387"/>
                  <a:pt x="412" y="400"/>
                  <a:pt x="400" y="41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173697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</p:sldLayoutIdLst>
  <p:hf hdr="0"/>
  <p:txStyles>
    <p:titleStyle>
      <a:lvl1pPr algn="l" defTabSz="609585" rtl="0" eaLnBrk="1" fontAlgn="base" hangingPunct="1">
        <a:spcBef>
          <a:spcPct val="0"/>
        </a:spcBef>
        <a:spcAft>
          <a:spcPct val="0"/>
        </a:spcAft>
        <a:defRPr sz="3467" kern="1200">
          <a:solidFill>
            <a:schemeClr val="accent1"/>
          </a:solidFill>
          <a:latin typeface="Arial"/>
          <a:ea typeface="ＭＳ Ｐゴシック" charset="0"/>
          <a:cs typeface="Arial"/>
        </a:defRPr>
      </a:lvl1pPr>
      <a:lvl2pPr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2pPr>
      <a:lvl3pPr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3pPr>
      <a:lvl4pPr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4pPr>
      <a:lvl5pPr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5pPr>
      <a:lvl6pPr marL="609585"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</a:defRPr>
      </a:lvl6pPr>
      <a:lvl7pPr marL="1219170"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</a:defRPr>
      </a:lvl7pPr>
      <a:lvl8pPr marL="1828754"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</a:defRPr>
      </a:lvl8pPr>
      <a:lvl9pPr marL="2438339"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</a:defRPr>
      </a:lvl9pPr>
    </p:titleStyle>
    <p:bodyStyle>
      <a:lvl1pPr algn="l" defTabSz="609585" rtl="0" eaLnBrk="1" fontAlgn="base" hangingPunct="1">
        <a:spcBef>
          <a:spcPct val="20000"/>
        </a:spcBef>
        <a:spcAft>
          <a:spcPct val="0"/>
        </a:spcAft>
        <a:defRPr sz="2667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990575" indent="-380990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1523962" indent="-304792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67" kern="1200">
          <a:solidFill>
            <a:schemeClr val="tx1"/>
          </a:solidFill>
          <a:latin typeface="Arial"/>
          <a:ea typeface="ＭＳ Ｐゴシック" charset="0"/>
          <a:cs typeface="Arial"/>
        </a:defRPr>
      </a:lvl3pPr>
      <a:lvl4pPr marL="2133547" indent="-304792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33" kern="1200">
          <a:solidFill>
            <a:schemeClr val="tx1"/>
          </a:solidFill>
          <a:latin typeface="Arial"/>
          <a:ea typeface="ＭＳ Ｐゴシック" charset="0"/>
          <a:cs typeface="Arial"/>
        </a:defRPr>
      </a:lvl4pPr>
      <a:lvl5pPr marL="2743131" indent="-304792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/>
          <a:ea typeface="ＭＳ Ｐゴシック" charset="0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6705" y="5367641"/>
            <a:ext cx="1483200" cy="1329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252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00" r:id="rId2"/>
  </p:sldLayoutIdLst>
  <p:hf hdr="0"/>
  <p:txStyles>
    <p:titleStyle>
      <a:lvl1pPr algn="l" defTabSz="609585" rtl="0" eaLnBrk="1" fontAlgn="base" hangingPunct="1">
        <a:spcBef>
          <a:spcPct val="0"/>
        </a:spcBef>
        <a:spcAft>
          <a:spcPct val="0"/>
        </a:spcAft>
        <a:defRPr sz="3467" kern="1200">
          <a:solidFill>
            <a:schemeClr val="accent1"/>
          </a:solidFill>
          <a:latin typeface="Arial"/>
          <a:ea typeface="ＭＳ Ｐゴシック" charset="0"/>
          <a:cs typeface="Arial"/>
        </a:defRPr>
      </a:lvl1pPr>
      <a:lvl2pPr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2pPr>
      <a:lvl3pPr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3pPr>
      <a:lvl4pPr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4pPr>
      <a:lvl5pPr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5pPr>
      <a:lvl6pPr marL="609585"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</a:defRPr>
      </a:lvl6pPr>
      <a:lvl7pPr marL="1219170"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</a:defRPr>
      </a:lvl7pPr>
      <a:lvl8pPr marL="1828754"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</a:defRPr>
      </a:lvl8pPr>
      <a:lvl9pPr marL="2438339"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</a:defRPr>
      </a:lvl9pPr>
    </p:titleStyle>
    <p:bodyStyle>
      <a:lvl1pPr algn="l" defTabSz="609585" rtl="0" eaLnBrk="1" fontAlgn="base" hangingPunct="1">
        <a:spcBef>
          <a:spcPct val="20000"/>
        </a:spcBef>
        <a:spcAft>
          <a:spcPct val="0"/>
        </a:spcAft>
        <a:defRPr sz="2667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990575" indent="-380990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1523962" indent="-304792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67" kern="1200">
          <a:solidFill>
            <a:schemeClr val="tx1"/>
          </a:solidFill>
          <a:latin typeface="Arial"/>
          <a:ea typeface="ＭＳ Ｐゴシック" charset="0"/>
          <a:cs typeface="Arial"/>
        </a:defRPr>
      </a:lvl3pPr>
      <a:lvl4pPr marL="2133547" indent="-304792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33" kern="1200">
          <a:solidFill>
            <a:schemeClr val="tx1"/>
          </a:solidFill>
          <a:latin typeface="Arial"/>
          <a:ea typeface="ＭＳ Ｐゴシック" charset="0"/>
          <a:cs typeface="Arial"/>
        </a:defRPr>
      </a:lvl4pPr>
      <a:lvl5pPr marL="2743131" indent="-304792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/>
          <a:ea typeface="ＭＳ Ｐゴシック" charset="0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458662" y="6221676"/>
            <a:ext cx="665647" cy="449656"/>
            <a:chOff x="343996" y="4687773"/>
            <a:chExt cx="499235" cy="337242"/>
          </a:xfrm>
        </p:grpSpPr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343996" y="4859339"/>
              <a:ext cx="100142" cy="162730"/>
            </a:xfrm>
            <a:custGeom>
              <a:avLst/>
              <a:gdLst>
                <a:gd name="T0" fmla="*/ 0 w 57"/>
                <a:gd name="T1" fmla="*/ 0 h 92"/>
                <a:gd name="T2" fmla="*/ 0 w 57"/>
                <a:gd name="T3" fmla="*/ 73 h 92"/>
                <a:gd name="T4" fmla="*/ 21 w 57"/>
                <a:gd name="T5" fmla="*/ 92 h 92"/>
                <a:gd name="T6" fmla="*/ 57 w 57"/>
                <a:gd name="T7" fmla="*/ 91 h 92"/>
                <a:gd name="T8" fmla="*/ 56 w 57"/>
                <a:gd name="T9" fmla="*/ 78 h 92"/>
                <a:gd name="T10" fmla="*/ 24 w 57"/>
                <a:gd name="T11" fmla="*/ 78 h 92"/>
                <a:gd name="T12" fmla="*/ 18 w 57"/>
                <a:gd name="T13" fmla="*/ 76 h 92"/>
                <a:gd name="T14" fmla="*/ 17 w 57"/>
                <a:gd name="T15" fmla="*/ 71 h 92"/>
                <a:gd name="T16" fmla="*/ 17 w 57"/>
                <a:gd name="T17" fmla="*/ 0 h 92"/>
                <a:gd name="T18" fmla="*/ 0 w 57"/>
                <a:gd name="T1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92">
                  <a:moveTo>
                    <a:pt x="0" y="0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0" y="86"/>
                    <a:pt x="7" y="92"/>
                    <a:pt x="21" y="92"/>
                  </a:cubicBezTo>
                  <a:cubicBezTo>
                    <a:pt x="36" y="92"/>
                    <a:pt x="48" y="92"/>
                    <a:pt x="57" y="91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2" y="78"/>
                    <a:pt x="19" y="78"/>
                    <a:pt x="18" y="76"/>
                  </a:cubicBezTo>
                  <a:cubicBezTo>
                    <a:pt x="17" y="75"/>
                    <a:pt x="17" y="73"/>
                    <a:pt x="17" y="71"/>
                  </a:cubicBezTo>
                  <a:cubicBezTo>
                    <a:pt x="17" y="0"/>
                    <a:pt x="17" y="0"/>
                    <a:pt x="1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451501" y="4906465"/>
              <a:ext cx="105296" cy="118550"/>
            </a:xfrm>
            <a:custGeom>
              <a:avLst/>
              <a:gdLst>
                <a:gd name="T0" fmla="*/ 44 w 60"/>
                <a:gd name="T1" fmla="*/ 0 h 67"/>
                <a:gd name="T2" fmla="*/ 44 w 60"/>
                <a:gd name="T3" fmla="*/ 46 h 67"/>
                <a:gd name="T4" fmla="*/ 25 w 60"/>
                <a:gd name="T5" fmla="*/ 53 h 67"/>
                <a:gd name="T6" fmla="*/ 18 w 60"/>
                <a:gd name="T7" fmla="*/ 51 h 67"/>
                <a:gd name="T8" fmla="*/ 17 w 60"/>
                <a:gd name="T9" fmla="*/ 44 h 67"/>
                <a:gd name="T10" fmla="*/ 17 w 60"/>
                <a:gd name="T11" fmla="*/ 0 h 67"/>
                <a:gd name="T12" fmla="*/ 0 w 60"/>
                <a:gd name="T13" fmla="*/ 0 h 67"/>
                <a:gd name="T14" fmla="*/ 0 w 60"/>
                <a:gd name="T15" fmla="*/ 49 h 67"/>
                <a:gd name="T16" fmla="*/ 18 w 60"/>
                <a:gd name="T17" fmla="*/ 67 h 67"/>
                <a:gd name="T18" fmla="*/ 46 w 60"/>
                <a:gd name="T19" fmla="*/ 56 h 67"/>
                <a:gd name="T20" fmla="*/ 47 w 60"/>
                <a:gd name="T21" fmla="*/ 65 h 67"/>
                <a:gd name="T22" fmla="*/ 60 w 60"/>
                <a:gd name="T23" fmla="*/ 65 h 67"/>
                <a:gd name="T24" fmla="*/ 60 w 60"/>
                <a:gd name="T25" fmla="*/ 0 h 67"/>
                <a:gd name="T26" fmla="*/ 44 w 60"/>
                <a:gd name="T2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67">
                  <a:moveTo>
                    <a:pt x="44" y="0"/>
                  </a:moveTo>
                  <a:cubicBezTo>
                    <a:pt x="44" y="46"/>
                    <a:pt x="44" y="46"/>
                    <a:pt x="44" y="46"/>
                  </a:cubicBezTo>
                  <a:cubicBezTo>
                    <a:pt x="35" y="51"/>
                    <a:pt x="29" y="53"/>
                    <a:pt x="25" y="53"/>
                  </a:cubicBezTo>
                  <a:cubicBezTo>
                    <a:pt x="21" y="53"/>
                    <a:pt x="19" y="52"/>
                    <a:pt x="18" y="51"/>
                  </a:cubicBezTo>
                  <a:cubicBezTo>
                    <a:pt x="17" y="50"/>
                    <a:pt x="16" y="47"/>
                    <a:pt x="17" y="44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1"/>
                    <a:pt x="6" y="67"/>
                    <a:pt x="18" y="67"/>
                  </a:cubicBezTo>
                  <a:cubicBezTo>
                    <a:pt x="27" y="67"/>
                    <a:pt x="36" y="63"/>
                    <a:pt x="46" y="56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4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578150" y="4859339"/>
              <a:ext cx="106769" cy="162730"/>
            </a:xfrm>
            <a:custGeom>
              <a:avLst/>
              <a:gdLst>
                <a:gd name="T0" fmla="*/ 43 w 61"/>
                <a:gd name="T1" fmla="*/ 92 h 92"/>
                <a:gd name="T2" fmla="*/ 61 w 61"/>
                <a:gd name="T3" fmla="*/ 92 h 92"/>
                <a:gd name="T4" fmla="*/ 41 w 61"/>
                <a:gd name="T5" fmla="*/ 62 h 92"/>
                <a:gd name="T6" fmla="*/ 35 w 61"/>
                <a:gd name="T7" fmla="*/ 56 h 92"/>
                <a:gd name="T8" fmla="*/ 35 w 61"/>
                <a:gd name="T9" fmla="*/ 55 h 92"/>
                <a:gd name="T10" fmla="*/ 41 w 61"/>
                <a:gd name="T11" fmla="*/ 50 h 92"/>
                <a:gd name="T12" fmla="*/ 59 w 61"/>
                <a:gd name="T13" fmla="*/ 27 h 92"/>
                <a:gd name="T14" fmla="*/ 41 w 61"/>
                <a:gd name="T15" fmla="*/ 27 h 92"/>
                <a:gd name="T16" fmla="*/ 23 w 61"/>
                <a:gd name="T17" fmla="*/ 50 h 92"/>
                <a:gd name="T18" fmla="*/ 16 w 61"/>
                <a:gd name="T19" fmla="*/ 50 h 92"/>
                <a:gd name="T20" fmla="*/ 17 w 61"/>
                <a:gd name="T21" fmla="*/ 39 h 92"/>
                <a:gd name="T22" fmla="*/ 17 w 61"/>
                <a:gd name="T23" fmla="*/ 0 h 92"/>
                <a:gd name="T24" fmla="*/ 0 w 61"/>
                <a:gd name="T25" fmla="*/ 0 h 92"/>
                <a:gd name="T26" fmla="*/ 0 w 61"/>
                <a:gd name="T27" fmla="*/ 92 h 92"/>
                <a:gd name="T28" fmla="*/ 16 w 61"/>
                <a:gd name="T29" fmla="*/ 92 h 92"/>
                <a:gd name="T30" fmla="*/ 16 w 61"/>
                <a:gd name="T31" fmla="*/ 71 h 92"/>
                <a:gd name="T32" fmla="*/ 16 w 61"/>
                <a:gd name="T33" fmla="*/ 61 h 92"/>
                <a:gd name="T34" fmla="*/ 23 w 61"/>
                <a:gd name="T35" fmla="*/ 61 h 92"/>
                <a:gd name="T36" fmla="*/ 43 w 61"/>
                <a:gd name="T3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92">
                  <a:moveTo>
                    <a:pt x="43" y="92"/>
                  </a:moveTo>
                  <a:cubicBezTo>
                    <a:pt x="61" y="92"/>
                    <a:pt x="61" y="92"/>
                    <a:pt x="61" y="9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39" y="59"/>
                    <a:pt x="37" y="57"/>
                    <a:pt x="35" y="56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7" y="54"/>
                    <a:pt x="39" y="52"/>
                    <a:pt x="41" y="50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47"/>
                    <a:pt x="17" y="43"/>
                    <a:pt x="17" y="39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69"/>
                    <a:pt x="16" y="65"/>
                    <a:pt x="16" y="61"/>
                  </a:cubicBezTo>
                  <a:cubicBezTo>
                    <a:pt x="23" y="61"/>
                    <a:pt x="23" y="61"/>
                    <a:pt x="23" y="61"/>
                  </a:cubicBezTo>
                  <a:lnTo>
                    <a:pt x="43" y="9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7" name="Freeform 8"/>
            <p:cNvSpPr>
              <a:spLocks noEditPoints="1"/>
            </p:cNvSpPr>
            <p:nvPr/>
          </p:nvSpPr>
          <p:spPr bwMode="auto">
            <a:xfrm>
              <a:off x="681237" y="4903519"/>
              <a:ext cx="107505" cy="121496"/>
            </a:xfrm>
            <a:custGeom>
              <a:avLst/>
              <a:gdLst>
                <a:gd name="T0" fmla="*/ 61 w 61"/>
                <a:gd name="T1" fmla="*/ 23 h 69"/>
                <a:gd name="T2" fmla="*/ 54 w 61"/>
                <a:gd name="T3" fmla="*/ 6 h 69"/>
                <a:gd name="T4" fmla="*/ 31 w 61"/>
                <a:gd name="T5" fmla="*/ 0 h 69"/>
                <a:gd name="T6" fmla="*/ 7 w 61"/>
                <a:gd name="T7" fmla="*/ 8 h 69"/>
                <a:gd name="T8" fmla="*/ 0 w 61"/>
                <a:gd name="T9" fmla="*/ 34 h 69"/>
                <a:gd name="T10" fmla="*/ 7 w 61"/>
                <a:gd name="T11" fmla="*/ 61 h 69"/>
                <a:gd name="T12" fmla="*/ 32 w 61"/>
                <a:gd name="T13" fmla="*/ 69 h 69"/>
                <a:gd name="T14" fmla="*/ 59 w 61"/>
                <a:gd name="T15" fmla="*/ 64 h 69"/>
                <a:gd name="T16" fmla="*/ 58 w 61"/>
                <a:gd name="T17" fmla="*/ 54 h 69"/>
                <a:gd name="T18" fmla="*/ 34 w 61"/>
                <a:gd name="T19" fmla="*/ 55 h 69"/>
                <a:gd name="T20" fmla="*/ 22 w 61"/>
                <a:gd name="T21" fmla="*/ 53 h 69"/>
                <a:gd name="T22" fmla="*/ 17 w 61"/>
                <a:gd name="T23" fmla="*/ 41 h 69"/>
                <a:gd name="T24" fmla="*/ 44 w 61"/>
                <a:gd name="T25" fmla="*/ 41 h 69"/>
                <a:gd name="T26" fmla="*/ 61 w 61"/>
                <a:gd name="T27" fmla="*/ 23 h 69"/>
                <a:gd name="T28" fmla="*/ 45 w 61"/>
                <a:gd name="T29" fmla="*/ 22 h 69"/>
                <a:gd name="T30" fmla="*/ 39 w 61"/>
                <a:gd name="T31" fmla="*/ 30 h 69"/>
                <a:gd name="T32" fmla="*/ 17 w 61"/>
                <a:gd name="T33" fmla="*/ 30 h 69"/>
                <a:gd name="T34" fmla="*/ 20 w 61"/>
                <a:gd name="T35" fmla="*/ 16 h 69"/>
                <a:gd name="T36" fmla="*/ 32 w 61"/>
                <a:gd name="T37" fmla="*/ 13 h 69"/>
                <a:gd name="T38" fmla="*/ 42 w 61"/>
                <a:gd name="T39" fmla="*/ 15 h 69"/>
                <a:gd name="T40" fmla="*/ 45 w 61"/>
                <a:gd name="T41" fmla="*/ 2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1" h="69">
                  <a:moveTo>
                    <a:pt x="61" y="23"/>
                  </a:moveTo>
                  <a:cubicBezTo>
                    <a:pt x="61" y="15"/>
                    <a:pt x="59" y="9"/>
                    <a:pt x="54" y="6"/>
                  </a:cubicBezTo>
                  <a:cubicBezTo>
                    <a:pt x="49" y="2"/>
                    <a:pt x="42" y="0"/>
                    <a:pt x="31" y="0"/>
                  </a:cubicBezTo>
                  <a:cubicBezTo>
                    <a:pt x="20" y="0"/>
                    <a:pt x="12" y="3"/>
                    <a:pt x="7" y="8"/>
                  </a:cubicBezTo>
                  <a:cubicBezTo>
                    <a:pt x="2" y="13"/>
                    <a:pt x="0" y="22"/>
                    <a:pt x="0" y="34"/>
                  </a:cubicBezTo>
                  <a:cubicBezTo>
                    <a:pt x="0" y="47"/>
                    <a:pt x="2" y="55"/>
                    <a:pt x="7" y="61"/>
                  </a:cubicBezTo>
                  <a:cubicBezTo>
                    <a:pt x="12" y="66"/>
                    <a:pt x="21" y="69"/>
                    <a:pt x="32" y="69"/>
                  </a:cubicBezTo>
                  <a:cubicBezTo>
                    <a:pt x="44" y="69"/>
                    <a:pt x="53" y="67"/>
                    <a:pt x="59" y="64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49" y="55"/>
                    <a:pt x="41" y="55"/>
                    <a:pt x="34" y="55"/>
                  </a:cubicBezTo>
                  <a:cubicBezTo>
                    <a:pt x="29" y="55"/>
                    <a:pt x="24" y="54"/>
                    <a:pt x="22" y="53"/>
                  </a:cubicBezTo>
                  <a:cubicBezTo>
                    <a:pt x="19" y="51"/>
                    <a:pt x="18" y="47"/>
                    <a:pt x="17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55" y="41"/>
                    <a:pt x="61" y="35"/>
                    <a:pt x="61" y="23"/>
                  </a:cubicBezTo>
                  <a:moveTo>
                    <a:pt x="45" y="22"/>
                  </a:moveTo>
                  <a:cubicBezTo>
                    <a:pt x="45" y="27"/>
                    <a:pt x="43" y="30"/>
                    <a:pt x="39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23"/>
                    <a:pt x="18" y="19"/>
                    <a:pt x="20" y="16"/>
                  </a:cubicBezTo>
                  <a:cubicBezTo>
                    <a:pt x="22" y="14"/>
                    <a:pt x="26" y="13"/>
                    <a:pt x="32" y="13"/>
                  </a:cubicBezTo>
                  <a:cubicBezTo>
                    <a:pt x="37" y="13"/>
                    <a:pt x="40" y="13"/>
                    <a:pt x="42" y="15"/>
                  </a:cubicBezTo>
                  <a:cubicBezTo>
                    <a:pt x="44" y="16"/>
                    <a:pt x="45" y="19"/>
                    <a:pt x="45" y="2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623803" y="4687773"/>
              <a:ext cx="219428" cy="204701"/>
            </a:xfrm>
            <a:custGeom>
              <a:avLst/>
              <a:gdLst>
                <a:gd name="T0" fmla="*/ 65 w 125"/>
                <a:gd name="T1" fmla="*/ 1 h 116"/>
                <a:gd name="T2" fmla="*/ 0 w 125"/>
                <a:gd name="T3" fmla="*/ 44 h 116"/>
                <a:gd name="T4" fmla="*/ 13 w 125"/>
                <a:gd name="T5" fmla="*/ 76 h 116"/>
                <a:gd name="T6" fmla="*/ 39 w 125"/>
                <a:gd name="T7" fmla="*/ 91 h 116"/>
                <a:gd name="T8" fmla="*/ 39 w 125"/>
                <a:gd name="T9" fmla="*/ 91 h 116"/>
                <a:gd name="T10" fmla="*/ 39 w 125"/>
                <a:gd name="T11" fmla="*/ 92 h 116"/>
                <a:gd name="T12" fmla="*/ 39 w 125"/>
                <a:gd name="T13" fmla="*/ 92 h 116"/>
                <a:gd name="T14" fmla="*/ 21 w 125"/>
                <a:gd name="T15" fmla="*/ 116 h 116"/>
                <a:gd name="T16" fmla="*/ 30 w 125"/>
                <a:gd name="T17" fmla="*/ 116 h 116"/>
                <a:gd name="T18" fmla="*/ 66 w 125"/>
                <a:gd name="T19" fmla="*/ 95 h 116"/>
                <a:gd name="T20" fmla="*/ 124 w 125"/>
                <a:gd name="T21" fmla="*/ 49 h 116"/>
                <a:gd name="T22" fmla="*/ 65 w 125"/>
                <a:gd name="T23" fmla="*/ 1 h 116"/>
                <a:gd name="T24" fmla="*/ 82 w 125"/>
                <a:gd name="T25" fmla="*/ 77 h 116"/>
                <a:gd name="T26" fmla="*/ 52 w 125"/>
                <a:gd name="T27" fmla="*/ 85 h 116"/>
                <a:gd name="T28" fmla="*/ 70 w 125"/>
                <a:gd name="T29" fmla="*/ 56 h 116"/>
                <a:gd name="T30" fmla="*/ 68 w 125"/>
                <a:gd name="T31" fmla="*/ 56 h 116"/>
                <a:gd name="T32" fmla="*/ 41 w 125"/>
                <a:gd name="T33" fmla="*/ 83 h 116"/>
                <a:gd name="T34" fmla="*/ 32 w 125"/>
                <a:gd name="T35" fmla="*/ 78 h 116"/>
                <a:gd name="T36" fmla="*/ 35 w 125"/>
                <a:gd name="T37" fmla="*/ 29 h 116"/>
                <a:gd name="T38" fmla="*/ 75 w 125"/>
                <a:gd name="T39" fmla="*/ 19 h 116"/>
                <a:gd name="T40" fmla="*/ 99 w 125"/>
                <a:gd name="T41" fmla="*/ 16 h 116"/>
                <a:gd name="T42" fmla="*/ 82 w 125"/>
                <a:gd name="T43" fmla="*/ 7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5" h="116">
                  <a:moveTo>
                    <a:pt x="65" y="1"/>
                  </a:moveTo>
                  <a:cubicBezTo>
                    <a:pt x="30" y="0"/>
                    <a:pt x="1" y="19"/>
                    <a:pt x="0" y="44"/>
                  </a:cubicBezTo>
                  <a:cubicBezTo>
                    <a:pt x="0" y="56"/>
                    <a:pt x="3" y="67"/>
                    <a:pt x="13" y="76"/>
                  </a:cubicBezTo>
                  <a:cubicBezTo>
                    <a:pt x="26" y="89"/>
                    <a:pt x="39" y="91"/>
                    <a:pt x="39" y="91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8" y="93"/>
                    <a:pt x="21" y="116"/>
                    <a:pt x="21" y="116"/>
                  </a:cubicBezTo>
                  <a:cubicBezTo>
                    <a:pt x="30" y="116"/>
                    <a:pt x="30" y="116"/>
                    <a:pt x="30" y="116"/>
                  </a:cubicBezTo>
                  <a:cubicBezTo>
                    <a:pt x="39" y="109"/>
                    <a:pt x="60" y="95"/>
                    <a:pt x="66" y="95"/>
                  </a:cubicBezTo>
                  <a:cubicBezTo>
                    <a:pt x="104" y="94"/>
                    <a:pt x="124" y="70"/>
                    <a:pt x="124" y="49"/>
                  </a:cubicBezTo>
                  <a:cubicBezTo>
                    <a:pt x="125" y="24"/>
                    <a:pt x="100" y="3"/>
                    <a:pt x="65" y="1"/>
                  </a:cubicBezTo>
                  <a:close/>
                  <a:moveTo>
                    <a:pt x="82" y="77"/>
                  </a:moveTo>
                  <a:cubicBezTo>
                    <a:pt x="74" y="83"/>
                    <a:pt x="62" y="86"/>
                    <a:pt x="52" y="85"/>
                  </a:cubicBezTo>
                  <a:cubicBezTo>
                    <a:pt x="60" y="71"/>
                    <a:pt x="70" y="56"/>
                    <a:pt x="70" y="56"/>
                  </a:cubicBezTo>
                  <a:cubicBezTo>
                    <a:pt x="68" y="56"/>
                    <a:pt x="68" y="56"/>
                    <a:pt x="68" y="56"/>
                  </a:cubicBezTo>
                  <a:cubicBezTo>
                    <a:pt x="65" y="59"/>
                    <a:pt x="52" y="69"/>
                    <a:pt x="41" y="83"/>
                  </a:cubicBezTo>
                  <a:cubicBezTo>
                    <a:pt x="37" y="82"/>
                    <a:pt x="34" y="80"/>
                    <a:pt x="32" y="78"/>
                  </a:cubicBezTo>
                  <a:cubicBezTo>
                    <a:pt x="17" y="65"/>
                    <a:pt x="20" y="41"/>
                    <a:pt x="35" y="29"/>
                  </a:cubicBezTo>
                  <a:cubicBezTo>
                    <a:pt x="47" y="19"/>
                    <a:pt x="62" y="19"/>
                    <a:pt x="75" y="19"/>
                  </a:cubicBezTo>
                  <a:cubicBezTo>
                    <a:pt x="89" y="19"/>
                    <a:pt x="99" y="16"/>
                    <a:pt x="99" y="16"/>
                  </a:cubicBezTo>
                  <a:cubicBezTo>
                    <a:pt x="99" y="16"/>
                    <a:pt x="108" y="56"/>
                    <a:pt x="82" y="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2400" dirty="0"/>
            </a:p>
          </p:txBody>
        </p:sp>
      </p:grpSp>
      <p:pic>
        <p:nvPicPr>
          <p:cNvPr id="19" name="Picture 2" descr="C:\Essi yleiset\LUKE töitä\Powerpoint-pohjat\Esityspohja 2019\c_natural_resources_whit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4266" y="6536788"/>
            <a:ext cx="2959689" cy="1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8007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</p:sldLayoutIdLst>
  <p:hf hdr="0"/>
  <p:txStyles>
    <p:titleStyle>
      <a:lvl1pPr algn="l" defTabSz="609585" rtl="0" eaLnBrk="1" fontAlgn="base" hangingPunct="1">
        <a:spcBef>
          <a:spcPct val="0"/>
        </a:spcBef>
        <a:spcAft>
          <a:spcPct val="0"/>
        </a:spcAft>
        <a:defRPr sz="3467" kern="1200">
          <a:solidFill>
            <a:schemeClr val="accent1"/>
          </a:solidFill>
          <a:latin typeface="Arial"/>
          <a:ea typeface="ＭＳ Ｐゴシック" charset="0"/>
          <a:cs typeface="Arial"/>
        </a:defRPr>
      </a:lvl1pPr>
      <a:lvl2pPr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2pPr>
      <a:lvl3pPr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3pPr>
      <a:lvl4pPr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4pPr>
      <a:lvl5pPr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  <a:cs typeface="Arial" charset="0"/>
        </a:defRPr>
      </a:lvl5pPr>
      <a:lvl6pPr marL="609585"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</a:defRPr>
      </a:lvl6pPr>
      <a:lvl7pPr marL="1219170"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</a:defRPr>
      </a:lvl7pPr>
      <a:lvl8pPr marL="1828754"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</a:defRPr>
      </a:lvl8pPr>
      <a:lvl9pPr marL="2438339" algn="l" defTabSz="609585" rtl="0" eaLnBrk="1" fontAlgn="base" hangingPunct="1">
        <a:spcBef>
          <a:spcPct val="0"/>
        </a:spcBef>
        <a:spcAft>
          <a:spcPct val="0"/>
        </a:spcAft>
        <a:defRPr sz="3467">
          <a:solidFill>
            <a:schemeClr val="accent1"/>
          </a:solidFill>
          <a:latin typeface="Arial" charset="0"/>
          <a:ea typeface="ＭＳ Ｐゴシック" charset="0"/>
        </a:defRPr>
      </a:lvl9pPr>
    </p:titleStyle>
    <p:bodyStyle>
      <a:lvl1pPr algn="l" defTabSz="609585" rtl="0" eaLnBrk="1" fontAlgn="base" hangingPunct="1">
        <a:spcBef>
          <a:spcPct val="20000"/>
        </a:spcBef>
        <a:spcAft>
          <a:spcPct val="0"/>
        </a:spcAft>
        <a:defRPr sz="2667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990575" indent="-380990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1523962" indent="-304792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67" kern="1200">
          <a:solidFill>
            <a:schemeClr val="tx1"/>
          </a:solidFill>
          <a:latin typeface="Arial"/>
          <a:ea typeface="ＭＳ Ｐゴシック" charset="0"/>
          <a:cs typeface="Arial"/>
        </a:defRPr>
      </a:lvl3pPr>
      <a:lvl4pPr marL="2133547" indent="-304792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33" kern="1200">
          <a:solidFill>
            <a:schemeClr val="tx1"/>
          </a:solidFill>
          <a:latin typeface="Arial"/>
          <a:ea typeface="ＭＳ Ｐゴシック" charset="0"/>
          <a:cs typeface="Arial"/>
        </a:defRPr>
      </a:lvl4pPr>
      <a:lvl5pPr marL="2743131" indent="-304792" algn="l" defTabSz="609585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Arial"/>
          <a:ea typeface="ＭＳ Ｐゴシック" charset="0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5FEB26E-B881-DABC-A573-0F1FA33153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37435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FEB26E-B881-DABC-A573-0F1FA3315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8" y="620713"/>
            <a:ext cx="9217025" cy="79206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8" y="1628775"/>
            <a:ext cx="11376025" cy="4392613"/>
          </a:xfrm>
          <a:prstGeom prst="roundRect">
            <a:avLst>
              <a:gd name="adj" fmla="val 3492"/>
            </a:avLst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8" y="6381327"/>
            <a:ext cx="8785225" cy="14401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cap="all" spc="100" normalizeH="0" baseline="0"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13" name="(c)" hidden="1"/>
          <p:cNvSpPr txBox="1"/>
          <p:nvPr userDrawn="1"/>
        </p:nvSpPr>
        <p:spPr>
          <a:xfrm>
            <a:off x="12012166" y="6891795"/>
            <a:ext cx="173124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</a:t>
            </a:r>
            <a:r>
              <a:rPr kumimoji="0" lang="fi-FI" sz="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w</a:t>
            </a:r>
            <a:r>
              <a:rPr kumimoji="0" lang="fi-FI" sz="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for </a:t>
            </a:r>
            <a:r>
              <a:rPr kumimoji="0" lang="fi-FI" sz="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ia</a:t>
            </a:r>
            <a:endParaRPr kumimoji="0" lang="en-GB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(logo)" descr="Z:\GRW (grow)\logot\copyright_grow.png" hidden="1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B8D89F3F-7A1E-51B7-595E-C088854256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5920" y="6381179"/>
            <a:ext cx="2518093" cy="144017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endParaRPr lang="fi-FI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2B9CC64-87DB-AE8A-67F7-3C3FC6FB81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8"/>
              </a:ext>
            </a:extLst>
          </a:blip>
          <a:srcRect l="7251" t="15078" r="6852" b="14392"/>
          <a:stretch/>
        </p:blipFill>
        <p:spPr>
          <a:xfrm>
            <a:off x="9957588" y="224582"/>
            <a:ext cx="1976285" cy="79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077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</p:sldLayoutIdLst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1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800" kern="1200" spc="10" baseline="0">
          <a:solidFill>
            <a:schemeClr val="bg2"/>
          </a:solidFill>
          <a:latin typeface="+mn-lt"/>
          <a:ea typeface="+mn-ea"/>
          <a:cs typeface="+mn-cs"/>
        </a:defRPr>
      </a:lvl1pPr>
      <a:lvl2pPr marL="539750" indent="-26670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600" kern="1200" spc="10" baseline="0">
          <a:solidFill>
            <a:schemeClr val="bg2"/>
          </a:solidFill>
          <a:latin typeface="+mn-lt"/>
          <a:ea typeface="+mn-ea"/>
          <a:cs typeface="+mn-cs"/>
        </a:defRPr>
      </a:lvl2pPr>
      <a:lvl3pPr marL="803275" indent="-27305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400" kern="1200" spc="10" baseline="0">
          <a:solidFill>
            <a:schemeClr val="bg2"/>
          </a:solidFill>
          <a:latin typeface="+mn-lt"/>
          <a:ea typeface="+mn-ea"/>
          <a:cs typeface="+mn-cs"/>
        </a:defRPr>
      </a:lvl3pPr>
      <a:lvl4pPr marL="1073150" indent="-26670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chemeClr val="bg2"/>
          </a:solidFill>
          <a:latin typeface="+mn-lt"/>
          <a:ea typeface="+mn-ea"/>
          <a:cs typeface="+mn-cs"/>
        </a:defRPr>
      </a:lvl4pPr>
      <a:lvl5pPr marL="1344613" indent="-1809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100" kern="1200" spc="10" baseline="0">
          <a:solidFill>
            <a:schemeClr val="bg2"/>
          </a:solidFill>
          <a:latin typeface="+mn-lt"/>
          <a:ea typeface="+mn-ea"/>
          <a:cs typeface="+mn-cs"/>
        </a:defRPr>
      </a:lvl5pPr>
      <a:lvl6pPr marL="1524000" indent="-26670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rgbClr val="404040"/>
          </a:solidFill>
          <a:latin typeface="+mn-lt"/>
          <a:ea typeface="+mn-ea"/>
          <a:cs typeface="+mn-cs"/>
        </a:defRPr>
      </a:lvl6pPr>
      <a:lvl7pPr marL="1793875" indent="-265113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rgbClr val="404040"/>
          </a:solidFill>
          <a:latin typeface="+mn-lt"/>
          <a:ea typeface="+mn-ea"/>
          <a:cs typeface="+mn-cs"/>
        </a:defRPr>
      </a:lvl7pPr>
      <a:lvl8pPr marL="2063750" indent="-274638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rgbClr val="404040"/>
          </a:solidFill>
          <a:latin typeface="+mn-lt"/>
          <a:ea typeface="+mn-ea"/>
          <a:cs typeface="+mn-cs"/>
        </a:defRPr>
      </a:lvl8pPr>
      <a:lvl9pPr marL="2335213" indent="-26670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rgbClr val="404040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57">
          <p15:clr>
            <a:srgbClr val="F26B43"/>
          </p15:clr>
        </p15:guide>
        <p15:guide id="4" pos="7423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391">
          <p15:clr>
            <a:srgbClr val="F26B43"/>
          </p15:clr>
        </p15:guide>
        <p15:guide id="7" orient="horz" pos="3793">
          <p15:clr>
            <a:srgbClr val="F26B43"/>
          </p15:clr>
        </p15:guide>
        <p15:guide id="8" orient="horz" pos="89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5FEB26E-B881-DABC-A573-0F1FA33153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94159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FEB26E-B881-DABC-A573-0F1FA3315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8" y="620713"/>
            <a:ext cx="9217025" cy="79206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8" y="1628775"/>
            <a:ext cx="11376025" cy="4392613"/>
          </a:xfrm>
          <a:prstGeom prst="roundRect">
            <a:avLst>
              <a:gd name="adj" fmla="val 3492"/>
            </a:avLst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8" y="6381327"/>
            <a:ext cx="8785225" cy="14401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cap="all" spc="100" normalizeH="0" baseline="0"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13" name="(c)" hidden="1"/>
          <p:cNvSpPr txBox="1"/>
          <p:nvPr userDrawn="1"/>
        </p:nvSpPr>
        <p:spPr>
          <a:xfrm>
            <a:off x="12012166" y="6891795"/>
            <a:ext cx="173124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</a:t>
            </a:r>
            <a:r>
              <a:rPr kumimoji="0" lang="fi-FI" sz="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w</a:t>
            </a:r>
            <a:r>
              <a:rPr kumimoji="0" lang="fi-FI" sz="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for </a:t>
            </a:r>
            <a:r>
              <a:rPr kumimoji="0" lang="fi-FI" sz="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ia</a:t>
            </a:r>
            <a:endParaRPr kumimoji="0" lang="en-GB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(logo)" descr="Z:\GRW (grow)\logot\copyright_grow.png" hidden="1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B8D89F3F-7A1E-51B7-595E-C088854256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5920" y="6381179"/>
            <a:ext cx="2518093" cy="144017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endParaRPr lang="fi-FI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2B9CC64-87DB-AE8A-67F7-3C3FC6FB81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8"/>
              </a:ext>
            </a:extLst>
          </a:blip>
          <a:srcRect l="7251" t="15078" r="6852" b="14392"/>
          <a:stretch/>
        </p:blipFill>
        <p:spPr>
          <a:xfrm>
            <a:off x="9957588" y="224582"/>
            <a:ext cx="1976285" cy="79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935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</p:sldLayoutIdLst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1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800" kern="1200" spc="10" baseline="0">
          <a:solidFill>
            <a:schemeClr val="bg2"/>
          </a:solidFill>
          <a:latin typeface="+mn-lt"/>
          <a:ea typeface="+mn-ea"/>
          <a:cs typeface="+mn-cs"/>
        </a:defRPr>
      </a:lvl1pPr>
      <a:lvl2pPr marL="539750" indent="-26670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600" kern="1200" spc="10" baseline="0">
          <a:solidFill>
            <a:schemeClr val="bg2"/>
          </a:solidFill>
          <a:latin typeface="+mn-lt"/>
          <a:ea typeface="+mn-ea"/>
          <a:cs typeface="+mn-cs"/>
        </a:defRPr>
      </a:lvl2pPr>
      <a:lvl3pPr marL="803275" indent="-27305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400" kern="1200" spc="10" baseline="0">
          <a:solidFill>
            <a:schemeClr val="bg2"/>
          </a:solidFill>
          <a:latin typeface="+mn-lt"/>
          <a:ea typeface="+mn-ea"/>
          <a:cs typeface="+mn-cs"/>
        </a:defRPr>
      </a:lvl3pPr>
      <a:lvl4pPr marL="1073150" indent="-26670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chemeClr val="bg2"/>
          </a:solidFill>
          <a:latin typeface="+mn-lt"/>
          <a:ea typeface="+mn-ea"/>
          <a:cs typeface="+mn-cs"/>
        </a:defRPr>
      </a:lvl4pPr>
      <a:lvl5pPr marL="1344613" indent="-1809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100" kern="1200" spc="10" baseline="0">
          <a:solidFill>
            <a:schemeClr val="bg2"/>
          </a:solidFill>
          <a:latin typeface="+mn-lt"/>
          <a:ea typeface="+mn-ea"/>
          <a:cs typeface="+mn-cs"/>
        </a:defRPr>
      </a:lvl5pPr>
      <a:lvl6pPr marL="1524000" indent="-26670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rgbClr val="404040"/>
          </a:solidFill>
          <a:latin typeface="+mn-lt"/>
          <a:ea typeface="+mn-ea"/>
          <a:cs typeface="+mn-cs"/>
        </a:defRPr>
      </a:lvl6pPr>
      <a:lvl7pPr marL="1793875" indent="-265113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rgbClr val="404040"/>
          </a:solidFill>
          <a:latin typeface="+mn-lt"/>
          <a:ea typeface="+mn-ea"/>
          <a:cs typeface="+mn-cs"/>
        </a:defRPr>
      </a:lvl7pPr>
      <a:lvl8pPr marL="2063750" indent="-274638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rgbClr val="404040"/>
          </a:solidFill>
          <a:latin typeface="+mn-lt"/>
          <a:ea typeface="+mn-ea"/>
          <a:cs typeface="+mn-cs"/>
        </a:defRPr>
      </a:lvl8pPr>
      <a:lvl9pPr marL="2335213" indent="-26670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rgbClr val="404040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57">
          <p15:clr>
            <a:srgbClr val="F26B43"/>
          </p15:clr>
        </p15:guide>
        <p15:guide id="4" pos="7423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391">
          <p15:clr>
            <a:srgbClr val="F26B43"/>
          </p15:clr>
        </p15:guide>
        <p15:guide id="7" orient="horz" pos="3793">
          <p15:clr>
            <a:srgbClr val="F26B43"/>
          </p15:clr>
        </p15:guide>
        <p15:guide id="8" orient="horz" pos="89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5FEB26E-B881-DABC-A573-0F1FA33153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04445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FEB26E-B881-DABC-A573-0F1FA3315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8" y="620713"/>
            <a:ext cx="9217025" cy="79206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8" y="1628775"/>
            <a:ext cx="11376025" cy="4392613"/>
          </a:xfrm>
          <a:prstGeom prst="roundRect">
            <a:avLst>
              <a:gd name="adj" fmla="val 3492"/>
            </a:avLst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7988" y="6381327"/>
            <a:ext cx="8785225" cy="14401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cap="all" spc="100" normalizeH="0" baseline="0"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13" name="(c)" hidden="1"/>
          <p:cNvSpPr txBox="1"/>
          <p:nvPr userDrawn="1"/>
        </p:nvSpPr>
        <p:spPr>
          <a:xfrm>
            <a:off x="12012166" y="6891795"/>
            <a:ext cx="173124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</a:t>
            </a:r>
            <a:r>
              <a:rPr kumimoji="0" lang="fi-FI" sz="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w</a:t>
            </a:r>
            <a:r>
              <a:rPr kumimoji="0" lang="fi-FI" sz="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for </a:t>
            </a:r>
            <a:r>
              <a:rPr kumimoji="0" lang="fi-FI" sz="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aia</a:t>
            </a:r>
            <a:endParaRPr kumimoji="0" lang="en-GB" sz="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(logo)" descr="Z:\GRW (grow)\logot\copyright_grow.png" hidden="1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B8D89F3F-7A1E-51B7-595E-C088854256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65920" y="6381179"/>
            <a:ext cx="2518093" cy="144017"/>
          </a:xfrm>
          <a:prstGeom prst="rect">
            <a:avLst/>
          </a:prstGeom>
        </p:spPr>
        <p:txBody>
          <a:bodyPr anchor="ctr"/>
          <a:lstStyle>
            <a:lvl1pPr algn="r">
              <a:defRPr sz="800">
                <a:solidFill>
                  <a:schemeClr val="bg2"/>
                </a:solidFill>
                <a:latin typeface="Consolas" panose="020B0609020204030204" pitchFamily="49" charset="0"/>
              </a:defRPr>
            </a:lvl1pPr>
          </a:lstStyle>
          <a:p>
            <a:endParaRPr lang="fi-FI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2B9CC64-87DB-AE8A-67F7-3C3FC6FB81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8"/>
              </a:ext>
            </a:extLst>
          </a:blip>
          <a:srcRect l="7251" t="15078" r="6852" b="14392"/>
          <a:stretch/>
        </p:blipFill>
        <p:spPr>
          <a:xfrm>
            <a:off x="9957588" y="224582"/>
            <a:ext cx="1976285" cy="792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57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</p:sldLayoutIdLst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1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800" kern="1200" spc="10" baseline="0">
          <a:solidFill>
            <a:schemeClr val="bg2"/>
          </a:solidFill>
          <a:latin typeface="+mn-lt"/>
          <a:ea typeface="+mn-ea"/>
          <a:cs typeface="+mn-cs"/>
        </a:defRPr>
      </a:lvl1pPr>
      <a:lvl2pPr marL="539750" indent="-26670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600" kern="1200" spc="10" baseline="0">
          <a:solidFill>
            <a:schemeClr val="bg2"/>
          </a:solidFill>
          <a:latin typeface="+mn-lt"/>
          <a:ea typeface="+mn-ea"/>
          <a:cs typeface="+mn-cs"/>
        </a:defRPr>
      </a:lvl2pPr>
      <a:lvl3pPr marL="803275" indent="-27305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400" kern="1200" spc="10" baseline="0">
          <a:solidFill>
            <a:schemeClr val="bg2"/>
          </a:solidFill>
          <a:latin typeface="+mn-lt"/>
          <a:ea typeface="+mn-ea"/>
          <a:cs typeface="+mn-cs"/>
        </a:defRPr>
      </a:lvl3pPr>
      <a:lvl4pPr marL="1073150" indent="-26670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chemeClr val="bg2"/>
          </a:solidFill>
          <a:latin typeface="+mn-lt"/>
          <a:ea typeface="+mn-ea"/>
          <a:cs typeface="+mn-cs"/>
        </a:defRPr>
      </a:lvl4pPr>
      <a:lvl5pPr marL="1344613" indent="-180975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100" kern="1200" spc="10" baseline="0">
          <a:solidFill>
            <a:schemeClr val="bg2"/>
          </a:solidFill>
          <a:latin typeface="+mn-lt"/>
          <a:ea typeface="+mn-ea"/>
          <a:cs typeface="+mn-cs"/>
        </a:defRPr>
      </a:lvl5pPr>
      <a:lvl6pPr marL="1524000" indent="-26670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rgbClr val="404040"/>
          </a:solidFill>
          <a:latin typeface="+mn-lt"/>
          <a:ea typeface="+mn-ea"/>
          <a:cs typeface="+mn-cs"/>
        </a:defRPr>
      </a:lvl6pPr>
      <a:lvl7pPr marL="1793875" indent="-265113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rgbClr val="404040"/>
          </a:solidFill>
          <a:latin typeface="+mn-lt"/>
          <a:ea typeface="+mn-ea"/>
          <a:cs typeface="+mn-cs"/>
        </a:defRPr>
      </a:lvl7pPr>
      <a:lvl8pPr marL="2063750" indent="-274638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rgbClr val="404040"/>
          </a:solidFill>
          <a:latin typeface="+mn-lt"/>
          <a:ea typeface="+mn-ea"/>
          <a:cs typeface="+mn-cs"/>
        </a:defRPr>
      </a:lvl8pPr>
      <a:lvl9pPr marL="2335213" indent="-266700" algn="l" defTabSz="914400" rtl="0" eaLnBrk="1" latinLnBrk="0" hangingPunct="1">
        <a:lnSpc>
          <a:spcPct val="110000"/>
        </a:lnSpc>
        <a:spcBef>
          <a:spcPts val="400"/>
        </a:spcBef>
        <a:buFont typeface="Arial" panose="020B0604020202020204" pitchFamily="34" charset="0"/>
        <a:buChar char="•"/>
        <a:defRPr sz="1200" kern="1200" spc="10" baseline="0">
          <a:solidFill>
            <a:srgbClr val="404040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57">
          <p15:clr>
            <a:srgbClr val="F26B43"/>
          </p15:clr>
        </p15:guide>
        <p15:guide id="4" pos="7423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391">
          <p15:clr>
            <a:srgbClr val="F26B43"/>
          </p15:clr>
        </p15:guide>
        <p15:guide id="7" orient="horz" pos="3793">
          <p15:clr>
            <a:srgbClr val="F26B43"/>
          </p15:clr>
        </p15:guide>
        <p15:guide id="8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microsoft.com/office/2007/relationships/hdphoto" Target="../media/hdphoto1.wdp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45.jp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4.jpg"/><Relationship Id="rId7" Type="http://schemas.openxmlformats.org/officeDocument/2006/relationships/image" Target="../media/image52.JP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51.jpg"/><Relationship Id="rId11" Type="http://schemas.openxmlformats.org/officeDocument/2006/relationships/image" Target="../media/image56.png"/><Relationship Id="rId5" Type="http://schemas.openxmlformats.org/officeDocument/2006/relationships/image" Target="../media/image45.jpg"/><Relationship Id="rId10" Type="http://schemas.openxmlformats.org/officeDocument/2006/relationships/image" Target="../media/image55.jpg"/><Relationship Id="rId4" Type="http://schemas.openxmlformats.org/officeDocument/2006/relationships/image" Target="../media/image23.png"/><Relationship Id="rId9" Type="http://schemas.openxmlformats.org/officeDocument/2006/relationships/image" Target="../media/image5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3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7.svg"/><Relationship Id="rId5" Type="http://schemas.openxmlformats.org/officeDocument/2006/relationships/image" Target="../media/image60.png"/><Relationship Id="rId4" Type="http://schemas.openxmlformats.org/officeDocument/2006/relationships/image" Target="../media/image25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4.svg"/><Relationship Id="rId4" Type="http://schemas.openxmlformats.org/officeDocument/2006/relationships/image" Target="../media/image11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4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6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4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4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julkaisut.valtioneuvosto.fi/handle/10024/164732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eventee.co/en/e/1st-northern-european-4-per-1000-regional-meeting-more-carbon-in-the-soil-for-multiple-benefits-16448" TargetMode="Externa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8.jpeg"/><Relationship Id="rId5" Type="http://schemas.openxmlformats.org/officeDocument/2006/relationships/image" Target="../media/image27.jpg"/><Relationship Id="rId4" Type="http://schemas.openxmlformats.org/officeDocument/2006/relationships/image" Target="../media/image2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83458" y="1440845"/>
            <a:ext cx="9347399" cy="3488685"/>
          </a:xfrm>
        </p:spPr>
        <p:txBody>
          <a:bodyPr>
            <a:normAutofit/>
          </a:bodyPr>
          <a:lstStyle/>
          <a:p>
            <a:r>
              <a:rPr lang="en-US" sz="4400" dirty="0">
                <a:latin typeface="Montserrat" panose="00000500000000000000" pitchFamily="50" charset="0"/>
              </a:rPr>
              <a:t>Catch the Carbon </a:t>
            </a:r>
            <a:r>
              <a:rPr lang="en-US" sz="4400" dirty="0" smtClean="0">
                <a:latin typeface="Montserrat" panose="00000500000000000000" pitchFamily="50" charset="0"/>
              </a:rPr>
              <a:t>programme </a:t>
            </a:r>
            <a:r>
              <a:rPr lang="en-US" sz="4400" dirty="0">
                <a:latin typeface="Montserrat" panose="00000500000000000000" pitchFamily="50" charset="0"/>
              </a:rPr>
              <a:t>supporting science based policy making</a:t>
            </a:r>
            <a:endParaRPr lang="fi-FI" sz="4400" dirty="0">
              <a:latin typeface="Montserrat" panose="00000500000000000000" pitchFamily="50" charset="0"/>
            </a:endParaRP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83459" y="4562914"/>
            <a:ext cx="9347398" cy="2523183"/>
          </a:xfrm>
        </p:spPr>
        <p:txBody>
          <a:bodyPr>
            <a:normAutofit/>
          </a:bodyPr>
          <a:lstStyle/>
          <a:p>
            <a:r>
              <a:rPr lang="fi-FI" sz="2000" dirty="0" smtClean="0"/>
              <a:t> </a:t>
            </a:r>
            <a:endParaRPr lang="fi-FI" sz="2000" dirty="0"/>
          </a:p>
        </p:txBody>
      </p:sp>
      <p:pic>
        <p:nvPicPr>
          <p:cNvPr id="5" name="Kuva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9271" y="4929530"/>
            <a:ext cx="3226086" cy="1750051"/>
          </a:xfrm>
          <a:prstGeom prst="rect">
            <a:avLst/>
          </a:prstGeom>
        </p:spPr>
      </p:pic>
      <p:sp>
        <p:nvSpPr>
          <p:cNvPr id="4" name="Tekstiruutu 3"/>
          <p:cNvSpPr txBox="1"/>
          <p:nvPr/>
        </p:nvSpPr>
        <p:spPr>
          <a:xfrm>
            <a:off x="883458" y="5361482"/>
            <a:ext cx="75007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b="1" dirty="0" smtClean="0">
                <a:solidFill>
                  <a:schemeClr val="bg1"/>
                </a:solidFill>
                <a:latin typeface="Montserrat" panose="00000500000000000000" pitchFamily="50" charset="0"/>
              </a:rPr>
              <a:t>Heikki Granholm,</a:t>
            </a:r>
            <a:br>
              <a:rPr lang="fi-FI" b="1" dirty="0" smtClean="0">
                <a:solidFill>
                  <a:schemeClr val="bg1"/>
                </a:solidFill>
                <a:latin typeface="Montserrat" panose="00000500000000000000" pitchFamily="50" charset="0"/>
              </a:rPr>
            </a:br>
            <a:r>
              <a:rPr lang="fi-FI" b="1" dirty="0" smtClean="0">
                <a:solidFill>
                  <a:schemeClr val="bg1"/>
                </a:solidFill>
                <a:latin typeface="Montserrat" panose="00000500000000000000" pitchFamily="50" charset="0"/>
              </a:rPr>
              <a:t>Head of Unit, Ministry of Agriculture and Forestry of Finland </a:t>
            </a:r>
            <a:endParaRPr lang="fi-FI" b="1" dirty="0" smtClean="0">
              <a:solidFill>
                <a:schemeClr val="bg1"/>
              </a:solidFill>
              <a:latin typeface="Montserrat" panose="00000500000000000000" pitchFamily="50" charset="0"/>
            </a:endParaRPr>
          </a:p>
          <a:p>
            <a:r>
              <a:rPr lang="fi-FI" b="1" dirty="0" smtClean="0">
                <a:solidFill>
                  <a:schemeClr val="bg1"/>
                </a:solidFill>
                <a:latin typeface="Montserrat" panose="00000500000000000000" pitchFamily="50" charset="0"/>
              </a:rPr>
              <a:t>Contact</a:t>
            </a:r>
            <a:r>
              <a:rPr lang="fi-FI" b="1" dirty="0" smtClean="0">
                <a:solidFill>
                  <a:schemeClr val="bg1"/>
                </a:solidFill>
                <a:latin typeface="Montserrat" panose="00000500000000000000" pitchFamily="50" charset="0"/>
              </a:rPr>
              <a:t>: heikki.granholm@gov.fi</a:t>
            </a:r>
            <a:endParaRPr lang="fi-FI" b="1" dirty="0">
              <a:solidFill>
                <a:schemeClr val="bg1"/>
              </a:solidFill>
              <a:latin typeface="Montserrat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7244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091BA6E-6FBF-4DDF-A8B4-C5746CDE87E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234196" y="416822"/>
            <a:ext cx="10179050" cy="66198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36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Ash fertilization increases tree growth…</a:t>
            </a:r>
          </a:p>
        </p:txBody>
      </p:sp>
      <p:pic>
        <p:nvPicPr>
          <p:cNvPr id="17" name="Kuva 16">
            <a:extLst>
              <a:ext uri="{FF2B5EF4-FFF2-40B4-BE49-F238E27FC236}">
                <a16:creationId xmlns:a16="http://schemas.microsoft.com/office/drawing/2014/main" id="{E5F1B393-A293-4A92-B451-2172228BB76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98" b="-3"/>
          <a:stretch/>
        </p:blipFill>
        <p:spPr>
          <a:xfrm>
            <a:off x="6251306" y="1303062"/>
            <a:ext cx="5701813" cy="3822308"/>
          </a:xfrm>
          <a:prstGeom prst="rect">
            <a:avLst/>
          </a:prstGeom>
        </p:spPr>
      </p:pic>
      <p:pic>
        <p:nvPicPr>
          <p:cNvPr id="19" name="Kuva 18">
            <a:extLst>
              <a:ext uri="{FF2B5EF4-FFF2-40B4-BE49-F238E27FC236}">
                <a16:creationId xmlns:a16="http://schemas.microsoft.com/office/drawing/2014/main" id="{366ED727-F0A1-4AC3-8B35-BDFE3DECA9C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-2" b="2490"/>
          <a:stretch/>
        </p:blipFill>
        <p:spPr>
          <a:xfrm>
            <a:off x="238881" y="1215893"/>
            <a:ext cx="5803323" cy="3890357"/>
          </a:xfrm>
          <a:prstGeom prst="rect">
            <a:avLst/>
          </a:prstGeom>
        </p:spPr>
      </p:pic>
      <p:sp>
        <p:nvSpPr>
          <p:cNvPr id="25" name="Ellipsi 24">
            <a:extLst>
              <a:ext uri="{FF2B5EF4-FFF2-40B4-BE49-F238E27FC236}">
                <a16:creationId xmlns:a16="http://schemas.microsoft.com/office/drawing/2014/main" id="{0B08350A-EE3B-48E2-8B5C-BC9EA7F59810}"/>
              </a:ext>
            </a:extLst>
          </p:cNvPr>
          <p:cNvSpPr/>
          <p:nvPr/>
        </p:nvSpPr>
        <p:spPr>
          <a:xfrm>
            <a:off x="4351223" y="1563071"/>
            <a:ext cx="1555063" cy="1491285"/>
          </a:xfrm>
          <a:prstGeom prst="ellipse">
            <a:avLst/>
          </a:prstGeom>
          <a:solidFill>
            <a:srgbClr val="F2B8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600" dirty="0"/>
              <a:t>Tree growth</a:t>
            </a:r>
          </a:p>
          <a:p>
            <a:pPr algn="ctr"/>
            <a:r>
              <a:rPr lang="fi-FI" sz="1600" dirty="0"/>
              <a:t>1.7 </a:t>
            </a:r>
            <a:r>
              <a:rPr lang="fi-FI" sz="1400" dirty="0"/>
              <a:t>m</a:t>
            </a:r>
            <a:r>
              <a:rPr lang="fi-FI" sz="1400" baseline="30000" dirty="0"/>
              <a:t>3</a:t>
            </a:r>
            <a:r>
              <a:rPr lang="fi-FI" sz="1400" dirty="0"/>
              <a:t>/ha/year</a:t>
            </a:r>
          </a:p>
        </p:txBody>
      </p:sp>
      <p:sp>
        <p:nvSpPr>
          <p:cNvPr id="26" name="Ellipsi 25">
            <a:extLst>
              <a:ext uri="{FF2B5EF4-FFF2-40B4-BE49-F238E27FC236}">
                <a16:creationId xmlns:a16="http://schemas.microsoft.com/office/drawing/2014/main" id="{978D2EDC-A624-4DB1-A36D-560833471610}"/>
              </a:ext>
            </a:extLst>
          </p:cNvPr>
          <p:cNvSpPr/>
          <p:nvPr/>
        </p:nvSpPr>
        <p:spPr>
          <a:xfrm>
            <a:off x="10260183" y="3498952"/>
            <a:ext cx="1540466" cy="1413492"/>
          </a:xfrm>
          <a:prstGeom prst="ellipse">
            <a:avLst/>
          </a:prstGeom>
          <a:solidFill>
            <a:srgbClr val="F2B8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600" dirty="0"/>
              <a:t>Tree growth </a:t>
            </a:r>
          </a:p>
          <a:p>
            <a:pPr algn="ctr"/>
            <a:r>
              <a:rPr lang="fi-FI" sz="1600" dirty="0"/>
              <a:t>16 </a:t>
            </a:r>
            <a:r>
              <a:rPr lang="fi-FI" sz="1400" dirty="0"/>
              <a:t>m</a:t>
            </a:r>
            <a:r>
              <a:rPr lang="fi-FI" sz="1400" baseline="30000" dirty="0"/>
              <a:t>3</a:t>
            </a:r>
            <a:r>
              <a:rPr lang="fi-FI" sz="1400" dirty="0"/>
              <a:t>/ha/year</a:t>
            </a:r>
          </a:p>
        </p:txBody>
      </p:sp>
      <p:sp>
        <p:nvSpPr>
          <p:cNvPr id="3" name="Tekstiruutu 2">
            <a:extLst>
              <a:ext uri="{FF2B5EF4-FFF2-40B4-BE49-F238E27FC236}">
                <a16:creationId xmlns:a16="http://schemas.microsoft.com/office/drawing/2014/main" id="{3E542EC1-1DE7-9F3C-AD40-11159ACF75F4}"/>
              </a:ext>
            </a:extLst>
          </p:cNvPr>
          <p:cNvSpPr txBox="1"/>
          <p:nvPr/>
        </p:nvSpPr>
        <p:spPr>
          <a:xfrm>
            <a:off x="307439" y="4602110"/>
            <a:ext cx="1669774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fi-FI" dirty="0"/>
              <a:t>Drained, no ash</a:t>
            </a:r>
          </a:p>
        </p:txBody>
      </p:sp>
      <p:sp>
        <p:nvSpPr>
          <p:cNvPr id="4" name="Tekstiruutu 3">
            <a:extLst>
              <a:ext uri="{FF2B5EF4-FFF2-40B4-BE49-F238E27FC236}">
                <a16:creationId xmlns:a16="http://schemas.microsoft.com/office/drawing/2014/main" id="{907FCE75-D9E0-8C71-894D-88CB2F90FCED}"/>
              </a:ext>
            </a:extLst>
          </p:cNvPr>
          <p:cNvSpPr txBox="1"/>
          <p:nvPr/>
        </p:nvSpPr>
        <p:spPr>
          <a:xfrm>
            <a:off x="6351755" y="4602110"/>
            <a:ext cx="3074939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fi-FI" dirty="0"/>
              <a:t>Drained, with ash fertilization</a:t>
            </a:r>
          </a:p>
        </p:txBody>
      </p:sp>
      <p:sp>
        <p:nvSpPr>
          <p:cNvPr id="5" name="Tekstiruutu 4">
            <a:extLst>
              <a:ext uri="{FF2B5EF4-FFF2-40B4-BE49-F238E27FC236}">
                <a16:creationId xmlns:a16="http://schemas.microsoft.com/office/drawing/2014/main" id="{4DDA496B-3C6D-709A-C5A4-E013C816B8AA}"/>
              </a:ext>
            </a:extLst>
          </p:cNvPr>
          <p:cNvSpPr txBox="1"/>
          <p:nvPr/>
        </p:nvSpPr>
        <p:spPr>
          <a:xfrm>
            <a:off x="701988" y="5554938"/>
            <a:ext cx="104085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2000" dirty="0"/>
              <a:t>Estimation: By increasing annual ash fertilization area from 14 000 ha to 77 000 ha -&gt; 1.2 Mt CO</a:t>
            </a:r>
            <a:r>
              <a:rPr lang="fi-FI" sz="2000" baseline="30000" dirty="0"/>
              <a:t>2</a:t>
            </a:r>
            <a:r>
              <a:rPr lang="fi-FI" sz="2000" dirty="0"/>
              <a:t> ekv/annually</a:t>
            </a:r>
          </a:p>
        </p:txBody>
      </p:sp>
    </p:spTree>
    <p:extLst>
      <p:ext uri="{BB962C8B-B14F-4D97-AF65-F5344CB8AC3E}">
        <p14:creationId xmlns:p14="http://schemas.microsoft.com/office/powerpoint/2010/main" val="1772537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asakylkinen kolmio 43">
            <a:extLst>
              <a:ext uri="{FF2B5EF4-FFF2-40B4-BE49-F238E27FC236}">
                <a16:creationId xmlns:a16="http://schemas.microsoft.com/office/drawing/2014/main" id="{AE3A04A6-C828-1614-F570-33C3B93C78FD}"/>
              </a:ext>
            </a:extLst>
          </p:cNvPr>
          <p:cNvSpPr/>
          <p:nvPr/>
        </p:nvSpPr>
        <p:spPr>
          <a:xfrm rot="10800000">
            <a:off x="2355850" y="4668839"/>
            <a:ext cx="179388" cy="142875"/>
          </a:xfrm>
          <a:prstGeom prst="triangle">
            <a:avLst>
              <a:gd name="adj" fmla="val 47112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95285">
              <a:defRPr/>
            </a:pPr>
            <a:endParaRPr lang="fi-FI" sz="1950" dirty="0">
              <a:solidFill>
                <a:prstClr val="white"/>
              </a:solidFill>
            </a:endParaRPr>
          </a:p>
        </p:txBody>
      </p:sp>
      <p:pic>
        <p:nvPicPr>
          <p:cNvPr id="741404" name="Picture 41">
            <a:extLst>
              <a:ext uri="{FF2B5EF4-FFF2-40B4-BE49-F238E27FC236}">
                <a16:creationId xmlns:a16="http://schemas.microsoft.com/office/drawing/2014/main" id="{99816F07-E914-D0D9-CAF2-79115ABCDF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2766" y="3717234"/>
            <a:ext cx="201612" cy="1169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1406" name="Picture 41">
            <a:extLst>
              <a:ext uri="{FF2B5EF4-FFF2-40B4-BE49-F238E27FC236}">
                <a16:creationId xmlns:a16="http://schemas.microsoft.com/office/drawing/2014/main" id="{E168DDFE-DB6E-0399-5C51-EE4A12EC08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4669" y="3859343"/>
            <a:ext cx="201613" cy="1030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Ryhmä 19">
            <a:extLst>
              <a:ext uri="{FF2B5EF4-FFF2-40B4-BE49-F238E27FC236}">
                <a16:creationId xmlns:a16="http://schemas.microsoft.com/office/drawing/2014/main" id="{A83E92CE-5D05-5EC3-DE17-D12F8583EA27}"/>
              </a:ext>
            </a:extLst>
          </p:cNvPr>
          <p:cNvGrpSpPr/>
          <p:nvPr/>
        </p:nvGrpSpPr>
        <p:grpSpPr>
          <a:xfrm>
            <a:off x="1178950" y="3496810"/>
            <a:ext cx="2241549" cy="1401764"/>
            <a:chOff x="1196976" y="3873500"/>
            <a:chExt cx="2241549" cy="1401764"/>
          </a:xfrm>
        </p:grpSpPr>
        <p:pic>
          <p:nvPicPr>
            <p:cNvPr id="741379" name="Picture 7">
              <a:extLst>
                <a:ext uri="{FF2B5EF4-FFF2-40B4-BE49-F238E27FC236}">
                  <a16:creationId xmlns:a16="http://schemas.microsoft.com/office/drawing/2014/main" id="{94D4C896-A110-767A-D46C-1B8E832F90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4625" y="3873500"/>
              <a:ext cx="330200" cy="1385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1380" name="Picture 21">
              <a:extLst>
                <a:ext uri="{FF2B5EF4-FFF2-40B4-BE49-F238E27FC236}">
                  <a16:creationId xmlns:a16="http://schemas.microsoft.com/office/drawing/2014/main" id="{44D48196-DB97-5CAF-E148-055349DC68C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2175" y="4076701"/>
              <a:ext cx="298450" cy="1198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1381" name="Picture 6">
              <a:extLst>
                <a:ext uri="{FF2B5EF4-FFF2-40B4-BE49-F238E27FC236}">
                  <a16:creationId xmlns:a16="http://schemas.microsoft.com/office/drawing/2014/main" id="{9468572C-1EFA-CF1A-1B78-D6E605C17E0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6976" y="3933826"/>
              <a:ext cx="207963" cy="1325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1382" name="Picture 19">
              <a:extLst>
                <a:ext uri="{FF2B5EF4-FFF2-40B4-BE49-F238E27FC236}">
                  <a16:creationId xmlns:a16="http://schemas.microsoft.com/office/drawing/2014/main" id="{93F09C8E-498B-1864-C90E-4DB86E83D45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0089" y="3933826"/>
              <a:ext cx="192087" cy="1325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1383" name="Picture 20">
              <a:extLst>
                <a:ext uri="{FF2B5EF4-FFF2-40B4-BE49-F238E27FC236}">
                  <a16:creationId xmlns:a16="http://schemas.microsoft.com/office/drawing/2014/main" id="{D5B66502-98E4-8715-ACDC-9807DD8CFA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14613" y="3886201"/>
              <a:ext cx="254000" cy="1389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1384" name="Picture 26">
              <a:extLst>
                <a:ext uri="{FF2B5EF4-FFF2-40B4-BE49-F238E27FC236}">
                  <a16:creationId xmlns:a16="http://schemas.microsoft.com/office/drawing/2014/main" id="{F7BC0E59-A029-170E-6927-D60D5DF951A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4588" y="3944939"/>
              <a:ext cx="195262" cy="1322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1405" name="Picture 41">
              <a:extLst>
                <a:ext uri="{FF2B5EF4-FFF2-40B4-BE49-F238E27FC236}">
                  <a16:creationId xmlns:a16="http://schemas.microsoft.com/office/drawing/2014/main" id="{B8BD8B00-3564-8A6A-1685-7D400A6C2B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9401" y="4030663"/>
              <a:ext cx="201613" cy="1219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1407" name="Picture 41">
              <a:extLst>
                <a:ext uri="{FF2B5EF4-FFF2-40B4-BE49-F238E27FC236}">
                  <a16:creationId xmlns:a16="http://schemas.microsoft.com/office/drawing/2014/main" id="{08CAAF10-5922-5E1C-4E3B-9F1739FE50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325" y="4030663"/>
              <a:ext cx="203200" cy="1219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" name="Ryhmä 18">
            <a:extLst>
              <a:ext uri="{FF2B5EF4-FFF2-40B4-BE49-F238E27FC236}">
                <a16:creationId xmlns:a16="http://schemas.microsoft.com/office/drawing/2014/main" id="{B517AF33-0EB2-B6F8-2DBB-921F6DDC2A28}"/>
              </a:ext>
            </a:extLst>
          </p:cNvPr>
          <p:cNvGrpSpPr/>
          <p:nvPr/>
        </p:nvGrpSpPr>
        <p:grpSpPr>
          <a:xfrm>
            <a:off x="1157288" y="4881566"/>
            <a:ext cx="9906000" cy="1333500"/>
            <a:chOff x="1157288" y="5030858"/>
            <a:chExt cx="9906000" cy="1184207"/>
          </a:xfrm>
        </p:grpSpPr>
        <p:sp>
          <p:nvSpPr>
            <p:cNvPr id="100" name="Suorakulmio 99">
              <a:extLst>
                <a:ext uri="{FF2B5EF4-FFF2-40B4-BE49-F238E27FC236}">
                  <a16:creationId xmlns:a16="http://schemas.microsoft.com/office/drawing/2014/main" id="{A1997233-64B8-2814-91C6-D17EC250D686}"/>
                </a:ext>
              </a:extLst>
            </p:cNvPr>
            <p:cNvSpPr/>
            <p:nvPr/>
          </p:nvSpPr>
          <p:spPr>
            <a:xfrm>
              <a:off x="1157288" y="5032317"/>
              <a:ext cx="9906000" cy="1182748"/>
            </a:xfrm>
            <a:prstGeom prst="rect">
              <a:avLst/>
            </a:prstGeom>
            <a:solidFill>
              <a:sysClr val="window" lastClr="FFFFFF">
                <a:lumMod val="50000"/>
              </a:sysClr>
            </a:solidFill>
            <a:ln w="1079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90570">
                <a:defRPr/>
              </a:pPr>
              <a:endParaRPr lang="fi-FI" sz="1950" kern="0" dirty="0">
                <a:solidFill>
                  <a:prstClr val="black"/>
                </a:solidFill>
                <a:latin typeface="Arial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59" name="Isosceles Triangle 114">
              <a:extLst>
                <a:ext uri="{FF2B5EF4-FFF2-40B4-BE49-F238E27FC236}">
                  <a16:creationId xmlns:a16="http://schemas.microsoft.com/office/drawing/2014/main" id="{D524411C-97B5-4D3F-E02F-ED7B3B38753D}"/>
                </a:ext>
              </a:extLst>
            </p:cNvPr>
            <p:cNvSpPr/>
            <p:nvPr/>
          </p:nvSpPr>
          <p:spPr>
            <a:xfrm rot="10800000">
              <a:off x="3497494" y="5030858"/>
              <a:ext cx="220663" cy="588963"/>
            </a:xfrm>
            <a:prstGeom prst="triangle">
              <a:avLst/>
            </a:prstGeom>
            <a:solidFill>
              <a:sysClr val="window" lastClr="FFFFFF"/>
            </a:solidFill>
            <a:ln w="1079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90570">
                <a:defRPr/>
              </a:pPr>
              <a:endParaRPr lang="fi-FI" sz="2167" kern="0" dirty="0">
                <a:solidFill>
                  <a:prstClr val="black"/>
                </a:solidFill>
                <a:latin typeface="Arial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60" name="Isosceles Triangle 114">
              <a:extLst>
                <a:ext uri="{FF2B5EF4-FFF2-40B4-BE49-F238E27FC236}">
                  <a16:creationId xmlns:a16="http://schemas.microsoft.com/office/drawing/2014/main" id="{0F01E936-EEBB-69F4-1CAA-850D1468F295}"/>
                </a:ext>
              </a:extLst>
            </p:cNvPr>
            <p:cNvSpPr/>
            <p:nvPr/>
          </p:nvSpPr>
          <p:spPr>
            <a:xfrm rot="10800000">
              <a:off x="7800157" y="5036517"/>
              <a:ext cx="220663" cy="588963"/>
            </a:xfrm>
            <a:prstGeom prst="triangle">
              <a:avLst/>
            </a:prstGeom>
            <a:solidFill>
              <a:sysClr val="window" lastClr="FFFFFF"/>
            </a:solidFill>
            <a:ln w="1079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90570">
                <a:defRPr/>
              </a:pPr>
              <a:endParaRPr lang="fi-FI" sz="2167" kern="0" dirty="0">
                <a:solidFill>
                  <a:prstClr val="black"/>
                </a:solidFill>
                <a:latin typeface="Arial"/>
                <a:ea typeface="ＭＳ Ｐゴシック" pitchFamily="34" charset="-128"/>
                <a:cs typeface="Arial" charset="0"/>
              </a:endParaRPr>
            </a:p>
          </p:txBody>
        </p:sp>
      </p:grpSp>
      <p:pic>
        <p:nvPicPr>
          <p:cNvPr id="741415" name="Kuva 5" descr="Nuoli: kaarre myötäpäivään tasaisella täytöllä">
            <a:extLst>
              <a:ext uri="{FF2B5EF4-FFF2-40B4-BE49-F238E27FC236}">
                <a16:creationId xmlns:a16="http://schemas.microsoft.com/office/drawing/2014/main" id="{23EF26FA-05DC-9925-DA49-24103D4A21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0346" y="2469640"/>
            <a:ext cx="552450" cy="162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1416" name="Kuva 69" descr="Nuoli: kaarre myötäpäivään tasaisella täytöllä">
            <a:extLst>
              <a:ext uri="{FF2B5EF4-FFF2-40B4-BE49-F238E27FC236}">
                <a16:creationId xmlns:a16="http://schemas.microsoft.com/office/drawing/2014/main" id="{9947C72C-9854-E23E-72D4-E5F6989BF1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0775" y="2513989"/>
            <a:ext cx="549275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1423" name="Kuva 90" descr="Nuoli: kaarre myötäpäivään tasaisella täytöllä">
            <a:extLst>
              <a:ext uri="{FF2B5EF4-FFF2-40B4-BE49-F238E27FC236}">
                <a16:creationId xmlns:a16="http://schemas.microsoft.com/office/drawing/2014/main" id="{164D3122-8416-3FF5-08C7-7CF3D4E2FF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047537" flipH="1">
            <a:off x="3953670" y="4852195"/>
            <a:ext cx="403225" cy="101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1424" name="Kuva 92" descr="Nuoli: kaarre myötäpäivään tasaisella täytöllä">
            <a:extLst>
              <a:ext uri="{FF2B5EF4-FFF2-40B4-BE49-F238E27FC236}">
                <a16:creationId xmlns:a16="http://schemas.microsoft.com/office/drawing/2014/main" id="{0D58A1C5-CF8D-C5C6-5040-3558305506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764368" flipH="1" flipV="1">
            <a:off x="3004344" y="4896644"/>
            <a:ext cx="330200" cy="90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1425" name="Kuva 12" descr="Aurinko tasaisella täytöllä">
            <a:extLst>
              <a:ext uri="{FF2B5EF4-FFF2-40B4-BE49-F238E27FC236}">
                <a16:creationId xmlns:a16="http://schemas.microsoft.com/office/drawing/2014/main" id="{DE02D572-3813-226C-7796-A041D0C264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928" y="1909056"/>
            <a:ext cx="9906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" name="Puhekupla: Suorakulmio 64">
            <a:extLst>
              <a:ext uri="{FF2B5EF4-FFF2-40B4-BE49-F238E27FC236}">
                <a16:creationId xmlns:a16="http://schemas.microsoft.com/office/drawing/2014/main" id="{BE7EF775-BE9A-ED7D-E9A7-DAB68ED6C1FF}"/>
              </a:ext>
            </a:extLst>
          </p:cNvPr>
          <p:cNvSpPr/>
          <p:nvPr/>
        </p:nvSpPr>
        <p:spPr>
          <a:xfrm>
            <a:off x="1874186" y="1488304"/>
            <a:ext cx="2146580" cy="1023276"/>
          </a:xfrm>
          <a:prstGeom prst="wedgeRectCallout">
            <a:avLst>
              <a:gd name="adj1" fmla="val -24672"/>
              <a:gd name="adj2" fmla="val 164293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6000" tIns="39000" rIns="117000" bIns="39000" anchor="ctr"/>
          <a:lstStyle/>
          <a:p>
            <a:pPr defTabSz="495285">
              <a:defRPr/>
            </a:pPr>
            <a:r>
              <a:rPr lang="fi-FI" dirty="0">
                <a:solidFill>
                  <a:srgbClr val="54585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reases tree growth -&gt; increases transpiration</a:t>
            </a:r>
          </a:p>
        </p:txBody>
      </p:sp>
      <p:grpSp>
        <p:nvGrpSpPr>
          <p:cNvPr id="16" name="Ryhmä 15">
            <a:extLst>
              <a:ext uri="{FF2B5EF4-FFF2-40B4-BE49-F238E27FC236}">
                <a16:creationId xmlns:a16="http://schemas.microsoft.com/office/drawing/2014/main" id="{B4057C3F-2C5D-60ED-1DDF-CA79DB3526E5}"/>
              </a:ext>
            </a:extLst>
          </p:cNvPr>
          <p:cNvGrpSpPr/>
          <p:nvPr/>
        </p:nvGrpSpPr>
        <p:grpSpPr>
          <a:xfrm>
            <a:off x="8252254" y="3591822"/>
            <a:ext cx="2276741" cy="1295400"/>
            <a:chOff x="6004321" y="3985834"/>
            <a:chExt cx="2433243" cy="1295400"/>
          </a:xfrm>
        </p:grpSpPr>
        <p:pic>
          <p:nvPicPr>
            <p:cNvPr id="741400" name="Picture 41">
              <a:extLst>
                <a:ext uri="{FF2B5EF4-FFF2-40B4-BE49-F238E27FC236}">
                  <a16:creationId xmlns:a16="http://schemas.microsoft.com/office/drawing/2014/main" id="{77640CF7-9EA2-D39C-F3EE-4023B5AFD7E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5951" y="4119563"/>
              <a:ext cx="201613" cy="1135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Picture 41">
              <a:extLst>
                <a:ext uri="{FF2B5EF4-FFF2-40B4-BE49-F238E27FC236}">
                  <a16:creationId xmlns:a16="http://schemas.microsoft.com/office/drawing/2014/main" id="{96D942AA-23CA-67BE-D318-2DD3C1188C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04321" y="4052509"/>
              <a:ext cx="280987" cy="1219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41">
              <a:extLst>
                <a:ext uri="{FF2B5EF4-FFF2-40B4-BE49-F238E27FC236}">
                  <a16:creationId xmlns:a16="http://schemas.microsoft.com/office/drawing/2014/main" id="{54B3A735-441F-5399-22CC-CDD7CE6453E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2295" y="4238248"/>
              <a:ext cx="201612" cy="1030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41">
              <a:extLst>
                <a:ext uri="{FF2B5EF4-FFF2-40B4-BE49-F238E27FC236}">
                  <a16:creationId xmlns:a16="http://schemas.microsoft.com/office/drawing/2014/main" id="{F995045B-F335-1D7D-F02C-B3528C45070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55183" y="4050922"/>
              <a:ext cx="201613" cy="1217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46">
              <a:extLst>
                <a:ext uri="{FF2B5EF4-FFF2-40B4-BE49-F238E27FC236}">
                  <a16:creationId xmlns:a16="http://schemas.microsoft.com/office/drawing/2014/main" id="{A72A5CD0-B654-41C3-94EA-6CB81B7576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1195" y="4098548"/>
              <a:ext cx="203200" cy="1169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41">
              <a:extLst>
                <a:ext uri="{FF2B5EF4-FFF2-40B4-BE49-F238E27FC236}">
                  <a16:creationId xmlns:a16="http://schemas.microsoft.com/office/drawing/2014/main" id="{113BF27F-F378-1310-CC05-6D1E39B721B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3458" y="4050922"/>
              <a:ext cx="201613" cy="1217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41">
              <a:extLst>
                <a:ext uri="{FF2B5EF4-FFF2-40B4-BE49-F238E27FC236}">
                  <a16:creationId xmlns:a16="http://schemas.microsoft.com/office/drawing/2014/main" id="{F604D77B-5136-2854-1A55-86E1FB6012A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8458" y="4247773"/>
              <a:ext cx="142875" cy="1030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41">
              <a:extLst>
                <a:ext uri="{FF2B5EF4-FFF2-40B4-BE49-F238E27FC236}">
                  <a16:creationId xmlns:a16="http://schemas.microsoft.com/office/drawing/2014/main" id="{C28F7E88-4133-0758-F2DD-B86BF51B43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7008" y="4057273"/>
              <a:ext cx="142875" cy="1220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41">
              <a:extLst>
                <a:ext uri="{FF2B5EF4-FFF2-40B4-BE49-F238E27FC236}">
                  <a16:creationId xmlns:a16="http://schemas.microsoft.com/office/drawing/2014/main" id="{42B021E8-6AEE-26D1-886A-AB669E9220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2208" y="4146172"/>
              <a:ext cx="117475" cy="1135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41">
              <a:extLst>
                <a:ext uri="{FF2B5EF4-FFF2-40B4-BE49-F238E27FC236}">
                  <a16:creationId xmlns:a16="http://schemas.microsoft.com/office/drawing/2014/main" id="{732B42B0-1BDB-579A-0968-848F075BD8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09321" y="3985834"/>
              <a:ext cx="142875" cy="129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1">
              <a:extLst>
                <a:ext uri="{FF2B5EF4-FFF2-40B4-BE49-F238E27FC236}">
                  <a16:creationId xmlns:a16="http://schemas.microsoft.com/office/drawing/2014/main" id="{8D8044DD-AC38-47BB-A63C-33BBD781E5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33083" y="3985834"/>
              <a:ext cx="227013" cy="129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41">
              <a:extLst>
                <a:ext uri="{FF2B5EF4-FFF2-40B4-BE49-F238E27FC236}">
                  <a16:creationId xmlns:a16="http://schemas.microsoft.com/office/drawing/2014/main" id="{3506FEED-F0C3-E885-719E-680DBDA5A31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52195" y="4196972"/>
              <a:ext cx="80962" cy="1071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41">
              <a:extLst>
                <a:ext uri="{FF2B5EF4-FFF2-40B4-BE49-F238E27FC236}">
                  <a16:creationId xmlns:a16="http://schemas.microsoft.com/office/drawing/2014/main" id="{BFE862EF-675A-CD93-21BC-EE9846AF296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1583" y="4057273"/>
              <a:ext cx="250825" cy="1220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7" name="Suorakulmio 16">
            <a:extLst>
              <a:ext uri="{FF2B5EF4-FFF2-40B4-BE49-F238E27FC236}">
                <a16:creationId xmlns:a16="http://schemas.microsoft.com/office/drawing/2014/main" id="{0819405B-D9D2-C476-B639-317524D65513}"/>
              </a:ext>
            </a:extLst>
          </p:cNvPr>
          <p:cNvSpPr/>
          <p:nvPr/>
        </p:nvSpPr>
        <p:spPr>
          <a:xfrm>
            <a:off x="1157288" y="5528649"/>
            <a:ext cx="9906000" cy="71451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8" name="Tekstiruutu 17">
            <a:extLst>
              <a:ext uri="{FF2B5EF4-FFF2-40B4-BE49-F238E27FC236}">
                <a16:creationId xmlns:a16="http://schemas.microsoft.com/office/drawing/2014/main" id="{F82505B9-0E8B-4B9A-9BD2-ADD6F935822D}"/>
              </a:ext>
            </a:extLst>
          </p:cNvPr>
          <p:cNvSpPr txBox="1"/>
          <p:nvPr/>
        </p:nvSpPr>
        <p:spPr>
          <a:xfrm>
            <a:off x="4300791" y="5606372"/>
            <a:ext cx="32661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95285">
              <a:defRPr/>
            </a:pPr>
            <a:r>
              <a:rPr lang="fi-FI" sz="2800" b="1" dirty="0">
                <a:solidFill>
                  <a:prstClr val="white"/>
                </a:solidFill>
                <a:latin typeface="Segoe UI"/>
                <a:ea typeface="ＭＳ Ｐゴシック" pitchFamily="34" charset="-128"/>
                <a:cs typeface="Arial" charset="0"/>
              </a:rPr>
              <a:t>Water table level</a:t>
            </a:r>
          </a:p>
        </p:txBody>
      </p:sp>
      <p:sp>
        <p:nvSpPr>
          <p:cNvPr id="23" name="Tasakylkinen kolmio 22">
            <a:extLst>
              <a:ext uri="{FF2B5EF4-FFF2-40B4-BE49-F238E27FC236}">
                <a16:creationId xmlns:a16="http://schemas.microsoft.com/office/drawing/2014/main" id="{1A230401-AEA4-836B-B1DF-1BDF401980AE}"/>
              </a:ext>
            </a:extLst>
          </p:cNvPr>
          <p:cNvSpPr/>
          <p:nvPr/>
        </p:nvSpPr>
        <p:spPr>
          <a:xfrm flipV="1">
            <a:off x="4172046" y="3700011"/>
            <a:ext cx="881605" cy="1380002"/>
          </a:xfrm>
          <a:prstGeom prst="triangle">
            <a:avLst>
              <a:gd name="adj" fmla="val 5919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pic>
        <p:nvPicPr>
          <p:cNvPr id="22" name="Kuva 21">
            <a:extLst>
              <a:ext uri="{FF2B5EF4-FFF2-40B4-BE49-F238E27FC236}">
                <a16:creationId xmlns:a16="http://schemas.microsoft.com/office/drawing/2014/main" id="{D95CDEDA-426E-2AE5-81B1-5E037B61AC1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069282" y="2837981"/>
            <a:ext cx="1074330" cy="1148339"/>
          </a:xfrm>
          <a:prstGeom prst="ellipse">
            <a:avLst/>
          </a:prstGeom>
        </p:spPr>
      </p:pic>
      <p:sp>
        <p:nvSpPr>
          <p:cNvPr id="24" name="Puhekupla: Suorakulmio 23">
            <a:extLst>
              <a:ext uri="{FF2B5EF4-FFF2-40B4-BE49-F238E27FC236}">
                <a16:creationId xmlns:a16="http://schemas.microsoft.com/office/drawing/2014/main" id="{1946F521-FED7-644C-9C8D-C44790B908DB}"/>
              </a:ext>
            </a:extLst>
          </p:cNvPr>
          <p:cNvSpPr/>
          <p:nvPr/>
        </p:nvSpPr>
        <p:spPr>
          <a:xfrm>
            <a:off x="5502439" y="1566867"/>
            <a:ext cx="1527416" cy="926593"/>
          </a:xfrm>
          <a:prstGeom prst="wedgeRectCallout">
            <a:avLst>
              <a:gd name="adj1" fmla="val -77889"/>
              <a:gd name="adj2" fmla="val 125892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6000" tIns="39000" rIns="117000" bIns="39000" anchor="ctr"/>
          <a:lstStyle/>
          <a:p>
            <a:pPr defTabSz="495285">
              <a:defRPr/>
            </a:pPr>
            <a:r>
              <a:rPr lang="fi-FI" dirty="0">
                <a:solidFill>
                  <a:srgbClr val="54585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anges soil microbial community</a:t>
            </a:r>
          </a:p>
        </p:txBody>
      </p:sp>
      <p:sp>
        <p:nvSpPr>
          <p:cNvPr id="25" name="Puhekupla: Suorakulmio 24">
            <a:extLst>
              <a:ext uri="{FF2B5EF4-FFF2-40B4-BE49-F238E27FC236}">
                <a16:creationId xmlns:a16="http://schemas.microsoft.com/office/drawing/2014/main" id="{CF4D68B9-2FE1-8290-6A6A-B96AC94645E8}"/>
              </a:ext>
            </a:extLst>
          </p:cNvPr>
          <p:cNvSpPr/>
          <p:nvPr/>
        </p:nvSpPr>
        <p:spPr>
          <a:xfrm flipH="1">
            <a:off x="1366565" y="5195830"/>
            <a:ext cx="1603084" cy="846290"/>
          </a:xfrm>
          <a:prstGeom prst="wedgeRectCallout">
            <a:avLst>
              <a:gd name="adj1" fmla="val -104990"/>
              <a:gd name="adj2" fmla="val 47492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6000" tIns="39000" rIns="117000" bIns="39000" anchor="ctr"/>
          <a:lstStyle/>
          <a:p>
            <a:pPr defTabSz="495285">
              <a:defRPr/>
            </a:pPr>
            <a:r>
              <a:rPr lang="fi-FI" dirty="0">
                <a:solidFill>
                  <a:srgbClr val="54585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nspiration lowers water table level</a:t>
            </a:r>
          </a:p>
        </p:txBody>
      </p:sp>
      <p:sp>
        <p:nvSpPr>
          <p:cNvPr id="26" name="Puhekupla: Suorakulmio 25">
            <a:extLst>
              <a:ext uri="{FF2B5EF4-FFF2-40B4-BE49-F238E27FC236}">
                <a16:creationId xmlns:a16="http://schemas.microsoft.com/office/drawing/2014/main" id="{5D510CB3-B906-5BC4-479F-AF77811CCAF3}"/>
              </a:ext>
            </a:extLst>
          </p:cNvPr>
          <p:cNvSpPr/>
          <p:nvPr/>
        </p:nvSpPr>
        <p:spPr>
          <a:xfrm>
            <a:off x="5811650" y="3365017"/>
            <a:ext cx="1527416" cy="926593"/>
          </a:xfrm>
          <a:prstGeom prst="wedgeRectCallout">
            <a:avLst>
              <a:gd name="adj1" fmla="val -20996"/>
              <a:gd name="adj2" fmla="val 139191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6000" tIns="39000" rIns="117000" bIns="39000" anchor="ctr"/>
          <a:lstStyle/>
          <a:p>
            <a:pPr defTabSz="495285">
              <a:defRPr/>
            </a:pPr>
            <a:r>
              <a:rPr lang="fi-FI" dirty="0">
                <a:solidFill>
                  <a:srgbClr val="54585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anges soil nutrients and pH</a:t>
            </a:r>
          </a:p>
        </p:txBody>
      </p:sp>
      <p:sp>
        <p:nvSpPr>
          <p:cNvPr id="27" name="Nuoli: Ylös 26">
            <a:extLst>
              <a:ext uri="{FF2B5EF4-FFF2-40B4-BE49-F238E27FC236}">
                <a16:creationId xmlns:a16="http://schemas.microsoft.com/office/drawing/2014/main" id="{2789CBEC-1C28-3077-CF67-1CE777594D0D}"/>
              </a:ext>
            </a:extLst>
          </p:cNvPr>
          <p:cNvSpPr/>
          <p:nvPr/>
        </p:nvSpPr>
        <p:spPr>
          <a:xfrm>
            <a:off x="8425120" y="2816315"/>
            <a:ext cx="636057" cy="2074796"/>
          </a:xfrm>
          <a:prstGeom prst="up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28" name="Otsikko 1">
            <a:extLst>
              <a:ext uri="{FF2B5EF4-FFF2-40B4-BE49-F238E27FC236}">
                <a16:creationId xmlns:a16="http://schemas.microsoft.com/office/drawing/2014/main" id="{97939332-FA84-D311-7E68-B6381FCD0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2246" y="267808"/>
            <a:ext cx="12175218" cy="1143000"/>
          </a:xfrm>
        </p:spPr>
        <p:txBody>
          <a:bodyPr>
            <a:normAutofit/>
          </a:bodyPr>
          <a:lstStyle/>
          <a:p>
            <a:r>
              <a:rPr lang="fi-FI" sz="4000" dirty="0" smtClean="0">
                <a:solidFill>
                  <a:schemeClr val="tx2"/>
                </a:solidFill>
                <a:latin typeface="+mj-lt"/>
              </a:rPr>
              <a:t>…and </a:t>
            </a:r>
            <a:r>
              <a:rPr lang="fi-FI" sz="4000" dirty="0">
                <a:solidFill>
                  <a:schemeClr val="tx2"/>
                </a:solidFill>
                <a:latin typeface="+mj-lt"/>
              </a:rPr>
              <a:t>changes ecosystem function</a:t>
            </a:r>
          </a:p>
        </p:txBody>
      </p:sp>
      <p:sp>
        <p:nvSpPr>
          <p:cNvPr id="30" name="Puhekupla: Suorakulmio 29">
            <a:extLst>
              <a:ext uri="{FF2B5EF4-FFF2-40B4-BE49-F238E27FC236}">
                <a16:creationId xmlns:a16="http://schemas.microsoft.com/office/drawing/2014/main" id="{544A0793-87B4-DE4F-F789-7657D2A38E89}"/>
              </a:ext>
            </a:extLst>
          </p:cNvPr>
          <p:cNvSpPr/>
          <p:nvPr/>
        </p:nvSpPr>
        <p:spPr>
          <a:xfrm>
            <a:off x="8080937" y="1230079"/>
            <a:ext cx="1766448" cy="649077"/>
          </a:xfrm>
          <a:prstGeom prst="wedgeRectCallout">
            <a:avLst>
              <a:gd name="adj1" fmla="val -18426"/>
              <a:gd name="adj2" fmla="val 202311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6000" tIns="39000" rIns="117000" bIns="39000" anchor="ctr"/>
          <a:lstStyle/>
          <a:p>
            <a:pPr defTabSz="495285">
              <a:defRPr/>
            </a:pPr>
            <a:r>
              <a:rPr lang="fi-FI" dirty="0">
                <a:solidFill>
                  <a:srgbClr val="54585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reases peat decomposition?</a:t>
            </a:r>
          </a:p>
        </p:txBody>
      </p:sp>
      <p:sp>
        <p:nvSpPr>
          <p:cNvPr id="31" name="Nuoli: Ylös 30">
            <a:extLst>
              <a:ext uri="{FF2B5EF4-FFF2-40B4-BE49-F238E27FC236}">
                <a16:creationId xmlns:a16="http://schemas.microsoft.com/office/drawing/2014/main" id="{E683732F-206D-C8FB-6B1B-1CB3991066F9}"/>
              </a:ext>
            </a:extLst>
          </p:cNvPr>
          <p:cNvSpPr/>
          <p:nvPr/>
        </p:nvSpPr>
        <p:spPr>
          <a:xfrm>
            <a:off x="9819176" y="2837981"/>
            <a:ext cx="294895" cy="2043585"/>
          </a:xfrm>
          <a:prstGeom prst="up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32" name="Nuoli: Ylös 31">
            <a:extLst>
              <a:ext uri="{FF2B5EF4-FFF2-40B4-BE49-F238E27FC236}">
                <a16:creationId xmlns:a16="http://schemas.microsoft.com/office/drawing/2014/main" id="{E8AA3340-571D-C73B-B931-047C0927B549}"/>
              </a:ext>
            </a:extLst>
          </p:cNvPr>
          <p:cNvSpPr/>
          <p:nvPr/>
        </p:nvSpPr>
        <p:spPr>
          <a:xfrm flipV="1">
            <a:off x="10143614" y="2907415"/>
            <a:ext cx="294895" cy="1991159"/>
          </a:xfrm>
          <a:prstGeom prst="up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33" name="Puhekupla: Suorakulmio 32">
            <a:extLst>
              <a:ext uri="{FF2B5EF4-FFF2-40B4-BE49-F238E27FC236}">
                <a16:creationId xmlns:a16="http://schemas.microsoft.com/office/drawing/2014/main" id="{CDEDED3D-6F6E-186C-63B9-A3C1914AA177}"/>
              </a:ext>
            </a:extLst>
          </p:cNvPr>
          <p:cNvSpPr/>
          <p:nvPr/>
        </p:nvSpPr>
        <p:spPr>
          <a:xfrm>
            <a:off x="10099832" y="1801221"/>
            <a:ext cx="1766448" cy="649077"/>
          </a:xfrm>
          <a:prstGeom prst="wedgeRectCallout">
            <a:avLst>
              <a:gd name="adj1" fmla="val -46695"/>
              <a:gd name="adj2" fmla="val 185326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6000" tIns="39000" rIns="117000" bIns="39000" anchor="ctr"/>
          <a:lstStyle/>
          <a:p>
            <a:pPr defTabSz="495285">
              <a:defRPr/>
            </a:pPr>
            <a:r>
              <a:rPr lang="fi-FI" dirty="0">
                <a:solidFill>
                  <a:srgbClr val="54585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creases methane fluxes</a:t>
            </a:r>
          </a:p>
        </p:txBody>
      </p:sp>
      <p:pic>
        <p:nvPicPr>
          <p:cNvPr id="34" name="Kuva 92" descr="Nuoli: kaarre myötäpäivään tasaisella täytöllä">
            <a:extLst>
              <a:ext uri="{FF2B5EF4-FFF2-40B4-BE49-F238E27FC236}">
                <a16:creationId xmlns:a16="http://schemas.microsoft.com/office/drawing/2014/main" id="{AB73BA12-2E0B-00BA-3AED-FDC2F3FEC4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764368" flipH="1" flipV="1">
            <a:off x="7237164" y="4815776"/>
            <a:ext cx="330200" cy="90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Kuva 90" descr="Nuoli: kaarre myötäpäivään tasaisella täytöllä">
            <a:extLst>
              <a:ext uri="{FF2B5EF4-FFF2-40B4-BE49-F238E27FC236}">
                <a16:creationId xmlns:a16="http://schemas.microsoft.com/office/drawing/2014/main" id="{C0609D0B-820A-CAC9-4A85-8C817538C3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047537" flipH="1">
            <a:off x="8226325" y="4771557"/>
            <a:ext cx="403225" cy="101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Tekstiruutu 35">
            <a:extLst>
              <a:ext uri="{FF2B5EF4-FFF2-40B4-BE49-F238E27FC236}">
                <a16:creationId xmlns:a16="http://schemas.microsoft.com/office/drawing/2014/main" id="{93406FB6-9ECE-63C7-09A1-587833445246}"/>
              </a:ext>
            </a:extLst>
          </p:cNvPr>
          <p:cNvSpPr txBox="1"/>
          <p:nvPr/>
        </p:nvSpPr>
        <p:spPr>
          <a:xfrm>
            <a:off x="7910488" y="3100156"/>
            <a:ext cx="6675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>
                <a:solidFill>
                  <a:schemeClr val="accent2">
                    <a:lumMod val="75000"/>
                  </a:schemeClr>
                </a:solidFill>
              </a:rPr>
              <a:t>CO</a:t>
            </a:r>
            <a:r>
              <a:rPr lang="fi-FI" baseline="-25000" dirty="0">
                <a:solidFill>
                  <a:schemeClr val="accent2">
                    <a:lumMod val="75000"/>
                  </a:schemeClr>
                </a:solidFill>
              </a:rPr>
              <a:t>2</a:t>
            </a:r>
          </a:p>
        </p:txBody>
      </p:sp>
      <p:sp>
        <p:nvSpPr>
          <p:cNvPr id="37" name="Tekstiruutu 36">
            <a:extLst>
              <a:ext uri="{FF2B5EF4-FFF2-40B4-BE49-F238E27FC236}">
                <a16:creationId xmlns:a16="http://schemas.microsoft.com/office/drawing/2014/main" id="{1FB46FBB-395B-B479-111D-F0C947FA5825}"/>
              </a:ext>
            </a:extLst>
          </p:cNvPr>
          <p:cNvSpPr txBox="1"/>
          <p:nvPr/>
        </p:nvSpPr>
        <p:spPr>
          <a:xfrm>
            <a:off x="10518495" y="3031322"/>
            <a:ext cx="6675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>
                <a:solidFill>
                  <a:schemeClr val="accent6">
                    <a:lumMod val="75000"/>
                  </a:schemeClr>
                </a:solidFill>
              </a:rPr>
              <a:t>CH</a:t>
            </a:r>
            <a:r>
              <a:rPr lang="fi-FI" baseline="-25000" dirty="0">
                <a:solidFill>
                  <a:schemeClr val="accent6">
                    <a:lumMod val="75000"/>
                  </a:schemeClr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743858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8E2D7CE2-8B41-43C2-B6C5-CB082F4984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002" y="521601"/>
            <a:ext cx="8930555" cy="1143000"/>
          </a:xfrm>
        </p:spPr>
        <p:txBody>
          <a:bodyPr>
            <a:normAutofit/>
          </a:bodyPr>
          <a:lstStyle/>
          <a:p>
            <a:r>
              <a:rPr lang="fi-FI" sz="4000" dirty="0">
                <a:latin typeface="+mj-lt"/>
              </a:rPr>
              <a:t>Questions to answer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28CBAB2E-CF3F-5A50-6AE3-81B48F4B634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3322" y="1712227"/>
            <a:ext cx="8089398" cy="4367548"/>
          </a:xfrm>
        </p:spPr>
        <p:txBody>
          <a:bodyPr/>
          <a:lstStyle/>
          <a:p>
            <a:r>
              <a:rPr lang="fi-FI" sz="2400" dirty="0">
                <a:latin typeface="+mn-lt"/>
              </a:rPr>
              <a:t>What is the net effect of ash fertilization on ecosystem greenhouse gas balance?</a:t>
            </a:r>
          </a:p>
          <a:p>
            <a:r>
              <a:rPr lang="fi-FI" sz="2400" dirty="0">
                <a:latin typeface="+mn-lt"/>
              </a:rPr>
              <a:t>Which sites are ideal for ash fertilization?</a:t>
            </a:r>
          </a:p>
          <a:p>
            <a:r>
              <a:rPr lang="fi-FI" sz="2400" dirty="0">
                <a:latin typeface="+mn-lt"/>
              </a:rPr>
              <a:t>How does ash fertilization affect biodiversity?</a:t>
            </a:r>
          </a:p>
          <a:p>
            <a:r>
              <a:rPr lang="fi-FI" sz="2400" dirty="0">
                <a:latin typeface="+mn-lt"/>
              </a:rPr>
              <a:t>Are there negative effects on the water quality of lakes and rivers long term</a:t>
            </a:r>
            <a:r>
              <a:rPr lang="fi-FI" sz="2400" dirty="0" smtClean="0">
                <a:latin typeface="+mn-lt"/>
              </a:rPr>
              <a:t>?</a:t>
            </a:r>
          </a:p>
          <a:p>
            <a:pPr marL="0" indent="0">
              <a:buNone/>
            </a:pPr>
            <a:r>
              <a:rPr lang="fi-FI" sz="2400" dirty="0" smtClean="0">
                <a:latin typeface="+mn-lt"/>
              </a:rPr>
              <a:t>                         -&gt; Suohitu-project</a:t>
            </a:r>
            <a:endParaRPr lang="fi-FI" sz="2400" dirty="0">
              <a:latin typeface="+mn-lt"/>
            </a:endParaRPr>
          </a:p>
          <a:p>
            <a:pPr marL="0" indent="0">
              <a:buNone/>
            </a:pPr>
            <a:endParaRPr lang="fi-FI" dirty="0"/>
          </a:p>
        </p:txBody>
      </p:sp>
      <p:grpSp>
        <p:nvGrpSpPr>
          <p:cNvPr id="4" name="Ryhmä 3">
            <a:extLst>
              <a:ext uri="{FF2B5EF4-FFF2-40B4-BE49-F238E27FC236}">
                <a16:creationId xmlns:a16="http://schemas.microsoft.com/office/drawing/2014/main" id="{34B50624-B689-1CF3-D0FA-789010002E10}"/>
              </a:ext>
            </a:extLst>
          </p:cNvPr>
          <p:cNvGrpSpPr/>
          <p:nvPr/>
        </p:nvGrpSpPr>
        <p:grpSpPr>
          <a:xfrm>
            <a:off x="346909" y="5245524"/>
            <a:ext cx="2276741" cy="1295400"/>
            <a:chOff x="6004321" y="3985834"/>
            <a:chExt cx="2433243" cy="1295400"/>
          </a:xfrm>
        </p:grpSpPr>
        <p:pic>
          <p:nvPicPr>
            <p:cNvPr id="5" name="Picture 41">
              <a:extLst>
                <a:ext uri="{FF2B5EF4-FFF2-40B4-BE49-F238E27FC236}">
                  <a16:creationId xmlns:a16="http://schemas.microsoft.com/office/drawing/2014/main" id="{B33A4D75-8665-76C3-B731-9B38C408E1B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5951" y="4119563"/>
              <a:ext cx="201613" cy="1135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41">
              <a:extLst>
                <a:ext uri="{FF2B5EF4-FFF2-40B4-BE49-F238E27FC236}">
                  <a16:creationId xmlns:a16="http://schemas.microsoft.com/office/drawing/2014/main" id="{0E9611F0-D6B2-A779-A906-3DCC726E68D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04321" y="4052509"/>
              <a:ext cx="280987" cy="1219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41">
              <a:extLst>
                <a:ext uri="{FF2B5EF4-FFF2-40B4-BE49-F238E27FC236}">
                  <a16:creationId xmlns:a16="http://schemas.microsoft.com/office/drawing/2014/main" id="{F663BB66-44A3-590A-2378-E724EBD47BD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2295" y="4238248"/>
              <a:ext cx="201612" cy="1030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41">
              <a:extLst>
                <a:ext uri="{FF2B5EF4-FFF2-40B4-BE49-F238E27FC236}">
                  <a16:creationId xmlns:a16="http://schemas.microsoft.com/office/drawing/2014/main" id="{EA2B949D-1887-0B17-EDE7-579EEC45B2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55183" y="4050922"/>
              <a:ext cx="201613" cy="1217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46">
              <a:extLst>
                <a:ext uri="{FF2B5EF4-FFF2-40B4-BE49-F238E27FC236}">
                  <a16:creationId xmlns:a16="http://schemas.microsoft.com/office/drawing/2014/main" id="{B1DD036D-0A6E-CB05-4266-A2C3926392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1195" y="4098548"/>
              <a:ext cx="203200" cy="1169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41">
              <a:extLst>
                <a:ext uri="{FF2B5EF4-FFF2-40B4-BE49-F238E27FC236}">
                  <a16:creationId xmlns:a16="http://schemas.microsoft.com/office/drawing/2014/main" id="{1F9C8565-5C40-CA40-2BFB-96A7D52BB8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3458" y="4050922"/>
              <a:ext cx="201613" cy="1217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41">
              <a:extLst>
                <a:ext uri="{FF2B5EF4-FFF2-40B4-BE49-F238E27FC236}">
                  <a16:creationId xmlns:a16="http://schemas.microsoft.com/office/drawing/2014/main" id="{630C0D04-62DC-5FAB-C2F7-C992C7F3DB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8458" y="4247773"/>
              <a:ext cx="142875" cy="1030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41">
              <a:extLst>
                <a:ext uri="{FF2B5EF4-FFF2-40B4-BE49-F238E27FC236}">
                  <a16:creationId xmlns:a16="http://schemas.microsoft.com/office/drawing/2014/main" id="{C7A8FC9D-F983-75DD-8EDF-D24850BEFD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7008" y="4057273"/>
              <a:ext cx="142875" cy="1220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1">
              <a:extLst>
                <a:ext uri="{FF2B5EF4-FFF2-40B4-BE49-F238E27FC236}">
                  <a16:creationId xmlns:a16="http://schemas.microsoft.com/office/drawing/2014/main" id="{6041D77D-738A-63E3-7A83-E7157D7EF3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52208" y="4146172"/>
              <a:ext cx="117475" cy="1135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41">
              <a:extLst>
                <a:ext uri="{FF2B5EF4-FFF2-40B4-BE49-F238E27FC236}">
                  <a16:creationId xmlns:a16="http://schemas.microsoft.com/office/drawing/2014/main" id="{1F04421B-0177-48A5-655D-9EBF2E8A8C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09321" y="3985834"/>
              <a:ext cx="142875" cy="129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41">
              <a:extLst>
                <a:ext uri="{FF2B5EF4-FFF2-40B4-BE49-F238E27FC236}">
                  <a16:creationId xmlns:a16="http://schemas.microsoft.com/office/drawing/2014/main" id="{83193ACC-92DA-21DA-CD7A-7F4360E9C2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33083" y="3985834"/>
              <a:ext cx="227013" cy="1295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41">
              <a:extLst>
                <a:ext uri="{FF2B5EF4-FFF2-40B4-BE49-F238E27FC236}">
                  <a16:creationId xmlns:a16="http://schemas.microsoft.com/office/drawing/2014/main" id="{FEF16FB6-8512-116F-5F36-59AEBEE05A4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52195" y="4196972"/>
              <a:ext cx="80962" cy="1071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41">
              <a:extLst>
                <a:ext uri="{FF2B5EF4-FFF2-40B4-BE49-F238E27FC236}">
                  <a16:creationId xmlns:a16="http://schemas.microsoft.com/office/drawing/2014/main" id="{E8E2B7E5-2FCF-62C1-E1ED-94C561DF5E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1583" y="4057273"/>
              <a:ext cx="250825" cy="1220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11258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3CFFC38-208A-E873-0755-32121269E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781" y="350197"/>
            <a:ext cx="7470691" cy="4804500"/>
          </a:xfrm>
        </p:spPr>
        <p:txBody>
          <a:bodyPr>
            <a:normAutofit/>
          </a:bodyPr>
          <a:lstStyle/>
          <a:p>
            <a:r>
              <a:rPr lang="fi-FI" sz="3200" dirty="0"/>
              <a:t>1. Ash is a cost effective and powerful fertilizer for drained peatland forests</a:t>
            </a:r>
            <a:br>
              <a:rPr lang="fi-FI" sz="3200" dirty="0"/>
            </a:br>
            <a:r>
              <a:rPr lang="fi-FI" sz="3200" dirty="0"/>
              <a:t/>
            </a:r>
            <a:br>
              <a:rPr lang="fi-FI" sz="3200" dirty="0"/>
            </a:br>
            <a:r>
              <a:rPr lang="fi-FI" sz="3200" dirty="0"/>
              <a:t>2. Peatland management is rocket science</a:t>
            </a:r>
          </a:p>
        </p:txBody>
      </p:sp>
      <p:grpSp>
        <p:nvGrpSpPr>
          <p:cNvPr id="15" name="Ryhmä 14">
            <a:extLst>
              <a:ext uri="{FF2B5EF4-FFF2-40B4-BE49-F238E27FC236}">
                <a16:creationId xmlns:a16="http://schemas.microsoft.com/office/drawing/2014/main" id="{F923076B-43C0-DCE2-0B4E-88957B8EBCB3}"/>
              </a:ext>
            </a:extLst>
          </p:cNvPr>
          <p:cNvGrpSpPr/>
          <p:nvPr/>
        </p:nvGrpSpPr>
        <p:grpSpPr>
          <a:xfrm>
            <a:off x="0" y="4865364"/>
            <a:ext cx="9223375" cy="2043113"/>
            <a:chOff x="3044030" y="4878334"/>
            <a:chExt cx="9223375" cy="2043113"/>
          </a:xfrm>
        </p:grpSpPr>
        <p:pic>
          <p:nvPicPr>
            <p:cNvPr id="13" name="Kuva 5">
              <a:extLst>
                <a:ext uri="{FF2B5EF4-FFF2-40B4-BE49-F238E27FC236}">
                  <a16:creationId xmlns:a16="http://schemas.microsoft.com/office/drawing/2014/main" id="{6498EA21-A85A-5240-FD92-3C1A65F5D8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4030" y="4878334"/>
              <a:ext cx="9223375" cy="2043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Suorakulmio: Pyöristetyt kulmat 13">
              <a:extLst>
                <a:ext uri="{FF2B5EF4-FFF2-40B4-BE49-F238E27FC236}">
                  <a16:creationId xmlns:a16="http://schemas.microsoft.com/office/drawing/2014/main" id="{44B0E53D-C1CE-8567-1342-3F6F7A2A7600}"/>
                </a:ext>
              </a:extLst>
            </p:cNvPr>
            <p:cNvSpPr/>
            <p:nvPr/>
          </p:nvSpPr>
          <p:spPr>
            <a:xfrm>
              <a:off x="4442298" y="6668469"/>
              <a:ext cx="3417651" cy="19588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/>
            </a:p>
          </p:txBody>
        </p:sp>
      </p:grpSp>
      <p:pic>
        <p:nvPicPr>
          <p:cNvPr id="19" name="Kuva 5">
            <a:extLst>
              <a:ext uri="{FF2B5EF4-FFF2-40B4-BE49-F238E27FC236}">
                <a16:creationId xmlns:a16="http://schemas.microsoft.com/office/drawing/2014/main" id="{E4BE662C-7EC8-5494-D9D5-1D4D4BAA77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153"/>
          <a:stretch/>
        </p:blipFill>
        <p:spPr bwMode="auto">
          <a:xfrm>
            <a:off x="8786189" y="4795431"/>
            <a:ext cx="3398520" cy="2113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8634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/>
          <p:nvPr/>
        </p:nvSpPr>
        <p:spPr>
          <a:xfrm>
            <a:off x="8222189" y="1418167"/>
            <a:ext cx="3511827" cy="3511827"/>
          </a:xfrm>
          <a:prstGeom prst="ellipse">
            <a:avLst/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4925">
            <a:solidFill>
              <a:schemeClr val="bg1"/>
            </a:solidFill>
          </a:ln>
          <a:effectLst>
            <a:outerShdw blurRad="88900" dist="50800" dir="2700000" algn="tl" rotWithShape="0">
              <a:prstClr val="black">
                <a:alpha val="5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fi-FI" sz="2400" dirty="0">
              <a:solidFill>
                <a:prstClr val="whit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29BB7F3C-0CA6-9C1F-BF7F-86E56C756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3524" y="2255327"/>
            <a:ext cx="7149193" cy="891819"/>
          </a:xfrm>
        </p:spPr>
        <p:txBody>
          <a:bodyPr/>
          <a:lstStyle/>
          <a:p>
            <a:r>
              <a:rPr lang="en-US" sz="3200" dirty="0"/>
              <a:t>Mineral agricultural soils as carbon sinks in Finland</a:t>
            </a:r>
            <a:endParaRPr lang="fi-FI" sz="3200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AA2F917-8645-13E7-4622-292E227C1B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90194" y="3789841"/>
            <a:ext cx="4226607" cy="1140152"/>
          </a:xfrm>
        </p:spPr>
        <p:txBody>
          <a:bodyPr/>
          <a:lstStyle/>
          <a:p>
            <a:r>
              <a:rPr lang="en-AU" sz="1867" b="1" dirty="0"/>
              <a:t>Helena Soinne </a:t>
            </a:r>
          </a:p>
          <a:p>
            <a:r>
              <a:rPr lang="en-AU" sz="1600" dirty="0"/>
              <a:t>Senior Scientist</a:t>
            </a:r>
          </a:p>
          <a:p>
            <a:r>
              <a:rPr lang="en-AU" sz="1600" dirty="0"/>
              <a:t>Natural Resources Institute Finland, </a:t>
            </a:r>
            <a:r>
              <a:rPr lang="en-AU" sz="1600" dirty="0" smtClean="0"/>
              <a:t>Luke</a:t>
            </a:r>
          </a:p>
          <a:p>
            <a:r>
              <a:rPr lang="en-AU" sz="1600" dirty="0" smtClean="0"/>
              <a:t>Contact: helena.soinne@luke.fi</a:t>
            </a:r>
            <a:endParaRPr lang="en-AU" sz="1600" dirty="0"/>
          </a:p>
          <a:p>
            <a:r>
              <a:rPr lang="en-AU" sz="1600" dirty="0"/>
              <a:t> </a:t>
            </a:r>
          </a:p>
        </p:txBody>
      </p:sp>
      <p:pic>
        <p:nvPicPr>
          <p:cNvPr id="11" name="Kuva 4">
            <a:extLst>
              <a:ext uri="{FF2B5EF4-FFF2-40B4-BE49-F238E27FC236}">
                <a16:creationId xmlns:a16="http://schemas.microsoft.com/office/drawing/2014/main" id="{FF5BF20C-9020-DB62-B78A-493C6E349B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197" y="5257503"/>
            <a:ext cx="1221692" cy="1202031"/>
          </a:xfrm>
          <a:prstGeom prst="rect">
            <a:avLst/>
          </a:prstGeom>
        </p:spPr>
      </p:pic>
      <p:pic>
        <p:nvPicPr>
          <p:cNvPr id="13" name="Picture 12" descr="Text&#10;&#10;Description automatically generated">
            <a:extLst>
              <a:ext uri="{FF2B5EF4-FFF2-40B4-BE49-F238E27FC236}">
                <a16:creationId xmlns:a16="http://schemas.microsoft.com/office/drawing/2014/main" id="{97097A8A-9F97-9530-A66E-8B1C55EB48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62213" y="5404835"/>
            <a:ext cx="1672659" cy="907365"/>
          </a:xfrm>
          <a:prstGeom prst="rect">
            <a:avLst/>
          </a:prstGeom>
        </p:spPr>
      </p:pic>
      <p:pic>
        <p:nvPicPr>
          <p:cNvPr id="15" name="Picture 14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185D3890-F016-CF6F-D249-EB41400230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5199" y="4844415"/>
            <a:ext cx="1787532" cy="1667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25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74E61A-4EAB-CE59-83D2-52B76EB8484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fld id="{A14BA6D4-E5A4-4401-8D3D-034C13C00E0D}" type="datetime1">
              <a:rPr lang="fi-FI">
                <a:solidFill>
                  <a:prstClr val="white">
                    <a:lumMod val="65000"/>
                  </a:prstClr>
                </a:solidFill>
              </a:rPr>
              <a:pPr defTabSz="609585" fontAlgn="base">
                <a:spcBef>
                  <a:spcPct val="0"/>
                </a:spcBef>
                <a:spcAft>
                  <a:spcPct val="0"/>
                </a:spcAft>
              </a:pPr>
              <a:t>26.4.2023</a:t>
            </a:fld>
            <a:endParaRPr lang="fi-FI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FEC85C-1CE0-D312-6DBB-3BBD5EBDA0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4460" y="1900395"/>
            <a:ext cx="8782705" cy="2397840"/>
          </a:xfrm>
        </p:spPr>
        <p:txBody>
          <a:bodyPr/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133" dirty="0"/>
              <a:t>Mineral soils are considered to have a high potential for CO</a:t>
            </a:r>
            <a:r>
              <a:rPr lang="en-US" sz="2133" baseline="-25000" dirty="0"/>
              <a:t>2</a:t>
            </a:r>
            <a:r>
              <a:rPr lang="en-US" sz="2133" dirty="0"/>
              <a:t> removal from the atmospher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GB" sz="2133" dirty="0"/>
              <a:t>Soil organic carbon is </a:t>
            </a:r>
            <a:r>
              <a:rPr lang="en-US" sz="2133" dirty="0"/>
              <a:t>essential for functioning of soil</a:t>
            </a:r>
            <a:endParaRPr lang="en-GB" sz="2133" dirty="0"/>
          </a:p>
          <a:p>
            <a:pPr marL="1371566" lvl="1"/>
            <a:r>
              <a:rPr lang="en-US" sz="1867" dirty="0"/>
              <a:t>Higher yields and lower risk for erosio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AU" sz="2133" dirty="0"/>
              <a:t>Soils are different! How </a:t>
            </a:r>
            <a:r>
              <a:rPr lang="en-US" sz="2133" dirty="0"/>
              <a:t>much organic carbon fits into mineral soils?</a:t>
            </a:r>
            <a:endParaRPr lang="en-US" sz="1867" dirty="0"/>
          </a:p>
          <a:p>
            <a:endParaRPr lang="en-GB" sz="2400" dirty="0"/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GB" sz="24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AA909B-656E-7DD9-836A-1B12DD8A8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fi-FI" dirty="0">
                <a:solidFill>
                  <a:prstClr val="white">
                    <a:lumMod val="65000"/>
                  </a:prstClr>
                </a:solidFill>
                <a:latin typeface="Arial" charset="0"/>
                <a:ea typeface="ＭＳ Ｐゴシック" pitchFamily="34" charset="-128"/>
                <a:cs typeface="Arial" charset="0"/>
              </a:rPr>
              <a:t>Helena Soinn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EACC642-B7F6-4AF6-1031-85A25DC71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9" y="275167"/>
            <a:ext cx="10150832" cy="1143000"/>
          </a:xfrm>
        </p:spPr>
        <p:txBody>
          <a:bodyPr/>
          <a:lstStyle/>
          <a:p>
            <a:r>
              <a:rPr lang="en-US" sz="3200" dirty="0"/>
              <a:t>Mineral agricultural soils as carbon sinks in Finland</a:t>
            </a:r>
          </a:p>
        </p:txBody>
      </p:sp>
      <p:pic>
        <p:nvPicPr>
          <p:cNvPr id="8" name="Picture 7" descr="A picture containing tree, outdoor, grass, plant&#10;&#10;Description automatically generated">
            <a:extLst>
              <a:ext uri="{FF2B5EF4-FFF2-40B4-BE49-F238E27FC236}">
                <a16:creationId xmlns:a16="http://schemas.microsoft.com/office/drawing/2014/main" id="{4B7FC79F-6330-5820-DA8F-4F11ABC419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719895"/>
            <a:ext cx="6004331" cy="4501432"/>
          </a:xfrm>
          <a:prstGeom prst="rect">
            <a:avLst/>
          </a:prstGeom>
        </p:spPr>
      </p:pic>
      <p:pic>
        <p:nvPicPr>
          <p:cNvPr id="9" name="Picture 8" descr="A picture containing tree, outdoor, grass, plant&#10;&#10;Description automatically generated">
            <a:extLst>
              <a:ext uri="{FF2B5EF4-FFF2-40B4-BE49-F238E27FC236}">
                <a16:creationId xmlns:a16="http://schemas.microsoft.com/office/drawing/2014/main" id="{078601D1-430C-DA76-D9CE-1A3A49971D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6829" y="4719896"/>
            <a:ext cx="6215169" cy="4659497"/>
          </a:xfrm>
          <a:prstGeom prst="rect">
            <a:avLst/>
          </a:prstGeom>
        </p:spPr>
      </p:pic>
      <p:cxnSp>
        <p:nvCxnSpPr>
          <p:cNvPr id="13" name="Connector: Curved 12">
            <a:extLst>
              <a:ext uri="{FF2B5EF4-FFF2-40B4-BE49-F238E27FC236}">
                <a16:creationId xmlns:a16="http://schemas.microsoft.com/office/drawing/2014/main" id="{0DDC5659-88EC-49CB-941C-36C3F2BE49EE}"/>
              </a:ext>
            </a:extLst>
          </p:cNvPr>
          <p:cNvCxnSpPr>
            <a:cxnSpLocks/>
          </p:cNvCxnSpPr>
          <p:nvPr/>
        </p:nvCxnSpPr>
        <p:spPr>
          <a:xfrm rot="16200000" flipH="1">
            <a:off x="9960681" y="3590172"/>
            <a:ext cx="1645935" cy="414973"/>
          </a:xfrm>
          <a:prstGeom prst="curvedConnector3">
            <a:avLst>
              <a:gd name="adj1" fmla="val 50000"/>
            </a:avLst>
          </a:prstGeom>
          <a:ln w="158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" name="Connector: Curved 18">
            <a:extLst>
              <a:ext uri="{FF2B5EF4-FFF2-40B4-BE49-F238E27FC236}">
                <a16:creationId xmlns:a16="http://schemas.microsoft.com/office/drawing/2014/main" id="{116D5196-6D7B-5377-B746-50E7772CF655}"/>
              </a:ext>
            </a:extLst>
          </p:cNvPr>
          <p:cNvCxnSpPr>
            <a:cxnSpLocks/>
          </p:cNvCxnSpPr>
          <p:nvPr/>
        </p:nvCxnSpPr>
        <p:spPr>
          <a:xfrm rot="5400000">
            <a:off x="10757303" y="3098835"/>
            <a:ext cx="1632000" cy="620155"/>
          </a:xfrm>
          <a:prstGeom prst="curvedConnector3">
            <a:avLst>
              <a:gd name="adj1" fmla="val 25882"/>
            </a:avLst>
          </a:prstGeom>
          <a:ln w="15875"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B5557FC9-D48E-941E-DF1B-504010E678C4}"/>
              </a:ext>
            </a:extLst>
          </p:cNvPr>
          <p:cNvSpPr/>
          <p:nvPr/>
        </p:nvSpPr>
        <p:spPr>
          <a:xfrm rot="16200000">
            <a:off x="4760744" y="875610"/>
            <a:ext cx="2670515" cy="12191997"/>
          </a:xfrm>
          <a:prstGeom prst="triangle">
            <a:avLst/>
          </a:prstGeom>
          <a:gradFill>
            <a:gsLst>
              <a:gs pos="0">
                <a:srgbClr val="ECC880"/>
              </a:gs>
              <a:gs pos="100000">
                <a:srgbClr val="462800"/>
              </a:gs>
            </a:gsLst>
            <a:lin ang="54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fi-FI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5A2C29B-166D-ADCC-41E5-600EAF3C0890}"/>
              </a:ext>
            </a:extLst>
          </p:cNvPr>
          <p:cNvSpPr txBox="1"/>
          <p:nvPr/>
        </p:nvSpPr>
        <p:spPr>
          <a:xfrm>
            <a:off x="10248375" y="2551469"/>
            <a:ext cx="596702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fi-FI" sz="1867" dirty="0">
                <a:solidFill>
                  <a:srgbClr val="54585A"/>
                </a:solidFill>
                <a:latin typeface="Segoe UI" panose="020B0502040204020203" pitchFamily="34" charset="0"/>
                <a:ea typeface="ＭＳ Ｐゴシック" pitchFamily="34" charset="-128"/>
                <a:cs typeface="Segoe UI" panose="020B0502040204020203" pitchFamily="34" charset="0"/>
              </a:rPr>
              <a:t>CO</a:t>
            </a:r>
            <a:r>
              <a:rPr lang="fi-FI" sz="1867" baseline="-25000" dirty="0">
                <a:solidFill>
                  <a:srgbClr val="54585A"/>
                </a:solidFill>
                <a:latin typeface="Segoe UI" panose="020B0502040204020203" pitchFamily="34" charset="0"/>
                <a:ea typeface="ＭＳ Ｐゴシック" pitchFamily="34" charset="-128"/>
                <a:cs typeface="Segoe UI" panose="020B0502040204020203" pitchFamily="34" charset="0"/>
              </a:rPr>
              <a:t>2</a:t>
            </a:r>
            <a:endParaRPr lang="fi-FI" sz="1867" dirty="0">
              <a:solidFill>
                <a:srgbClr val="54585A"/>
              </a:solidFill>
              <a:latin typeface="Segoe UI" panose="020B0502040204020203" pitchFamily="34" charset="0"/>
              <a:ea typeface="ＭＳ Ｐゴシック" pitchFamily="34" charset="-128"/>
              <a:cs typeface="Segoe UI" panose="020B05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3B49FD2-373A-DF22-1F54-FC6837462CA1}"/>
              </a:ext>
            </a:extLst>
          </p:cNvPr>
          <p:cNvSpPr txBox="1"/>
          <p:nvPr/>
        </p:nvSpPr>
        <p:spPr>
          <a:xfrm>
            <a:off x="11536436" y="2182543"/>
            <a:ext cx="596702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fi-FI" sz="1867" dirty="0">
                <a:solidFill>
                  <a:srgbClr val="54585A"/>
                </a:solidFill>
                <a:latin typeface="Segoe UI" panose="020B0502040204020203" pitchFamily="34" charset="0"/>
                <a:ea typeface="ＭＳ Ｐゴシック" pitchFamily="34" charset="-128"/>
                <a:cs typeface="Segoe UI" panose="020B0502040204020203" pitchFamily="34" charset="0"/>
              </a:rPr>
              <a:t>CO</a:t>
            </a:r>
            <a:r>
              <a:rPr lang="fi-FI" sz="1867" baseline="-25000" dirty="0">
                <a:solidFill>
                  <a:srgbClr val="54585A"/>
                </a:solidFill>
                <a:latin typeface="Segoe UI" panose="020B0502040204020203" pitchFamily="34" charset="0"/>
                <a:ea typeface="ＭＳ Ｐゴシック" pitchFamily="34" charset="-128"/>
                <a:cs typeface="Segoe UI" panose="020B0502040204020203" pitchFamily="34" charset="0"/>
              </a:rPr>
              <a:t>2</a:t>
            </a:r>
            <a:endParaRPr lang="fi-FI" sz="1867" dirty="0">
              <a:solidFill>
                <a:srgbClr val="54585A"/>
              </a:solidFill>
              <a:latin typeface="Segoe UI" panose="020B0502040204020203" pitchFamily="34" charset="0"/>
              <a:ea typeface="ＭＳ Ｐゴシック" pitchFamily="34" charset="-128"/>
              <a:cs typeface="Segoe UI" panose="020B050204020402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6D347DE-4233-2BB8-BF92-3394BBE4D97D}"/>
              </a:ext>
            </a:extLst>
          </p:cNvPr>
          <p:cNvSpPr/>
          <p:nvPr/>
        </p:nvSpPr>
        <p:spPr>
          <a:xfrm>
            <a:off x="10488165" y="5624697"/>
            <a:ext cx="479579" cy="458345"/>
          </a:xfrm>
          <a:prstGeom prst="ellipse">
            <a:avLst/>
          </a:prstGeom>
          <a:solidFill>
            <a:srgbClr val="533C0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r>
              <a:rPr lang="fi-FI" sz="2400" dirty="0">
                <a:solidFill>
                  <a:prstClr val="white"/>
                </a:solidFill>
                <a:latin typeface="Segoe UI"/>
              </a:rPr>
              <a:t>C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00E47E3-1B1D-FDB9-4888-A1B8EA6055E9}"/>
              </a:ext>
            </a:extLst>
          </p:cNvPr>
          <p:cNvSpPr/>
          <p:nvPr/>
        </p:nvSpPr>
        <p:spPr>
          <a:xfrm>
            <a:off x="11139363" y="5407177"/>
            <a:ext cx="479579" cy="458345"/>
          </a:xfrm>
          <a:prstGeom prst="ellipse">
            <a:avLst/>
          </a:prstGeom>
          <a:solidFill>
            <a:srgbClr val="533C0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r>
              <a:rPr lang="fi-FI" sz="2400" dirty="0">
                <a:solidFill>
                  <a:prstClr val="white"/>
                </a:solidFill>
                <a:latin typeface="Segoe UI"/>
              </a:rPr>
              <a:t>C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29F4864-45DC-308E-EC12-56D3EC858A97}"/>
              </a:ext>
            </a:extLst>
          </p:cNvPr>
          <p:cNvSpPr/>
          <p:nvPr/>
        </p:nvSpPr>
        <p:spPr>
          <a:xfrm>
            <a:off x="11573303" y="5532936"/>
            <a:ext cx="479579" cy="458345"/>
          </a:xfrm>
          <a:prstGeom prst="ellipse">
            <a:avLst/>
          </a:prstGeom>
          <a:solidFill>
            <a:srgbClr val="533C0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r>
              <a:rPr lang="fi-FI" sz="2400" dirty="0">
                <a:solidFill>
                  <a:prstClr val="white"/>
                </a:solidFill>
                <a:latin typeface="Segoe UI"/>
              </a:rPr>
              <a:t>C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7971B90-1FE4-7F4C-087C-2DA8A1E43EA0}"/>
              </a:ext>
            </a:extLst>
          </p:cNvPr>
          <p:cNvSpPr/>
          <p:nvPr/>
        </p:nvSpPr>
        <p:spPr>
          <a:xfrm>
            <a:off x="11164012" y="5964790"/>
            <a:ext cx="479579" cy="458345"/>
          </a:xfrm>
          <a:prstGeom prst="ellipse">
            <a:avLst/>
          </a:prstGeom>
          <a:solidFill>
            <a:srgbClr val="533C0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r>
              <a:rPr lang="fi-FI" sz="2400" dirty="0">
                <a:solidFill>
                  <a:prstClr val="white"/>
                </a:solidFill>
                <a:latin typeface="Segoe UI"/>
              </a:rPr>
              <a:t>C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50E86FA-CB67-210C-70BB-360E4395228B}"/>
              </a:ext>
            </a:extLst>
          </p:cNvPr>
          <p:cNvSpPr/>
          <p:nvPr/>
        </p:nvSpPr>
        <p:spPr>
          <a:xfrm>
            <a:off x="11643591" y="6360617"/>
            <a:ext cx="479579" cy="458345"/>
          </a:xfrm>
          <a:prstGeom prst="ellipse">
            <a:avLst/>
          </a:prstGeom>
          <a:solidFill>
            <a:srgbClr val="533C0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r>
              <a:rPr lang="fi-FI" sz="2400" dirty="0">
                <a:solidFill>
                  <a:prstClr val="white"/>
                </a:solidFill>
                <a:latin typeface="Segoe UI"/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129737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030F108-30D6-4CE6-889F-25F4E0C2205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fld id="{A14BA6D4-E5A4-4401-8D3D-034C13C00E0D}" type="datetime1">
              <a:rPr lang="fi-FI">
                <a:solidFill>
                  <a:prstClr val="white">
                    <a:lumMod val="65000"/>
                  </a:prstClr>
                </a:solidFill>
              </a:rPr>
              <a:pPr defTabSz="609585" fontAlgn="base">
                <a:spcBef>
                  <a:spcPct val="0"/>
                </a:spcBef>
                <a:spcAft>
                  <a:spcPct val="0"/>
                </a:spcAft>
              </a:pPr>
              <a:t>26.4.2023</a:t>
            </a:fld>
            <a:endParaRPr lang="fi-FI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76946A-5BA3-312A-7BDD-11C88B51AFE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33543" y="1845443"/>
            <a:ext cx="7650007" cy="2683016"/>
          </a:xfrm>
        </p:spPr>
        <p:txBody>
          <a:bodyPr/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133" dirty="0"/>
              <a:t>Soil organic carbon is protected by mineral particles in soil - capacity is limited and depends on soil typ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133" dirty="0"/>
              <a:t>Easier to increase carbon content in low organic carbon soils - these soils also benefit the most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133" dirty="0"/>
              <a:t>Soil organic carbon content is high in the Northern Europe - climate and age of the fields</a:t>
            </a:r>
          </a:p>
          <a:p>
            <a:endParaRPr lang="fi-FI" sz="1867" dirty="0"/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35386EAA-AC16-06B0-41E7-9A3135C574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46101" y="6118578"/>
            <a:ext cx="5633425" cy="603956"/>
          </a:xfrm>
        </p:spPr>
        <p:txBody>
          <a:bodyPr/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fi-FI" dirty="0">
                <a:solidFill>
                  <a:prstClr val="white">
                    <a:lumMod val="65000"/>
                  </a:prstClr>
                </a:solidFill>
                <a:latin typeface="Arial" charset="0"/>
                <a:ea typeface="ＭＳ Ｐゴシック" pitchFamily="34" charset="-128"/>
                <a:cs typeface="Arial" charset="0"/>
              </a:rPr>
              <a:t>Helena Soinn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C521139-F131-52CD-18B8-915200959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9" y="275167"/>
            <a:ext cx="10150832" cy="1143000"/>
          </a:xfrm>
        </p:spPr>
        <p:txBody>
          <a:bodyPr/>
          <a:lstStyle/>
          <a:p>
            <a:r>
              <a:rPr lang="en-US" sz="3200" dirty="0"/>
              <a:t>Mineral agricultural soils as carbon sinks in Finland</a:t>
            </a:r>
          </a:p>
        </p:txBody>
      </p:sp>
      <p:pic>
        <p:nvPicPr>
          <p:cNvPr id="6" name="Main graphic">
            <a:extLst>
              <a:ext uri="{FF2B5EF4-FFF2-40B4-BE49-F238E27FC236}">
                <a16:creationId xmlns:a16="http://schemas.microsoft.com/office/drawing/2014/main" id="{0933D902-BBAD-5EE8-D1E3-13B406CC16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/>
        </p:blipFill>
        <p:spPr>
          <a:xfrm>
            <a:off x="8001657" y="1806816"/>
            <a:ext cx="3955736" cy="3923113"/>
          </a:xfrm>
          <a:prstGeom prst="rect">
            <a:avLst/>
          </a:prstGeom>
          <a:ln>
            <a:noFill/>
          </a:ln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2F8A9E5E-6448-01B0-5B8B-65252F17EF21}"/>
              </a:ext>
            </a:extLst>
          </p:cNvPr>
          <p:cNvSpPr txBox="1">
            <a:spLocks/>
          </p:cNvSpPr>
          <p:nvPr/>
        </p:nvSpPr>
        <p:spPr>
          <a:xfrm>
            <a:off x="233544" y="4071447"/>
            <a:ext cx="7769176" cy="2082600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Segoe UI" panose="020B0502040204020203" pitchFamily="34" charset="0"/>
              <a:buChar char="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Segoe UI" panose="020B0502040204020203" pitchFamily="34" charset="0"/>
              <a:buChar char="‐"/>
              <a:defRPr sz="14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0" indent="-380990" defTabSz="609585">
              <a:buFont typeface="Arial" panose="020B0604020202020204" pitchFamily="34" charset="0"/>
              <a:buChar char="•"/>
            </a:pPr>
            <a:r>
              <a:rPr lang="en-US" sz="2133" b="1" dirty="0">
                <a:solidFill>
                  <a:srgbClr val="54585A"/>
                </a:solidFill>
              </a:rPr>
              <a:t>Can we sequester carbon into mineral agricultural soils in Finland?</a:t>
            </a:r>
          </a:p>
          <a:p>
            <a:pPr marL="1371566" lvl="1" indent="-380990" defTabSz="609585"/>
            <a:r>
              <a:rPr lang="en-US" sz="1867" dirty="0">
                <a:solidFill>
                  <a:srgbClr val="54585A"/>
                </a:solidFill>
              </a:rPr>
              <a:t>Remaining C sequestration capacity = total capacity – current carbon stocks</a:t>
            </a:r>
          </a:p>
          <a:p>
            <a:pPr marL="380990" indent="-380990" defTabSz="609585">
              <a:buFont typeface="Arial" panose="020B0604020202020204" pitchFamily="34" charset="0"/>
              <a:buChar char="•"/>
            </a:pPr>
            <a:endParaRPr lang="fi-FI" sz="1867" dirty="0">
              <a:solidFill>
                <a:srgbClr val="54585A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C1CDD11-AD3C-D230-533A-810675C74392}"/>
              </a:ext>
            </a:extLst>
          </p:cNvPr>
          <p:cNvSpPr txBox="1"/>
          <p:nvPr/>
        </p:nvSpPr>
        <p:spPr>
          <a:xfrm>
            <a:off x="8002721" y="5834459"/>
            <a:ext cx="41125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fi-FI" sz="800" dirty="0">
                <a:solidFill>
                  <a:srgbClr val="54585A"/>
                </a:solidFill>
                <a:latin typeface="Segoe UI" panose="020B0502040204020203" pitchFamily="34" charset="0"/>
                <a:ea typeface="ＭＳ Ｐゴシック" pitchFamily="34" charset="-128"/>
                <a:cs typeface="Segoe UI" panose="020B0502040204020203" pitchFamily="34" charset="0"/>
              </a:rPr>
              <a:t>de Brogniez, D., Ballabio, C., Stevens, A., Jones, R.J.A., Montanarella, L. and van Wesemael, B., 2015. A map of the topsoil organic carbon content of Europe generated by a generalized additive model. European Journal of Soil Science, 66(1), pp.121-134.</a:t>
            </a:r>
          </a:p>
        </p:txBody>
      </p:sp>
    </p:spTree>
    <p:extLst>
      <p:ext uri="{BB962C8B-B14F-4D97-AF65-F5344CB8AC3E}">
        <p14:creationId xmlns:p14="http://schemas.microsoft.com/office/powerpoint/2010/main" val="46499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030F108-30D6-4CE6-889F-25F4E0C2205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fld id="{A14BA6D4-E5A4-4401-8D3D-034C13C00E0D}" type="datetime1">
              <a:rPr lang="fi-FI">
                <a:solidFill>
                  <a:prstClr val="white">
                    <a:lumMod val="65000"/>
                  </a:prstClr>
                </a:solidFill>
              </a:rPr>
              <a:pPr defTabSz="609585" fontAlgn="base">
                <a:spcBef>
                  <a:spcPct val="0"/>
                </a:spcBef>
                <a:spcAft>
                  <a:spcPct val="0"/>
                </a:spcAft>
              </a:pPr>
              <a:t>26.4.2023</a:t>
            </a:fld>
            <a:endParaRPr lang="fi-FI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B0CD241-FEA5-42D1-BA5E-1231BD3A84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5404" y="1518618"/>
            <a:ext cx="4904909" cy="3514020"/>
          </a:xfrm>
        </p:spPr>
        <p:txBody>
          <a:bodyPr/>
          <a:lstStyle/>
          <a:p>
            <a:r>
              <a:rPr lang="en-US" sz="2133" dirty="0"/>
              <a:t>Share of soil samples (%) with carbon sequestration capacity in each municipality of Finland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67" dirty="0"/>
              <a:t>In Norther Finland, carbon content is high in relation to the capacity of soil to protect the carbon </a:t>
            </a:r>
          </a:p>
          <a:p>
            <a:r>
              <a:rPr lang="en-US" sz="1867" dirty="0"/>
              <a:t>	Risk for carbon losses in changing 	climat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67" dirty="0"/>
              <a:t>In Southwest Finland, potential to sequester carbon</a:t>
            </a:r>
          </a:p>
        </p:txBody>
      </p:sp>
      <p:pic>
        <p:nvPicPr>
          <p:cNvPr id="15" name="Picture 14" descr="Map&#10;&#10;Description automatically generated">
            <a:extLst>
              <a:ext uri="{FF2B5EF4-FFF2-40B4-BE49-F238E27FC236}">
                <a16:creationId xmlns:a16="http://schemas.microsoft.com/office/drawing/2014/main" id="{DE50D217-81D2-5995-03A5-9A3F420C7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1505" y="1477716"/>
            <a:ext cx="3662488" cy="4883317"/>
          </a:xfrm>
          <a:prstGeom prst="rect">
            <a:avLst/>
          </a:prstGeom>
        </p:spPr>
      </p:pic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45739E4-5564-E5AE-4ED5-8DC821E004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46101" y="6118578"/>
            <a:ext cx="5633425" cy="603956"/>
          </a:xfrm>
        </p:spPr>
        <p:txBody>
          <a:bodyPr/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fi-FI" dirty="0">
                <a:solidFill>
                  <a:prstClr val="white">
                    <a:lumMod val="65000"/>
                  </a:prstClr>
                </a:solidFill>
                <a:latin typeface="Arial" charset="0"/>
                <a:ea typeface="ＭＳ Ｐゴシック" pitchFamily="34" charset="-128"/>
                <a:cs typeface="Arial" charset="0"/>
              </a:rPr>
              <a:t>Helena Soinne</a:t>
            </a:r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650E61FE-AC7B-E717-D93D-24E503A35661}"/>
              </a:ext>
            </a:extLst>
          </p:cNvPr>
          <p:cNvSpPr/>
          <p:nvPr/>
        </p:nvSpPr>
        <p:spPr>
          <a:xfrm>
            <a:off x="742519" y="3694878"/>
            <a:ext cx="412511" cy="224497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fi-FI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EE5741B-E781-1206-9E9A-801FD857CE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9" y="275167"/>
            <a:ext cx="10150832" cy="1143000"/>
          </a:xfrm>
        </p:spPr>
        <p:txBody>
          <a:bodyPr/>
          <a:lstStyle/>
          <a:p>
            <a:r>
              <a:rPr lang="en-US" sz="3200" dirty="0"/>
              <a:t>Mineral agricultural soils as carbon sinks in Finland</a:t>
            </a:r>
          </a:p>
        </p:txBody>
      </p:sp>
    </p:spTree>
    <p:extLst>
      <p:ext uri="{BB962C8B-B14F-4D97-AF65-F5344CB8AC3E}">
        <p14:creationId xmlns:p14="http://schemas.microsoft.com/office/powerpoint/2010/main" val="1275458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030F108-30D6-4CE6-889F-25F4E0C2205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fld id="{A14BA6D4-E5A4-4401-8D3D-034C13C00E0D}" type="datetime1">
              <a:rPr lang="fi-FI">
                <a:solidFill>
                  <a:prstClr val="white">
                    <a:lumMod val="65000"/>
                  </a:prstClr>
                </a:solidFill>
              </a:rPr>
              <a:pPr defTabSz="609585" fontAlgn="base">
                <a:spcBef>
                  <a:spcPct val="0"/>
                </a:spcBef>
                <a:spcAft>
                  <a:spcPct val="0"/>
                </a:spcAft>
              </a:pPr>
              <a:t>26.4.2023</a:t>
            </a:fld>
            <a:endParaRPr lang="fi-FI" dirty="0">
              <a:solidFill>
                <a:prstClr val="white">
                  <a:lumMod val="65000"/>
                </a:prstClr>
              </a:solidFill>
            </a:endParaRPr>
          </a:p>
        </p:txBody>
      </p:sp>
      <p:pic>
        <p:nvPicPr>
          <p:cNvPr id="15" name="Picture 14" descr="Map&#10;&#10;Description automatically generated">
            <a:extLst>
              <a:ext uri="{FF2B5EF4-FFF2-40B4-BE49-F238E27FC236}">
                <a16:creationId xmlns:a16="http://schemas.microsoft.com/office/drawing/2014/main" id="{DE50D217-81D2-5995-03A5-9A3F420C7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1505" y="1477716"/>
            <a:ext cx="3662488" cy="488331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CED8105-2D3E-A944-41CC-9322DA5E5B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1619" y="1477716"/>
            <a:ext cx="3080381" cy="470023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EA9B77A-33C5-57B3-C9D3-B5A976BE65CD}"/>
              </a:ext>
            </a:extLst>
          </p:cNvPr>
          <p:cNvSpPr txBox="1"/>
          <p:nvPr/>
        </p:nvSpPr>
        <p:spPr>
          <a:xfrm>
            <a:off x="8580235" y="6336613"/>
            <a:ext cx="3611765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222222"/>
                </a:solidFill>
                <a:latin typeface="Arial" panose="020B0604020202020204" pitchFamily="34" charset="0"/>
                <a:ea typeface="ＭＳ Ｐゴシック" pitchFamily="34" charset="-128"/>
                <a:cs typeface="Arial" charset="0"/>
              </a:rPr>
              <a:t>Räsänen, T.A., Tähtikarhu, M., Uusi-Kämppä, J., Piirainen, S. and Turtola, E., 2023. Evaluation of RUSLE and spatial assessment of agricultural soil erosion in Finland. </a:t>
            </a:r>
            <a:r>
              <a:rPr lang="en-GB" sz="800" i="1" dirty="0">
                <a:solidFill>
                  <a:srgbClr val="222222"/>
                </a:solidFill>
                <a:latin typeface="Arial" panose="020B0604020202020204" pitchFamily="34" charset="0"/>
                <a:ea typeface="ＭＳ Ｐゴシック" pitchFamily="34" charset="-128"/>
                <a:cs typeface="Arial" charset="0"/>
              </a:rPr>
              <a:t>Geoderma Regional</a:t>
            </a:r>
            <a:r>
              <a:rPr lang="en-GB" sz="800" dirty="0">
                <a:solidFill>
                  <a:srgbClr val="222222"/>
                </a:solidFill>
                <a:latin typeface="Arial" panose="020B0604020202020204" pitchFamily="34" charset="0"/>
                <a:ea typeface="ＭＳ Ｐゴシック" pitchFamily="34" charset="-128"/>
                <a:cs typeface="Arial" charset="0"/>
              </a:rPr>
              <a:t>, p.e00610.</a:t>
            </a:r>
            <a:endParaRPr lang="en-GB" sz="800" dirty="0">
              <a:solidFill>
                <a:srgbClr val="54585A"/>
              </a:solidFill>
              <a:latin typeface="Segoe UI" panose="020B0502040204020203" pitchFamily="34" charset="0"/>
              <a:ea typeface="ＭＳ Ｐゴシック" pitchFamily="34" charset="-128"/>
              <a:cs typeface="Segoe UI" panose="020B0502040204020203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09A0D12-614B-478F-F044-409E677073DF}"/>
              </a:ext>
            </a:extLst>
          </p:cNvPr>
          <p:cNvSpPr/>
          <p:nvPr/>
        </p:nvSpPr>
        <p:spPr>
          <a:xfrm rot="838683">
            <a:off x="10017642" y="5434937"/>
            <a:ext cx="1079657" cy="798860"/>
          </a:xfrm>
          <a:prstGeom prst="ellipse">
            <a:avLst/>
          </a:prstGeom>
          <a:noFill/>
          <a:ln w="412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fi-FI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7409AD7-54C9-8366-0488-E2BE6A8BB197}"/>
              </a:ext>
            </a:extLst>
          </p:cNvPr>
          <p:cNvSpPr/>
          <p:nvPr/>
        </p:nvSpPr>
        <p:spPr>
          <a:xfrm rot="838683">
            <a:off x="6062000" y="5331010"/>
            <a:ext cx="1079657" cy="798860"/>
          </a:xfrm>
          <a:prstGeom prst="ellipse">
            <a:avLst/>
          </a:prstGeom>
          <a:noFill/>
          <a:ln w="4127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fi-FI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3A8EA98A-F12C-FE55-D968-44B4706352A1}"/>
              </a:ext>
            </a:extLst>
          </p:cNvPr>
          <p:cNvSpPr/>
          <p:nvPr/>
        </p:nvSpPr>
        <p:spPr>
          <a:xfrm rot="1042777">
            <a:off x="4982935" y="5210588"/>
            <a:ext cx="1010003" cy="301821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fi-FI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4EAEFE8D-8615-394E-8459-322D3E4AD992}"/>
              </a:ext>
            </a:extLst>
          </p:cNvPr>
          <p:cNvSpPr/>
          <p:nvPr/>
        </p:nvSpPr>
        <p:spPr>
          <a:xfrm rot="1455470">
            <a:off x="8956756" y="5235060"/>
            <a:ext cx="1010003" cy="301821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fi-FI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2039E63-8112-B3FD-5A3A-78B927F1717D}"/>
              </a:ext>
            </a:extLst>
          </p:cNvPr>
          <p:cNvSpPr txBox="1">
            <a:spLocks/>
          </p:cNvSpPr>
          <p:nvPr/>
        </p:nvSpPr>
        <p:spPr>
          <a:xfrm>
            <a:off x="505405" y="4760967"/>
            <a:ext cx="4800700" cy="1653327"/>
          </a:xfrm>
          <a:prstGeom prst="rect">
            <a:avLst/>
          </a:prstGeom>
        </p:spPr>
        <p:txBody>
          <a:bodyPr/>
          <a:lstStyle>
            <a:lvl1pPr algn="l" defTabSz="457200" rtl="0" eaLnBrk="1" fontAlgn="base" hangingPunct="1">
              <a:spcBef>
                <a:spcPct val="2000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Segoe UI" panose="020B0502040204020203" pitchFamily="34" charset="0"/>
              <a:buChar char="‒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Segoe UI" panose="020B0502040204020203" pitchFamily="34" charset="0"/>
              <a:buChar char="‐"/>
              <a:defRPr sz="14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2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0" indent="-380990" defTabSz="609585">
              <a:buFont typeface="Arial" panose="020B0604020202020204" pitchFamily="34" charset="0"/>
              <a:buChar char="•"/>
            </a:pPr>
            <a:r>
              <a:rPr lang="en-US" sz="1867" dirty="0">
                <a:solidFill>
                  <a:srgbClr val="FF8200"/>
                </a:solidFill>
              </a:rPr>
              <a:t>In Southwest Finland, risk for soil erosion is high</a:t>
            </a:r>
          </a:p>
          <a:p>
            <a:pPr defTabSz="609585"/>
            <a:r>
              <a:rPr lang="en-US" sz="1867" dirty="0">
                <a:solidFill>
                  <a:srgbClr val="FF8200"/>
                </a:solidFill>
              </a:rPr>
              <a:t>	Increasing soil carbon content would 	also contribute to water protection</a:t>
            </a:r>
          </a:p>
          <a:p>
            <a:pPr defTabSz="609585"/>
            <a:endParaRPr lang="en-US" sz="1867" dirty="0">
              <a:solidFill>
                <a:srgbClr val="FF8200"/>
              </a:solidFill>
            </a:endParaRP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BC3A882-6EA4-41F9-D1B2-C0121564BB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46101" y="6118578"/>
            <a:ext cx="5633425" cy="603956"/>
          </a:xfrm>
        </p:spPr>
        <p:txBody>
          <a:bodyPr/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fi-FI" dirty="0">
                <a:solidFill>
                  <a:prstClr val="white">
                    <a:lumMod val="65000"/>
                  </a:prstClr>
                </a:solidFill>
                <a:latin typeface="Arial" charset="0"/>
                <a:ea typeface="ＭＳ Ｐゴシック" pitchFamily="34" charset="-128"/>
                <a:cs typeface="Arial" charset="0"/>
              </a:rPr>
              <a:t>Helena Soinn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9297FC2-7158-0B5B-F690-C17F00CBD7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5404" y="1518618"/>
            <a:ext cx="4904909" cy="3266513"/>
          </a:xfrm>
        </p:spPr>
        <p:txBody>
          <a:bodyPr/>
          <a:lstStyle/>
          <a:p>
            <a:r>
              <a:rPr lang="en-US" sz="2133" dirty="0"/>
              <a:t>Share of soil samples (%) with carbon sequestration capacity in each municipality of Finland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67" dirty="0"/>
              <a:t>In Norther Finland, carbon content is high in relation to the capacity of soil to protect the carbon </a:t>
            </a:r>
          </a:p>
          <a:p>
            <a:r>
              <a:rPr lang="en-US" sz="1867" dirty="0"/>
              <a:t>	Risk for carbon losses in changing 	climat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67" dirty="0"/>
              <a:t>In Southwest Finland, potential to sequester carbon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D2A0B1A3-0DDF-2DB2-69EF-CACC63CEABC9}"/>
              </a:ext>
            </a:extLst>
          </p:cNvPr>
          <p:cNvSpPr/>
          <p:nvPr/>
        </p:nvSpPr>
        <p:spPr>
          <a:xfrm>
            <a:off x="742519" y="3694878"/>
            <a:ext cx="412511" cy="224497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fi-FI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79473BA-F004-775D-31AE-065230393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9" y="275167"/>
            <a:ext cx="10150832" cy="1143000"/>
          </a:xfrm>
        </p:spPr>
        <p:txBody>
          <a:bodyPr/>
          <a:lstStyle/>
          <a:p>
            <a:r>
              <a:rPr lang="en-US" sz="3200" dirty="0"/>
              <a:t>Mineral agricultural soils as carbon sinks in Finland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6604C368-D1FF-340B-9EDF-5A4301003441}"/>
              </a:ext>
            </a:extLst>
          </p:cNvPr>
          <p:cNvSpPr/>
          <p:nvPr/>
        </p:nvSpPr>
        <p:spPr>
          <a:xfrm>
            <a:off x="739463" y="5544117"/>
            <a:ext cx="412511" cy="224497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fi-FI" sz="2400" dirty="0">
              <a:solidFill>
                <a:prstClr val="white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194755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E86A1EA-1391-B879-2460-1998FD793D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4458" y="1418168"/>
            <a:ext cx="9615543" cy="4706861"/>
          </a:xfrm>
        </p:spPr>
        <p:txBody>
          <a:bodyPr/>
          <a:lstStyle/>
          <a:p>
            <a:r>
              <a:rPr lang="en-US" sz="2133" b="1" dirty="0"/>
              <a:t>Summary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133" dirty="0"/>
              <a:t>Organic carbon is essential for functioning of soil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133" dirty="0"/>
              <a:t>Fields with carbon sequestration potential are in Southwest Finland</a:t>
            </a:r>
          </a:p>
          <a:p>
            <a:pPr marL="1371566" lvl="1"/>
            <a:r>
              <a:rPr lang="en-US" sz="1867" dirty="0"/>
              <a:t>Increasing carbon is beneficial for soil productivity and erosion control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133" dirty="0"/>
              <a:t>In Finland, mineral soils have relatively high organic carbon content – risk for carbon losses!</a:t>
            </a:r>
          </a:p>
          <a:p>
            <a:pPr marL="1371566" lvl="1"/>
            <a:r>
              <a:rPr lang="en-US" sz="1867" dirty="0"/>
              <a:t>Important to aim at maintaining the current carbon content</a:t>
            </a:r>
          </a:p>
          <a:p>
            <a:pPr marL="1371566" lvl="1"/>
            <a:r>
              <a:rPr lang="en-US" sz="1867" dirty="0"/>
              <a:t>Low potential for acting as carbon sinks</a:t>
            </a:r>
          </a:p>
          <a:p>
            <a:pPr algn="ctr"/>
            <a:endParaRPr lang="en-US" sz="2133" b="1" dirty="0"/>
          </a:p>
          <a:p>
            <a:pPr algn="ctr"/>
            <a:r>
              <a:rPr lang="en-US" sz="2133" b="1" dirty="0"/>
              <a:t>Part of the field area can potentially be carbon sink – In part of the mineral soils, even maintaining the current level of carbon is challenging in warming climat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8773511-66EA-723E-C71A-B664E258DB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59" y="275167"/>
            <a:ext cx="10150832" cy="1143000"/>
          </a:xfrm>
        </p:spPr>
        <p:txBody>
          <a:bodyPr/>
          <a:lstStyle/>
          <a:p>
            <a:r>
              <a:rPr lang="en-US" sz="3200" dirty="0"/>
              <a:t>Mineral agricultural soils as carbon sinks in Finland</a:t>
            </a:r>
          </a:p>
        </p:txBody>
      </p:sp>
      <p:pic>
        <p:nvPicPr>
          <p:cNvPr id="13" name="Picture 12" descr="A picture containing grass, plant, outdoor, field&#10;&#10;Description automatically generated">
            <a:extLst>
              <a:ext uri="{FF2B5EF4-FFF2-40B4-BE49-F238E27FC236}">
                <a16:creationId xmlns:a16="http://schemas.microsoft.com/office/drawing/2014/main" id="{3BAC1E99-44A2-D091-84D2-A3BA5DEABF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84448" y="0"/>
            <a:ext cx="170755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898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n paikkamerkki 6"/>
          <p:cNvPicPr preferRelativeResize="0"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61" y="4870332"/>
            <a:ext cx="12133006" cy="1987668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>
                <a:latin typeface="Montserrat" panose="00000500000000000000" pitchFamily="50" charset="0"/>
              </a:rPr>
              <a:t>Catch the Carbon</a:t>
            </a:r>
            <a:r>
              <a:rPr lang="fi-FI" dirty="0">
                <a:latin typeface="Montserrat" panose="00000500000000000000" pitchFamily="50" charset="0"/>
              </a:rPr>
              <a:t> </a:t>
            </a:r>
            <a:r>
              <a:rPr lang="fi-FI" dirty="0" smtClean="0">
                <a:latin typeface="Montserrat" panose="00000500000000000000" pitchFamily="50" charset="0"/>
              </a:rPr>
              <a:t>programme</a:t>
            </a:r>
            <a:endParaRPr lang="fi-FI" dirty="0">
              <a:latin typeface="Montserrat" panose="00000500000000000000" pitchFamily="50" charset="0"/>
            </a:endParaRP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/>
            <a:r>
              <a:rPr lang="en-US" sz="1800" dirty="0">
                <a:latin typeface="Montserrat" panose="00000500000000000000" pitchFamily="50" charset="0"/>
              </a:rPr>
              <a:t>Finland aims to be climate neutral already by 2035 </a:t>
            </a:r>
          </a:p>
          <a:p>
            <a:pPr marL="342900" indent="-342900"/>
            <a:r>
              <a:rPr lang="en-US" sz="1800" dirty="0">
                <a:latin typeface="Montserrat" panose="00000500000000000000" pitchFamily="50" charset="0"/>
              </a:rPr>
              <a:t>To support this we have laid down a target in our national </a:t>
            </a:r>
            <a:r>
              <a:rPr lang="en-US" sz="1800" b="1" dirty="0" smtClean="0">
                <a:latin typeface="Montserrat" panose="00000500000000000000" pitchFamily="50" charset="0"/>
              </a:rPr>
              <a:t>Climate Plan for Land Use Sector</a:t>
            </a:r>
            <a:r>
              <a:rPr lang="en-US" sz="1800" dirty="0" smtClean="0">
                <a:latin typeface="Montserrat" panose="00000500000000000000" pitchFamily="50" charset="0"/>
              </a:rPr>
              <a:t> an additional annual </a:t>
            </a:r>
            <a:r>
              <a:rPr lang="en-US" sz="1800" dirty="0">
                <a:latin typeface="Montserrat" panose="00000500000000000000" pitchFamily="50" charset="0"/>
              </a:rPr>
              <a:t>net impact of over 3 million tons carbon dioxide equivalent by 2035 in the land use sector. </a:t>
            </a:r>
          </a:p>
          <a:p>
            <a:pPr marL="800100" lvl="1" indent="-342900"/>
            <a:r>
              <a:rPr lang="en-US" sz="1600" dirty="0">
                <a:latin typeface="Montserrat" panose="00000500000000000000" pitchFamily="50" charset="0"/>
              </a:rPr>
              <a:t>The aim is to reduce greenhouse gas emissions and enhance carbon sinks and reservoirs.</a:t>
            </a:r>
          </a:p>
          <a:p>
            <a:pPr marL="342900" indent="-342900"/>
            <a:r>
              <a:rPr lang="en-US" sz="1800" dirty="0">
                <a:latin typeface="Montserrat" panose="00000500000000000000" pitchFamily="50" charset="0"/>
              </a:rPr>
              <a:t>All of this </a:t>
            </a:r>
            <a:r>
              <a:rPr lang="en-US" sz="1800" dirty="0" smtClean="0">
                <a:latin typeface="Montserrat" panose="00000500000000000000" pitchFamily="50" charset="0"/>
              </a:rPr>
              <a:t>needs </a:t>
            </a:r>
            <a:r>
              <a:rPr lang="en-US" sz="1800" dirty="0">
                <a:latin typeface="Montserrat" panose="00000500000000000000" pitchFamily="50" charset="0"/>
              </a:rPr>
              <a:t>to be done in a sustainable way taking into account environmental, social, and economical sustainability, and biodiversity.</a:t>
            </a:r>
          </a:p>
          <a:p>
            <a:pPr marL="342900" lvl="0" indent="-342900"/>
            <a:r>
              <a:rPr lang="en-US" sz="1800" dirty="0">
                <a:latin typeface="Montserrat" panose="00000500000000000000" pitchFamily="50" charset="0"/>
              </a:rPr>
              <a:t>The </a:t>
            </a:r>
            <a:r>
              <a:rPr lang="en-US" sz="1800" dirty="0" smtClean="0">
                <a:latin typeface="Montserrat" panose="00000500000000000000" pitchFamily="50" charset="0"/>
              </a:rPr>
              <a:t>Government’s </a:t>
            </a:r>
            <a:r>
              <a:rPr lang="en-US" sz="1800" b="1" dirty="0" smtClean="0">
                <a:latin typeface="Montserrat" panose="00000500000000000000" pitchFamily="50" charset="0"/>
              </a:rPr>
              <a:t>Catch </a:t>
            </a:r>
            <a:r>
              <a:rPr lang="en-US" sz="1800" b="1" dirty="0">
                <a:latin typeface="Montserrat" panose="00000500000000000000" pitchFamily="50" charset="0"/>
              </a:rPr>
              <a:t>the </a:t>
            </a:r>
            <a:r>
              <a:rPr lang="en-US" sz="1800" b="1" dirty="0" smtClean="0">
                <a:latin typeface="Montserrat" panose="00000500000000000000" pitchFamily="50" charset="0"/>
              </a:rPr>
              <a:t>Carbon programme </a:t>
            </a:r>
            <a:r>
              <a:rPr lang="en-US" sz="1800" dirty="0">
                <a:latin typeface="Montserrat" panose="00000500000000000000" pitchFamily="50" charset="0"/>
              </a:rPr>
              <a:t>contains a good number of climate measures concerning agriculture, forestry and land use </a:t>
            </a:r>
            <a:r>
              <a:rPr lang="en-US" sz="1800" dirty="0" smtClean="0">
                <a:latin typeface="Montserrat" panose="00000500000000000000" pitchFamily="50" charset="0"/>
              </a:rPr>
              <a:t>changes.</a:t>
            </a:r>
            <a:endParaRPr lang="en-US" sz="1800" dirty="0">
              <a:latin typeface="Montserrat" panose="00000500000000000000" pitchFamily="50" charset="0"/>
            </a:endParaRPr>
          </a:p>
          <a:p>
            <a:pPr marL="342900" lvl="0" indent="-342900"/>
            <a:endParaRPr lang="en-US" dirty="0">
              <a:latin typeface="Montserrat" panose="00000500000000000000" pitchFamily="50" charset="0"/>
            </a:endParaRP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774476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/>
          <p:nvPr/>
        </p:nvSpPr>
        <p:spPr>
          <a:xfrm>
            <a:off x="8222189" y="1418167"/>
            <a:ext cx="3511827" cy="3511827"/>
          </a:xfrm>
          <a:prstGeom prst="ellipse">
            <a:avLst/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34925">
            <a:solidFill>
              <a:schemeClr val="bg1"/>
            </a:solidFill>
          </a:ln>
          <a:effectLst>
            <a:outerShdw blurRad="88900" dist="50800" dir="2700000" algn="tl" rotWithShape="0">
              <a:prstClr val="black">
                <a:alpha val="5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</a:pPr>
            <a:endParaRPr lang="fi-FI" sz="2400" dirty="0">
              <a:solidFill>
                <a:prstClr val="whit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29BB7F3C-0CA6-9C1F-BF7F-86E56C756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81" y="1138876"/>
            <a:ext cx="7149193" cy="891819"/>
          </a:xfrm>
        </p:spPr>
        <p:txBody>
          <a:bodyPr/>
          <a:lstStyle/>
          <a:p>
            <a:pPr algn="ctr"/>
            <a:r>
              <a:rPr lang="fi-FI" sz="3200" dirty="0"/>
              <a:t>Thank you!</a:t>
            </a:r>
          </a:p>
        </p:txBody>
      </p:sp>
      <p:pic>
        <p:nvPicPr>
          <p:cNvPr id="11" name="Kuva 4">
            <a:extLst>
              <a:ext uri="{FF2B5EF4-FFF2-40B4-BE49-F238E27FC236}">
                <a16:creationId xmlns:a16="http://schemas.microsoft.com/office/drawing/2014/main" id="{FF5BF20C-9020-DB62-B78A-493C6E349B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81" y="3613294"/>
            <a:ext cx="1221692" cy="1202031"/>
          </a:xfrm>
          <a:prstGeom prst="rect">
            <a:avLst/>
          </a:prstGeom>
        </p:spPr>
      </p:pic>
      <p:pic>
        <p:nvPicPr>
          <p:cNvPr id="13" name="Picture 12" descr="Text&#10;&#10;Description automatically generated">
            <a:extLst>
              <a:ext uri="{FF2B5EF4-FFF2-40B4-BE49-F238E27FC236}">
                <a16:creationId xmlns:a16="http://schemas.microsoft.com/office/drawing/2014/main" id="{97097A8A-9F97-9530-A66E-8B1C55EB48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4883" y="3760626"/>
            <a:ext cx="1672659" cy="907365"/>
          </a:xfrm>
          <a:prstGeom prst="rect">
            <a:avLst/>
          </a:prstGeom>
        </p:spPr>
      </p:pic>
      <p:pic>
        <p:nvPicPr>
          <p:cNvPr id="15" name="Picture 14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185D3890-F016-CF6F-D249-EB41400230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69813" y="3511316"/>
            <a:ext cx="1787532" cy="166798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F9C2D8F-FD2D-5546-037C-9FDB4F9C23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42732" y="5718273"/>
            <a:ext cx="1330667" cy="365739"/>
          </a:xfrm>
          <a:prstGeom prst="rect">
            <a:avLst/>
          </a:prstGeom>
        </p:spPr>
      </p:pic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D394FED-ADF4-ABC3-7AAF-E7E849B679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03869" y="5693272"/>
            <a:ext cx="797592" cy="529200"/>
          </a:xfrm>
          <a:prstGeom prst="rect">
            <a:avLst/>
          </a:prstGeom>
        </p:spPr>
      </p:pic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D4975EF5-D171-7F63-7074-760ADEF58D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6001" y="5455233"/>
            <a:ext cx="696863" cy="8918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2C21C68-56F6-EA32-3BBC-53D074D4DCA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1523" y="5642200"/>
            <a:ext cx="1302925" cy="517889"/>
          </a:xfrm>
          <a:prstGeom prst="rect">
            <a:avLst/>
          </a:prstGeom>
        </p:spPr>
      </p:pic>
      <p:pic>
        <p:nvPicPr>
          <p:cNvPr id="10" name="Picture 9" descr="Logo, company name&#10;&#10;Description automatically generated">
            <a:extLst>
              <a:ext uri="{FF2B5EF4-FFF2-40B4-BE49-F238E27FC236}">
                <a16:creationId xmlns:a16="http://schemas.microsoft.com/office/drawing/2014/main" id="{995FD5DD-8672-6FD5-01E6-A1B7EA9B2C4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02237" y="5535143"/>
            <a:ext cx="1129489" cy="7320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9DC7664B-C48F-C69A-0F6E-1730FD0D7329}"/>
              </a:ext>
            </a:extLst>
          </p:cNvPr>
          <p:cNvSpPr txBox="1">
            <a:spLocks/>
          </p:cNvSpPr>
          <p:nvPr/>
        </p:nvSpPr>
        <p:spPr>
          <a:xfrm>
            <a:off x="551523" y="2451937"/>
            <a:ext cx="7493277" cy="1143000"/>
          </a:xfrm>
          <a:prstGeom prst="rect">
            <a:avLst/>
          </a:prstGeom>
        </p:spPr>
        <p:txBody>
          <a:bodyPr anchor="ctr"/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 b="1" kern="12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accent1"/>
                </a:solidFill>
                <a:latin typeface="Arial" charset="0"/>
                <a:ea typeface="ＭＳ Ｐゴシック" charset="0"/>
                <a:cs typeface="Arial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accent1"/>
                </a:solidFill>
                <a:latin typeface="Arial" charset="0"/>
                <a:ea typeface="ＭＳ Ｐゴシック" charset="0"/>
                <a:cs typeface="Arial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accent1"/>
                </a:solidFill>
                <a:latin typeface="Arial" charset="0"/>
                <a:ea typeface="ＭＳ Ｐゴシック" charset="0"/>
                <a:cs typeface="Arial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accent1"/>
                </a:solidFill>
                <a:latin typeface="Arial" charset="0"/>
                <a:ea typeface="ＭＳ Ｐゴシック" charset="0"/>
                <a:cs typeface="Arial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accent1"/>
                </a:solidFill>
                <a:latin typeface="Arial" charset="0"/>
                <a:ea typeface="ＭＳ Ｐゴシック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accent1"/>
                </a:solidFill>
                <a:latin typeface="Arial" charset="0"/>
                <a:ea typeface="ＭＳ Ｐゴシック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accent1"/>
                </a:solidFill>
                <a:latin typeface="Arial" charset="0"/>
                <a:ea typeface="ＭＳ Ｐゴシック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600">
                <a:solidFill>
                  <a:schemeClr val="accent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609585"/>
            <a:r>
              <a:rPr lang="en-US" sz="1600" dirty="0">
                <a:solidFill>
                  <a:srgbClr val="FF8200"/>
                </a:solidFill>
              </a:rPr>
              <a:t>HiiletIn:, </a:t>
            </a:r>
            <a:r>
              <a:rPr lang="en-US" sz="1600" dirty="0">
                <a:solidFill>
                  <a:srgbClr val="54585A"/>
                </a:solidFill>
              </a:rPr>
              <a:t>Soil processes as a basis for targeting carbon sequestration measures in mineral agricultural soil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B7D236E-05F2-5A99-C8EC-2A5817177E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5505" y="5497458"/>
            <a:ext cx="1129489" cy="920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9218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18F4D8DC-7321-D8A8-B061-0C1AA092EB55}"/>
              </a:ext>
            </a:extLst>
          </p:cNvPr>
          <p:cNvSpPr>
            <a:spLocks noGrp="1"/>
          </p:cNvSpPr>
          <p:nvPr/>
        </p:nvSpPr>
        <p:spPr>
          <a:xfrm>
            <a:off x="5350478" y="2851116"/>
            <a:ext cx="5339590" cy="18002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 spc="-1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4000" b="1" i="0" u="none" strike="noStrike" kern="1200" cap="none" spc="-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Anna Pakkala</a:t>
            </a:r>
            <a:br>
              <a:rPr kumimoji="0" lang="fi-FI" sz="4000" b="1" i="0" u="none" strike="noStrike" kern="1200" cap="none" spc="-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</a:br>
            <a:r>
              <a:rPr kumimoji="0" lang="fi-FI" sz="2800" b="0" i="0" u="none" strike="noStrike" kern="1200" cap="none" spc="-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Gaia</a:t>
            </a:r>
            <a:r>
              <a:rPr kumimoji="0" lang="fi-FI" sz="2800" b="0" i="0" u="none" strike="noStrike" kern="1200" cap="none" spc="-1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 </a:t>
            </a:r>
            <a:r>
              <a:rPr kumimoji="0" lang="fi-FI" sz="28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</a:rPr>
              <a:t>Consulting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2800" b="0" i="0" u="none" strike="noStrike" kern="1200" cap="none" spc="-10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2800" b="0" dirty="0" smtClean="0">
                <a:solidFill>
                  <a:srgbClr val="FFFFFF"/>
                </a:solidFill>
                <a:latin typeface="Avenir Next LT Pro" panose="020B0504020202020204" pitchFamily="34" charset="0"/>
              </a:rPr>
              <a:t>Contact</a:t>
            </a:r>
            <a:r>
              <a:rPr lang="fi-FI" sz="2800" b="0" dirty="0" smtClean="0">
                <a:solidFill>
                  <a:srgbClr val="FFFFFF"/>
                </a:solidFill>
                <a:latin typeface="Avenir Next LT Pro" panose="020B0504020202020204" pitchFamily="34" charset="0"/>
              </a:rPr>
              <a:t>: anna.pakkala@gaia.fi</a:t>
            </a:r>
            <a:endParaRPr kumimoji="0" lang="fi-FI" sz="4000" b="0" i="0" u="none" strike="noStrike" kern="1200" cap="none" spc="-1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+mj-cs"/>
            </a:endParaRPr>
          </a:p>
        </p:txBody>
      </p:sp>
      <p:pic>
        <p:nvPicPr>
          <p:cNvPr id="13" name="Picture Placeholder 27" descr="A person in a black shirt&#10;&#10;Description automatically generated with low confidence">
            <a:extLst>
              <a:ext uri="{FF2B5EF4-FFF2-40B4-BE49-F238E27FC236}">
                <a16:creationId xmlns:a16="http://schemas.microsoft.com/office/drawing/2014/main" id="{771BA55E-0AE7-4201-237D-FD2FE94A3A1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40" b="22494"/>
          <a:stretch/>
        </p:blipFill>
        <p:spPr>
          <a:xfrm>
            <a:off x="1501932" y="1891594"/>
            <a:ext cx="3719268" cy="3719268"/>
          </a:xfrm>
          <a:prstGeom prst="ellipse">
            <a:avLst/>
          </a:prstGeom>
        </p:spPr>
      </p:pic>
      <p:pic>
        <p:nvPicPr>
          <p:cNvPr id="21" name="Picture 20" descr="A picture containing candelabrum, light&#10;&#10;Description automatically generated">
            <a:extLst>
              <a:ext uri="{FF2B5EF4-FFF2-40B4-BE49-F238E27FC236}">
                <a16:creationId xmlns:a16="http://schemas.microsoft.com/office/drawing/2014/main" id="{A556CCAB-3C1E-488C-48F2-C3203564C4D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139" y="1419453"/>
            <a:ext cx="1253678" cy="944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09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19139E-119F-09F2-8CF8-305F04D41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all" spc="100" normalizeH="0" baseline="0" noProof="0" dirty="0">
                <a:ln>
                  <a:noFill/>
                </a:ln>
                <a:solidFill>
                  <a:srgbClr val="18332F"/>
                </a:solidFill>
                <a:effectLst/>
                <a:uLnTx/>
                <a:uFillTx/>
                <a:latin typeface="Consolas" panose="020B0609020204030204" pitchFamily="49" charset="0"/>
                <a:ea typeface="+mn-ea"/>
                <a:cs typeface="+mn-cs"/>
              </a:rPr>
              <a:t>Leading the way in the green transition</a:t>
            </a:r>
          </a:p>
        </p:txBody>
      </p:sp>
      <p:sp>
        <p:nvSpPr>
          <p:cNvPr id="7" name="Rounded Rectangle 29">
            <a:extLst>
              <a:ext uri="{FF2B5EF4-FFF2-40B4-BE49-F238E27FC236}">
                <a16:creationId xmlns:a16="http://schemas.microsoft.com/office/drawing/2014/main" id="{D14B7E61-1711-D5EC-D98C-F752B62A3EAA}"/>
              </a:ext>
            </a:extLst>
          </p:cNvPr>
          <p:cNvSpPr>
            <a:spLocks/>
          </p:cNvSpPr>
          <p:nvPr/>
        </p:nvSpPr>
        <p:spPr>
          <a:xfrm>
            <a:off x="8114876" y="1423686"/>
            <a:ext cx="3600000" cy="4428474"/>
          </a:xfrm>
          <a:prstGeom prst="roundRect">
            <a:avLst>
              <a:gd name="adj" fmla="val 10058"/>
            </a:avLst>
          </a:prstGeom>
          <a:solidFill>
            <a:srgbClr val="DAE3EA"/>
          </a:solidFill>
          <a:ln w="3175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600" b="0" i="0" u="none" strike="noStrike" kern="0" cap="none" spc="0" normalizeH="0" baseline="0" noProof="0" dirty="0">
              <a:ln>
                <a:noFill/>
              </a:ln>
              <a:solidFill>
                <a:srgbClr val="5D295F">
                  <a:hueOff val="-11643569"/>
                  <a:satOff val="60242"/>
                  <a:lumOff val="73327"/>
                </a:srgbClr>
              </a:solidFill>
              <a:effectLst/>
              <a:uLnTx/>
              <a:uFillTx/>
              <a:latin typeface="Lab Grotesque Medium"/>
              <a:ea typeface="+mn-ea"/>
              <a:cs typeface="+mn-cs"/>
              <a:sym typeface="Lab Grotesque Medium"/>
            </a:endParaRPr>
          </a:p>
        </p:txBody>
      </p:sp>
      <p:sp>
        <p:nvSpPr>
          <p:cNvPr id="8" name="Rounded Rectangle 29">
            <a:extLst>
              <a:ext uri="{FF2B5EF4-FFF2-40B4-BE49-F238E27FC236}">
                <a16:creationId xmlns:a16="http://schemas.microsoft.com/office/drawing/2014/main" id="{4BD016D9-9F25-3E0D-C925-C01F69860F45}"/>
              </a:ext>
            </a:extLst>
          </p:cNvPr>
          <p:cNvSpPr>
            <a:spLocks/>
          </p:cNvSpPr>
          <p:nvPr/>
        </p:nvSpPr>
        <p:spPr>
          <a:xfrm>
            <a:off x="442912" y="0"/>
            <a:ext cx="3600000" cy="5852160"/>
          </a:xfrm>
          <a:prstGeom prst="round2SameRect">
            <a:avLst>
              <a:gd name="adj1" fmla="val 0"/>
              <a:gd name="adj2" fmla="val 16300"/>
            </a:avLst>
          </a:prstGeom>
          <a:solidFill>
            <a:srgbClr val="18332F"/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5D295F">
                    <a:hueOff val="-11643569"/>
                    <a:satOff val="60242"/>
                    <a:lumOff val="73327"/>
                  </a:srgbClr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  <a:sym typeface="Lab Grotesque Medium"/>
              </a:rPr>
              <a:t>Creating the guide to good practices for voluntary carbon markets</a:t>
            </a:r>
            <a:b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5D295F">
                    <a:hueOff val="-11643569"/>
                    <a:satOff val="60242"/>
                    <a:lumOff val="73327"/>
                  </a:srgbClr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  <a:sym typeface="Lab Grotesque Medium"/>
              </a:rPr>
            </a:br>
            <a:endParaRPr kumimoji="0" lang="en-FI" sz="3200" b="0" i="0" u="none" strike="noStrike" kern="0" cap="none" spc="0" normalizeH="0" baseline="0" noProof="0" dirty="0">
              <a:ln>
                <a:noFill/>
              </a:ln>
              <a:solidFill>
                <a:srgbClr val="5D295F">
                  <a:hueOff val="-11643569"/>
                  <a:satOff val="60242"/>
                  <a:lumOff val="73327"/>
                </a:srgbClr>
              </a:solidFill>
              <a:effectLst/>
              <a:uLnTx/>
              <a:uFillTx/>
              <a:latin typeface="Avenir Next LT Pro Demi"/>
              <a:ea typeface="+mn-ea"/>
              <a:cs typeface="+mn-cs"/>
              <a:sym typeface="Lab Grotesque Medium"/>
            </a:endParaRPr>
          </a:p>
        </p:txBody>
      </p:sp>
      <p:sp>
        <p:nvSpPr>
          <p:cNvPr id="9" name="Rounded Rectangle 29">
            <a:extLst>
              <a:ext uri="{FF2B5EF4-FFF2-40B4-BE49-F238E27FC236}">
                <a16:creationId xmlns:a16="http://schemas.microsoft.com/office/drawing/2014/main" id="{72B259F6-294B-2A0D-0D3B-D391A8BFBB9D}"/>
              </a:ext>
            </a:extLst>
          </p:cNvPr>
          <p:cNvSpPr>
            <a:spLocks/>
          </p:cNvSpPr>
          <p:nvPr/>
        </p:nvSpPr>
        <p:spPr>
          <a:xfrm>
            <a:off x="4278894" y="1423686"/>
            <a:ext cx="3600000" cy="4428474"/>
          </a:xfrm>
          <a:prstGeom prst="roundRect">
            <a:avLst>
              <a:gd name="adj" fmla="val 10058"/>
            </a:avLst>
          </a:prstGeom>
          <a:solidFill>
            <a:srgbClr val="DAE3EA"/>
          </a:solidFill>
          <a:ln w="3175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FI" sz="1600" b="0" i="0" u="none" strike="noStrike" kern="0" cap="none" spc="0" normalizeH="0" baseline="0" noProof="0" dirty="0">
              <a:ln>
                <a:noFill/>
              </a:ln>
              <a:solidFill>
                <a:srgbClr val="5D295F">
                  <a:hueOff val="-11643569"/>
                  <a:satOff val="60242"/>
                  <a:lumOff val="73327"/>
                </a:srgbClr>
              </a:solidFill>
              <a:effectLst/>
              <a:uLnTx/>
              <a:uFillTx/>
              <a:latin typeface="Lab Grotesque Medium"/>
              <a:ea typeface="+mn-ea"/>
              <a:cs typeface="+mn-cs"/>
              <a:sym typeface="Lab Grotesque Medium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E08CCCF-E667-8C04-7004-72C31F22B1A7}"/>
              </a:ext>
            </a:extLst>
          </p:cNvPr>
          <p:cNvSpPr>
            <a:spLocks/>
          </p:cNvSpPr>
          <p:nvPr/>
        </p:nvSpPr>
        <p:spPr>
          <a:xfrm>
            <a:off x="4998894" y="5814262"/>
            <a:ext cx="2160000" cy="69569"/>
          </a:xfrm>
          <a:prstGeom prst="roundRect">
            <a:avLst>
              <a:gd name="adj" fmla="val 50000"/>
            </a:avLst>
          </a:prstGeom>
          <a:solidFill>
            <a:srgbClr val="FFAD4E"/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72222">
                  <a:hueOff val="-11643569"/>
                  <a:satOff val="60242"/>
                  <a:lumOff val="73327"/>
                </a:srgbClr>
              </a:solidFill>
              <a:effectLst/>
              <a:uLnTx/>
              <a:uFillTx/>
              <a:latin typeface="Avenir Next LT Pro Demi"/>
              <a:ea typeface="+mn-ea"/>
              <a:cs typeface="+mn-cs"/>
              <a:sym typeface="Lab Grotesque Medium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BC6C3A8-65BD-CC19-DC7B-45BD7D339E4B}"/>
              </a:ext>
            </a:extLst>
          </p:cNvPr>
          <p:cNvSpPr>
            <a:spLocks/>
          </p:cNvSpPr>
          <p:nvPr/>
        </p:nvSpPr>
        <p:spPr>
          <a:xfrm>
            <a:off x="8834876" y="5814262"/>
            <a:ext cx="2160000" cy="69569"/>
          </a:xfrm>
          <a:prstGeom prst="roundRect">
            <a:avLst>
              <a:gd name="adj" fmla="val 50000"/>
            </a:avLst>
          </a:prstGeom>
          <a:solidFill>
            <a:srgbClr val="FFAD4E"/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72222">
                  <a:hueOff val="-11643569"/>
                  <a:satOff val="60242"/>
                  <a:lumOff val="73327"/>
                </a:srgbClr>
              </a:solidFill>
              <a:effectLst/>
              <a:uLnTx/>
              <a:uFillTx/>
              <a:latin typeface="Avenir Next LT Pro Demi"/>
              <a:ea typeface="+mn-ea"/>
              <a:cs typeface="+mn-cs"/>
              <a:sym typeface="Lab Grotesque Medium"/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10554C7-E964-62F4-1D5D-70CC9B2878AF}"/>
              </a:ext>
            </a:extLst>
          </p:cNvPr>
          <p:cNvSpPr txBox="1">
            <a:spLocks/>
          </p:cNvSpPr>
          <p:nvPr/>
        </p:nvSpPr>
        <p:spPr>
          <a:xfrm>
            <a:off x="4541803" y="3123792"/>
            <a:ext cx="3074182" cy="2492990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 marL="203200" marR="0" indent="-203200" algn="l" defTabSz="1219169" latinLnBrk="0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Pct val="80000"/>
              <a:buFontTx/>
              <a:buChar char="•"/>
              <a:tabLst/>
              <a:defRPr sz="2000" b="0" i="0" u="none" strike="noStrike" cap="none" spc="0" baseline="0">
                <a:solidFill>
                  <a:schemeClr val="accent1"/>
                </a:solidFill>
                <a:uFillTx/>
                <a:latin typeface="Avenir Next LT Pro" panose="020B0504020202020204" pitchFamily="34" charset="77"/>
                <a:ea typeface="Avenir Next LT Pro" panose="020B0504020202020204" pitchFamily="34" charset="77"/>
                <a:cs typeface="Avenir Next LT Pro" panose="020B0504020202020204" pitchFamily="34" charset="77"/>
                <a:sym typeface="Lab Grotesque Light"/>
              </a:defRPr>
            </a:lvl1pPr>
            <a:lvl2pPr marL="812800" marR="0" indent="-203200" algn="l" defTabSz="1219169" latinLnBrk="0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Pct val="80000"/>
              <a:buFontTx/>
              <a:buChar char="•"/>
              <a:tabLst/>
              <a:defRPr sz="1800" b="0" i="0" u="none" strike="noStrike" cap="none" spc="0" baseline="0">
                <a:solidFill>
                  <a:schemeClr val="accent1"/>
                </a:solidFill>
                <a:uFillTx/>
                <a:latin typeface="Avenir Next LT Pro" panose="020B0504020202020204" pitchFamily="34" charset="77"/>
                <a:ea typeface="Avenir Next LT Pro" panose="020B0504020202020204" pitchFamily="34" charset="77"/>
                <a:cs typeface="Avenir Next LT Pro" panose="020B0504020202020204" pitchFamily="34" charset="77"/>
                <a:sym typeface="Lab Grotesque Light"/>
              </a:defRPr>
            </a:lvl2pPr>
            <a:lvl3pPr marL="1422400" marR="0" indent="-203200" algn="l" defTabSz="1219169" latinLnBrk="0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Pct val="80000"/>
              <a:buFontTx/>
              <a:buChar char="•"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venir Next LT Pro" panose="020B0504020202020204" pitchFamily="34" charset="77"/>
                <a:ea typeface="Avenir Next LT Pro" panose="020B0504020202020204" pitchFamily="34" charset="77"/>
                <a:cs typeface="Avenir Next LT Pro" panose="020B0504020202020204" pitchFamily="34" charset="77"/>
                <a:sym typeface="Lab Grotesque Light"/>
              </a:defRPr>
            </a:lvl3pPr>
            <a:lvl4pPr marL="2032000" marR="0" indent="-203200" algn="l" defTabSz="1219169" latinLnBrk="0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Pct val="80000"/>
              <a:buFontTx/>
              <a:buChar char="•"/>
              <a:tabLst/>
              <a:defRPr sz="1400" b="0" i="0" u="none" strike="noStrike" cap="none" spc="0" baseline="0">
                <a:solidFill>
                  <a:schemeClr val="accent1"/>
                </a:solidFill>
                <a:uFillTx/>
                <a:latin typeface="Avenir Next LT Pro" panose="020B0504020202020204" pitchFamily="34" charset="77"/>
                <a:ea typeface="Avenir Next LT Pro" panose="020B0504020202020204" pitchFamily="34" charset="77"/>
                <a:cs typeface="Avenir Next LT Pro" panose="020B0504020202020204" pitchFamily="34" charset="77"/>
                <a:sym typeface="Lab Grotesque Light"/>
              </a:defRPr>
            </a:lvl4pPr>
            <a:lvl5pPr marL="2641600" marR="0" indent="-203200" algn="l" defTabSz="1219169" latinLnBrk="0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Pct val="80000"/>
              <a:buFontTx/>
              <a:buChar char="•"/>
              <a:tabLst/>
              <a:defRPr sz="1200" b="0" i="0" u="none" strike="noStrike" cap="none" spc="0" baseline="0">
                <a:solidFill>
                  <a:schemeClr val="accent1"/>
                </a:solidFill>
                <a:uFillTx/>
                <a:latin typeface="Avenir Next LT Pro" panose="020B0504020202020204" pitchFamily="34" charset="77"/>
                <a:ea typeface="Avenir Next LT Pro" panose="020B0504020202020204" pitchFamily="34" charset="77"/>
                <a:cs typeface="Avenir Next LT Pro" panose="020B0504020202020204" pitchFamily="34" charset="77"/>
                <a:sym typeface="Lab Grotesque Light"/>
              </a:defRPr>
            </a:lvl5pPr>
            <a:lvl6pPr marL="3302000" marR="0" indent="-254000" algn="l" defTabSz="1219169" latinLnBrk="0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000" b="0" i="0" u="none" strike="noStrike" cap="none" spc="0" baseline="0">
                <a:solidFill>
                  <a:schemeClr val="accent6">
                    <a:hueOff val="15960000"/>
                    <a:satOff val="-24249"/>
                    <a:lumOff val="6862"/>
                  </a:schemeClr>
                </a:solidFill>
                <a:uFillTx/>
                <a:latin typeface="Lab Grotesque Light"/>
                <a:ea typeface="Lab Grotesque Light"/>
                <a:cs typeface="Lab Grotesque Light"/>
                <a:sym typeface="Lab Grotesque Light"/>
              </a:defRPr>
            </a:lvl6pPr>
            <a:lvl7pPr marL="3911600" marR="0" indent="-254000" algn="l" defTabSz="1219169" latinLnBrk="0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000" b="0" i="0" u="none" strike="noStrike" cap="none" spc="0" baseline="0">
                <a:solidFill>
                  <a:schemeClr val="accent6">
                    <a:hueOff val="15960000"/>
                    <a:satOff val="-24249"/>
                    <a:lumOff val="6862"/>
                  </a:schemeClr>
                </a:solidFill>
                <a:uFillTx/>
                <a:latin typeface="Lab Grotesque Light"/>
                <a:ea typeface="Lab Grotesque Light"/>
                <a:cs typeface="Lab Grotesque Light"/>
                <a:sym typeface="Lab Grotesque Light"/>
              </a:defRPr>
            </a:lvl7pPr>
            <a:lvl8pPr marL="4521200" marR="0" indent="-254000" algn="l" defTabSz="1219169" latinLnBrk="0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000" b="0" i="0" u="none" strike="noStrike" cap="none" spc="0" baseline="0">
                <a:solidFill>
                  <a:schemeClr val="accent6">
                    <a:hueOff val="15960000"/>
                    <a:satOff val="-24249"/>
                    <a:lumOff val="6862"/>
                  </a:schemeClr>
                </a:solidFill>
                <a:uFillTx/>
                <a:latin typeface="Lab Grotesque Light"/>
                <a:ea typeface="Lab Grotesque Light"/>
                <a:cs typeface="Lab Grotesque Light"/>
                <a:sym typeface="Lab Grotesque Light"/>
              </a:defRPr>
            </a:lvl8pPr>
            <a:lvl9pPr marL="5130800" marR="0" indent="-254000" algn="l" defTabSz="1219169" latinLnBrk="0">
              <a:lnSpc>
                <a:spcPct val="90000"/>
              </a:lnSpc>
              <a:spcBef>
                <a:spcPts val="220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000" b="0" i="0" u="none" strike="noStrike" cap="none" spc="0" baseline="0">
                <a:solidFill>
                  <a:schemeClr val="accent6">
                    <a:hueOff val="15960000"/>
                    <a:satOff val="-24249"/>
                    <a:lumOff val="6862"/>
                  </a:schemeClr>
                </a:solidFill>
                <a:uFillTx/>
                <a:latin typeface="Lab Grotesque Light"/>
                <a:ea typeface="Lab Grotesque Light"/>
                <a:cs typeface="Lab Grotesque Light"/>
                <a:sym typeface="Lab Grotesque Light"/>
              </a:defRPr>
            </a:lvl9pPr>
          </a:lstStyle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fi-FI" sz="2000" b="0" i="0" u="none" strike="noStrike" kern="1200" cap="none" spc="10" normalizeH="0" baseline="0" noProof="0" dirty="0">
                <a:ln>
                  <a:noFill/>
                </a:ln>
                <a:solidFill>
                  <a:srgbClr val="18332F"/>
                </a:solidFill>
                <a:effectLst/>
                <a:uLnTx/>
                <a:uFillTx/>
                <a:latin typeface="Avenir Next LT Pro"/>
                <a:ea typeface="+mn-ea"/>
                <a:cs typeface="+mn-cs"/>
                <a:sym typeface="Lab Grotesque Light"/>
              </a:rPr>
              <a:t>Collated good practices for </a:t>
            </a:r>
            <a:r>
              <a:rPr kumimoji="0" lang="fi-FI" sz="2000" b="1" i="0" u="none" strike="noStrike" kern="1200" cap="none" spc="10" normalizeH="0" baseline="0" noProof="0" dirty="0">
                <a:ln>
                  <a:noFill/>
                </a:ln>
                <a:solidFill>
                  <a:srgbClr val="18332F"/>
                </a:solidFill>
                <a:effectLst/>
                <a:uLnTx/>
                <a:uFillTx/>
                <a:latin typeface="Avenir Next LT Pro"/>
                <a:ea typeface="+mn-ea"/>
                <a:cs typeface="+mn-cs"/>
                <a:sym typeface="Lab Grotesque Light"/>
              </a:rPr>
              <a:t>producing carbon credits and for using credits to make climate claims</a:t>
            </a:r>
            <a:r>
              <a:rPr kumimoji="0" lang="fi-FI" sz="2000" b="0" i="0" u="none" strike="noStrike" kern="1200" cap="none" spc="10" normalizeH="0" baseline="0" noProof="0" dirty="0">
                <a:ln>
                  <a:noFill/>
                </a:ln>
                <a:solidFill>
                  <a:srgbClr val="18332F"/>
                </a:solidFill>
                <a:effectLst/>
                <a:uLnTx/>
                <a:uFillTx/>
                <a:latin typeface="Avenir Next LT Pro"/>
                <a:ea typeface="+mn-ea"/>
                <a:cs typeface="+mn-cs"/>
                <a:sym typeface="Lab Grotesque Light"/>
              </a:rPr>
              <a:t>, as well as summarizing these for consumers.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12C9EAC-205D-111D-7CC3-680A03D3F0CB}"/>
              </a:ext>
            </a:extLst>
          </p:cNvPr>
          <p:cNvSpPr txBox="1">
            <a:spLocks/>
          </p:cNvSpPr>
          <p:nvPr/>
        </p:nvSpPr>
        <p:spPr>
          <a:xfrm>
            <a:off x="8377676" y="3123792"/>
            <a:ext cx="3074400" cy="252113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69875" indent="-269875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800" kern="1200" spc="1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3975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600" kern="1200" spc="1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03275" indent="-27305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400" kern="1200" spc="1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07315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344613" indent="-180975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100" kern="1200" spc="1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524000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6pPr>
            <a:lvl7pPr marL="1793875" indent="-265113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7pPr>
            <a:lvl8pPr marL="2063750" indent="-274638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8pPr>
            <a:lvl9pPr marL="2335213" indent="-266700" algn="l" defTabSz="914400" rtl="0" eaLnBrk="1" latinLnBrk="0" hangingPunct="1">
              <a:lnSpc>
                <a:spcPct val="11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 spc="10" baseline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10" normalizeH="0" baseline="0" noProof="0" dirty="0">
                <a:ln>
                  <a:noFill/>
                </a:ln>
                <a:solidFill>
                  <a:srgbClr val="18332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First time the international good practices were compiled and published </a:t>
            </a:r>
            <a:r>
              <a:rPr kumimoji="0" lang="en-US" sz="2000" b="1" i="0" u="none" strike="noStrike" kern="1200" cap="none" spc="10" normalizeH="0" baseline="0" noProof="0" dirty="0">
                <a:ln>
                  <a:noFill/>
                </a:ln>
                <a:solidFill>
                  <a:srgbClr val="18332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 Finnish, and common terms defined </a:t>
            </a:r>
            <a:r>
              <a:rPr kumimoji="0" lang="en-US" sz="2000" b="0" i="0" u="none" strike="noStrike" kern="1200" cap="none" spc="10" normalizeH="0" baseline="0" noProof="0" dirty="0">
                <a:ln>
                  <a:noFill/>
                </a:ln>
                <a:solidFill>
                  <a:srgbClr val="18332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e.g. for the word carbon credit.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BB63F02-9AC2-2709-90E2-68031B4318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541803" y="1741496"/>
            <a:ext cx="866775" cy="866775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3F6D3DB-EBFE-F22A-DC3F-56E19C83BF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441051" y="1741496"/>
            <a:ext cx="866775" cy="866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556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06D002-1E6F-8FBB-D271-A16C9327C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100AD5-C33D-2A61-A91A-F064565E1D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800" b="0" i="0" u="none" strike="noStrike" kern="1200" cap="all" spc="100" normalizeH="0" baseline="0" noProof="0" dirty="0">
              <a:ln>
                <a:noFill/>
              </a:ln>
              <a:solidFill>
                <a:srgbClr val="18332F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D07C34-B74D-5266-7525-DF167E9311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3229287-94F8-C16F-4AB7-3909008EABC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96C9248-77D4-90ED-04EC-D79B79D309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800" b="0" i="0" u="none" strike="noStrike" kern="1200" cap="none" spc="0" normalizeH="0" baseline="0" noProof="0" dirty="0">
              <a:ln>
                <a:noFill/>
              </a:ln>
              <a:solidFill>
                <a:srgbClr val="18332F"/>
              </a:solidFill>
              <a:effectLst/>
              <a:uLnTx/>
              <a:uFillTx/>
              <a:latin typeface="Consolas" panose="020B0609020204030204" pitchFamily="49" charset="0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8BA21BF-3243-8830-0940-6D0A41B073D4}"/>
              </a:ext>
            </a:extLst>
          </p:cNvPr>
          <p:cNvGrpSpPr/>
          <p:nvPr/>
        </p:nvGrpSpPr>
        <p:grpSpPr>
          <a:xfrm>
            <a:off x="0" y="12564"/>
            <a:ext cx="12187767" cy="6858000"/>
            <a:chOff x="0" y="12564"/>
            <a:chExt cx="12187767" cy="6858000"/>
          </a:xfrm>
        </p:grpSpPr>
        <p:pic>
          <p:nvPicPr>
            <p:cNvPr id="7" name="Image" descr="Image">
              <a:extLst>
                <a:ext uri="{FF2B5EF4-FFF2-40B4-BE49-F238E27FC236}">
                  <a16:creationId xmlns:a16="http://schemas.microsoft.com/office/drawing/2014/main" id="{259B4A27-8120-2A6C-D4C2-32ED9472CA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700" t="666"/>
            <a:stretch>
              <a:fillRect/>
            </a:stretch>
          </p:blipFill>
          <p:spPr>
            <a:xfrm>
              <a:off x="0" y="12564"/>
              <a:ext cx="12187767" cy="6858000"/>
            </a:xfrm>
            <a:prstGeom prst="rect">
              <a:avLst/>
            </a:prstGeom>
            <a:ln w="3175">
              <a:miter lim="400000"/>
            </a:ln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47BF3C2A-6882-4B61-C675-6617265DEF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rcRect l="7251" t="15078" r="6852" b="14392"/>
            <a:stretch/>
          </p:blipFill>
          <p:spPr>
            <a:xfrm>
              <a:off x="9957588" y="224582"/>
              <a:ext cx="1976285" cy="792162"/>
            </a:xfrm>
            <a:prstGeom prst="rect">
              <a:avLst/>
            </a:prstGeom>
          </p:spPr>
        </p:pic>
      </p:grpSp>
      <p:sp>
        <p:nvSpPr>
          <p:cNvPr id="12" name="Rooted in science, driven by sustainable impact – Gaia offers market-changing foresight, expertise, and tools to create impact across all organisations.">
            <a:extLst>
              <a:ext uri="{FF2B5EF4-FFF2-40B4-BE49-F238E27FC236}">
                <a16:creationId xmlns:a16="http://schemas.microsoft.com/office/drawing/2014/main" id="{CE497933-2660-A7E9-240D-30EEB54857E5}"/>
              </a:ext>
            </a:extLst>
          </p:cNvPr>
          <p:cNvSpPr txBox="1">
            <a:spLocks/>
          </p:cNvSpPr>
          <p:nvPr/>
        </p:nvSpPr>
        <p:spPr>
          <a:xfrm>
            <a:off x="753910" y="1269029"/>
            <a:ext cx="4947529" cy="16499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1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121916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spc="-64">
                <a:solidFill>
                  <a:srgbClr val="51284F">
                    <a:hueOff val="13728554"/>
                    <a:satOff val="2289"/>
                    <a:lumOff val="-8922"/>
                  </a:srgbClr>
                </a:solidFill>
                <a:latin typeface="+mj-lt"/>
                <a:ea typeface="+mj-ea"/>
                <a:cs typeface="+mj-cs"/>
                <a:sym typeface="Lab Grotesque Medium"/>
              </a:defRPr>
            </a:pPr>
            <a:r>
              <a:rPr kumimoji="0" lang="en-US" sz="3200" b="0" i="0" u="none" strike="noStrike" kern="1200" cap="none" spc="-64" normalizeH="0" baseline="0" noProof="0" dirty="0">
                <a:ln>
                  <a:noFill/>
                </a:ln>
                <a:solidFill>
                  <a:srgbClr val="51284F">
                    <a:hueOff val="13728554"/>
                    <a:satOff val="2289"/>
                    <a:lumOff val="-8922"/>
                  </a:srgbClr>
                </a:solidFill>
                <a:effectLst/>
                <a:uLnTx/>
                <a:uFillTx/>
                <a:latin typeface="Avenir Next LT Pro Demi"/>
                <a:ea typeface="+mj-ea"/>
                <a:cs typeface="+mj-cs"/>
                <a:sym typeface="Lab Grotesque Medium"/>
              </a:rPr>
              <a:t>Creating trust in climate claims and the quality of carbon credits</a:t>
            </a:r>
          </a:p>
        </p:txBody>
      </p:sp>
      <p:sp>
        <p:nvSpPr>
          <p:cNvPr id="13" name="Our clients are the changemakers that shape our future for the better.">
            <a:extLst>
              <a:ext uri="{FF2B5EF4-FFF2-40B4-BE49-F238E27FC236}">
                <a16:creationId xmlns:a16="http://schemas.microsoft.com/office/drawing/2014/main" id="{915F370E-2CD4-CB29-0D92-4A48CF5D370B}"/>
              </a:ext>
            </a:extLst>
          </p:cNvPr>
          <p:cNvSpPr txBox="1">
            <a:spLocks/>
          </p:cNvSpPr>
          <p:nvPr/>
        </p:nvSpPr>
        <p:spPr>
          <a:xfrm>
            <a:off x="6271227" y="2255823"/>
            <a:ext cx="5328660" cy="99814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2859" tIns="22859" rIns="22859" bIns="22859">
            <a:noAutofit/>
          </a:bodyPr>
          <a:lstStyle>
            <a:lvl1pPr algn="l" defTabSz="412750">
              <a:defRPr sz="1600" spc="16">
                <a:solidFill>
                  <a:schemeClr val="accent1">
                    <a:hueOff val="13728554"/>
                    <a:satOff val="2289"/>
                    <a:lumOff val="-8922"/>
                  </a:schemeClr>
                </a:solidFill>
              </a:defRPr>
            </a:lvl1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16" normalizeH="0" baseline="0" noProof="0" dirty="0">
                <a:ln>
                  <a:noFill/>
                </a:ln>
                <a:solidFill>
                  <a:srgbClr val="51284F">
                    <a:hueOff val="13728554"/>
                    <a:satOff val="2289"/>
                    <a:lumOff val="-8922"/>
                  </a:srgbClr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Carbon credit minimum criteria </a:t>
            </a:r>
            <a:r>
              <a:rPr kumimoji="0" lang="fi-FI" sz="1800" b="0" i="0" u="none" strike="noStrike" kern="1200" cap="none" spc="16" normalizeH="0" baseline="0" noProof="0" dirty="0">
                <a:ln>
                  <a:noFill/>
                </a:ln>
                <a:solidFill>
                  <a:srgbClr val="51284F">
                    <a:hueOff val="13728554"/>
                    <a:satOff val="2289"/>
                    <a:lumOff val="-8922"/>
                  </a:srgbClr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from 15 international and 8 national guidelines.</a:t>
            </a:r>
          </a:p>
        </p:txBody>
      </p:sp>
      <p:sp>
        <p:nvSpPr>
          <p:cNvPr id="14" name="Our clients are the changemakers that shape our future for the better.">
            <a:extLst>
              <a:ext uri="{FF2B5EF4-FFF2-40B4-BE49-F238E27FC236}">
                <a16:creationId xmlns:a16="http://schemas.microsoft.com/office/drawing/2014/main" id="{4723C59C-7366-2B3B-941C-BDF7F0A7E3E3}"/>
              </a:ext>
            </a:extLst>
          </p:cNvPr>
          <p:cNvSpPr txBox="1">
            <a:spLocks/>
          </p:cNvSpPr>
          <p:nvPr/>
        </p:nvSpPr>
        <p:spPr>
          <a:xfrm>
            <a:off x="6271227" y="3268529"/>
            <a:ext cx="5328660" cy="99814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2859" tIns="22859" rIns="22859" bIns="22859">
            <a:noAutofit/>
          </a:bodyPr>
          <a:lstStyle>
            <a:lvl1pPr algn="l" defTabSz="412750">
              <a:defRPr sz="1600" spc="16">
                <a:solidFill>
                  <a:schemeClr val="accent1">
                    <a:hueOff val="13728554"/>
                    <a:satOff val="2289"/>
                    <a:lumOff val="-8922"/>
                  </a:schemeClr>
                </a:solidFill>
              </a:defRPr>
            </a:lvl1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16" normalizeH="0" baseline="0" noProof="0" dirty="0">
                <a:ln>
                  <a:noFill/>
                </a:ln>
                <a:solidFill>
                  <a:srgbClr val="18332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istinguishing between </a:t>
            </a:r>
            <a:r>
              <a:rPr kumimoji="0" lang="fi-FI" sz="1800" b="1" i="0" u="none" strike="noStrike" kern="1200" cap="none" spc="16" normalizeH="0" baseline="0" noProof="0" dirty="0">
                <a:ln>
                  <a:noFill/>
                </a:ln>
                <a:solidFill>
                  <a:srgbClr val="18332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offsetting and contribution claims</a:t>
            </a:r>
            <a:r>
              <a:rPr kumimoji="0" lang="fi-FI" sz="1800" b="0" i="0" u="none" strike="noStrike" kern="1200" cap="none" spc="16" normalizeH="0" baseline="0" noProof="0" dirty="0">
                <a:ln>
                  <a:noFill/>
                </a:ln>
                <a:solidFill>
                  <a:srgbClr val="18332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, and more tightly defining carbon neutrality.</a:t>
            </a:r>
          </a:p>
        </p:txBody>
      </p:sp>
      <p:sp>
        <p:nvSpPr>
          <p:cNvPr id="16" name="The fluid and rapid transition requires expertise of all disciplines.">
            <a:extLst>
              <a:ext uri="{FF2B5EF4-FFF2-40B4-BE49-F238E27FC236}">
                <a16:creationId xmlns:a16="http://schemas.microsoft.com/office/drawing/2014/main" id="{A700580C-892A-2391-E0A5-C830F17F2135}"/>
              </a:ext>
            </a:extLst>
          </p:cNvPr>
          <p:cNvSpPr txBox="1">
            <a:spLocks/>
          </p:cNvSpPr>
          <p:nvPr/>
        </p:nvSpPr>
        <p:spPr>
          <a:xfrm>
            <a:off x="6271227" y="5490126"/>
            <a:ext cx="5512785" cy="85498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2859" tIns="22859" rIns="22859" bIns="22859">
            <a:noAutofit/>
          </a:bodyPr>
          <a:lstStyle>
            <a:lvl1pPr algn="l" defTabSz="412750">
              <a:defRPr sz="1600" spc="16">
                <a:solidFill>
                  <a:schemeClr val="accent1">
                    <a:hueOff val="13728554"/>
                    <a:satOff val="2289"/>
                    <a:lumOff val="-8922"/>
                  </a:schemeClr>
                </a:solidFill>
              </a:defRPr>
            </a:lvl1pPr>
          </a:lstStyle>
          <a:p>
            <a:pPr marL="0" marR="0" lvl="0" indent="0" algn="l" defTabSz="4127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16" normalizeH="0" baseline="0" noProof="0" dirty="0">
                <a:ln>
                  <a:noFill/>
                </a:ln>
                <a:solidFill>
                  <a:srgbClr val="18332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he work continues, </a:t>
            </a:r>
            <a:r>
              <a:rPr kumimoji="0" lang="en-US" sz="1800" b="0" i="0" u="none" strike="noStrike" kern="1200" cap="none" spc="16" normalizeH="0" baseline="0" noProof="0" dirty="0">
                <a:ln>
                  <a:noFill/>
                </a:ln>
                <a:solidFill>
                  <a:srgbClr val="18332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s international guidelines and regulation are moving fast.</a:t>
            </a:r>
          </a:p>
        </p:txBody>
      </p:sp>
      <p:grpSp>
        <p:nvGrpSpPr>
          <p:cNvPr id="19" name="Group">
            <a:extLst>
              <a:ext uri="{FF2B5EF4-FFF2-40B4-BE49-F238E27FC236}">
                <a16:creationId xmlns:a16="http://schemas.microsoft.com/office/drawing/2014/main" id="{F9432211-A77B-07A7-DFD6-907AA199C23E}"/>
              </a:ext>
            </a:extLst>
          </p:cNvPr>
          <p:cNvGrpSpPr>
            <a:grpSpLocks/>
          </p:cNvGrpSpPr>
          <p:nvPr/>
        </p:nvGrpSpPr>
        <p:grpSpPr>
          <a:xfrm>
            <a:off x="6271229" y="4618166"/>
            <a:ext cx="1057948" cy="518950"/>
            <a:chOff x="16080" y="0"/>
            <a:chExt cx="1057947" cy="518948"/>
          </a:xfrm>
        </p:grpSpPr>
        <p:grpSp>
          <p:nvGrpSpPr>
            <p:cNvPr id="20" name="Group">
              <a:extLst>
                <a:ext uri="{FF2B5EF4-FFF2-40B4-BE49-F238E27FC236}">
                  <a16:creationId xmlns:a16="http://schemas.microsoft.com/office/drawing/2014/main" id="{88265385-3870-72C9-BC2B-2C57BDB2F4DF}"/>
                </a:ext>
              </a:extLst>
            </p:cNvPr>
            <p:cNvGrpSpPr/>
            <p:nvPr/>
          </p:nvGrpSpPr>
          <p:grpSpPr>
            <a:xfrm rot="5400000">
              <a:off x="-108328" y="124408"/>
              <a:ext cx="518949" cy="270133"/>
              <a:chOff x="0" y="16080"/>
              <a:chExt cx="518948" cy="270131"/>
            </a:xfrm>
          </p:grpSpPr>
          <p:sp>
            <p:nvSpPr>
              <p:cNvPr id="29" name="Line">
                <a:extLst>
                  <a:ext uri="{FF2B5EF4-FFF2-40B4-BE49-F238E27FC236}">
                    <a16:creationId xmlns:a16="http://schemas.microsoft.com/office/drawing/2014/main" id="{69506FAD-E67B-BF6B-4F35-CDABE04497F7}"/>
                  </a:ext>
                </a:extLst>
              </p:cNvPr>
              <p:cNvSpPr/>
              <p:nvPr/>
            </p:nvSpPr>
            <p:spPr>
              <a:xfrm flipH="1" flipV="1">
                <a:off x="350751" y="16080"/>
                <a:ext cx="168198" cy="136037"/>
              </a:xfrm>
              <a:prstGeom prst="line">
                <a:avLst/>
              </a:prstGeom>
              <a:noFill/>
              <a:ln w="6350" cap="flat">
                <a:solidFill>
                  <a:schemeClr val="accent1">
                    <a:hueOff val="13728554"/>
                    <a:satOff val="2289"/>
                    <a:lumOff val="-8922"/>
                  </a:schemeClr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0" name="Line">
                <a:extLst>
                  <a:ext uri="{FF2B5EF4-FFF2-40B4-BE49-F238E27FC236}">
                    <a16:creationId xmlns:a16="http://schemas.microsoft.com/office/drawing/2014/main" id="{76FE83F3-5C43-915B-D7E7-65B171307E90}"/>
                  </a:ext>
                </a:extLst>
              </p:cNvPr>
              <p:cNvSpPr/>
              <p:nvPr/>
            </p:nvSpPr>
            <p:spPr>
              <a:xfrm flipV="1">
                <a:off x="350751" y="150176"/>
                <a:ext cx="168198" cy="136037"/>
              </a:xfrm>
              <a:prstGeom prst="line">
                <a:avLst/>
              </a:prstGeom>
              <a:noFill/>
              <a:ln w="6350" cap="flat">
                <a:solidFill>
                  <a:schemeClr val="accent1">
                    <a:hueOff val="13728554"/>
                    <a:satOff val="2289"/>
                    <a:lumOff val="-8922"/>
                  </a:schemeClr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1" name="Line">
                <a:extLst>
                  <a:ext uri="{FF2B5EF4-FFF2-40B4-BE49-F238E27FC236}">
                    <a16:creationId xmlns:a16="http://schemas.microsoft.com/office/drawing/2014/main" id="{E3452181-B2CE-B81C-C671-3FB449569E3B}"/>
                  </a:ext>
                </a:extLst>
              </p:cNvPr>
              <p:cNvSpPr/>
              <p:nvPr/>
            </p:nvSpPr>
            <p:spPr>
              <a:xfrm>
                <a:off x="0" y="150175"/>
                <a:ext cx="510660" cy="1"/>
              </a:xfrm>
              <a:prstGeom prst="line">
                <a:avLst/>
              </a:prstGeom>
              <a:noFill/>
              <a:ln w="6350" cap="flat">
                <a:solidFill>
                  <a:schemeClr val="accent1">
                    <a:hueOff val="13728554"/>
                    <a:satOff val="2289"/>
                    <a:lumOff val="-8922"/>
                  </a:schemeClr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21" name="Group">
              <a:extLst>
                <a:ext uri="{FF2B5EF4-FFF2-40B4-BE49-F238E27FC236}">
                  <a16:creationId xmlns:a16="http://schemas.microsoft.com/office/drawing/2014/main" id="{5F4A9BC5-497C-B163-7A71-9D95C17E702D}"/>
                </a:ext>
              </a:extLst>
            </p:cNvPr>
            <p:cNvGrpSpPr/>
            <p:nvPr/>
          </p:nvGrpSpPr>
          <p:grpSpPr>
            <a:xfrm rot="5400000">
              <a:off x="298072" y="124408"/>
              <a:ext cx="518949" cy="270133"/>
              <a:chOff x="0" y="16080"/>
              <a:chExt cx="518948" cy="270131"/>
            </a:xfrm>
          </p:grpSpPr>
          <p:sp>
            <p:nvSpPr>
              <p:cNvPr id="26" name="Line">
                <a:extLst>
                  <a:ext uri="{FF2B5EF4-FFF2-40B4-BE49-F238E27FC236}">
                    <a16:creationId xmlns:a16="http://schemas.microsoft.com/office/drawing/2014/main" id="{238E0A7F-7A89-CB39-5866-CB849513C8A7}"/>
                  </a:ext>
                </a:extLst>
              </p:cNvPr>
              <p:cNvSpPr/>
              <p:nvPr/>
            </p:nvSpPr>
            <p:spPr>
              <a:xfrm flipH="1" flipV="1">
                <a:off x="350751" y="16080"/>
                <a:ext cx="168198" cy="136037"/>
              </a:xfrm>
              <a:prstGeom prst="line">
                <a:avLst/>
              </a:prstGeom>
              <a:noFill/>
              <a:ln w="6350" cap="flat">
                <a:solidFill>
                  <a:schemeClr val="accent1">
                    <a:hueOff val="13728554"/>
                    <a:satOff val="2289"/>
                    <a:lumOff val="-8922"/>
                  </a:schemeClr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7" name="Line">
                <a:extLst>
                  <a:ext uri="{FF2B5EF4-FFF2-40B4-BE49-F238E27FC236}">
                    <a16:creationId xmlns:a16="http://schemas.microsoft.com/office/drawing/2014/main" id="{AAD5DAEF-78AD-B8C7-A9A2-1A1BC526B3C6}"/>
                  </a:ext>
                </a:extLst>
              </p:cNvPr>
              <p:cNvSpPr/>
              <p:nvPr/>
            </p:nvSpPr>
            <p:spPr>
              <a:xfrm flipV="1">
                <a:off x="350751" y="150176"/>
                <a:ext cx="168198" cy="136037"/>
              </a:xfrm>
              <a:prstGeom prst="line">
                <a:avLst/>
              </a:prstGeom>
              <a:noFill/>
              <a:ln w="6350" cap="flat">
                <a:solidFill>
                  <a:schemeClr val="accent1">
                    <a:hueOff val="13728554"/>
                    <a:satOff val="2289"/>
                    <a:lumOff val="-8922"/>
                  </a:schemeClr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8" name="Line">
                <a:extLst>
                  <a:ext uri="{FF2B5EF4-FFF2-40B4-BE49-F238E27FC236}">
                    <a16:creationId xmlns:a16="http://schemas.microsoft.com/office/drawing/2014/main" id="{A5D3756F-91FD-5D39-8592-1BA27A80597A}"/>
                  </a:ext>
                </a:extLst>
              </p:cNvPr>
              <p:cNvSpPr/>
              <p:nvPr/>
            </p:nvSpPr>
            <p:spPr>
              <a:xfrm>
                <a:off x="0" y="150175"/>
                <a:ext cx="510660" cy="1"/>
              </a:xfrm>
              <a:prstGeom prst="line">
                <a:avLst/>
              </a:prstGeom>
              <a:noFill/>
              <a:ln w="6350" cap="flat">
                <a:solidFill>
                  <a:schemeClr val="accent1">
                    <a:hueOff val="13728554"/>
                    <a:satOff val="2289"/>
                    <a:lumOff val="-8922"/>
                  </a:schemeClr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22" name="Group">
              <a:extLst>
                <a:ext uri="{FF2B5EF4-FFF2-40B4-BE49-F238E27FC236}">
                  <a16:creationId xmlns:a16="http://schemas.microsoft.com/office/drawing/2014/main" id="{D586DED7-48F9-9A48-CE3B-CB979E62D6AD}"/>
                </a:ext>
              </a:extLst>
            </p:cNvPr>
            <p:cNvGrpSpPr/>
            <p:nvPr/>
          </p:nvGrpSpPr>
          <p:grpSpPr>
            <a:xfrm rot="5400000">
              <a:off x="679487" y="124408"/>
              <a:ext cx="518950" cy="270133"/>
              <a:chOff x="0" y="16080"/>
              <a:chExt cx="518948" cy="270131"/>
            </a:xfrm>
          </p:grpSpPr>
          <p:sp>
            <p:nvSpPr>
              <p:cNvPr id="23" name="Line">
                <a:extLst>
                  <a:ext uri="{FF2B5EF4-FFF2-40B4-BE49-F238E27FC236}">
                    <a16:creationId xmlns:a16="http://schemas.microsoft.com/office/drawing/2014/main" id="{36518552-10DB-37BD-A1FE-5BFA49DF7281}"/>
                  </a:ext>
                </a:extLst>
              </p:cNvPr>
              <p:cNvSpPr/>
              <p:nvPr/>
            </p:nvSpPr>
            <p:spPr>
              <a:xfrm flipH="1" flipV="1">
                <a:off x="350751" y="16080"/>
                <a:ext cx="168198" cy="136037"/>
              </a:xfrm>
              <a:prstGeom prst="line">
                <a:avLst/>
              </a:prstGeom>
              <a:noFill/>
              <a:ln w="6350" cap="flat">
                <a:solidFill>
                  <a:schemeClr val="accent1">
                    <a:hueOff val="13728554"/>
                    <a:satOff val="2289"/>
                    <a:lumOff val="-8922"/>
                  </a:schemeClr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4" name="Line">
                <a:extLst>
                  <a:ext uri="{FF2B5EF4-FFF2-40B4-BE49-F238E27FC236}">
                    <a16:creationId xmlns:a16="http://schemas.microsoft.com/office/drawing/2014/main" id="{DD9D630E-5FC5-88C3-3628-1686370F0728}"/>
                  </a:ext>
                </a:extLst>
              </p:cNvPr>
              <p:cNvSpPr/>
              <p:nvPr/>
            </p:nvSpPr>
            <p:spPr>
              <a:xfrm flipV="1">
                <a:off x="350751" y="150176"/>
                <a:ext cx="168198" cy="136037"/>
              </a:xfrm>
              <a:prstGeom prst="line">
                <a:avLst/>
              </a:prstGeom>
              <a:noFill/>
              <a:ln w="6350" cap="flat">
                <a:solidFill>
                  <a:schemeClr val="accent1">
                    <a:hueOff val="13728554"/>
                    <a:satOff val="2289"/>
                    <a:lumOff val="-8922"/>
                  </a:schemeClr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25" name="Line">
                <a:extLst>
                  <a:ext uri="{FF2B5EF4-FFF2-40B4-BE49-F238E27FC236}">
                    <a16:creationId xmlns:a16="http://schemas.microsoft.com/office/drawing/2014/main" id="{E5B9A877-FAE8-3014-4885-DAE639DFB353}"/>
                  </a:ext>
                </a:extLst>
              </p:cNvPr>
              <p:cNvSpPr/>
              <p:nvPr/>
            </p:nvSpPr>
            <p:spPr>
              <a:xfrm>
                <a:off x="0" y="150175"/>
                <a:ext cx="510660" cy="1"/>
              </a:xfrm>
              <a:prstGeom prst="line">
                <a:avLst/>
              </a:prstGeom>
              <a:noFill/>
              <a:ln w="6350" cap="flat">
                <a:solidFill>
                  <a:schemeClr val="accent1">
                    <a:hueOff val="13728554"/>
                    <a:satOff val="2289"/>
                    <a:lumOff val="-8922"/>
                  </a:schemeClr>
                </a:solidFill>
                <a:prstDash val="solid"/>
                <a:round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44101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1698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A02FB4E8-2DE5-4F89-8478-0E11F9E4E8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38200" y="2952752"/>
            <a:ext cx="5022273" cy="2561358"/>
          </a:xfrm>
        </p:spPr>
        <p:txBody>
          <a:bodyPr>
            <a:normAutofit fontScale="92500" lnSpcReduction="20000"/>
          </a:bodyPr>
          <a:lstStyle/>
          <a:p>
            <a:endParaRPr lang="fi-FI" dirty="0" smtClean="0"/>
          </a:p>
          <a:p>
            <a:endParaRPr lang="fi-FI" dirty="0"/>
          </a:p>
          <a:p>
            <a:endParaRPr lang="fi-FI" dirty="0" smtClean="0"/>
          </a:p>
          <a:p>
            <a:r>
              <a:rPr lang="fi-FI" sz="2800" b="1" dirty="0" smtClean="0"/>
              <a:t>Jani Laturi</a:t>
            </a:r>
            <a:br>
              <a:rPr lang="fi-FI" sz="2800" b="1" dirty="0" smtClean="0"/>
            </a:br>
            <a:r>
              <a:rPr lang="fi-FI" sz="2800" dirty="0" smtClean="0"/>
              <a:t>Senior </a:t>
            </a:r>
            <a:r>
              <a:rPr lang="fi-FI" sz="2800" dirty="0"/>
              <a:t>Forest </a:t>
            </a:r>
            <a:r>
              <a:rPr lang="fi-FI" sz="2800" dirty="0" smtClean="0"/>
              <a:t>Economist</a:t>
            </a:r>
            <a:br>
              <a:rPr lang="fi-FI" sz="2800" dirty="0" smtClean="0"/>
            </a:br>
            <a:r>
              <a:rPr lang="fi-FI" sz="2800" dirty="0" smtClean="0"/>
              <a:t>Pellervo </a:t>
            </a:r>
            <a:r>
              <a:rPr lang="fi-FI" sz="2800" dirty="0"/>
              <a:t>E</a:t>
            </a:r>
            <a:r>
              <a:rPr lang="fi-FI" sz="2800" dirty="0" smtClean="0"/>
              <a:t>conomic</a:t>
            </a:r>
            <a:r>
              <a:rPr lang="fi-FI" sz="2800" dirty="0" smtClean="0"/>
              <a:t> </a:t>
            </a:r>
            <a:r>
              <a:rPr lang="fi-FI" sz="2800" dirty="0" smtClean="0"/>
              <a:t>Research</a:t>
            </a:r>
            <a:endParaRPr lang="fi-FI" sz="2800" dirty="0" smtClean="0"/>
          </a:p>
          <a:p>
            <a:r>
              <a:rPr lang="fi-FI" sz="2800" dirty="0" smtClean="0"/>
              <a:t>Contact</a:t>
            </a:r>
            <a:r>
              <a:rPr lang="fi-FI" sz="2800" dirty="0" smtClean="0"/>
              <a:t>: jani.laturi@ptt.fi</a:t>
            </a:r>
            <a:endParaRPr lang="fi-FI" sz="2800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237C0E7-9ACD-4FBA-BFD1-887FD73E3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0DD987-ADA6-418B-A873-74C3DE3F8181}" type="datetime1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4.2023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8A23FA75-C744-F59A-88E5-99701C0FC6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5146" y="147824"/>
            <a:ext cx="1154249" cy="1012853"/>
          </a:xfrm>
          <a:prstGeom prst="rect">
            <a:avLst/>
          </a:prstGeom>
        </p:spPr>
      </p:pic>
      <p:sp>
        <p:nvSpPr>
          <p:cNvPr id="10" name="Otsikko 1">
            <a:extLst>
              <a:ext uri="{FF2B5EF4-FFF2-40B4-BE49-F238E27FC236}">
                <a16:creationId xmlns:a16="http://schemas.microsoft.com/office/drawing/2014/main" id="{141014FA-BE98-9341-4E73-6A560D343E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22000"/>
            <a:ext cx="10515600" cy="1161834"/>
          </a:xfrm>
        </p:spPr>
        <p:txBody>
          <a:bodyPr>
            <a:noAutofit/>
          </a:bodyPr>
          <a:lstStyle/>
          <a:p>
            <a:r>
              <a:rPr lang="en-US" sz="2800" dirty="0"/>
              <a:t>development paths of </a:t>
            </a:r>
            <a:br>
              <a:rPr lang="en-US" sz="2800" dirty="0"/>
            </a:br>
            <a:r>
              <a:rPr lang="en-US" sz="2800" dirty="0"/>
              <a:t>the voluntary carbon market </a:t>
            </a:r>
            <a:br>
              <a:rPr lang="en-US" sz="2800" dirty="0"/>
            </a:br>
            <a:r>
              <a:rPr lang="fi-FI" sz="2800" dirty="0"/>
              <a:t>- KolKom</a:t>
            </a:r>
          </a:p>
        </p:txBody>
      </p:sp>
    </p:spTree>
    <p:extLst>
      <p:ext uri="{BB962C8B-B14F-4D97-AF65-F5344CB8AC3E}">
        <p14:creationId xmlns:p14="http://schemas.microsoft.com/office/powerpoint/2010/main" val="20314460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9726B6AE-DE8A-4D10-91F7-C0EF63F92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C2ACC8-1D7C-4062-87FC-0E3B7D7FA81C}" type="datetime1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4.2023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C017F2E4-8DF4-BFA0-6528-D66F5E89F8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8508" y="180983"/>
            <a:ext cx="6674549" cy="3493947"/>
          </a:xfrm>
          <a:prstGeom prst="rect">
            <a:avLst/>
          </a:prstGeom>
        </p:spPr>
      </p:pic>
      <p:sp>
        <p:nvSpPr>
          <p:cNvPr id="14" name="Tekstiruutu 13">
            <a:extLst>
              <a:ext uri="{FF2B5EF4-FFF2-40B4-BE49-F238E27FC236}">
                <a16:creationId xmlns:a16="http://schemas.microsoft.com/office/drawing/2014/main" id="{840CEA31-3D14-23B1-6E61-6F2A38F75B56}"/>
              </a:ext>
            </a:extLst>
          </p:cNvPr>
          <p:cNvSpPr txBox="1"/>
          <p:nvPr/>
        </p:nvSpPr>
        <p:spPr>
          <a:xfrm>
            <a:off x="1003743" y="2333885"/>
            <a:ext cx="3238213" cy="1754326"/>
          </a:xfrm>
          <a:prstGeom prst="rect">
            <a:avLst/>
          </a:prstGeom>
          <a:noFill/>
          <a:ln w="47625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25 economist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¾ </a:t>
            </a: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Professional on </a:t>
            </a:r>
            <a:b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Climate change,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bioeconomy,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voluntary carbon market…</a:t>
            </a: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18" name="Tekstiruutu 17">
            <a:extLst>
              <a:ext uri="{FF2B5EF4-FFF2-40B4-BE49-F238E27FC236}">
                <a16:creationId xmlns:a16="http://schemas.microsoft.com/office/drawing/2014/main" id="{C9A72FE9-A41B-04DB-05DF-ACB966F981FF}"/>
              </a:ext>
            </a:extLst>
          </p:cNvPr>
          <p:cNvSpPr txBox="1"/>
          <p:nvPr/>
        </p:nvSpPr>
        <p:spPr>
          <a:xfrm>
            <a:off x="1000125" y="4232692"/>
            <a:ext cx="11020425" cy="1815882"/>
          </a:xfrm>
          <a:prstGeom prst="rect">
            <a:avLst/>
          </a:prstGeom>
          <a:noFill/>
          <a:ln w="15875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PTT produces voluntary carbon market statistics in Finla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Ongoing projects: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4  Projects  related to voluntary carbon markets (also technology-based solutions)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11 Projects related to Climate change mitigation on LULUCF sector</a:t>
            </a:r>
            <a:endParaRPr kumimoji="0" lang="fi-FI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pic>
        <p:nvPicPr>
          <p:cNvPr id="19" name="Kuva 18">
            <a:extLst>
              <a:ext uri="{FF2B5EF4-FFF2-40B4-BE49-F238E27FC236}">
                <a16:creationId xmlns:a16="http://schemas.microsoft.com/office/drawing/2014/main" id="{98394E0A-7608-BF43-8776-A7ED151ED46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8289" y="329961"/>
            <a:ext cx="758568" cy="383077"/>
          </a:xfrm>
          <a:prstGeom prst="rect">
            <a:avLst/>
          </a:prstGeom>
        </p:spPr>
      </p:pic>
      <p:pic>
        <p:nvPicPr>
          <p:cNvPr id="3" name="Kuva 2" descr="Kuva, joka sisältää kohteen logo&#10;&#10;Kuvaus luotu automaattisesti">
            <a:extLst>
              <a:ext uri="{FF2B5EF4-FFF2-40B4-BE49-F238E27FC236}">
                <a16:creationId xmlns:a16="http://schemas.microsoft.com/office/drawing/2014/main" id="{16E42D08-2250-8F58-65B9-6550815C649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743" y="101216"/>
            <a:ext cx="2795022" cy="2066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0697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isällön paikkamerkki 5" descr="Kuva, joka sisältää kohteen ruoho, ulko, taivas, kenttä">
            <a:extLst>
              <a:ext uri="{FF2B5EF4-FFF2-40B4-BE49-F238E27FC236}">
                <a16:creationId xmlns:a16="http://schemas.microsoft.com/office/drawing/2014/main" id="{D5F8D4FC-F1FB-1187-2492-2EE66262B86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2250" y="0"/>
            <a:ext cx="4609750" cy="6249880"/>
          </a:xfrm>
          <a:prstGeom prst="rect">
            <a:avLst/>
          </a:prstGeom>
        </p:spPr>
      </p:pic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A02FB4E8-2DE5-4F89-8478-0E11F9E4E8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38200" y="1899806"/>
            <a:ext cx="6506399" cy="4821669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uration: 3/2022-12/2023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8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ding 402 000€ (</a:t>
            </a:r>
            <a:r>
              <a:rPr lang="en-US" sz="18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tch the carbon</a:t>
            </a: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8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bjective:</a:t>
            </a:r>
          </a:p>
          <a:p>
            <a:pPr marL="800100" lvl="1" indent="-342900">
              <a:buAutoNum type="arabicParenR"/>
            </a:pPr>
            <a:r>
              <a:rPr lang="en-US" sz="18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proves society's view of the effects of carbon compensation</a:t>
            </a:r>
          </a:p>
          <a:p>
            <a:pPr marL="800100" lvl="1" indent="-342900">
              <a:buAutoNum type="arabicParenR"/>
            </a:pPr>
            <a:r>
              <a:rPr lang="en-US" sz="18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motes the  knowledge of landowners, advisors, carbon market companies and state administrations about voluntary carbon markets</a:t>
            </a:r>
            <a:endParaRPr lang="fi-FI" sz="18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fi-FI" sz="18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ow:</a:t>
            </a:r>
            <a:r>
              <a:rPr lang="fi-FI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fi-FI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fi-FI" sz="1800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7250" lvl="1" indent="-400050">
              <a:buFont typeface="Wingdings" panose="05000000000000000000" pitchFamily="2" charset="2"/>
              <a:buChar char="q"/>
            </a:pPr>
            <a:r>
              <a:rPr lang="en-US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reating development paths</a:t>
            </a:r>
          </a:p>
          <a:p>
            <a:pPr marL="857250" lvl="1" indent="-400050">
              <a:buFont typeface="Wingdings" panose="05000000000000000000" pitchFamily="2" charset="2"/>
              <a:buChar char="q"/>
            </a:pPr>
            <a:r>
              <a:rPr lang="en-US" sz="18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alyses of the effects of development paths</a:t>
            </a:r>
          </a:p>
          <a:p>
            <a:pPr marL="857250" lvl="1" indent="-400050">
              <a:buFont typeface="Wingdings" panose="05000000000000000000" pitchFamily="2" charset="2"/>
              <a:buChar char="q"/>
            </a:pPr>
            <a:r>
              <a:rPr lang="en-GB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commendations for the use of voluntary carbon markets as part of climate policy</a:t>
            </a:r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237C0E7-9ACD-4FBA-BFD1-887FD73E3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0DD987-ADA6-418B-A873-74C3DE3F8181}" type="datetime1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4.2023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8A23FA75-C744-F59A-88E5-99701C0FC63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5146" y="147824"/>
            <a:ext cx="1154249" cy="1012853"/>
          </a:xfrm>
          <a:prstGeom prst="rect">
            <a:avLst/>
          </a:prstGeom>
        </p:spPr>
      </p:pic>
      <p:sp>
        <p:nvSpPr>
          <p:cNvPr id="10" name="Otsikko 1">
            <a:extLst>
              <a:ext uri="{FF2B5EF4-FFF2-40B4-BE49-F238E27FC236}">
                <a16:creationId xmlns:a16="http://schemas.microsoft.com/office/drawing/2014/main" id="{141014FA-BE98-9341-4E73-6A560D343E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161834"/>
          </a:xfrm>
        </p:spPr>
        <p:txBody>
          <a:bodyPr>
            <a:noAutofit/>
          </a:bodyPr>
          <a:lstStyle/>
          <a:p>
            <a:r>
              <a:rPr lang="en-US" sz="2800" dirty="0"/>
              <a:t>development paths of </a:t>
            </a:r>
            <a:br>
              <a:rPr lang="en-US" sz="2800" dirty="0"/>
            </a:br>
            <a:r>
              <a:rPr lang="en-US" sz="2800" dirty="0"/>
              <a:t>the voluntary carbon market </a:t>
            </a:r>
            <a:br>
              <a:rPr lang="en-US" sz="2800" dirty="0"/>
            </a:br>
            <a:r>
              <a:rPr lang="fi-FI" sz="2800" dirty="0"/>
              <a:t>- KolKom</a:t>
            </a:r>
          </a:p>
        </p:txBody>
      </p:sp>
    </p:spTree>
    <p:extLst>
      <p:ext uri="{BB962C8B-B14F-4D97-AF65-F5344CB8AC3E}">
        <p14:creationId xmlns:p14="http://schemas.microsoft.com/office/powerpoint/2010/main" val="9994953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Kuva 10">
            <a:extLst>
              <a:ext uri="{FF2B5EF4-FFF2-40B4-BE49-F238E27FC236}">
                <a16:creationId xmlns:a16="http://schemas.microsoft.com/office/drawing/2014/main" id="{D9E2DFEE-97C0-81EB-5184-6A8DD2E3E30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9702" y="0"/>
            <a:ext cx="4062298" cy="622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49638DC3-5908-4B15-B0A5-85FCCE142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161834"/>
          </a:xfrm>
        </p:spPr>
        <p:txBody>
          <a:bodyPr>
            <a:noAutofit/>
          </a:bodyPr>
          <a:lstStyle/>
          <a:p>
            <a:r>
              <a:rPr lang="en-US" sz="2800" dirty="0"/>
              <a:t>Food value chain:</a:t>
            </a:r>
            <a:endParaRPr lang="fi-FI" sz="2800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237C0E7-9ACD-4FBA-BFD1-887FD73E3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0DD987-ADA6-418B-A873-74C3DE3F8181}" type="datetime1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4.2023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pic>
        <p:nvPicPr>
          <p:cNvPr id="10" name="Kuva 9">
            <a:extLst>
              <a:ext uri="{FF2B5EF4-FFF2-40B4-BE49-F238E27FC236}">
                <a16:creationId xmlns:a16="http://schemas.microsoft.com/office/drawing/2014/main" id="{2A4E2360-F66A-1E36-406D-2116473CE1B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1360" y="226580"/>
            <a:ext cx="1154249" cy="1012853"/>
          </a:xfrm>
          <a:prstGeom prst="rect">
            <a:avLst/>
          </a:prstGeom>
        </p:spPr>
      </p:pic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D57DC42-A6CD-5BDF-FEFE-F6F7D10342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86691" y="1526959"/>
            <a:ext cx="6928004" cy="4821669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8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griculture is GHG emission source </a:t>
            </a: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 Finland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8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in f</a:t>
            </a: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od industry companies has net zero goal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8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od sector is highly vertically integrated in Finland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sz="18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mission reductions to own climate goals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endParaRPr lang="en-US" sz="1800" b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8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</a:t>
            </a: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fficult to produce high-quality carbon credits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rmanent 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dditional (subsidies)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endParaRPr lang="en-US" sz="1800" b="1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>
              <a:buFont typeface="Wingdings" panose="05000000000000000000" pitchFamily="2" charset="2"/>
              <a:buChar char="q"/>
            </a:pPr>
            <a:endParaRPr lang="en-US" sz="1800" b="1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8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Joint production for the voluntary carbon market unlikely 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4631311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 descr="Kuva, joka sisältää kohteen puu, piha-, lumi, havupuu&#10;&#10;Kuvaus luotu automaattisesti">
            <a:extLst>
              <a:ext uri="{FF2B5EF4-FFF2-40B4-BE49-F238E27FC236}">
                <a16:creationId xmlns:a16="http://schemas.microsoft.com/office/drawing/2014/main" id="{823B04FD-8B7D-B35F-B5E3-928822EA40B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1000" y="0"/>
            <a:ext cx="4671000" cy="622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49638DC3-5908-4B15-B0A5-85FCCE142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161834"/>
          </a:xfrm>
        </p:spPr>
        <p:txBody>
          <a:bodyPr>
            <a:noAutofit/>
          </a:bodyPr>
          <a:lstStyle/>
          <a:p>
            <a:r>
              <a:rPr lang="en-US" sz="2800" dirty="0"/>
              <a:t>Forest value chain:</a:t>
            </a:r>
            <a:br>
              <a:rPr lang="en-US" sz="2800" dirty="0"/>
            </a:br>
            <a:endParaRPr lang="fi-FI" sz="2800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237C0E7-9ACD-4FBA-BFD1-887FD73E3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0DD987-ADA6-418B-A873-74C3DE3F8181}" type="datetime1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.4.2023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pic>
        <p:nvPicPr>
          <p:cNvPr id="10" name="Kuva 9">
            <a:extLst>
              <a:ext uri="{FF2B5EF4-FFF2-40B4-BE49-F238E27FC236}">
                <a16:creationId xmlns:a16="http://schemas.microsoft.com/office/drawing/2014/main" id="{2A4E2360-F66A-1E36-406D-2116473CE1B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5146" y="147824"/>
            <a:ext cx="1154249" cy="1012853"/>
          </a:xfrm>
          <a:prstGeom prst="rect">
            <a:avLst/>
          </a:prstGeom>
        </p:spPr>
      </p:pic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3071-1454-DFB3-9CF4-E975AC9AB22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50708" y="1160677"/>
            <a:ext cx="6506399" cy="4821669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8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</a:t>
            </a: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rests are carbon sink in Finland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est product are carbon storage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8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est industry invest in emissions reductions</a:t>
            </a:r>
            <a:br>
              <a:rPr lang="en-US" sz="18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1800" b="1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8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</a:t>
            </a: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fficult to produce high-quality carbon credits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rmanent 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dditional (profitability)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uitable implementation time</a:t>
            </a:r>
            <a:endParaRPr lang="en-US" sz="1800" b="1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800" b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est owners see earning opportunities </a:t>
            </a:r>
            <a:r>
              <a:rPr lang="en-US" sz="1800" b="1" u="sng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n joint production</a:t>
            </a:r>
            <a:endParaRPr lang="en-US" sz="1800" b="1" u="sng" dirty="0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est sector produces carbon credit to voluntary market :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fi-FI" dirty="0"/>
          </a:p>
        </p:txBody>
      </p:sp>
      <p:graphicFrame>
        <p:nvGraphicFramePr>
          <p:cNvPr id="9" name="Taulukko 8">
            <a:extLst>
              <a:ext uri="{FF2B5EF4-FFF2-40B4-BE49-F238E27FC236}">
                <a16:creationId xmlns:a16="http://schemas.microsoft.com/office/drawing/2014/main" id="{7D184E01-534A-5A40-CD88-C290489EC9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5002352"/>
              </p:ext>
            </p:extLst>
          </p:nvPr>
        </p:nvGraphicFramePr>
        <p:xfrm>
          <a:off x="1953242" y="4996250"/>
          <a:ext cx="4454305" cy="125301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93078">
                  <a:extLst>
                    <a:ext uri="{9D8B030D-6E8A-4147-A177-3AD203B41FA5}">
                      <a16:colId xmlns:a16="http://schemas.microsoft.com/office/drawing/2014/main" val="1264160251"/>
                    </a:ext>
                  </a:extLst>
                </a:gridCol>
                <a:gridCol w="1167452">
                  <a:extLst>
                    <a:ext uri="{9D8B030D-6E8A-4147-A177-3AD203B41FA5}">
                      <a16:colId xmlns:a16="http://schemas.microsoft.com/office/drawing/2014/main" val="3023890552"/>
                    </a:ext>
                  </a:extLst>
                </a:gridCol>
                <a:gridCol w="1159275">
                  <a:extLst>
                    <a:ext uri="{9D8B030D-6E8A-4147-A177-3AD203B41FA5}">
                      <a16:colId xmlns:a16="http://schemas.microsoft.com/office/drawing/2014/main" val="2024555684"/>
                    </a:ext>
                  </a:extLst>
                </a:gridCol>
                <a:gridCol w="1234500">
                  <a:extLst>
                    <a:ext uri="{9D8B030D-6E8A-4147-A177-3AD203B41FA5}">
                      <a16:colId xmlns:a16="http://schemas.microsoft.com/office/drawing/2014/main" val="1824286201"/>
                    </a:ext>
                  </a:extLst>
                </a:gridCol>
              </a:tblGrid>
              <a:tr h="570236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fi-FI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 kern="0" dirty="0">
                          <a:effectLst/>
                        </a:rPr>
                        <a:t>Produced </a:t>
                      </a:r>
                      <a:br>
                        <a:rPr lang="en-GB" sz="1400" kern="0" dirty="0">
                          <a:effectLst/>
                        </a:rPr>
                      </a:br>
                      <a:r>
                        <a:rPr lang="en-GB" sz="1400" kern="0" dirty="0">
                          <a:effectLst/>
                        </a:rPr>
                        <a:t>(tCO</a:t>
                      </a:r>
                      <a:r>
                        <a:rPr lang="en-GB" sz="1400" kern="0" baseline="-25000" dirty="0">
                          <a:effectLst/>
                        </a:rPr>
                        <a:t>2</a:t>
                      </a:r>
                      <a:r>
                        <a:rPr lang="en-GB" sz="1400" kern="0" dirty="0">
                          <a:effectLst/>
                        </a:rPr>
                        <a:t> ekv.) </a:t>
                      </a:r>
                      <a:endParaRPr lang="fi-FI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 kern="0" dirty="0">
                          <a:effectLst/>
                        </a:rPr>
                        <a:t>Sold </a:t>
                      </a:r>
                      <a:br>
                        <a:rPr lang="en-GB" sz="1400" kern="0" dirty="0">
                          <a:effectLst/>
                        </a:rPr>
                      </a:br>
                      <a:r>
                        <a:rPr lang="en-GB" sz="1400" kern="0" dirty="0">
                          <a:effectLst/>
                        </a:rPr>
                        <a:t>(tCO</a:t>
                      </a:r>
                      <a:r>
                        <a:rPr lang="en-GB" sz="1400" kern="0" baseline="-25000" dirty="0">
                          <a:effectLst/>
                        </a:rPr>
                        <a:t>2</a:t>
                      </a:r>
                      <a:r>
                        <a:rPr lang="en-GB" sz="1400" kern="0" dirty="0">
                          <a:effectLst/>
                        </a:rPr>
                        <a:t> ekv.) </a:t>
                      </a:r>
                      <a:endParaRPr lang="fi-FI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 kern="0" dirty="0">
                          <a:effectLst/>
                        </a:rPr>
                        <a:t>Price</a:t>
                      </a:r>
                      <a:br>
                        <a:rPr lang="en-GB" sz="1400" kern="0" dirty="0">
                          <a:effectLst/>
                        </a:rPr>
                      </a:br>
                      <a:r>
                        <a:rPr lang="en-GB" sz="1400" kern="0" dirty="0">
                          <a:effectLst/>
                        </a:rPr>
                        <a:t> (€/tCO</a:t>
                      </a:r>
                      <a:r>
                        <a:rPr lang="en-GB" sz="1400" kern="0" baseline="-25000" dirty="0">
                          <a:effectLst/>
                        </a:rPr>
                        <a:t>2</a:t>
                      </a:r>
                      <a:r>
                        <a:rPr lang="en-GB" sz="1400" kern="0" dirty="0">
                          <a:effectLst/>
                        </a:rPr>
                        <a:t> ekv.) </a:t>
                      </a:r>
                      <a:endParaRPr lang="fi-FI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45211627"/>
                  </a:ext>
                </a:extLst>
              </a:tr>
              <a:tr h="341390">
                <a:tc>
                  <a:txBody>
                    <a:bodyPr/>
                    <a:lstStyle/>
                    <a:p>
                      <a:pPr algn="just"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 kern="0" dirty="0">
                          <a:effectLst/>
                        </a:rPr>
                        <a:t>2022 H2  </a:t>
                      </a:r>
                      <a:endParaRPr lang="fi-FI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 kern="0" dirty="0">
                          <a:effectLst/>
                        </a:rPr>
                        <a:t>2 108  </a:t>
                      </a:r>
                      <a:endParaRPr lang="fi-FI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 kern="0" dirty="0">
                          <a:effectLst/>
                        </a:rPr>
                        <a:t>47 516 </a:t>
                      </a:r>
                      <a:endParaRPr lang="fi-FI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 kern="0" dirty="0">
                          <a:effectLst/>
                        </a:rPr>
                        <a:t>11,76 </a:t>
                      </a:r>
                      <a:endParaRPr lang="fi-FI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26941453"/>
                  </a:ext>
                </a:extLst>
              </a:tr>
              <a:tr h="341390">
                <a:tc>
                  <a:txBody>
                    <a:bodyPr/>
                    <a:lstStyle/>
                    <a:p>
                      <a:pPr algn="just"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 kern="0" dirty="0">
                          <a:effectLst/>
                        </a:rPr>
                        <a:t>2022 H1  </a:t>
                      </a:r>
                      <a:endParaRPr lang="fi-FI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 kern="0" dirty="0">
                          <a:effectLst/>
                        </a:rPr>
                        <a:t>41 312  </a:t>
                      </a:r>
                      <a:endParaRPr lang="fi-FI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 kern="0" dirty="0">
                          <a:effectLst/>
                        </a:rPr>
                        <a:t>25 400 </a:t>
                      </a:r>
                      <a:endParaRPr lang="fi-FI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ase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 kern="0" dirty="0">
                          <a:effectLst/>
                        </a:rPr>
                        <a:t>10,64 </a:t>
                      </a:r>
                      <a:endParaRPr lang="fi-FI" sz="14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745144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34918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n paikkamerkki 6"/>
          <p:cNvPicPr preferRelativeResize="0"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61" y="4870332"/>
            <a:ext cx="12133006" cy="1987668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latin typeface="Montserrat" panose="00000500000000000000" pitchFamily="50" charset="0"/>
              </a:rPr>
              <a:t>Aligned with the EU level policies</a:t>
            </a:r>
            <a:endParaRPr lang="fi-FI" dirty="0">
              <a:latin typeface="Montserrat" panose="00000500000000000000" pitchFamily="50" charset="0"/>
            </a:endParaRP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351338"/>
          </a:xfrm>
        </p:spPr>
        <p:txBody>
          <a:bodyPr>
            <a:normAutofit/>
          </a:bodyPr>
          <a:lstStyle/>
          <a:p>
            <a:r>
              <a:rPr lang="en-US" dirty="0">
                <a:latin typeface="Montserrat" panose="00000500000000000000" pitchFamily="50" charset="0"/>
              </a:rPr>
              <a:t>Climate measures for the land use sector are implemented across the different sectors building interlinkage with several other EU initiatives </a:t>
            </a:r>
          </a:p>
          <a:p>
            <a:pPr lvl="1"/>
            <a:r>
              <a:rPr lang="en-US" sz="1400" dirty="0">
                <a:latin typeface="Montserrat" panose="00000500000000000000" pitchFamily="50" charset="0"/>
              </a:rPr>
              <a:t>Fit for 55 </a:t>
            </a:r>
            <a:r>
              <a:rPr lang="en-US" sz="1400" dirty="0" smtClean="0">
                <a:latin typeface="Montserrat" panose="00000500000000000000" pitchFamily="50" charset="0"/>
              </a:rPr>
              <a:t>package</a:t>
            </a:r>
          </a:p>
          <a:p>
            <a:pPr lvl="1"/>
            <a:r>
              <a:rPr lang="en-US" sz="1400" dirty="0" smtClean="0">
                <a:latin typeface="Montserrat" panose="00000500000000000000" pitchFamily="50" charset="0"/>
              </a:rPr>
              <a:t>LULUCF Regulation</a:t>
            </a:r>
            <a:endParaRPr lang="en-US" sz="1400" dirty="0">
              <a:latin typeface="Montserrat" panose="00000500000000000000" pitchFamily="50" charset="0"/>
            </a:endParaRPr>
          </a:p>
          <a:p>
            <a:pPr lvl="1"/>
            <a:r>
              <a:rPr lang="en-US" sz="1400" dirty="0">
                <a:latin typeface="Montserrat" panose="00000500000000000000" pitchFamily="50" charset="0"/>
              </a:rPr>
              <a:t>Common agricultural policy</a:t>
            </a:r>
          </a:p>
          <a:p>
            <a:pPr lvl="1"/>
            <a:r>
              <a:rPr lang="en-US" sz="1400" dirty="0">
                <a:latin typeface="Montserrat" panose="00000500000000000000" pitchFamily="50" charset="0"/>
              </a:rPr>
              <a:t>Climate adaptation strategy</a:t>
            </a:r>
          </a:p>
          <a:p>
            <a:pPr lvl="1"/>
            <a:r>
              <a:rPr lang="en-US" sz="1400" dirty="0">
                <a:latin typeface="Montserrat" panose="00000500000000000000" pitchFamily="50" charset="0"/>
              </a:rPr>
              <a:t>EU Soil Strategy</a:t>
            </a:r>
          </a:p>
          <a:p>
            <a:pPr lvl="1"/>
            <a:r>
              <a:rPr lang="en-US" sz="1400" dirty="0">
                <a:latin typeface="Montserrat" panose="00000500000000000000" pitchFamily="50" charset="0"/>
              </a:rPr>
              <a:t>EU Forest strategy</a:t>
            </a:r>
          </a:p>
          <a:p>
            <a:pPr lvl="1"/>
            <a:r>
              <a:rPr lang="en-US" sz="1400" dirty="0">
                <a:latin typeface="Montserrat" panose="00000500000000000000" pitchFamily="50" charset="0"/>
              </a:rPr>
              <a:t>Carbon </a:t>
            </a:r>
            <a:r>
              <a:rPr lang="en-US" sz="1400" dirty="0" smtClean="0">
                <a:latin typeface="Montserrat" panose="00000500000000000000" pitchFamily="50" charset="0"/>
              </a:rPr>
              <a:t>farming</a:t>
            </a:r>
          </a:p>
          <a:p>
            <a:pPr lvl="1"/>
            <a:r>
              <a:rPr lang="en-US" sz="1400" dirty="0" smtClean="0">
                <a:latin typeface="Montserrat" panose="00000500000000000000" pitchFamily="50" charset="0"/>
              </a:rPr>
              <a:t>Etc.</a:t>
            </a:r>
            <a:endParaRPr lang="en-US" sz="1400" dirty="0">
              <a:latin typeface="Montserrat" panose="00000500000000000000" pitchFamily="50" charset="0"/>
            </a:endParaRPr>
          </a:p>
          <a:p>
            <a:pPr marL="342900" lvl="0" indent="-342900"/>
            <a:endParaRPr lang="en-US" sz="1800" dirty="0">
              <a:latin typeface="+mn-lt"/>
            </a:endParaRPr>
          </a:p>
          <a:p>
            <a:endParaRPr lang="fi-FI" sz="1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6205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579709" y="702048"/>
            <a:ext cx="9729188" cy="1325563"/>
          </a:xfrm>
        </p:spPr>
        <p:txBody>
          <a:bodyPr/>
          <a:lstStyle/>
          <a:p>
            <a:r>
              <a:rPr lang="fi-FI" dirty="0" smtClean="0">
                <a:latin typeface="Montserrat" panose="00000500000000000000" pitchFamily="50" charset="0"/>
              </a:rPr>
              <a:t>Find out more</a:t>
            </a:r>
            <a:endParaRPr lang="fi-FI" dirty="0">
              <a:latin typeface="Montserrat" panose="00000500000000000000" pitchFamily="50" charset="0"/>
            </a:endParaRPr>
          </a:p>
        </p:txBody>
      </p:sp>
      <p:sp>
        <p:nvSpPr>
          <p:cNvPr id="6" name="Tekstiruutu 5"/>
          <p:cNvSpPr txBox="1"/>
          <p:nvPr/>
        </p:nvSpPr>
        <p:spPr>
          <a:xfrm>
            <a:off x="579709" y="2445182"/>
            <a:ext cx="100367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2400" b="1" dirty="0" smtClean="0">
                <a:solidFill>
                  <a:schemeClr val="bg1"/>
                </a:solidFill>
                <a:latin typeface="Montserrat" panose="00000500000000000000" pitchFamily="50" charset="0"/>
                <a:hlinkClick r:id="rId3"/>
              </a:rPr>
              <a:t>Read the guide: good practices for voluntary carbon markets</a:t>
            </a:r>
            <a:r>
              <a:rPr lang="fi-FI" sz="2400" b="1" dirty="0" smtClean="0">
                <a:solidFill>
                  <a:schemeClr val="bg1"/>
                </a:solidFill>
                <a:latin typeface="Montserrat" panose="00000500000000000000" pitchFamily="50" charset="0"/>
              </a:rPr>
              <a:t> </a:t>
            </a:r>
          </a:p>
        </p:txBody>
      </p:sp>
      <p:sp>
        <p:nvSpPr>
          <p:cNvPr id="7" name="Tekstiruutu 6"/>
          <p:cNvSpPr txBox="1"/>
          <p:nvPr/>
        </p:nvSpPr>
        <p:spPr>
          <a:xfrm>
            <a:off x="579709" y="3324418"/>
            <a:ext cx="103828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  <a:latin typeface="Montserrat" panose="00000500000000000000" pitchFamily="50" charset="0"/>
                <a:hlinkClick r:id="rId4"/>
              </a:rPr>
              <a:t>Join online: 1st Northern European “4 per 1000” regional meeting: More carbon in the soil for multiple benefits</a:t>
            </a:r>
            <a:r>
              <a:rPr lang="en-US" sz="2400" b="1" dirty="0" smtClean="0">
                <a:solidFill>
                  <a:schemeClr val="bg1"/>
                </a:solidFill>
                <a:latin typeface="Montserrat" panose="00000500000000000000" pitchFamily="50" charset="0"/>
              </a:rPr>
              <a:t> </a:t>
            </a:r>
            <a:r>
              <a:rPr lang="en-US" sz="24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Montserrat" panose="00000500000000000000" pitchFamily="50" charset="0"/>
              </a:rPr>
              <a:t>(6</a:t>
            </a:r>
            <a:r>
              <a:rPr lang="en-US" sz="24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Montserrat" panose="00000500000000000000" pitchFamily="50" charset="0"/>
              </a:rPr>
              <a:t>.–8.6.)</a:t>
            </a:r>
            <a:endParaRPr lang="en-US" sz="2400" b="1" dirty="0">
              <a:solidFill>
                <a:schemeClr val="tx2">
                  <a:lumMod val="75000"/>
                  <a:lumOff val="25000"/>
                </a:schemeClr>
              </a:solidFill>
              <a:latin typeface="Montserrat" panose="00000500000000000000" pitchFamily="50" charset="0"/>
            </a:endParaRPr>
          </a:p>
        </p:txBody>
      </p:sp>
      <p:sp>
        <p:nvSpPr>
          <p:cNvPr id="4" name="Tekstiruutu 3"/>
          <p:cNvSpPr txBox="1"/>
          <p:nvPr/>
        </p:nvSpPr>
        <p:spPr>
          <a:xfrm>
            <a:off x="579709" y="4572986"/>
            <a:ext cx="67649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2400" b="1" dirty="0" smtClean="0">
                <a:latin typeface="Montserrat" panose="00000500000000000000" pitchFamily="50" charset="0"/>
              </a:rPr>
              <a:t>Contact</a:t>
            </a:r>
            <a:r>
              <a:rPr lang="fi-FI" sz="2400" b="1" dirty="0" smtClean="0">
                <a:latin typeface="Montserrat" panose="00000500000000000000" pitchFamily="50" charset="0"/>
              </a:rPr>
              <a:t> us</a:t>
            </a:r>
            <a:r>
              <a:rPr lang="fi-FI" sz="2400" dirty="0" smtClean="0">
                <a:latin typeface="Montserrat" panose="00000500000000000000" pitchFamily="50" charset="0"/>
              </a:rPr>
              <a:t>: ilmastoratkaisut.mmm@gov.fi</a:t>
            </a:r>
            <a:endParaRPr lang="fi-FI" sz="2400" dirty="0">
              <a:latin typeface="Montserrat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240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83459" y="4562914"/>
            <a:ext cx="9347398" cy="2523183"/>
          </a:xfrm>
        </p:spPr>
        <p:txBody>
          <a:bodyPr>
            <a:normAutofit/>
          </a:bodyPr>
          <a:lstStyle/>
          <a:p>
            <a:r>
              <a:rPr lang="fi-FI" sz="2000" dirty="0" smtClean="0"/>
              <a:t> </a:t>
            </a:r>
            <a:endParaRPr lang="fi-FI" sz="2000" dirty="0"/>
          </a:p>
        </p:txBody>
      </p:sp>
      <p:pic>
        <p:nvPicPr>
          <p:cNvPr id="5" name="Kuva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8026" y="2543604"/>
            <a:ext cx="4084983" cy="2215975"/>
          </a:xfrm>
          <a:prstGeom prst="rect">
            <a:avLst/>
          </a:prstGeom>
        </p:spPr>
      </p:pic>
      <p:sp>
        <p:nvSpPr>
          <p:cNvPr id="4" name="Tekstiruutu 3"/>
          <p:cNvSpPr txBox="1"/>
          <p:nvPr/>
        </p:nvSpPr>
        <p:spPr>
          <a:xfrm>
            <a:off x="795186" y="6105244"/>
            <a:ext cx="32680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b="1" dirty="0" smtClean="0">
                <a:solidFill>
                  <a:schemeClr val="bg1"/>
                </a:solidFill>
                <a:latin typeface="Montserrat" panose="00000500000000000000" pitchFamily="50" charset="0"/>
              </a:rPr>
              <a:t>#</a:t>
            </a:r>
            <a:r>
              <a:rPr lang="fi-FI" sz="2000" b="1" dirty="0" smtClean="0">
                <a:solidFill>
                  <a:schemeClr val="bg1"/>
                </a:solidFill>
                <a:latin typeface="Montserrat" panose="00000500000000000000" pitchFamily="50" charset="0"/>
              </a:rPr>
              <a:t>CatchTheCarbon</a:t>
            </a:r>
            <a:endParaRPr lang="fi-FI" sz="2000" b="1" dirty="0">
              <a:solidFill>
                <a:schemeClr val="bg1"/>
              </a:solidFill>
              <a:latin typeface="Montserrat" panose="00000500000000000000" pitchFamily="50" charset="0"/>
            </a:endParaRPr>
          </a:p>
        </p:txBody>
      </p:sp>
      <p:sp>
        <p:nvSpPr>
          <p:cNvPr id="8" name="Tekstiruutu 7"/>
          <p:cNvSpPr txBox="1"/>
          <p:nvPr/>
        </p:nvSpPr>
        <p:spPr>
          <a:xfrm>
            <a:off x="9729363" y="5951356"/>
            <a:ext cx="32680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2000" b="1" dirty="0" smtClean="0">
                <a:solidFill>
                  <a:schemeClr val="bg1"/>
                </a:solidFill>
                <a:latin typeface="Montserrat" panose="00000500000000000000" pitchFamily="50" charset="0"/>
              </a:rPr>
              <a:t>mmm.fi</a:t>
            </a:r>
          </a:p>
          <a:p>
            <a:r>
              <a:rPr lang="fi-FI" sz="2000" b="1" dirty="0" smtClean="0">
                <a:solidFill>
                  <a:schemeClr val="bg1"/>
                </a:solidFill>
                <a:latin typeface="Montserrat" panose="00000500000000000000" pitchFamily="50" charset="0"/>
              </a:rPr>
              <a:t>@</a:t>
            </a:r>
            <a:r>
              <a:rPr lang="fi-FI" sz="2000" b="1" dirty="0" err="1" smtClean="0">
                <a:solidFill>
                  <a:schemeClr val="bg1"/>
                </a:solidFill>
                <a:latin typeface="Montserrat" panose="00000500000000000000" pitchFamily="50" charset="0"/>
              </a:rPr>
              <a:t>mmm_fi</a:t>
            </a:r>
            <a:endParaRPr lang="fi-FI" sz="2000" b="1" dirty="0">
              <a:solidFill>
                <a:schemeClr val="bg1"/>
              </a:solidFill>
              <a:latin typeface="Montserrat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3020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Kuva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2134" y="5839189"/>
            <a:ext cx="1530178" cy="830074"/>
          </a:xfrm>
          <a:prstGeom prst="rect">
            <a:avLst/>
          </a:prstGeom>
        </p:spPr>
      </p:pic>
      <p:sp>
        <p:nvSpPr>
          <p:cNvPr id="3" name="Otsikko 2"/>
          <p:cNvSpPr>
            <a:spLocks noGrp="1"/>
          </p:cNvSpPr>
          <p:nvPr>
            <p:ph type="title"/>
          </p:nvPr>
        </p:nvSpPr>
        <p:spPr>
          <a:xfrm>
            <a:off x="3917175" y="798890"/>
            <a:ext cx="6953506" cy="688345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Montserrat" panose="00000500000000000000" pitchFamily="50" charset="0"/>
              </a:rPr>
              <a:t>What do we do? Who is involved?</a:t>
            </a:r>
            <a:endParaRPr lang="fi-FI" dirty="0">
              <a:latin typeface="Montserrat" panose="00000500000000000000" pitchFamily="50" charset="0"/>
            </a:endParaRP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16"/>
          </p:nvPr>
        </p:nvSpPr>
        <p:spPr>
          <a:xfrm>
            <a:off x="3783750" y="1613550"/>
            <a:ext cx="6953506" cy="4929398"/>
          </a:xfrm>
        </p:spPr>
        <p:txBody>
          <a:bodyPr>
            <a:normAutofit lnSpcReduction="10000"/>
          </a:bodyPr>
          <a:lstStyle/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en-US" dirty="0">
                <a:latin typeface="Montserrat" panose="00000500000000000000" pitchFamily="50" charset="0"/>
              </a:rPr>
              <a:t>Climate measures are implemented across the different sectors building interlinkages</a:t>
            </a:r>
          </a:p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en-US" dirty="0">
                <a:latin typeface="Montserrat" panose="00000500000000000000" pitchFamily="50" charset="0"/>
              </a:rPr>
              <a:t>To build better and strong implementation of climate-smart forestry and agriculture practices, we have been putting emphasis on communication, </a:t>
            </a:r>
            <a:r>
              <a:rPr lang="en-US" dirty="0" smtClean="0">
                <a:latin typeface="Montserrat" panose="00000500000000000000" pitchFamily="50" charset="0"/>
              </a:rPr>
              <a:t>interaction, knowledge </a:t>
            </a:r>
            <a:r>
              <a:rPr lang="en-US" dirty="0">
                <a:latin typeface="Montserrat" panose="00000500000000000000" pitchFamily="50" charset="0"/>
              </a:rPr>
              <a:t>and competence. </a:t>
            </a:r>
          </a:p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en-US" dirty="0" smtClean="0">
                <a:latin typeface="Montserrat" panose="00000500000000000000" pitchFamily="50" charset="0"/>
              </a:rPr>
              <a:t>We unite practitioners in a positive way and we also enhance co-operation between public and private actors: Farmers, forest owners, businesses, NGO´s, cities and communities, citizens.</a:t>
            </a:r>
          </a:p>
          <a:p>
            <a:pPr marL="342900" indent="-342900" fontAlgn="ctr">
              <a:buFont typeface="Arial" panose="020B0604020202020204" pitchFamily="34" charset="0"/>
              <a:buChar char="•"/>
            </a:pPr>
            <a:r>
              <a:rPr lang="en-US" dirty="0">
                <a:latin typeface="Montserrat" panose="00000500000000000000" pitchFamily="50" charset="0"/>
              </a:rPr>
              <a:t>Close stakeholder cooperation already during the project will ensure that the information will be effectively transmitted to serve as the basis for decision-making and to practical actions</a:t>
            </a:r>
          </a:p>
          <a:p>
            <a:pPr marL="342900" indent="-342900" fontAlgn="ctr">
              <a:buFont typeface="Arial" panose="020B0604020202020204" pitchFamily="34" charset="0"/>
              <a:buChar char="•"/>
            </a:pPr>
            <a:endParaRPr lang="en-US" dirty="0" smtClean="0">
              <a:latin typeface="Montserrat" panose="00000500000000000000" pitchFamily="50" charset="0"/>
            </a:endParaRPr>
          </a:p>
          <a:p>
            <a:pPr marL="342900" indent="-342900" fontAlgn="ctr">
              <a:buFont typeface="Arial" panose="020B0604020202020204" pitchFamily="34" charset="0"/>
              <a:buChar char="•"/>
            </a:pPr>
            <a:endParaRPr lang="fi-FI" sz="1200" dirty="0" smtClean="0">
              <a:latin typeface="Montserrat" panose="00000500000000000000" pitchFamily="50" charset="0"/>
            </a:endParaRPr>
          </a:p>
          <a:p>
            <a:pPr fontAlgn="ctr"/>
            <a:endParaRPr lang="fi-FI" sz="1200" dirty="0"/>
          </a:p>
          <a:p>
            <a:pPr fontAlgn="ctr"/>
            <a:endParaRPr lang="fi-FI" sz="1200" dirty="0"/>
          </a:p>
        </p:txBody>
      </p:sp>
      <p:pic>
        <p:nvPicPr>
          <p:cNvPr id="12" name="Kuva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316" y="1214261"/>
            <a:ext cx="1377699" cy="399289"/>
          </a:xfrm>
          <a:prstGeom prst="rect">
            <a:avLst/>
          </a:prstGeom>
        </p:spPr>
      </p:pic>
      <p:pic>
        <p:nvPicPr>
          <p:cNvPr id="13" name="Kuva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124" y="2730002"/>
            <a:ext cx="1377699" cy="399289"/>
          </a:xfrm>
          <a:prstGeom prst="rect">
            <a:avLst/>
          </a:prstGeom>
        </p:spPr>
      </p:pic>
      <p:pic>
        <p:nvPicPr>
          <p:cNvPr id="14" name="Kuva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2402" y="4394712"/>
            <a:ext cx="1377699" cy="399289"/>
          </a:xfrm>
          <a:prstGeom prst="rect">
            <a:avLst/>
          </a:prstGeom>
        </p:spPr>
      </p:pic>
      <p:pic>
        <p:nvPicPr>
          <p:cNvPr id="18" name="Kuva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56" y="875262"/>
            <a:ext cx="1377699" cy="399289"/>
          </a:xfrm>
          <a:prstGeom prst="rect">
            <a:avLst/>
          </a:prstGeom>
        </p:spPr>
      </p:pic>
      <p:pic>
        <p:nvPicPr>
          <p:cNvPr id="19" name="Kuva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2402" y="2679326"/>
            <a:ext cx="1377699" cy="399289"/>
          </a:xfrm>
          <a:prstGeom prst="rect">
            <a:avLst/>
          </a:prstGeom>
        </p:spPr>
      </p:pic>
      <p:pic>
        <p:nvPicPr>
          <p:cNvPr id="20" name="Kuva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184" y="4144391"/>
            <a:ext cx="1377699" cy="399289"/>
          </a:xfrm>
          <a:prstGeom prst="rect">
            <a:avLst/>
          </a:prstGeom>
        </p:spPr>
      </p:pic>
      <p:pic>
        <p:nvPicPr>
          <p:cNvPr id="7" name="Kuvan paikkamerkki 6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48" t="-298044" r="848" b="-394"/>
          <a:stretch/>
        </p:blipFill>
        <p:spPr>
          <a:solidFill>
            <a:schemeClr val="tx2">
              <a:lumMod val="25000"/>
              <a:lumOff val="75000"/>
            </a:schemeClr>
          </a:solidFill>
        </p:spPr>
      </p:pic>
      <p:pic>
        <p:nvPicPr>
          <p:cNvPr id="15" name="Kuva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256" y="1027662"/>
            <a:ext cx="1377699" cy="399289"/>
          </a:xfrm>
          <a:prstGeom prst="rect">
            <a:avLst/>
          </a:prstGeom>
        </p:spPr>
      </p:pic>
      <p:pic>
        <p:nvPicPr>
          <p:cNvPr id="16" name="Kuva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4802" y="2831726"/>
            <a:ext cx="1377699" cy="399289"/>
          </a:xfrm>
          <a:prstGeom prst="rect">
            <a:avLst/>
          </a:prstGeom>
        </p:spPr>
      </p:pic>
      <p:pic>
        <p:nvPicPr>
          <p:cNvPr id="21" name="Kuva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584" y="4296791"/>
            <a:ext cx="1377699" cy="399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3980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>
                <a:latin typeface="Montserrat" panose="00000500000000000000" pitchFamily="50" charset="0"/>
              </a:rPr>
              <a:t>Description of the impact pathway</a:t>
            </a:r>
            <a:endParaRPr lang="fi-FI" dirty="0">
              <a:latin typeface="Montserrat" panose="00000500000000000000" pitchFamily="50" charset="0"/>
            </a:endParaRPr>
          </a:p>
        </p:txBody>
      </p:sp>
      <p:pic>
        <p:nvPicPr>
          <p:cNvPr id="4" name="Sisällön paikkamerkki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81868" y="1690688"/>
            <a:ext cx="9907557" cy="4596133"/>
          </a:xfrm>
          <a:prstGeom prst="rect">
            <a:avLst/>
          </a:prstGeom>
        </p:spPr>
      </p:pic>
      <p:sp>
        <p:nvSpPr>
          <p:cNvPr id="5" name="Tekstiruutu 4"/>
          <p:cNvSpPr txBox="1"/>
          <p:nvPr/>
        </p:nvSpPr>
        <p:spPr>
          <a:xfrm>
            <a:off x="9285316" y="6384175"/>
            <a:ext cx="20366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400" dirty="0" smtClean="0"/>
              <a:t>Source: Gaia &amp; PTT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613873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Montserrat" panose="00000500000000000000" pitchFamily="50" charset="0"/>
              </a:rPr>
              <a:t>Climate-smart agriculture, forestry and land use</a:t>
            </a:r>
            <a:endParaRPr lang="fi-FI" dirty="0">
              <a:latin typeface="Montserrat" panose="00000500000000000000" pitchFamily="50" charset="0"/>
            </a:endParaRP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342900" indent="-342900" fontAlgn="ctr"/>
            <a:r>
              <a:rPr lang="en-US" dirty="0">
                <a:latin typeface="Montserrat" panose="00000500000000000000" pitchFamily="50" charset="0"/>
              </a:rPr>
              <a:t>In agriculture, cultivation methods, techniques, products and </a:t>
            </a:r>
            <a:r>
              <a:rPr lang="en-US" dirty="0" smtClean="0">
                <a:latin typeface="Montserrat" panose="00000500000000000000" pitchFamily="50" charset="0"/>
              </a:rPr>
              <a:t>services </a:t>
            </a:r>
            <a:r>
              <a:rPr lang="en-US" dirty="0">
                <a:latin typeface="Montserrat" panose="00000500000000000000" pitchFamily="50" charset="0"/>
              </a:rPr>
              <a:t>are promoted that contribute to carbon sequestration and storage and reduce emissions.</a:t>
            </a:r>
            <a:r>
              <a:rPr lang="fi-FI" dirty="0">
                <a:latin typeface="Montserrat" panose="00000500000000000000" pitchFamily="50" charset="0"/>
              </a:rPr>
              <a:t> </a:t>
            </a:r>
          </a:p>
          <a:p>
            <a:pPr marL="342900" indent="-342900" fontAlgn="ctr"/>
            <a:r>
              <a:rPr lang="en-US" dirty="0">
                <a:latin typeface="Montserrat" panose="00000500000000000000" pitchFamily="50" charset="0"/>
              </a:rPr>
              <a:t>Ensuring the growth potential and health of forests and promoting diverse forest cultivation and management </a:t>
            </a:r>
            <a:r>
              <a:rPr lang="en-US" dirty="0" smtClean="0">
                <a:latin typeface="Montserrat" panose="00000500000000000000" pitchFamily="50" charset="0"/>
              </a:rPr>
              <a:t>practices.</a:t>
            </a:r>
            <a:endParaRPr lang="en-US" dirty="0">
              <a:latin typeface="Montserrat" panose="00000500000000000000" pitchFamily="50" charset="0"/>
            </a:endParaRPr>
          </a:p>
          <a:p>
            <a:pPr marL="342900" indent="-342900" fontAlgn="ctr"/>
            <a:r>
              <a:rPr lang="fi-FI" dirty="0">
                <a:latin typeface="Montserrat" panose="00000500000000000000" pitchFamily="50" charset="0"/>
              </a:rPr>
              <a:t>Focus on climate-smart management of peatland </a:t>
            </a:r>
            <a:r>
              <a:rPr lang="fi-FI" dirty="0" smtClean="0">
                <a:latin typeface="Montserrat" panose="00000500000000000000" pitchFamily="50" charset="0"/>
              </a:rPr>
              <a:t>forests.</a:t>
            </a:r>
            <a:endParaRPr lang="fi-FI" dirty="0">
              <a:latin typeface="Montserrat" panose="00000500000000000000" pitchFamily="50" charset="0"/>
            </a:endParaRPr>
          </a:p>
          <a:p>
            <a:pPr marL="342900" indent="-342900" fontAlgn="ctr"/>
            <a:r>
              <a:rPr lang="fi-FI" dirty="0" smtClean="0">
                <a:latin typeface="Montserrat" panose="00000500000000000000" pitchFamily="50" charset="0"/>
              </a:rPr>
              <a:t>Best </a:t>
            </a:r>
            <a:r>
              <a:rPr lang="fi-FI" dirty="0">
                <a:latin typeface="Montserrat" panose="00000500000000000000" pitchFamily="50" charset="0"/>
              </a:rPr>
              <a:t>practices for sustainable forest management in </a:t>
            </a:r>
            <a:r>
              <a:rPr lang="fi-FI" dirty="0" smtClean="0">
                <a:latin typeface="Montserrat" panose="00000500000000000000" pitchFamily="50" charset="0"/>
              </a:rPr>
              <a:t>Finland.</a:t>
            </a:r>
          </a:p>
          <a:p>
            <a:pPr marL="342900" indent="-342900" fontAlgn="ctr"/>
            <a:r>
              <a:rPr lang="fi-FI" dirty="0" smtClean="0">
                <a:latin typeface="Montserrat" panose="00000500000000000000" pitchFamily="50" charset="0"/>
              </a:rPr>
              <a:t>Reducing negative land use changes.</a:t>
            </a:r>
            <a:endParaRPr lang="fi-FI" dirty="0">
              <a:latin typeface="Montserrat" panose="00000500000000000000" pitchFamily="50" charset="0"/>
            </a:endParaRPr>
          </a:p>
          <a:p>
            <a:pPr marL="342900" indent="-342900" fontAlgn="ctr"/>
            <a:r>
              <a:rPr lang="en-US" dirty="0">
                <a:latin typeface="Montserrat" panose="00000500000000000000" pitchFamily="50" charset="0"/>
              </a:rPr>
              <a:t>Promoting the use of wood in long-lived wood products; research and development and the utilization of </a:t>
            </a:r>
            <a:r>
              <a:rPr lang="en-US" dirty="0" smtClean="0">
                <a:latin typeface="Montserrat" panose="00000500000000000000" pitchFamily="50" charset="0"/>
              </a:rPr>
              <a:t>by-products.</a:t>
            </a:r>
          </a:p>
          <a:p>
            <a:pPr marL="342900" indent="-342900" fontAlgn="ctr"/>
            <a:r>
              <a:rPr lang="en-US" dirty="0" smtClean="0">
                <a:latin typeface="Montserrat" panose="00000500000000000000" pitchFamily="50" charset="0"/>
              </a:rPr>
              <a:t>Enabling conditions, progressive policies, and new approaches.</a:t>
            </a:r>
            <a:endParaRPr lang="fi-FI" dirty="0">
              <a:latin typeface="Montserrat" panose="00000500000000000000" pitchFamily="50" charset="0"/>
            </a:endParaRPr>
          </a:p>
          <a:p>
            <a:pPr marL="0" indent="0" fontAlgn="ctr">
              <a:buNone/>
            </a:pPr>
            <a:endParaRPr lang="fi-FI" dirty="0">
              <a:latin typeface="+mj-lt"/>
            </a:endParaRPr>
          </a:p>
        </p:txBody>
      </p:sp>
      <p:pic>
        <p:nvPicPr>
          <p:cNvPr id="4" name="Kuva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2134" y="5839189"/>
            <a:ext cx="1530178" cy="830074"/>
          </a:xfrm>
          <a:prstGeom prst="rect">
            <a:avLst/>
          </a:prstGeom>
        </p:spPr>
      </p:pic>
      <p:sp>
        <p:nvSpPr>
          <p:cNvPr id="5" name="Suorakulmio 4"/>
          <p:cNvSpPr/>
          <p:nvPr/>
        </p:nvSpPr>
        <p:spPr>
          <a:xfrm>
            <a:off x="5971607" y="324433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i-FI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764633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tsikko 1">
            <a:extLst>
              <a:ext uri="{FF2B5EF4-FFF2-40B4-BE49-F238E27FC236}">
                <a16:creationId xmlns:a16="http://schemas.microsoft.com/office/drawing/2014/main" id="{26192196-50BC-45F7-8391-4C85E0A24AE6}"/>
              </a:ext>
            </a:extLst>
          </p:cNvPr>
          <p:cNvSpPr txBox="1">
            <a:spLocks/>
          </p:cNvSpPr>
          <p:nvPr/>
        </p:nvSpPr>
        <p:spPr>
          <a:xfrm>
            <a:off x="103761" y="1399205"/>
            <a:ext cx="8329440" cy="43738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ctr"/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</a:rPr>
              <a:t>Long-term Effects of </a:t>
            </a: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sh </a:t>
            </a: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</a:rPr>
              <a:t>F</a:t>
            </a: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rtilization on Carbon Sinks and Biodiversity of Peatland </a:t>
            </a: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</a:rPr>
              <a:t>F</a:t>
            </a: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ests </a:t>
            </a:r>
          </a:p>
          <a:p>
            <a:pPr algn="ctr"/>
            <a:r>
              <a:rPr lang="fi-FI" dirty="0"/>
              <a:t/>
            </a:r>
            <a:br>
              <a:rPr lang="fi-FI" dirty="0"/>
            </a:br>
            <a:endParaRPr lang="fi-FI" sz="2000" dirty="0"/>
          </a:p>
          <a:p>
            <a:pPr algn="ctr"/>
            <a:r>
              <a:rPr lang="fi-FI" sz="1800" b="0" dirty="0"/>
              <a:t>24.-25.4.2023</a:t>
            </a:r>
          </a:p>
          <a:p>
            <a:pPr algn="ctr"/>
            <a:r>
              <a:rPr lang="fi-FI" sz="1800" b="0" dirty="0"/>
              <a:t>Dr. Päivi Väänänen</a:t>
            </a:r>
          </a:p>
          <a:p>
            <a:pPr algn="ctr"/>
            <a:r>
              <a:rPr lang="fi-FI" sz="1800" b="0" dirty="0"/>
              <a:t>Natural Resources Institute </a:t>
            </a:r>
            <a:r>
              <a:rPr lang="fi-FI" sz="1800" b="0" dirty="0" smtClean="0"/>
              <a:t>Finland</a:t>
            </a:r>
          </a:p>
          <a:p>
            <a:pPr algn="ctr"/>
            <a:endParaRPr lang="fi-FI" sz="1800" b="0" dirty="0" smtClean="0"/>
          </a:p>
          <a:p>
            <a:pPr algn="ctr"/>
            <a:r>
              <a:rPr lang="fi-FI" sz="1800" b="0" dirty="0" smtClean="0"/>
              <a:t>Contact</a:t>
            </a:r>
            <a:r>
              <a:rPr lang="fi-FI" sz="1800" b="0" dirty="0" smtClean="0"/>
              <a:t>: paivi.vaananen@luke.fi</a:t>
            </a:r>
            <a:endParaRPr lang="fi-FI" sz="1800" b="0" dirty="0"/>
          </a:p>
          <a:p>
            <a:pPr algn="ctr"/>
            <a:r>
              <a:rPr lang="fi-FI" sz="2000" dirty="0"/>
              <a:t> </a:t>
            </a: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25C3C993-EAE6-4267-8A42-BDA339D2C75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5228" y="5421523"/>
            <a:ext cx="1439891" cy="1180710"/>
          </a:xfrm>
          <a:prstGeom prst="rect">
            <a:avLst/>
          </a:prstGeom>
        </p:spPr>
      </p:pic>
      <p:pic>
        <p:nvPicPr>
          <p:cNvPr id="2" name="Kuva 1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5EDAD50B-1595-5D27-743D-FA637223BF2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368" y="5351047"/>
            <a:ext cx="2306466" cy="1251186"/>
          </a:xfrm>
          <a:prstGeom prst="rect">
            <a:avLst/>
          </a:prstGeom>
        </p:spPr>
      </p:pic>
      <p:pic>
        <p:nvPicPr>
          <p:cNvPr id="5" name="Kuva 4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6B9A3C14-EEEF-46D1-6CED-859B5D8A9F5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0852" y="5490081"/>
            <a:ext cx="4686277" cy="129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504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orakulmio 22">
            <a:extLst>
              <a:ext uri="{FF2B5EF4-FFF2-40B4-BE49-F238E27FC236}">
                <a16:creationId xmlns:a16="http://schemas.microsoft.com/office/drawing/2014/main" id="{9146447C-8537-DACD-AC81-07E304BE5B8D}"/>
              </a:ext>
            </a:extLst>
          </p:cNvPr>
          <p:cNvSpPr/>
          <p:nvPr/>
        </p:nvSpPr>
        <p:spPr>
          <a:xfrm>
            <a:off x="225614" y="695462"/>
            <a:ext cx="5870386" cy="27719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25B97239-2685-48C8-8104-1D4E4E383D8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pic>
        <p:nvPicPr>
          <p:cNvPr id="4" name="Kuva 3" descr="Kuva, joka sisältää kohteen ruoho, puu, taivas, luonto&#10;&#10;Kuvaus luotu automaattisesti">
            <a:extLst>
              <a:ext uri="{FF2B5EF4-FFF2-40B4-BE49-F238E27FC236}">
                <a16:creationId xmlns:a16="http://schemas.microsoft.com/office/drawing/2014/main" id="{DA055CB6-B6AB-364B-70C8-923B7F58D4C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20" r="20415" b="17021"/>
          <a:stretch/>
        </p:blipFill>
        <p:spPr>
          <a:xfrm>
            <a:off x="334224" y="812569"/>
            <a:ext cx="2747285" cy="2480924"/>
          </a:xfrm>
          <a:prstGeom prst="rect">
            <a:avLst/>
          </a:prstGeom>
        </p:spPr>
      </p:pic>
      <p:pic>
        <p:nvPicPr>
          <p:cNvPr id="6" name="Kuva 5" descr="Kuva, joka sisältää kohteen rakennus, lattia&#10;&#10;Kuvaus luotu automaattisesti">
            <a:extLst>
              <a:ext uri="{FF2B5EF4-FFF2-40B4-BE49-F238E27FC236}">
                <a16:creationId xmlns:a16="http://schemas.microsoft.com/office/drawing/2014/main" id="{6358C00F-5CA6-3040-86F0-DD079F2C119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34" r="24119" b="10647"/>
          <a:stretch/>
        </p:blipFill>
        <p:spPr>
          <a:xfrm>
            <a:off x="328578" y="3793646"/>
            <a:ext cx="2676579" cy="2480924"/>
          </a:xfrm>
          <a:prstGeom prst="rect">
            <a:avLst/>
          </a:prstGeom>
        </p:spPr>
      </p:pic>
      <p:pic>
        <p:nvPicPr>
          <p:cNvPr id="2" name="Kuva 1" descr="Kuva, joka sisältää kohteen ruoho, piha-, taivas, maa&#10;&#10;Kuvaus luotu automaattisesti">
            <a:extLst>
              <a:ext uri="{FF2B5EF4-FFF2-40B4-BE49-F238E27FC236}">
                <a16:creationId xmlns:a16="http://schemas.microsoft.com/office/drawing/2014/main" id="{CB84E122-90C8-00DF-CA27-0DC696B8720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1" r="30942" b="-3"/>
          <a:stretch/>
        </p:blipFill>
        <p:spPr>
          <a:xfrm>
            <a:off x="3152739" y="3447722"/>
            <a:ext cx="2837076" cy="2785951"/>
          </a:xfrm>
          <a:prstGeom prst="rect">
            <a:avLst/>
          </a:prstGeom>
        </p:spPr>
      </p:pic>
      <p:pic>
        <p:nvPicPr>
          <p:cNvPr id="7" name="Picture 2" descr="E:\MARKKU\Kuvia\SUOKUVIA\Suokuvia Petrille\Hukki IR.jpg">
            <a:extLst>
              <a:ext uri="{FF2B5EF4-FFF2-40B4-BE49-F238E27FC236}">
                <a16:creationId xmlns:a16="http://schemas.microsoft.com/office/drawing/2014/main" id="{00EF55C9-2B13-6F99-E83A-E3732382F1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56" r="17253" b="-1"/>
          <a:stretch/>
        </p:blipFill>
        <p:spPr bwMode="auto">
          <a:xfrm>
            <a:off x="6410304" y="783274"/>
            <a:ext cx="5211929" cy="5491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kstiruutu 12">
            <a:extLst>
              <a:ext uri="{FF2B5EF4-FFF2-40B4-BE49-F238E27FC236}">
                <a16:creationId xmlns:a16="http://schemas.microsoft.com/office/drawing/2014/main" id="{24DF1C47-F580-0B24-AA9B-5649DC0172A2}"/>
              </a:ext>
            </a:extLst>
          </p:cNvPr>
          <p:cNvSpPr txBox="1"/>
          <p:nvPr/>
        </p:nvSpPr>
        <p:spPr>
          <a:xfrm>
            <a:off x="2338701" y="326130"/>
            <a:ext cx="21854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/>
              <a:t>Pristine peatlands</a:t>
            </a:r>
          </a:p>
        </p:txBody>
      </p:sp>
      <p:sp>
        <p:nvSpPr>
          <p:cNvPr id="14" name="Tekstiruutu 13">
            <a:extLst>
              <a:ext uri="{FF2B5EF4-FFF2-40B4-BE49-F238E27FC236}">
                <a16:creationId xmlns:a16="http://schemas.microsoft.com/office/drawing/2014/main" id="{6FD84DCE-38A7-90F6-11F8-9ED9B264663D}"/>
              </a:ext>
            </a:extLst>
          </p:cNvPr>
          <p:cNvSpPr txBox="1"/>
          <p:nvPr/>
        </p:nvSpPr>
        <p:spPr>
          <a:xfrm>
            <a:off x="225614" y="6231470"/>
            <a:ext cx="21854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/>
              <a:t>Energy production</a:t>
            </a:r>
          </a:p>
        </p:txBody>
      </p:sp>
      <p:sp>
        <p:nvSpPr>
          <p:cNvPr id="15" name="Tekstiruutu 14">
            <a:extLst>
              <a:ext uri="{FF2B5EF4-FFF2-40B4-BE49-F238E27FC236}">
                <a16:creationId xmlns:a16="http://schemas.microsoft.com/office/drawing/2014/main" id="{335E045A-DAE8-80DE-1AA8-9853E03C7D53}"/>
              </a:ext>
            </a:extLst>
          </p:cNvPr>
          <p:cNvSpPr txBox="1"/>
          <p:nvPr/>
        </p:nvSpPr>
        <p:spPr>
          <a:xfrm>
            <a:off x="3129978" y="6232789"/>
            <a:ext cx="21854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/>
              <a:t>Agriculture</a:t>
            </a:r>
          </a:p>
        </p:txBody>
      </p:sp>
      <p:sp>
        <p:nvSpPr>
          <p:cNvPr id="16" name="Tekstiruutu 15">
            <a:extLst>
              <a:ext uri="{FF2B5EF4-FFF2-40B4-BE49-F238E27FC236}">
                <a16:creationId xmlns:a16="http://schemas.microsoft.com/office/drawing/2014/main" id="{5EAB7C2E-7EB3-D479-2138-F74C386ED120}"/>
              </a:ext>
            </a:extLst>
          </p:cNvPr>
          <p:cNvSpPr txBox="1"/>
          <p:nvPr/>
        </p:nvSpPr>
        <p:spPr>
          <a:xfrm>
            <a:off x="6410304" y="398764"/>
            <a:ext cx="24949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dirty="0"/>
              <a:t>Drained peatland forests</a:t>
            </a:r>
          </a:p>
        </p:txBody>
      </p:sp>
      <p:grpSp>
        <p:nvGrpSpPr>
          <p:cNvPr id="21" name="Ryhmä 20">
            <a:extLst>
              <a:ext uri="{FF2B5EF4-FFF2-40B4-BE49-F238E27FC236}">
                <a16:creationId xmlns:a16="http://schemas.microsoft.com/office/drawing/2014/main" id="{3B810CE7-A3E1-D3E0-8AA3-F681D1BB0366}"/>
              </a:ext>
            </a:extLst>
          </p:cNvPr>
          <p:cNvGrpSpPr/>
          <p:nvPr/>
        </p:nvGrpSpPr>
        <p:grpSpPr>
          <a:xfrm>
            <a:off x="8905218" y="4296697"/>
            <a:ext cx="3718388" cy="1706693"/>
            <a:chOff x="8656224" y="4552545"/>
            <a:chExt cx="3498140" cy="1536970"/>
          </a:xfrm>
        </p:grpSpPr>
        <p:sp>
          <p:nvSpPr>
            <p:cNvPr id="19" name="Ellipsi 18">
              <a:extLst>
                <a:ext uri="{FF2B5EF4-FFF2-40B4-BE49-F238E27FC236}">
                  <a16:creationId xmlns:a16="http://schemas.microsoft.com/office/drawing/2014/main" id="{63B4AF7A-967D-6F23-2EE6-27954A1D150D}"/>
                </a:ext>
              </a:extLst>
            </p:cNvPr>
            <p:cNvSpPr/>
            <p:nvPr/>
          </p:nvSpPr>
          <p:spPr>
            <a:xfrm>
              <a:off x="8656224" y="4552545"/>
              <a:ext cx="2496767" cy="1536970"/>
            </a:xfrm>
            <a:prstGeom prst="ellipse">
              <a:avLst/>
            </a:prstGeom>
            <a:solidFill>
              <a:srgbClr val="F2B81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/>
            </a:p>
          </p:txBody>
        </p:sp>
        <p:sp>
          <p:nvSpPr>
            <p:cNvPr id="20" name="Tekstiruutu 19">
              <a:extLst>
                <a:ext uri="{FF2B5EF4-FFF2-40B4-BE49-F238E27FC236}">
                  <a16:creationId xmlns:a16="http://schemas.microsoft.com/office/drawing/2014/main" id="{14FAE294-DC63-37CC-7D70-ED991DAD6773}"/>
                </a:ext>
              </a:extLst>
            </p:cNvPr>
            <p:cNvSpPr txBox="1"/>
            <p:nvPr/>
          </p:nvSpPr>
          <p:spPr>
            <a:xfrm>
              <a:off x="8898841" y="4926823"/>
              <a:ext cx="3255523" cy="9700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Tx/>
                <a:buChar char="-"/>
              </a:pPr>
              <a:r>
                <a:rPr lang="fi-FI" sz="1600" dirty="0"/>
                <a:t>Rich in nitrogen</a:t>
              </a:r>
            </a:p>
            <a:p>
              <a:pPr marL="285750" indent="-285750">
                <a:buFontTx/>
                <a:buChar char="-"/>
              </a:pPr>
              <a:r>
                <a:rPr lang="fi-FI" sz="1600" dirty="0"/>
                <a:t>Lack phophorus and </a:t>
              </a:r>
            </a:p>
            <a:p>
              <a:r>
                <a:rPr lang="fi-FI" sz="1600" dirty="0"/>
                <a:t>         potassium</a:t>
              </a:r>
            </a:p>
            <a:p>
              <a:r>
                <a:rPr lang="fi-FI" sz="1600" dirty="0" smtClean="0"/>
                <a:t> -&gt; </a:t>
              </a:r>
              <a:r>
                <a:rPr lang="fi-FI" sz="1600" dirty="0" smtClean="0"/>
                <a:t>Nutrient</a:t>
              </a:r>
              <a:r>
                <a:rPr lang="fi-FI" sz="1600" dirty="0" smtClean="0"/>
                <a:t> </a:t>
              </a:r>
              <a:r>
                <a:rPr lang="fi-FI" sz="1600" dirty="0" smtClean="0"/>
                <a:t>imbalance</a:t>
              </a:r>
              <a:endParaRPr lang="fi-FI" sz="1600" dirty="0"/>
            </a:p>
          </p:txBody>
        </p:sp>
      </p:grpSp>
      <p:pic>
        <p:nvPicPr>
          <p:cNvPr id="22" name="Sisällön paikkamerkki 4" descr="Kuva, joka sisältää kohteen ruoho, piha-, puu, kasvi&#10;&#10;Kuvaus luotu automaattisesti">
            <a:extLst>
              <a:ext uri="{FF2B5EF4-FFF2-40B4-BE49-F238E27FC236}">
                <a16:creationId xmlns:a16="http://schemas.microsoft.com/office/drawing/2014/main" id="{3EEB346C-DFD9-A74E-F0A5-D85401CAAF2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92" r="20560" b="10920"/>
          <a:stretch/>
        </p:blipFill>
        <p:spPr>
          <a:xfrm>
            <a:off x="3328869" y="824483"/>
            <a:ext cx="2613374" cy="2468769"/>
          </a:xfrm>
          <a:prstGeom prst="rect">
            <a:avLst/>
          </a:prstGeom>
        </p:spPr>
      </p:pic>
      <p:sp>
        <p:nvSpPr>
          <p:cNvPr id="24" name="Suorakulmio 23">
            <a:extLst>
              <a:ext uri="{FF2B5EF4-FFF2-40B4-BE49-F238E27FC236}">
                <a16:creationId xmlns:a16="http://schemas.microsoft.com/office/drawing/2014/main" id="{563E864E-83BE-854B-56FE-831A0F41E2F3}"/>
              </a:ext>
            </a:extLst>
          </p:cNvPr>
          <p:cNvSpPr/>
          <p:nvPr/>
        </p:nvSpPr>
        <p:spPr>
          <a:xfrm>
            <a:off x="225614" y="695462"/>
            <a:ext cx="5870386" cy="276405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Nuoli: Alas 10">
            <a:extLst>
              <a:ext uri="{FF2B5EF4-FFF2-40B4-BE49-F238E27FC236}">
                <a16:creationId xmlns:a16="http://schemas.microsoft.com/office/drawing/2014/main" id="{CE3CDDC5-BA3A-7159-C737-A6FD3FEB9501}"/>
              </a:ext>
            </a:extLst>
          </p:cNvPr>
          <p:cNvSpPr/>
          <p:nvPr/>
        </p:nvSpPr>
        <p:spPr>
          <a:xfrm rot="19104326">
            <a:off x="2898616" y="3177828"/>
            <a:ext cx="460443" cy="797593"/>
          </a:xfrm>
          <a:prstGeom prst="downArrow">
            <a:avLst>
              <a:gd name="adj1" fmla="val 52964"/>
              <a:gd name="adj2" fmla="val 50000"/>
            </a:avLst>
          </a:prstGeom>
          <a:solidFill>
            <a:srgbClr val="F2B8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0" name="Nuoli: Alas 9">
            <a:extLst>
              <a:ext uri="{FF2B5EF4-FFF2-40B4-BE49-F238E27FC236}">
                <a16:creationId xmlns:a16="http://schemas.microsoft.com/office/drawing/2014/main" id="{DD2B1B62-3A42-54BC-9350-0E2DBC7FB3E9}"/>
              </a:ext>
            </a:extLst>
          </p:cNvPr>
          <p:cNvSpPr/>
          <p:nvPr/>
        </p:nvSpPr>
        <p:spPr>
          <a:xfrm>
            <a:off x="1292414" y="3297808"/>
            <a:ext cx="460443" cy="533400"/>
          </a:xfrm>
          <a:prstGeom prst="downArrow">
            <a:avLst/>
          </a:prstGeom>
          <a:solidFill>
            <a:srgbClr val="F2B8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8" name="Nuoli: Oikea 7">
            <a:extLst>
              <a:ext uri="{FF2B5EF4-FFF2-40B4-BE49-F238E27FC236}">
                <a16:creationId xmlns:a16="http://schemas.microsoft.com/office/drawing/2014/main" id="{82900C1F-57F9-E976-9D15-B20B28653C61}"/>
              </a:ext>
            </a:extLst>
          </p:cNvPr>
          <p:cNvSpPr/>
          <p:nvPr/>
        </p:nvSpPr>
        <p:spPr>
          <a:xfrm>
            <a:off x="5946256" y="1853108"/>
            <a:ext cx="547473" cy="484496"/>
          </a:xfrm>
          <a:prstGeom prst="rightArrow">
            <a:avLst/>
          </a:prstGeom>
          <a:solidFill>
            <a:srgbClr val="F2B8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36942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8">
            <a:extLst>
              <a:ext uri="{FF2B5EF4-FFF2-40B4-BE49-F238E27FC236}">
                <a16:creationId xmlns:a16="http://schemas.microsoft.com/office/drawing/2014/main" id="{D1D34770-47A8-402C-AF23-2B653F2D88C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3FA378D8-5B9B-B5D1-34E6-B0109C00DA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79" y="723898"/>
            <a:ext cx="6002110" cy="1495425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sz="4000" dirty="0">
                <a:latin typeface="+mj-lt"/>
                <a:ea typeface="+mj-ea"/>
                <a:cs typeface="+mj-cs"/>
              </a:rPr>
              <a:t>Ash is an ideal fertilizer for drained peatland forests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EE250B4C-33E6-CFE7-0BAE-1138CFBC46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6680" y="2405067"/>
            <a:ext cx="6002110" cy="3729034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z="2000" dirty="0">
                <a:latin typeface="+mn-lt"/>
                <a:ea typeface="+mn-ea"/>
                <a:cs typeface="+mn-cs"/>
              </a:rPr>
              <a:t>Rich in P and K, no nitrogen</a:t>
            </a:r>
          </a:p>
          <a:p>
            <a:r>
              <a:rPr lang="en-US" sz="2000" dirty="0">
                <a:latin typeface="+mn-lt"/>
                <a:ea typeface="+mn-ea"/>
                <a:cs typeface="+mn-cs"/>
              </a:rPr>
              <a:t>Sidestream from energy </a:t>
            </a:r>
            <a:r>
              <a:rPr lang="en-US" sz="2000" dirty="0" smtClean="0">
                <a:latin typeface="+mn-lt"/>
                <a:ea typeface="+mn-ea"/>
                <a:cs typeface="+mn-cs"/>
              </a:rPr>
              <a:t>production</a:t>
            </a:r>
          </a:p>
          <a:p>
            <a:r>
              <a:rPr lang="en-US" sz="2000" dirty="0" smtClean="0">
                <a:latin typeface="+mn-lt"/>
                <a:ea typeface="+mn-ea"/>
                <a:cs typeface="+mn-cs"/>
              </a:rPr>
              <a:t>Not for agriculture</a:t>
            </a:r>
            <a:endParaRPr lang="en-US" sz="2000" dirty="0">
              <a:latin typeface="+mn-lt"/>
              <a:ea typeface="+mn-ea"/>
              <a:cs typeface="+mn-cs"/>
            </a:endParaRPr>
          </a:p>
          <a:p>
            <a:r>
              <a:rPr lang="en-US" sz="2000" dirty="0" smtClean="0">
                <a:latin typeface="+mn-lt"/>
                <a:ea typeface="+mn-ea"/>
                <a:cs typeface="+mn-cs"/>
              </a:rPr>
              <a:t>No </a:t>
            </a:r>
            <a:r>
              <a:rPr lang="en-US" sz="2000" dirty="0">
                <a:latin typeface="+mn-lt"/>
                <a:ea typeface="+mn-ea"/>
                <a:cs typeface="+mn-cs"/>
              </a:rPr>
              <a:t>negative short-term effects on water bodies</a:t>
            </a:r>
          </a:p>
          <a:p>
            <a:r>
              <a:rPr lang="en-US" sz="2000" dirty="0">
                <a:latin typeface="+mn-lt"/>
                <a:ea typeface="+mn-ea"/>
                <a:cs typeface="+mn-cs"/>
              </a:rPr>
              <a:t>Provides a profound and durable growth effect</a:t>
            </a:r>
          </a:p>
        </p:txBody>
      </p:sp>
      <p:pic>
        <p:nvPicPr>
          <p:cNvPr id="4" name="Picture 2" descr="E:\MARKKU\Kuvia\SUOKUVIA\Suokuvia Petrille\Hukki IR.jpg">
            <a:extLst>
              <a:ext uri="{FF2B5EF4-FFF2-40B4-BE49-F238E27FC236}">
                <a16:creationId xmlns:a16="http://schemas.microsoft.com/office/drawing/2014/main" id="{A26F2826-725D-69AD-B6F1-ED516C1CD9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85" t="-497" r="29184" b="499"/>
          <a:stretch/>
        </p:blipFill>
        <p:spPr bwMode="auto">
          <a:xfrm>
            <a:off x="7196391" y="-27284"/>
            <a:ext cx="4992560" cy="685799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4268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MM_varipaletti">
      <a:dk1>
        <a:srgbClr val="000000"/>
      </a:dk1>
      <a:lt1>
        <a:srgbClr val="FFFFFF"/>
      </a:lt1>
      <a:dk2>
        <a:srgbClr val="002F5B"/>
      </a:dk2>
      <a:lt2>
        <a:srgbClr val="13A538"/>
      </a:lt2>
      <a:accent1>
        <a:srgbClr val="004982"/>
      </a:accent1>
      <a:accent2>
        <a:srgbClr val="89BD24"/>
      </a:accent2>
      <a:accent3>
        <a:srgbClr val="0061A7"/>
      </a:accent3>
      <a:accent4>
        <a:srgbClr val="13A538"/>
      </a:accent4>
      <a:accent5>
        <a:srgbClr val="D3D800"/>
      </a:accent5>
      <a:accent6>
        <a:srgbClr val="008F8B"/>
      </a:accent6>
      <a:hlink>
        <a:srgbClr val="0074BD"/>
      </a:hlink>
      <a:folHlink>
        <a:srgbClr val="0074B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3_GAIA - Green Theme">
  <a:themeElements>
    <a:clrScheme name="Custom 10">
      <a:dk1>
        <a:srgbClr val="25282A"/>
      </a:dk1>
      <a:lt1>
        <a:srgbClr val="FFFFFF"/>
      </a:lt1>
      <a:dk2>
        <a:srgbClr val="FFAA4D"/>
      </a:dk2>
      <a:lt2>
        <a:srgbClr val="18332F"/>
      </a:lt2>
      <a:accent1>
        <a:srgbClr val="51284F"/>
      </a:accent1>
      <a:accent2>
        <a:srgbClr val="472222"/>
      </a:accent2>
      <a:accent3>
        <a:srgbClr val="493D32"/>
      </a:accent3>
      <a:accent4>
        <a:srgbClr val="474122"/>
      </a:accent4>
      <a:accent5>
        <a:srgbClr val="264722"/>
      </a:accent5>
      <a:accent6>
        <a:srgbClr val="17233B"/>
      </a:accent6>
      <a:hlink>
        <a:srgbClr val="E961A2"/>
      </a:hlink>
      <a:folHlink>
        <a:srgbClr val="DBE2E9"/>
      </a:folHlink>
    </a:clrScheme>
    <a:fontScheme name="Custom 10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600" dirty="0" smtClean="0">
            <a:solidFill>
              <a:srgbClr val="404040"/>
            </a:solidFill>
          </a:defRPr>
        </a:defPPr>
      </a:lstStyle>
    </a:txDef>
  </a:objectDefaults>
  <a:extraClrSchemeLst/>
  <a:custClrLst>
    <a:custClr name="Brand Color 01A">
      <a:srgbClr val="18332F"/>
    </a:custClr>
    <a:custClr name="Brand Color 02A">
      <a:srgbClr val="51284F"/>
    </a:custClr>
    <a:custClr name="Brand Color 03A">
      <a:srgbClr val="25282A"/>
    </a:custClr>
    <a:custClr name="WHITE">
      <a:srgbClr val="FFFFFF"/>
    </a:custClr>
    <a:custClr name="Supporting Color 01A">
      <a:srgbClr val="472222"/>
    </a:custClr>
    <a:custClr name="Supporting Color 02A">
      <a:srgbClr val="493D32"/>
    </a:custClr>
    <a:custClr name="Supporting Color 03A">
      <a:srgbClr val="474122"/>
    </a:custClr>
    <a:custClr name="Supporting Color 04A">
      <a:srgbClr val="264722"/>
    </a:custClr>
    <a:custClr name="Supporting Color 05A">
      <a:srgbClr val="17233B"/>
    </a:custClr>
    <a:custClr name="WHITE">
      <a:srgbClr val="FFFFFF"/>
    </a:custClr>
    <a:custClr name="Brand Color 01B">
      <a:srgbClr val="1D3C34"/>
    </a:custClr>
    <a:custClr name="Brand Color 02B">
      <a:srgbClr val="5D295F"/>
    </a:custClr>
    <a:custClr name="Brand Color 03B">
      <a:srgbClr val="333F48"/>
    </a:custClr>
    <a:custClr name="WHITE">
      <a:srgbClr val="FFFFFF"/>
    </a:custClr>
    <a:custClr name="Supporting Color 01B">
      <a:srgbClr val="5C2F2F"/>
    </a:custClr>
    <a:custClr name="Supporting Color 02B">
      <a:srgbClr val="615246"/>
    </a:custClr>
    <a:custClr name="Supporting Color 03B">
      <a:srgbClr val="5C552F"/>
    </a:custClr>
    <a:custClr name="Supporting Color 04B">
      <a:srgbClr val="335C2F"/>
    </a:custClr>
    <a:custClr name="Supporting Color 05B">
      <a:srgbClr val="3C4C6C"/>
    </a:custClr>
    <a:custClr name="WHITE">
      <a:srgbClr val="FFFFFF"/>
    </a:custClr>
    <a:custClr name="Brand Color 01C">
      <a:srgbClr val="38584B"/>
    </a:custClr>
    <a:custClr name="Brand Color 02C">
      <a:srgbClr val="833177"/>
    </a:custClr>
    <a:custClr name="Brand Color 03C">
      <a:srgbClr val="5B6770"/>
    </a:custClr>
    <a:custClr name="WHITE">
      <a:srgbClr val="FFFFFF"/>
    </a:custClr>
    <a:custClr name="Supporting Color 01C">
      <a:srgbClr val="8C4A4A"/>
    </a:custClr>
    <a:custClr name="Supporting Color 02C">
      <a:srgbClr val="998576"/>
    </a:custClr>
    <a:custClr name="Supporting Color 03C">
      <a:srgbClr val="8C814A"/>
    </a:custClr>
    <a:custClr name="Supporting Color 04C">
      <a:srgbClr val="4F8C4A"/>
    </a:custClr>
    <a:custClr name="Supporting Color 05C">
      <a:srgbClr val="596B8F"/>
    </a:custClr>
    <a:custClr name="WHITE">
      <a:srgbClr val="FFFFFF"/>
    </a:custClr>
    <a:custClr name="Brand Color 01D">
      <a:srgbClr val="6FA287"/>
    </a:custClr>
    <a:custClr name="Brand Color 02D">
      <a:srgbClr val="C069C2"/>
    </a:custClr>
    <a:custClr name="Brand Color 03D">
      <a:srgbClr val="98A4AE"/>
    </a:custClr>
    <a:custClr name="WHITE">
      <a:srgbClr val="FFFFFF"/>
    </a:custClr>
    <a:custClr name="Supporting Color 01D">
      <a:srgbClr val="B26262"/>
    </a:custClr>
    <a:custClr name="Supporting Color 02D">
      <a:srgbClr val="C4B3A6"/>
    </a:custClr>
    <a:custClr name="Supporting Color 03D">
      <a:srgbClr val="B2A562"/>
    </a:custClr>
    <a:custClr name="Supporting Color 04D">
      <a:srgbClr val="69B262"/>
    </a:custClr>
    <a:custClr name="Supporting Color 05D">
      <a:srgbClr val="8699BF"/>
    </a:custClr>
    <a:custClr name="WHITE">
      <a:srgbClr val="FFFFFF"/>
    </a:custClr>
    <a:custClr name="Brand Color 01F">
      <a:srgbClr val="D1E0D7"/>
    </a:custClr>
    <a:custClr name="Brand Color 02F">
      <a:srgbClr val="E7BAE4"/>
    </a:custClr>
    <a:custClr name="Brand Color 03F">
      <a:srgbClr val="DBE2E9"/>
    </a:custClr>
    <a:custClr name="WHITE">
      <a:srgbClr val="FFFFFF"/>
    </a:custClr>
    <a:custClr name="Supporting Color 01F">
      <a:srgbClr val="F5E9E9"/>
    </a:custClr>
    <a:custClr name="Supporting Color 02F">
      <a:srgbClr val="F7F4F2"/>
    </a:custClr>
    <a:custClr name="Supporting Color 03F">
      <a:srgbClr val="F5F3E9"/>
    </a:custClr>
    <a:custClr name="Supporting Color 04F">
      <a:srgbClr val="EAF5E9"/>
    </a:custClr>
    <a:custClr name="Supporting Color 05F">
      <a:srgbClr val="DAE2F2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Gaia 2020" id="{5755844B-F19E-41CC-88A4-B6E9ECBA6036}" vid="{C2174754-59F2-4F11-8D65-4B0531C29C8A}"/>
    </a:ext>
  </a:extLst>
</a:theme>
</file>

<file path=ppt/theme/theme1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VN-uudistukset-ppt_01/2020">
  <a:themeElements>
    <a:clrScheme name="VN-Ilmasto">
      <a:dk1>
        <a:sysClr val="windowText" lastClr="000000"/>
      </a:dk1>
      <a:lt1>
        <a:srgbClr val="FFFFFF"/>
      </a:lt1>
      <a:dk2>
        <a:srgbClr val="365ABD"/>
      </a:dk2>
      <a:lt2>
        <a:srgbClr val="9B9183"/>
      </a:lt2>
      <a:accent1>
        <a:srgbClr val="00A79F"/>
      </a:accent1>
      <a:accent2>
        <a:srgbClr val="2699D6"/>
      </a:accent2>
      <a:accent3>
        <a:srgbClr val="F18700"/>
      </a:accent3>
      <a:accent4>
        <a:srgbClr val="D90066"/>
      </a:accent4>
      <a:accent5>
        <a:srgbClr val="8C4091"/>
      </a:accent5>
      <a:accent6>
        <a:srgbClr val="76B82A"/>
      </a:accent6>
      <a:hlink>
        <a:srgbClr val="00A9E0"/>
      </a:hlink>
      <a:folHlink>
        <a:srgbClr val="002F6C"/>
      </a:folHlink>
    </a:clrScheme>
    <a:fontScheme name="V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N-ilmasto.potx" id="{C1D389A1-B800-4B2B-88D8-AC6AEEAE4D18}" vid="{CE543BD6-7A6F-4D3C-81A8-5E39C97B0830}"/>
    </a:ext>
  </a:extLst>
</a:theme>
</file>

<file path=ppt/theme/theme3.xml><?xml version="1.0" encoding="utf-8"?>
<a:theme xmlns:a="http://schemas.openxmlformats.org/drawingml/2006/main" name="1_Office Theme">
  <a:themeElements>
    <a:clrScheme name="MMM_varipaletti">
      <a:dk1>
        <a:srgbClr val="000000"/>
      </a:dk1>
      <a:lt1>
        <a:srgbClr val="FFFFFF"/>
      </a:lt1>
      <a:dk2>
        <a:srgbClr val="002F5B"/>
      </a:dk2>
      <a:lt2>
        <a:srgbClr val="13A538"/>
      </a:lt2>
      <a:accent1>
        <a:srgbClr val="004982"/>
      </a:accent1>
      <a:accent2>
        <a:srgbClr val="89BD24"/>
      </a:accent2>
      <a:accent3>
        <a:srgbClr val="0061A7"/>
      </a:accent3>
      <a:accent4>
        <a:srgbClr val="13A538"/>
      </a:accent4>
      <a:accent5>
        <a:srgbClr val="D3D800"/>
      </a:accent5>
      <a:accent6>
        <a:srgbClr val="008F8B"/>
      </a:accent6>
      <a:hlink>
        <a:srgbClr val="0074BD"/>
      </a:hlink>
      <a:folHlink>
        <a:srgbClr val="0074B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Luke_esityspohja_2020_widesc_EN">
  <a:themeElements>
    <a:clrScheme name="Luke 2">
      <a:dk1>
        <a:srgbClr val="54585A"/>
      </a:dk1>
      <a:lt1>
        <a:sysClr val="window" lastClr="FFFFFF"/>
      </a:lt1>
      <a:dk2>
        <a:srgbClr val="54585A"/>
      </a:dk2>
      <a:lt2>
        <a:srgbClr val="FFFFFF"/>
      </a:lt2>
      <a:accent1>
        <a:srgbClr val="FF8200"/>
      </a:accent1>
      <a:accent2>
        <a:srgbClr val="00B5E2"/>
      </a:accent2>
      <a:accent3>
        <a:srgbClr val="0033A0"/>
      </a:accent3>
      <a:accent4>
        <a:srgbClr val="78BE20"/>
      </a:accent4>
      <a:accent5>
        <a:srgbClr val="E10098"/>
      </a:accent5>
      <a:accent6>
        <a:srgbClr val="7F3F98"/>
      </a:accent6>
      <a:hlink>
        <a:srgbClr val="FF8200"/>
      </a:hlink>
      <a:folHlink>
        <a:srgbClr val="4C4C4C"/>
      </a:folHlink>
    </a:clrScheme>
    <a:fontScheme name="Custom 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err="1" smtClean="0">
            <a:latin typeface="Segoe UI" panose="020B0502040204020203" pitchFamily="34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951FD8E4-EE5E-4B54-B4A4-DD3946B1A1DC}" vid="{F3E446C9-E91E-4B33-A751-7584C4F495D0}"/>
    </a:ext>
  </a:extLst>
</a:theme>
</file>

<file path=ppt/theme/theme5.xml><?xml version="1.0" encoding="utf-8"?>
<a:theme xmlns:a="http://schemas.openxmlformats.org/drawingml/2006/main" name="First slide/Content curve">
  <a:themeElements>
    <a:clrScheme name="Luke 2">
      <a:dk1>
        <a:srgbClr val="54585A"/>
      </a:dk1>
      <a:lt1>
        <a:sysClr val="window" lastClr="FFFFFF"/>
      </a:lt1>
      <a:dk2>
        <a:srgbClr val="54585A"/>
      </a:dk2>
      <a:lt2>
        <a:srgbClr val="FFFFFF"/>
      </a:lt2>
      <a:accent1>
        <a:srgbClr val="FF8200"/>
      </a:accent1>
      <a:accent2>
        <a:srgbClr val="00B5E2"/>
      </a:accent2>
      <a:accent3>
        <a:srgbClr val="0033A0"/>
      </a:accent3>
      <a:accent4>
        <a:srgbClr val="78BE20"/>
      </a:accent4>
      <a:accent5>
        <a:srgbClr val="E10098"/>
      </a:accent5>
      <a:accent6>
        <a:srgbClr val="7F3F98"/>
      </a:accent6>
      <a:hlink>
        <a:srgbClr val="FF8200"/>
      </a:hlink>
      <a:folHlink>
        <a:srgbClr val="4C4C4C"/>
      </a:folHlink>
    </a:clrScheme>
    <a:fontScheme name="Custom 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>
            <a:latin typeface="Segoe UI" panose="020B0502040204020203" pitchFamily="34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951FD8E4-EE5E-4B54-B4A4-DD3946B1A1DC}" vid="{5A920437-D0CE-4BA1-A7D0-5A7569DD0020}"/>
    </a:ext>
  </a:extLst>
</a:theme>
</file>

<file path=ppt/theme/theme6.xml><?xml version="1.0" encoding="utf-8"?>
<a:theme xmlns:a="http://schemas.openxmlformats.org/drawingml/2006/main" name="Content solid background">
  <a:themeElements>
    <a:clrScheme name="Luke 2">
      <a:dk1>
        <a:srgbClr val="54585A"/>
      </a:dk1>
      <a:lt1>
        <a:sysClr val="window" lastClr="FFFFFF"/>
      </a:lt1>
      <a:dk2>
        <a:srgbClr val="54585A"/>
      </a:dk2>
      <a:lt2>
        <a:srgbClr val="FFFFFF"/>
      </a:lt2>
      <a:accent1>
        <a:srgbClr val="FF8200"/>
      </a:accent1>
      <a:accent2>
        <a:srgbClr val="00B5E2"/>
      </a:accent2>
      <a:accent3>
        <a:srgbClr val="0033A0"/>
      </a:accent3>
      <a:accent4>
        <a:srgbClr val="78BE20"/>
      </a:accent4>
      <a:accent5>
        <a:srgbClr val="E10098"/>
      </a:accent5>
      <a:accent6>
        <a:srgbClr val="7F3F98"/>
      </a:accent6>
      <a:hlink>
        <a:srgbClr val="FF8200"/>
      </a:hlink>
      <a:folHlink>
        <a:srgbClr val="4C4C4C"/>
      </a:folHlink>
    </a:clrScheme>
    <a:fontScheme name="Custom 1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>
            <a:latin typeface="Segoe UI" panose="020B0502040204020203" pitchFamily="34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951FD8E4-EE5E-4B54-B4A4-DD3946B1A1DC}" vid="{DA213610-AE41-409F-9773-57DD35584315}"/>
    </a:ext>
  </a:extLst>
</a:theme>
</file>

<file path=ppt/theme/theme7.xml><?xml version="1.0" encoding="utf-8"?>
<a:theme xmlns:a="http://schemas.openxmlformats.org/drawingml/2006/main" name="GAIA - Green Theme">
  <a:themeElements>
    <a:clrScheme name="Custom 10">
      <a:dk1>
        <a:srgbClr val="25282A"/>
      </a:dk1>
      <a:lt1>
        <a:srgbClr val="FFFFFF"/>
      </a:lt1>
      <a:dk2>
        <a:srgbClr val="FFAA4D"/>
      </a:dk2>
      <a:lt2>
        <a:srgbClr val="18332F"/>
      </a:lt2>
      <a:accent1>
        <a:srgbClr val="51284F"/>
      </a:accent1>
      <a:accent2>
        <a:srgbClr val="472222"/>
      </a:accent2>
      <a:accent3>
        <a:srgbClr val="493D32"/>
      </a:accent3>
      <a:accent4>
        <a:srgbClr val="474122"/>
      </a:accent4>
      <a:accent5>
        <a:srgbClr val="264722"/>
      </a:accent5>
      <a:accent6>
        <a:srgbClr val="17233B"/>
      </a:accent6>
      <a:hlink>
        <a:srgbClr val="E961A2"/>
      </a:hlink>
      <a:folHlink>
        <a:srgbClr val="DBE2E9"/>
      </a:folHlink>
    </a:clrScheme>
    <a:fontScheme name="Custom 10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600" dirty="0" smtClean="0">
            <a:solidFill>
              <a:srgbClr val="404040"/>
            </a:solidFill>
          </a:defRPr>
        </a:defPPr>
      </a:lstStyle>
    </a:txDef>
  </a:objectDefaults>
  <a:extraClrSchemeLst/>
  <a:custClrLst>
    <a:custClr name="Brand Color 01A">
      <a:srgbClr val="18332F"/>
    </a:custClr>
    <a:custClr name="Brand Color 02A">
      <a:srgbClr val="51284F"/>
    </a:custClr>
    <a:custClr name="Brand Color 03A">
      <a:srgbClr val="25282A"/>
    </a:custClr>
    <a:custClr name="WHITE">
      <a:srgbClr val="FFFFFF"/>
    </a:custClr>
    <a:custClr name="Supporting Color 01A">
      <a:srgbClr val="472222"/>
    </a:custClr>
    <a:custClr name="Supporting Color 02A">
      <a:srgbClr val="493D32"/>
    </a:custClr>
    <a:custClr name="Supporting Color 03A">
      <a:srgbClr val="474122"/>
    </a:custClr>
    <a:custClr name="Supporting Color 04A">
      <a:srgbClr val="264722"/>
    </a:custClr>
    <a:custClr name="Supporting Color 05A">
      <a:srgbClr val="17233B"/>
    </a:custClr>
    <a:custClr name="WHITE">
      <a:srgbClr val="FFFFFF"/>
    </a:custClr>
    <a:custClr name="Brand Color 01B">
      <a:srgbClr val="1D3C34"/>
    </a:custClr>
    <a:custClr name="Brand Color 02B">
      <a:srgbClr val="5D295F"/>
    </a:custClr>
    <a:custClr name="Brand Color 03B">
      <a:srgbClr val="333F48"/>
    </a:custClr>
    <a:custClr name="WHITE">
      <a:srgbClr val="FFFFFF"/>
    </a:custClr>
    <a:custClr name="Supporting Color 01B">
      <a:srgbClr val="5C2F2F"/>
    </a:custClr>
    <a:custClr name="Supporting Color 02B">
      <a:srgbClr val="615246"/>
    </a:custClr>
    <a:custClr name="Supporting Color 03B">
      <a:srgbClr val="5C552F"/>
    </a:custClr>
    <a:custClr name="Supporting Color 04B">
      <a:srgbClr val="335C2F"/>
    </a:custClr>
    <a:custClr name="Supporting Color 05B">
      <a:srgbClr val="3C4C6C"/>
    </a:custClr>
    <a:custClr name="WHITE">
      <a:srgbClr val="FFFFFF"/>
    </a:custClr>
    <a:custClr name="Brand Color 01C">
      <a:srgbClr val="38584B"/>
    </a:custClr>
    <a:custClr name="Brand Color 02C">
      <a:srgbClr val="833177"/>
    </a:custClr>
    <a:custClr name="Brand Color 03C">
      <a:srgbClr val="5B6770"/>
    </a:custClr>
    <a:custClr name="WHITE">
      <a:srgbClr val="FFFFFF"/>
    </a:custClr>
    <a:custClr name="Supporting Color 01C">
      <a:srgbClr val="8C4A4A"/>
    </a:custClr>
    <a:custClr name="Supporting Color 02C">
      <a:srgbClr val="998576"/>
    </a:custClr>
    <a:custClr name="Supporting Color 03C">
      <a:srgbClr val="8C814A"/>
    </a:custClr>
    <a:custClr name="Supporting Color 04C">
      <a:srgbClr val="4F8C4A"/>
    </a:custClr>
    <a:custClr name="Supporting Color 05C">
      <a:srgbClr val="596B8F"/>
    </a:custClr>
    <a:custClr name="WHITE">
      <a:srgbClr val="FFFFFF"/>
    </a:custClr>
    <a:custClr name="Brand Color 01D">
      <a:srgbClr val="6FA287"/>
    </a:custClr>
    <a:custClr name="Brand Color 02D">
      <a:srgbClr val="C069C2"/>
    </a:custClr>
    <a:custClr name="Brand Color 03D">
      <a:srgbClr val="98A4AE"/>
    </a:custClr>
    <a:custClr name="WHITE">
      <a:srgbClr val="FFFFFF"/>
    </a:custClr>
    <a:custClr name="Supporting Color 01D">
      <a:srgbClr val="B26262"/>
    </a:custClr>
    <a:custClr name="Supporting Color 02D">
      <a:srgbClr val="C4B3A6"/>
    </a:custClr>
    <a:custClr name="Supporting Color 03D">
      <a:srgbClr val="B2A562"/>
    </a:custClr>
    <a:custClr name="Supporting Color 04D">
      <a:srgbClr val="69B262"/>
    </a:custClr>
    <a:custClr name="Supporting Color 05D">
      <a:srgbClr val="8699BF"/>
    </a:custClr>
    <a:custClr name="WHITE">
      <a:srgbClr val="FFFFFF"/>
    </a:custClr>
    <a:custClr name="Brand Color 01F">
      <a:srgbClr val="D1E0D7"/>
    </a:custClr>
    <a:custClr name="Brand Color 02F">
      <a:srgbClr val="E7BAE4"/>
    </a:custClr>
    <a:custClr name="Brand Color 03F">
      <a:srgbClr val="DBE2E9"/>
    </a:custClr>
    <a:custClr name="WHITE">
      <a:srgbClr val="FFFFFF"/>
    </a:custClr>
    <a:custClr name="Supporting Color 01F">
      <a:srgbClr val="F5E9E9"/>
    </a:custClr>
    <a:custClr name="Supporting Color 02F">
      <a:srgbClr val="F7F4F2"/>
    </a:custClr>
    <a:custClr name="Supporting Color 03F">
      <a:srgbClr val="F5F3E9"/>
    </a:custClr>
    <a:custClr name="Supporting Color 04F">
      <a:srgbClr val="EAF5E9"/>
    </a:custClr>
    <a:custClr name="Supporting Color 05F">
      <a:srgbClr val="DAE2F2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Gaia 2020" id="{5755844B-F19E-41CC-88A4-B6E9ECBA6036}" vid="{C2174754-59F2-4F11-8D65-4B0531C29C8A}"/>
    </a:ext>
  </a:extLst>
</a:theme>
</file>

<file path=ppt/theme/theme8.xml><?xml version="1.0" encoding="utf-8"?>
<a:theme xmlns:a="http://schemas.openxmlformats.org/drawingml/2006/main" name="1_GAIA - Green Theme">
  <a:themeElements>
    <a:clrScheme name="Custom 10">
      <a:dk1>
        <a:srgbClr val="25282A"/>
      </a:dk1>
      <a:lt1>
        <a:srgbClr val="FFFFFF"/>
      </a:lt1>
      <a:dk2>
        <a:srgbClr val="FFAA4D"/>
      </a:dk2>
      <a:lt2>
        <a:srgbClr val="18332F"/>
      </a:lt2>
      <a:accent1>
        <a:srgbClr val="51284F"/>
      </a:accent1>
      <a:accent2>
        <a:srgbClr val="472222"/>
      </a:accent2>
      <a:accent3>
        <a:srgbClr val="493D32"/>
      </a:accent3>
      <a:accent4>
        <a:srgbClr val="474122"/>
      </a:accent4>
      <a:accent5>
        <a:srgbClr val="264722"/>
      </a:accent5>
      <a:accent6>
        <a:srgbClr val="17233B"/>
      </a:accent6>
      <a:hlink>
        <a:srgbClr val="E961A2"/>
      </a:hlink>
      <a:folHlink>
        <a:srgbClr val="DBE2E9"/>
      </a:folHlink>
    </a:clrScheme>
    <a:fontScheme name="Custom 10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600" dirty="0" smtClean="0">
            <a:solidFill>
              <a:srgbClr val="404040"/>
            </a:solidFill>
          </a:defRPr>
        </a:defPPr>
      </a:lstStyle>
    </a:txDef>
  </a:objectDefaults>
  <a:extraClrSchemeLst/>
  <a:custClrLst>
    <a:custClr name="Brand Color 01A">
      <a:srgbClr val="18332F"/>
    </a:custClr>
    <a:custClr name="Brand Color 02A">
      <a:srgbClr val="51284F"/>
    </a:custClr>
    <a:custClr name="Brand Color 03A">
      <a:srgbClr val="25282A"/>
    </a:custClr>
    <a:custClr name="WHITE">
      <a:srgbClr val="FFFFFF"/>
    </a:custClr>
    <a:custClr name="Supporting Color 01A">
      <a:srgbClr val="472222"/>
    </a:custClr>
    <a:custClr name="Supporting Color 02A">
      <a:srgbClr val="493D32"/>
    </a:custClr>
    <a:custClr name="Supporting Color 03A">
      <a:srgbClr val="474122"/>
    </a:custClr>
    <a:custClr name="Supporting Color 04A">
      <a:srgbClr val="264722"/>
    </a:custClr>
    <a:custClr name="Supporting Color 05A">
      <a:srgbClr val="17233B"/>
    </a:custClr>
    <a:custClr name="WHITE">
      <a:srgbClr val="FFFFFF"/>
    </a:custClr>
    <a:custClr name="Brand Color 01B">
      <a:srgbClr val="1D3C34"/>
    </a:custClr>
    <a:custClr name="Brand Color 02B">
      <a:srgbClr val="5D295F"/>
    </a:custClr>
    <a:custClr name="Brand Color 03B">
      <a:srgbClr val="333F48"/>
    </a:custClr>
    <a:custClr name="WHITE">
      <a:srgbClr val="FFFFFF"/>
    </a:custClr>
    <a:custClr name="Supporting Color 01B">
      <a:srgbClr val="5C2F2F"/>
    </a:custClr>
    <a:custClr name="Supporting Color 02B">
      <a:srgbClr val="615246"/>
    </a:custClr>
    <a:custClr name="Supporting Color 03B">
      <a:srgbClr val="5C552F"/>
    </a:custClr>
    <a:custClr name="Supporting Color 04B">
      <a:srgbClr val="335C2F"/>
    </a:custClr>
    <a:custClr name="Supporting Color 05B">
      <a:srgbClr val="3C4C6C"/>
    </a:custClr>
    <a:custClr name="WHITE">
      <a:srgbClr val="FFFFFF"/>
    </a:custClr>
    <a:custClr name="Brand Color 01C">
      <a:srgbClr val="38584B"/>
    </a:custClr>
    <a:custClr name="Brand Color 02C">
      <a:srgbClr val="833177"/>
    </a:custClr>
    <a:custClr name="Brand Color 03C">
      <a:srgbClr val="5B6770"/>
    </a:custClr>
    <a:custClr name="WHITE">
      <a:srgbClr val="FFFFFF"/>
    </a:custClr>
    <a:custClr name="Supporting Color 01C">
      <a:srgbClr val="8C4A4A"/>
    </a:custClr>
    <a:custClr name="Supporting Color 02C">
      <a:srgbClr val="998576"/>
    </a:custClr>
    <a:custClr name="Supporting Color 03C">
      <a:srgbClr val="8C814A"/>
    </a:custClr>
    <a:custClr name="Supporting Color 04C">
      <a:srgbClr val="4F8C4A"/>
    </a:custClr>
    <a:custClr name="Supporting Color 05C">
      <a:srgbClr val="596B8F"/>
    </a:custClr>
    <a:custClr name="WHITE">
      <a:srgbClr val="FFFFFF"/>
    </a:custClr>
    <a:custClr name="Brand Color 01D">
      <a:srgbClr val="6FA287"/>
    </a:custClr>
    <a:custClr name="Brand Color 02D">
      <a:srgbClr val="C069C2"/>
    </a:custClr>
    <a:custClr name="Brand Color 03D">
      <a:srgbClr val="98A4AE"/>
    </a:custClr>
    <a:custClr name="WHITE">
      <a:srgbClr val="FFFFFF"/>
    </a:custClr>
    <a:custClr name="Supporting Color 01D">
      <a:srgbClr val="B26262"/>
    </a:custClr>
    <a:custClr name="Supporting Color 02D">
      <a:srgbClr val="C4B3A6"/>
    </a:custClr>
    <a:custClr name="Supporting Color 03D">
      <a:srgbClr val="B2A562"/>
    </a:custClr>
    <a:custClr name="Supporting Color 04D">
      <a:srgbClr val="69B262"/>
    </a:custClr>
    <a:custClr name="Supporting Color 05D">
      <a:srgbClr val="8699BF"/>
    </a:custClr>
    <a:custClr name="WHITE">
      <a:srgbClr val="FFFFFF"/>
    </a:custClr>
    <a:custClr name="Brand Color 01F">
      <a:srgbClr val="D1E0D7"/>
    </a:custClr>
    <a:custClr name="Brand Color 02F">
      <a:srgbClr val="E7BAE4"/>
    </a:custClr>
    <a:custClr name="Brand Color 03F">
      <a:srgbClr val="DBE2E9"/>
    </a:custClr>
    <a:custClr name="WHITE">
      <a:srgbClr val="FFFFFF"/>
    </a:custClr>
    <a:custClr name="Supporting Color 01F">
      <a:srgbClr val="F5E9E9"/>
    </a:custClr>
    <a:custClr name="Supporting Color 02F">
      <a:srgbClr val="F7F4F2"/>
    </a:custClr>
    <a:custClr name="Supporting Color 03F">
      <a:srgbClr val="F5F3E9"/>
    </a:custClr>
    <a:custClr name="Supporting Color 04F">
      <a:srgbClr val="EAF5E9"/>
    </a:custClr>
    <a:custClr name="Supporting Color 05F">
      <a:srgbClr val="DAE2F2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Gaia 2020" id="{5755844B-F19E-41CC-88A4-B6E9ECBA6036}" vid="{C2174754-59F2-4F11-8D65-4B0531C29C8A}"/>
    </a:ext>
  </a:extLst>
</a:theme>
</file>

<file path=ppt/theme/theme9.xml><?xml version="1.0" encoding="utf-8"?>
<a:theme xmlns:a="http://schemas.openxmlformats.org/drawingml/2006/main" name="2_GAIA - Green Theme">
  <a:themeElements>
    <a:clrScheme name="Custom 10">
      <a:dk1>
        <a:srgbClr val="25282A"/>
      </a:dk1>
      <a:lt1>
        <a:srgbClr val="FFFFFF"/>
      </a:lt1>
      <a:dk2>
        <a:srgbClr val="FFAA4D"/>
      </a:dk2>
      <a:lt2>
        <a:srgbClr val="18332F"/>
      </a:lt2>
      <a:accent1>
        <a:srgbClr val="51284F"/>
      </a:accent1>
      <a:accent2>
        <a:srgbClr val="472222"/>
      </a:accent2>
      <a:accent3>
        <a:srgbClr val="493D32"/>
      </a:accent3>
      <a:accent4>
        <a:srgbClr val="474122"/>
      </a:accent4>
      <a:accent5>
        <a:srgbClr val="264722"/>
      </a:accent5>
      <a:accent6>
        <a:srgbClr val="17233B"/>
      </a:accent6>
      <a:hlink>
        <a:srgbClr val="E961A2"/>
      </a:hlink>
      <a:folHlink>
        <a:srgbClr val="DBE2E9"/>
      </a:folHlink>
    </a:clrScheme>
    <a:fontScheme name="Custom 10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600" dirty="0" smtClean="0">
            <a:solidFill>
              <a:srgbClr val="404040"/>
            </a:solidFill>
          </a:defRPr>
        </a:defPPr>
      </a:lstStyle>
    </a:txDef>
  </a:objectDefaults>
  <a:extraClrSchemeLst/>
  <a:custClrLst>
    <a:custClr name="Brand Color 01A">
      <a:srgbClr val="18332F"/>
    </a:custClr>
    <a:custClr name="Brand Color 02A">
      <a:srgbClr val="51284F"/>
    </a:custClr>
    <a:custClr name="Brand Color 03A">
      <a:srgbClr val="25282A"/>
    </a:custClr>
    <a:custClr name="WHITE">
      <a:srgbClr val="FFFFFF"/>
    </a:custClr>
    <a:custClr name="Supporting Color 01A">
      <a:srgbClr val="472222"/>
    </a:custClr>
    <a:custClr name="Supporting Color 02A">
      <a:srgbClr val="493D32"/>
    </a:custClr>
    <a:custClr name="Supporting Color 03A">
      <a:srgbClr val="474122"/>
    </a:custClr>
    <a:custClr name="Supporting Color 04A">
      <a:srgbClr val="264722"/>
    </a:custClr>
    <a:custClr name="Supporting Color 05A">
      <a:srgbClr val="17233B"/>
    </a:custClr>
    <a:custClr name="WHITE">
      <a:srgbClr val="FFFFFF"/>
    </a:custClr>
    <a:custClr name="Brand Color 01B">
      <a:srgbClr val="1D3C34"/>
    </a:custClr>
    <a:custClr name="Brand Color 02B">
      <a:srgbClr val="5D295F"/>
    </a:custClr>
    <a:custClr name="Brand Color 03B">
      <a:srgbClr val="333F48"/>
    </a:custClr>
    <a:custClr name="WHITE">
      <a:srgbClr val="FFFFFF"/>
    </a:custClr>
    <a:custClr name="Supporting Color 01B">
      <a:srgbClr val="5C2F2F"/>
    </a:custClr>
    <a:custClr name="Supporting Color 02B">
      <a:srgbClr val="615246"/>
    </a:custClr>
    <a:custClr name="Supporting Color 03B">
      <a:srgbClr val="5C552F"/>
    </a:custClr>
    <a:custClr name="Supporting Color 04B">
      <a:srgbClr val="335C2F"/>
    </a:custClr>
    <a:custClr name="Supporting Color 05B">
      <a:srgbClr val="3C4C6C"/>
    </a:custClr>
    <a:custClr name="WHITE">
      <a:srgbClr val="FFFFFF"/>
    </a:custClr>
    <a:custClr name="Brand Color 01C">
      <a:srgbClr val="38584B"/>
    </a:custClr>
    <a:custClr name="Brand Color 02C">
      <a:srgbClr val="833177"/>
    </a:custClr>
    <a:custClr name="Brand Color 03C">
      <a:srgbClr val="5B6770"/>
    </a:custClr>
    <a:custClr name="WHITE">
      <a:srgbClr val="FFFFFF"/>
    </a:custClr>
    <a:custClr name="Supporting Color 01C">
      <a:srgbClr val="8C4A4A"/>
    </a:custClr>
    <a:custClr name="Supporting Color 02C">
      <a:srgbClr val="998576"/>
    </a:custClr>
    <a:custClr name="Supporting Color 03C">
      <a:srgbClr val="8C814A"/>
    </a:custClr>
    <a:custClr name="Supporting Color 04C">
      <a:srgbClr val="4F8C4A"/>
    </a:custClr>
    <a:custClr name="Supporting Color 05C">
      <a:srgbClr val="596B8F"/>
    </a:custClr>
    <a:custClr name="WHITE">
      <a:srgbClr val="FFFFFF"/>
    </a:custClr>
    <a:custClr name="Brand Color 01D">
      <a:srgbClr val="6FA287"/>
    </a:custClr>
    <a:custClr name="Brand Color 02D">
      <a:srgbClr val="C069C2"/>
    </a:custClr>
    <a:custClr name="Brand Color 03D">
      <a:srgbClr val="98A4AE"/>
    </a:custClr>
    <a:custClr name="WHITE">
      <a:srgbClr val="FFFFFF"/>
    </a:custClr>
    <a:custClr name="Supporting Color 01D">
      <a:srgbClr val="B26262"/>
    </a:custClr>
    <a:custClr name="Supporting Color 02D">
      <a:srgbClr val="C4B3A6"/>
    </a:custClr>
    <a:custClr name="Supporting Color 03D">
      <a:srgbClr val="B2A562"/>
    </a:custClr>
    <a:custClr name="Supporting Color 04D">
      <a:srgbClr val="69B262"/>
    </a:custClr>
    <a:custClr name="Supporting Color 05D">
      <a:srgbClr val="8699BF"/>
    </a:custClr>
    <a:custClr name="WHITE">
      <a:srgbClr val="FFFFFF"/>
    </a:custClr>
    <a:custClr name="Brand Color 01F">
      <a:srgbClr val="D1E0D7"/>
    </a:custClr>
    <a:custClr name="Brand Color 02F">
      <a:srgbClr val="E7BAE4"/>
    </a:custClr>
    <a:custClr name="Brand Color 03F">
      <a:srgbClr val="DBE2E9"/>
    </a:custClr>
    <a:custClr name="WHITE">
      <a:srgbClr val="FFFFFF"/>
    </a:custClr>
    <a:custClr name="Supporting Color 01F">
      <a:srgbClr val="F5E9E9"/>
    </a:custClr>
    <a:custClr name="Supporting Color 02F">
      <a:srgbClr val="F7F4F2"/>
    </a:custClr>
    <a:custClr name="Supporting Color 03F">
      <a:srgbClr val="F5F3E9"/>
    </a:custClr>
    <a:custClr name="Supporting Color 04F">
      <a:srgbClr val="EAF5E9"/>
    </a:custClr>
    <a:custClr name="Supporting Color 05F">
      <a:srgbClr val="DAE2F2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Gaia 2020" id="{5755844B-F19E-41CC-88A4-B6E9ECBA6036}" vid="{C2174754-59F2-4F11-8D65-4B0531C29C8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C331706B8BCC1E4C83DCA2DD3F13D173" ma:contentTypeVersion="1" ma:contentTypeDescription="Luo uusi asiakirja." ma:contentTypeScope="" ma:versionID="37b226067e73c9aa834abf7d4ca127cc">
  <xsd:schema xmlns:xsd="http://www.w3.org/2001/XMLSchema" xmlns:xs="http://www.w3.org/2001/XMLSchema" xmlns:p="http://schemas.microsoft.com/office/2006/metadata/properties" xmlns:ns2="6d34d9ea-1635-4368-b8ce-8bdcaf4d6701" targetNamespace="http://schemas.microsoft.com/office/2006/metadata/properties" ma:root="true" ma:fieldsID="d81e5ef0cde3e1e2f45ac9f26bf17b5b" ns2:_="">
    <xsd:import namespace="6d34d9ea-1635-4368-b8ce-8bdcaf4d6701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34d9ea-1635-4368-b8ce-8bdcaf4d670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Jaettu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67C25B4-34CC-4E7F-A6F8-E04F92F9189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47126EB-B821-447B-8865-7D10EF78FB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d34d9ea-1635-4368-b8ce-8bdcaf4d670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5E8E05A-4912-4BDF-BBF4-524C7CF062F0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6d34d9ea-1635-4368-b8ce-8bdcaf4d6701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59</TotalTime>
  <Words>1603</Words>
  <Application>Microsoft Office PowerPoint</Application>
  <PresentationFormat>Laajakuva</PresentationFormat>
  <Paragraphs>246</Paragraphs>
  <Slides>31</Slides>
  <Notes>9</Notes>
  <HiddenSlides>0</HiddenSlides>
  <MMClips>0</MMClips>
  <ScaleCrop>false</ScaleCrop>
  <HeadingPairs>
    <vt:vector size="8" baseType="variant">
      <vt:variant>
        <vt:lpstr>Käytetyt fontit</vt:lpstr>
      </vt:variant>
      <vt:variant>
        <vt:i4>17</vt:i4>
      </vt:variant>
      <vt:variant>
        <vt:lpstr>Teema</vt:lpstr>
      </vt:variant>
      <vt:variant>
        <vt:i4>10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31</vt:i4>
      </vt:variant>
    </vt:vector>
  </HeadingPairs>
  <TitlesOfParts>
    <vt:vector size="59" baseType="lpstr">
      <vt:lpstr>ＭＳ Ｐゴシック</vt:lpstr>
      <vt:lpstr>Arial</vt:lpstr>
      <vt:lpstr>Arial Narrow</vt:lpstr>
      <vt:lpstr>Avenir Next LT Pro</vt:lpstr>
      <vt:lpstr>Avenir Next LT Pro Demi</vt:lpstr>
      <vt:lpstr>Calibri</vt:lpstr>
      <vt:lpstr>Consolas</vt:lpstr>
      <vt:lpstr>Gill Sans MT</vt:lpstr>
      <vt:lpstr>Lab Grotesque Light</vt:lpstr>
      <vt:lpstr>Lab Grotesque Medium</vt:lpstr>
      <vt:lpstr>Lab Grotesque Regular</vt:lpstr>
      <vt:lpstr>Montserrat</vt:lpstr>
      <vt:lpstr>Segoe UI</vt:lpstr>
      <vt:lpstr>Tenorite</vt:lpstr>
      <vt:lpstr>Times New Roman</vt:lpstr>
      <vt:lpstr>Times-Roman</vt:lpstr>
      <vt:lpstr>Wingdings</vt:lpstr>
      <vt:lpstr>Office Theme</vt:lpstr>
      <vt:lpstr>VN-uudistukset-ppt_01/2020</vt:lpstr>
      <vt:lpstr>1_Office Theme</vt:lpstr>
      <vt:lpstr>Luke_esityspohja_2020_widesc_EN</vt:lpstr>
      <vt:lpstr>First slide/Content curve</vt:lpstr>
      <vt:lpstr>Content solid background</vt:lpstr>
      <vt:lpstr>GAIA - Green Theme</vt:lpstr>
      <vt:lpstr>1_GAIA - Green Theme</vt:lpstr>
      <vt:lpstr>2_GAIA - Green Theme</vt:lpstr>
      <vt:lpstr>3_GAIA - Green Theme</vt:lpstr>
      <vt:lpstr>think-cell Slide</vt:lpstr>
      <vt:lpstr>Catch the Carbon programme supporting science based policy making</vt:lpstr>
      <vt:lpstr>Catch the Carbon programme</vt:lpstr>
      <vt:lpstr>Aligned with the EU level policies</vt:lpstr>
      <vt:lpstr>What do we do? Who is involved?</vt:lpstr>
      <vt:lpstr>Description of the impact pathway</vt:lpstr>
      <vt:lpstr>Climate-smart agriculture, forestry and land use</vt:lpstr>
      <vt:lpstr>PowerPoint-esitys</vt:lpstr>
      <vt:lpstr>PowerPoint-esitys</vt:lpstr>
      <vt:lpstr>Ash is an ideal fertilizer for drained peatland forests</vt:lpstr>
      <vt:lpstr>Ash fertilization increases tree growth…</vt:lpstr>
      <vt:lpstr>…and changes ecosystem function</vt:lpstr>
      <vt:lpstr>Questions to answer</vt:lpstr>
      <vt:lpstr>1. Ash is a cost effective and powerful fertilizer for drained peatland forests  2. Peatland management is rocket science</vt:lpstr>
      <vt:lpstr>Mineral agricultural soils as carbon sinks in Finland</vt:lpstr>
      <vt:lpstr>Mineral agricultural soils as carbon sinks in Finland</vt:lpstr>
      <vt:lpstr>Mineral agricultural soils as carbon sinks in Finland</vt:lpstr>
      <vt:lpstr>Mineral agricultural soils as carbon sinks in Finland</vt:lpstr>
      <vt:lpstr>Mineral agricultural soils as carbon sinks in Finland</vt:lpstr>
      <vt:lpstr>Mineral agricultural soils as carbon sinks in Finland</vt:lpstr>
      <vt:lpstr>Thank you!</vt:lpstr>
      <vt:lpstr>PowerPoint-esitys</vt:lpstr>
      <vt:lpstr>PowerPoint-esitys</vt:lpstr>
      <vt:lpstr>PowerPoint-esitys</vt:lpstr>
      <vt:lpstr>PowerPoint-esitys</vt:lpstr>
      <vt:lpstr>development paths of  the voluntary carbon market  - KolKom</vt:lpstr>
      <vt:lpstr>PowerPoint-esitys</vt:lpstr>
      <vt:lpstr>development paths of  the voluntary carbon market  - KolKom</vt:lpstr>
      <vt:lpstr>Food value chain:</vt:lpstr>
      <vt:lpstr>Forest value chain: </vt:lpstr>
      <vt:lpstr>Find out more</vt:lpstr>
      <vt:lpstr>PowerPoint-esitys</vt:lpstr>
    </vt:vector>
  </TitlesOfParts>
  <Company>Suomen val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wards Climate Neutral Finland by 2035 with land use sector</dc:title>
  <dc:creator>Mattila Hanna (MMM)</dc:creator>
  <cp:lastModifiedBy>Luoto Virva (MMM)</cp:lastModifiedBy>
  <cp:revision>54</cp:revision>
  <dcterms:created xsi:type="dcterms:W3CDTF">2021-02-18T06:48:45Z</dcterms:created>
  <dcterms:modified xsi:type="dcterms:W3CDTF">2023-04-26T08:5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31706B8BCC1E4C83DCA2DD3F13D173</vt:lpwstr>
  </property>
</Properties>
</file>